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comments/comment1.xml" ContentType="application/vnd.openxmlformats-officedocument.presentationml.comment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omments/comment2.xml" ContentType="application/vnd.openxmlformats-officedocument.presentationml.comments+xml"/>
  <Override PartName="/ppt/charts/chart2.xml" ContentType="application/vnd.openxmlformats-officedocument.drawingml.chart+xml"/>
  <Override PartName="/ppt/charts/chart3.xml" ContentType="application/vnd.openxmlformats-officedocument.drawingml.chart+xml"/>
  <Override PartName="/ppt/tags/tag61.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heme/themeOverride1.xml" ContentType="application/vnd.openxmlformats-officedocument.themeOverr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1.xml" ContentType="application/vnd.openxmlformats-officedocument.drawingml.chart+xml"/>
  <Override PartName="/ppt/charts/chart12.xml" ContentType="application/vnd.openxmlformats-officedocument.drawingml.chart+xml"/>
  <Override PartName="/ppt/theme/themeOverride2.xml" ContentType="application/vnd.openxmlformats-officedocument.themeOverride+xml"/>
  <Override PartName="/ppt/charts/chart1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theme/themeOverride4.xml" ContentType="application/vnd.openxmlformats-officedocument.themeOverride+xml"/>
  <Override PartName="/ppt/drawings/drawing1.xml" ContentType="application/vnd.openxmlformats-officedocument.drawingml.chartshapes+xml"/>
  <Override PartName="/ppt/comments/comment3.xml" ContentType="application/vnd.openxmlformats-officedocument.presentationml.comment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891" r:id="rId5"/>
    <p:sldId id="266" r:id="rId6"/>
    <p:sldId id="2460" r:id="rId7"/>
    <p:sldId id="2480" r:id="rId8"/>
    <p:sldId id="2478" r:id="rId9"/>
    <p:sldId id="2515" r:id="rId10"/>
    <p:sldId id="2531" r:id="rId11"/>
    <p:sldId id="2550" r:id="rId12"/>
    <p:sldId id="2533" r:id="rId13"/>
    <p:sldId id="2534" r:id="rId14"/>
    <p:sldId id="2535" r:id="rId15"/>
    <p:sldId id="2536" r:id="rId16"/>
    <p:sldId id="2537" r:id="rId17"/>
    <p:sldId id="2538" r:id="rId18"/>
    <p:sldId id="2539" r:id="rId19"/>
    <p:sldId id="2540" r:id="rId20"/>
    <p:sldId id="2519" r:id="rId21"/>
    <p:sldId id="63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nry Chukwu" initials="HC" lastIdx="5" clrIdx="0">
    <p:extLst>
      <p:ext uri="{19B8F6BF-5375-455C-9EA6-DF929625EA0E}">
        <p15:presenceInfo xmlns:p15="http://schemas.microsoft.com/office/powerpoint/2012/main" userId="S::hchukwu@efina.org.ng::c2925a50-299d-4cf9-bdd0-847031676f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DFA524-F676-432C-A0E9-1627D46958B6}" v="6" dt="2020-07-04T13:55:07.330"/>
    <p1510:client id="{DFF7FA02-372E-DF8A-5EAF-62A1AC5CC2FB}" v="23" dt="2020-07-13T07:04:01.2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ry Chukwu" userId="c2925a50-299d-4cf9-bdd0-847031676f32" providerId="ADAL" clId="{54DFA524-F676-432C-A0E9-1627D46958B6}"/>
    <pc:docChg chg="custSel modSld">
      <pc:chgData name="Henry Chukwu" userId="c2925a50-299d-4cf9-bdd0-847031676f32" providerId="ADAL" clId="{54DFA524-F676-432C-A0E9-1627D46958B6}" dt="2020-07-04T13:55:07.330" v="10"/>
      <pc:docMkLst>
        <pc:docMk/>
      </pc:docMkLst>
      <pc:sldChg chg="addCm modCm">
        <pc:chgData name="Henry Chukwu" userId="c2925a50-299d-4cf9-bdd0-847031676f32" providerId="ADAL" clId="{54DFA524-F676-432C-A0E9-1627D46958B6}" dt="2020-07-04T13:44:49.253" v="3"/>
        <pc:sldMkLst>
          <pc:docMk/>
          <pc:sldMk cId="154530747" sldId="2478"/>
        </pc:sldMkLst>
      </pc:sldChg>
      <pc:sldChg chg="addCm modCm">
        <pc:chgData name="Henry Chukwu" userId="c2925a50-299d-4cf9-bdd0-847031676f32" providerId="ADAL" clId="{54DFA524-F676-432C-A0E9-1627D46958B6}" dt="2020-07-04T13:43:47.508" v="1"/>
        <pc:sldMkLst>
          <pc:docMk/>
          <pc:sldMk cId="2413577048" sldId="2480"/>
        </pc:sldMkLst>
      </pc:sldChg>
      <pc:sldChg chg="addCm modCm">
        <pc:chgData name="Henry Chukwu" userId="c2925a50-299d-4cf9-bdd0-847031676f32" providerId="ADAL" clId="{54DFA524-F676-432C-A0E9-1627D46958B6}" dt="2020-07-04T13:55:07.330" v="10"/>
        <pc:sldMkLst>
          <pc:docMk/>
          <pc:sldMk cId="2894356392" sldId="2519"/>
        </pc:sldMkLst>
      </pc:sldChg>
    </pc:docChg>
  </pc:docChgLst>
  <pc:docChgLst>
    <pc:chgData name="Oluwatomi Eromosele" userId="S::oeromosele@efina.org.ng::9e06e41a-81b8-4697-8518-1a40f4b39734" providerId="AD" clId="Web-{DFF7FA02-372E-DF8A-5EAF-62A1AC5CC2FB}"/>
    <pc:docChg chg="modSld">
      <pc:chgData name="Oluwatomi Eromosele" userId="S::oeromosele@efina.org.ng::9e06e41a-81b8-4697-8518-1a40f4b39734" providerId="AD" clId="Web-{DFF7FA02-372E-DF8A-5EAF-62A1AC5CC2FB}" dt="2020-07-13T07:04:01.231" v="22" actId="20577"/>
      <pc:docMkLst>
        <pc:docMk/>
      </pc:docMkLst>
      <pc:sldChg chg="modSp">
        <pc:chgData name="Oluwatomi Eromosele" userId="S::oeromosele@efina.org.ng::9e06e41a-81b8-4697-8518-1a40f4b39734" providerId="AD" clId="Web-{DFF7FA02-372E-DF8A-5EAF-62A1AC5CC2FB}" dt="2020-07-13T07:04:01.231" v="22" actId="20577"/>
        <pc:sldMkLst>
          <pc:docMk/>
          <pc:sldMk cId="2894356392" sldId="2519"/>
        </pc:sldMkLst>
        <pc:spChg chg="mod">
          <ac:chgData name="Oluwatomi Eromosele" userId="S::oeromosele@efina.org.ng::9e06e41a-81b8-4697-8518-1a40f4b39734" providerId="AD" clId="Web-{DFF7FA02-372E-DF8A-5EAF-62A1AC5CC2FB}" dt="2020-07-13T07:04:01.231" v="22" actId="20577"/>
          <ac:spMkLst>
            <pc:docMk/>
            <pc:sldMk cId="2894356392" sldId="2519"/>
            <ac:spMk id="14" creationId="{F23DD538-4CA7-4673-B9B1-4D86035CADCF}"/>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_9AE_935F3BB.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8_9E8_80C7860C.xlsx"/><Relationship Id="rId1" Type="http://schemas.openxmlformats.org/officeDocument/2006/relationships/themeOverride" Target="../theme/themeOverrid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_9E8_80C7860C.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0_9EA_BF1668D9.xlsx"/><Relationship Id="rId1" Type="http://schemas.openxmlformats.org/officeDocument/2006/relationships/themeOverride" Target="../theme/themeOverride2.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1_9EB_BD31CF91.xlsx"/></Relationships>
</file>

<file path=ppt/charts/_rels/chart1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2_9EB_BD31CF91.xlsx"/><Relationship Id="rId1" Type="http://schemas.openxmlformats.org/officeDocument/2006/relationships/themeOverride" Target="../theme/themeOverride4.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_9E3_382E3A9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_9E3_382E3A95.xlsx"/></Relationships>
</file>

<file path=ppt/charts/_rels/chart4.xml.rels><?xml version="1.0" encoding="UTF-8" standalone="yes"?>
<Relationships xmlns="http://schemas.openxmlformats.org/package/2006/relationships"><Relationship Id="rId3" Type="http://schemas.openxmlformats.org/officeDocument/2006/relationships/oleObject" Target="https://efinasbslocal-my.sharepoint.com/personal/oeromosele_efina_org_ng/Documents/Desktop/Today/Agent%20viability%20analysis%20WIP.xlsx" TargetMode="External"/><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_9E6_1904A23D.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_9E7_FD23BB81.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_9E7_FD23BB81.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_9E7_FD23BB81.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_9E7_FD23BB8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948947185060141"/>
          <c:y val="1.1572341656079923E-2"/>
          <c:w val="0.47771406758000817"/>
          <c:h val="0.9768553166878402"/>
        </c:manualLayout>
      </c:layout>
      <c:barChart>
        <c:barDir val="bar"/>
        <c:grouping val="clustered"/>
        <c:varyColors val="0"/>
        <c:ser>
          <c:idx val="0"/>
          <c:order val="0"/>
          <c:tx>
            <c:strRef>
              <c:f>Sheet1!$B$1</c:f>
              <c:strCache>
                <c:ptCount val="1"/>
                <c:pt idx="0">
                  <c:v>FSAS 2020</c:v>
                </c:pt>
              </c:strCache>
            </c:strRef>
          </c:tx>
          <c:spPr>
            <a:solidFill>
              <a:srgbClr val="006301"/>
            </a:solidFill>
          </c:spPr>
          <c:invertIfNegative val="0"/>
          <c:dLbls>
            <c:dLbl>
              <c:idx val="1"/>
              <c:tx>
                <c:rich>
                  <a:bodyPr/>
                  <a:lstStyle/>
                  <a:p>
                    <a:r>
                      <a:rPr lang="en-US"/>
                      <a:t>8%</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BF4-4323-A0D5-BA6CE64AC726}"/>
                </c:ext>
              </c:extLst>
            </c:dLbl>
            <c:dLbl>
              <c:idx val="2"/>
              <c:tx>
                <c:rich>
                  <a:bodyPr/>
                  <a:lstStyle/>
                  <a:p>
                    <a:r>
                      <a:rPr lang="en-US"/>
                      <a:t>38%</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F4-4323-A0D5-BA6CE64AC726}"/>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Urban</c:v>
                </c:pt>
                <c:pt idx="1">
                  <c:v>Peri-Urban</c:v>
                </c:pt>
                <c:pt idx="2">
                  <c:v>Rural</c:v>
                </c:pt>
              </c:strCache>
            </c:strRef>
          </c:cat>
          <c:val>
            <c:numRef>
              <c:f>Sheet1!$B$2:$B$4</c:f>
              <c:numCache>
                <c:formatCode>General\%</c:formatCode>
                <c:ptCount val="3"/>
                <c:pt idx="0">
                  <c:v>54</c:v>
                </c:pt>
                <c:pt idx="1">
                  <c:v>7</c:v>
                </c:pt>
                <c:pt idx="2">
                  <c:v>39</c:v>
                </c:pt>
              </c:numCache>
            </c:numRef>
          </c:val>
          <c:extLst>
            <c:ext xmlns:c16="http://schemas.microsoft.com/office/drawing/2014/chart" uri="{C3380CC4-5D6E-409C-BE32-E72D297353CC}">
              <c16:uniqueId val="{00000000-A4F4-47C7-A724-0B2F4B358928}"/>
            </c:ext>
          </c:extLst>
        </c:ser>
        <c:dLbls>
          <c:dLblPos val="outEnd"/>
          <c:showLegendKey val="0"/>
          <c:showVal val="1"/>
          <c:showCatName val="0"/>
          <c:showSerName val="0"/>
          <c:showPercent val="0"/>
          <c:showBubbleSize val="0"/>
        </c:dLbls>
        <c:gapWidth val="32"/>
        <c:axId val="340057088"/>
        <c:axId val="340054400"/>
      </c:barChart>
      <c:valAx>
        <c:axId val="340054400"/>
        <c:scaling>
          <c:orientation val="minMax"/>
          <c:max val="100"/>
          <c:min val="0"/>
        </c:scaling>
        <c:delete val="1"/>
        <c:axPos val="t"/>
        <c:numFmt formatCode="General\%" sourceLinked="1"/>
        <c:majorTickMark val="out"/>
        <c:minorTickMark val="none"/>
        <c:tickLblPos val="nextTo"/>
        <c:crossAx val="340057088"/>
        <c:crosses val="autoZero"/>
        <c:crossBetween val="between"/>
        <c:majorUnit val="20"/>
      </c:valAx>
      <c:catAx>
        <c:axId val="340057088"/>
        <c:scaling>
          <c:orientation val="maxMin"/>
        </c:scaling>
        <c:delete val="0"/>
        <c:axPos val="l"/>
        <c:numFmt formatCode="General" sourceLinked="1"/>
        <c:majorTickMark val="out"/>
        <c:minorTickMark val="none"/>
        <c:tickLblPos val="nextTo"/>
        <c:spPr>
          <a:ln>
            <a:noFill/>
          </a:ln>
        </c:spPr>
        <c:crossAx val="340054400"/>
        <c:crosses val="autoZero"/>
        <c:auto val="1"/>
        <c:lblAlgn val="ctr"/>
        <c:lblOffset val="1000"/>
        <c:noMultiLvlLbl val="0"/>
      </c:catAx>
      <c:spPr>
        <a:noFill/>
        <a:ln w="25400">
          <a:noFill/>
        </a:ln>
      </c:spPr>
    </c:plotArea>
    <c:plotVisOnly val="1"/>
    <c:dispBlanksAs val="gap"/>
    <c:showDLblsOverMax val="0"/>
  </c:chart>
  <c:txPr>
    <a:bodyPr/>
    <a:lstStyle/>
    <a:p>
      <a:pPr>
        <a:defRPr sz="12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spPr>
            <a:solidFill>
              <a:srgbClr val="A6A6A6"/>
            </a:solidFill>
            <a:effectLst/>
          </c:spPr>
          <c:dPt>
            <c:idx val="0"/>
            <c:bubble3D val="0"/>
            <c:spPr>
              <a:solidFill>
                <a:srgbClr val="21572B"/>
              </a:solidFill>
              <a:effectLst/>
            </c:spPr>
            <c:extLst>
              <c:ext xmlns:c16="http://schemas.microsoft.com/office/drawing/2014/chart" uri="{C3380CC4-5D6E-409C-BE32-E72D297353CC}">
                <c16:uniqueId val="{00000001-E2A9-4067-B100-47BAA8D6339B}"/>
              </c:ext>
            </c:extLst>
          </c:dPt>
          <c:dPt>
            <c:idx val="1"/>
            <c:bubble3D val="0"/>
            <c:spPr>
              <a:solidFill>
                <a:srgbClr val="A6A6A6">
                  <a:alpha val="30000"/>
                </a:srgbClr>
              </a:solidFill>
              <a:effectLst/>
            </c:spPr>
            <c:extLst>
              <c:ext xmlns:c16="http://schemas.microsoft.com/office/drawing/2014/chart" uri="{C3380CC4-5D6E-409C-BE32-E72D297353CC}">
                <c16:uniqueId val="{00000003-E2A9-4067-B100-47BAA8D6339B}"/>
              </c:ext>
            </c:extLst>
          </c:dPt>
          <c:cat>
            <c:numRef>
              <c:f>Sheet1!$A$2:$A$3</c:f>
              <c:numCache>
                <c:formatCode>General</c:formatCode>
                <c:ptCount val="2"/>
              </c:numCache>
            </c:numRef>
          </c:cat>
          <c:val>
            <c:numRef>
              <c:f>Sheet1!$B$2:$B$3</c:f>
              <c:numCache>
                <c:formatCode>General</c:formatCode>
                <c:ptCount val="2"/>
                <c:pt idx="0">
                  <c:v>89</c:v>
                </c:pt>
                <c:pt idx="1">
                  <c:v>11</c:v>
                </c:pt>
              </c:numCache>
            </c:numRef>
          </c:val>
          <c:extLst>
            <c:ext xmlns:c16="http://schemas.microsoft.com/office/drawing/2014/chart" uri="{C3380CC4-5D6E-409C-BE32-E72D297353CC}">
              <c16:uniqueId val="{00000004-E2A9-4067-B100-47BAA8D6339B}"/>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37402258499281E-2"/>
          <c:w val="0.85871766029246344"/>
          <c:h val="0.96043295691678598"/>
        </c:manualLayout>
      </c:layout>
      <c:barChart>
        <c:barDir val="bar"/>
        <c:grouping val="clustered"/>
        <c:varyColors val="0"/>
        <c:ser>
          <c:idx val="0"/>
          <c:order val="0"/>
          <c:spPr>
            <a:solidFill>
              <a:srgbClr val="006301"/>
            </a:solidFill>
            <a:ln>
              <a:solidFill>
                <a:schemeClr val="bg1"/>
              </a:solidFill>
            </a:ln>
            <a:effectLst>
              <a:outerShdw blurRad="50800" dist="38100" dir="2700000" algn="ctr" rotWithShape="0">
                <a:srgbClr val="000000">
                  <a:alpha val="40000"/>
                </a:srgbClr>
              </a:outerShdw>
            </a:effectLst>
          </c:spPr>
          <c:invertIfNegative val="0"/>
          <c:dLbls>
            <c:dLbl>
              <c:idx val="0"/>
              <c:layout>
                <c:manualLayout>
                  <c:x val="4.5109618650609848E-2"/>
                  <c:y val="-6.131412093172358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274-4D3D-B930-BB84FEB8C982}"/>
                </c:ext>
              </c:extLst>
            </c:dLbl>
            <c:dLbl>
              <c:idx val="1"/>
              <c:layout>
                <c:manualLayout>
                  <c:x val="2.9485294117647057E-2"/>
                  <c:y val="-1.226282418634477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74-4D3D-B930-BB84FEB8C982}"/>
                </c:ext>
              </c:extLst>
            </c:dLbl>
            <c:dLbl>
              <c:idx val="2"/>
              <c:layout>
                <c:manualLayout>
                  <c:x val="6.8635170603674536E-2"/>
                  <c:y val="1.22628241863447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274-4D3D-B930-BB84FEB8C982}"/>
                </c:ext>
              </c:extLst>
            </c:dLbl>
            <c:spPr>
              <a:noFill/>
              <a:ln>
                <a:noFill/>
              </a:ln>
              <a:effectLst/>
            </c:spPr>
            <c:txPr>
              <a:bodyPr/>
              <a:lstStyle/>
              <a:p>
                <a:pPr>
                  <a:defRPr sz="900"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Increased(percent)</c:v>
                </c:pt>
                <c:pt idx="1">
                  <c:v>Remained the same(percent)</c:v>
                </c:pt>
                <c:pt idx="2">
                  <c:v>Decreased(percent)</c:v>
                </c:pt>
              </c:strCache>
            </c:strRef>
          </c:cat>
          <c:val>
            <c:numRef>
              <c:f>Sheet1!$B$2:$B$4</c:f>
              <c:numCache>
                <c:formatCode>0%</c:formatCode>
                <c:ptCount val="3"/>
                <c:pt idx="0">
                  <c:v>0.187</c:v>
                </c:pt>
                <c:pt idx="1">
                  <c:v>0.72109999999999996</c:v>
                </c:pt>
                <c:pt idx="2">
                  <c:v>9.1899999999999996E-2</c:v>
                </c:pt>
              </c:numCache>
            </c:numRef>
          </c:val>
          <c:extLst>
            <c:ext xmlns:c16="http://schemas.microsoft.com/office/drawing/2014/chart" uri="{C3380CC4-5D6E-409C-BE32-E72D297353CC}">
              <c16:uniqueId val="{00000003-C274-4D3D-B930-BB84FEB8C982}"/>
            </c:ext>
          </c:extLst>
        </c:ser>
        <c:dLbls>
          <c:showLegendKey val="0"/>
          <c:showVal val="0"/>
          <c:showCatName val="0"/>
          <c:showSerName val="0"/>
          <c:showPercent val="0"/>
          <c:showBubbleSize val="0"/>
        </c:dLbls>
        <c:gapWidth val="50"/>
        <c:axId val="401638912"/>
        <c:axId val="401640448"/>
      </c:barChart>
      <c:catAx>
        <c:axId val="401638912"/>
        <c:scaling>
          <c:orientation val="maxMin"/>
        </c:scaling>
        <c:delete val="1"/>
        <c:axPos val="l"/>
        <c:numFmt formatCode="General" sourceLinked="0"/>
        <c:majorTickMark val="out"/>
        <c:minorTickMark val="none"/>
        <c:tickLblPos val="nextTo"/>
        <c:crossAx val="401640448"/>
        <c:crosses val="autoZero"/>
        <c:auto val="1"/>
        <c:lblAlgn val="ctr"/>
        <c:lblOffset val="100"/>
        <c:noMultiLvlLbl val="0"/>
      </c:catAx>
      <c:valAx>
        <c:axId val="401640448"/>
        <c:scaling>
          <c:orientation val="minMax"/>
          <c:max val="0.70000000000000007"/>
          <c:min val="0"/>
        </c:scaling>
        <c:delete val="1"/>
        <c:axPos val="t"/>
        <c:numFmt formatCode="0%" sourceLinked="1"/>
        <c:majorTickMark val="out"/>
        <c:minorTickMark val="none"/>
        <c:tickLblPos val="nextTo"/>
        <c:crossAx val="401638912"/>
        <c:crosses val="autoZero"/>
        <c:crossBetween val="between"/>
        <c:majorUnit val="0.2"/>
      </c:valAx>
    </c:plotArea>
    <c:plotVisOnly val="1"/>
    <c:dispBlanksAs val="gap"/>
    <c:showDLblsOverMax val="0"/>
  </c:chart>
  <c:spPr>
    <a:noFill/>
  </c:spPr>
  <c:txPr>
    <a:bodyPr/>
    <a:lstStyle/>
    <a:p>
      <a:pPr>
        <a:defRPr sz="10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0047090988626419"/>
          <c:y val="1.8247977971820945E-2"/>
          <c:w val="0.49952909011373581"/>
          <c:h val="0.96504837346731132"/>
        </c:manualLayout>
      </c:layout>
      <c:barChart>
        <c:barDir val="bar"/>
        <c:grouping val="clustered"/>
        <c:varyColors val="0"/>
        <c:ser>
          <c:idx val="0"/>
          <c:order val="0"/>
          <c:spPr>
            <a:solidFill>
              <a:srgbClr val="0063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C$11</c:f>
              <c:strCache>
                <c:ptCount val="10"/>
                <c:pt idx="0">
                  <c:v>Living on personal/ family savings</c:v>
                </c:pt>
                <c:pt idx="1">
                  <c:v>I have other sources of income</c:v>
                </c:pt>
                <c:pt idx="2">
                  <c:v>Support from my extended family</c:v>
                </c:pt>
                <c:pt idx="3">
                  <c:v>Living on spouse’s income</c:v>
                </c:pt>
                <c:pt idx="4">
                  <c:v>Spending my capital</c:v>
                </c:pt>
                <c:pt idx="5">
                  <c:v>Salary from my employer</c:v>
                </c:pt>
                <c:pt idx="6">
                  <c:v>Reduce Spending</c:v>
                </c:pt>
                <c:pt idx="7">
                  <c:v>Support from government</c:v>
                </c:pt>
                <c:pt idx="8">
                  <c:v>Commissions</c:v>
                </c:pt>
                <c:pt idx="9">
                  <c:v>Regulate eating mode / Reduce number of times we eat</c:v>
                </c:pt>
              </c:strCache>
            </c:strRef>
          </c:cat>
          <c:val>
            <c:numRef>
              <c:f>Sheet1!$D$2:$D$11</c:f>
              <c:numCache>
                <c:formatCode>0%</c:formatCode>
                <c:ptCount val="10"/>
                <c:pt idx="0">
                  <c:v>0.52</c:v>
                </c:pt>
                <c:pt idx="1">
                  <c:v>0.39655172413793105</c:v>
                </c:pt>
                <c:pt idx="2">
                  <c:v>0.10344827586206896</c:v>
                </c:pt>
                <c:pt idx="3">
                  <c:v>5.1724137931034482E-2</c:v>
                </c:pt>
                <c:pt idx="4">
                  <c:v>4.7618999999999995E-2</c:v>
                </c:pt>
                <c:pt idx="5">
                  <c:v>3.4482758620689655E-2</c:v>
                </c:pt>
                <c:pt idx="6">
                  <c:v>0.03</c:v>
                </c:pt>
                <c:pt idx="7">
                  <c:v>1.7241379310344827E-2</c:v>
                </c:pt>
                <c:pt idx="8">
                  <c:v>1.5872999999999998E-2</c:v>
                </c:pt>
                <c:pt idx="9">
                  <c:v>1.5872999999999998E-2</c:v>
                </c:pt>
              </c:numCache>
            </c:numRef>
          </c:val>
          <c:extLst>
            <c:ext xmlns:c16="http://schemas.microsoft.com/office/drawing/2014/chart" uri="{C3380CC4-5D6E-409C-BE32-E72D297353CC}">
              <c16:uniqueId val="{00000000-81A6-48FE-8C8C-3F9DA92F9B78}"/>
            </c:ext>
          </c:extLst>
        </c:ser>
        <c:dLbls>
          <c:dLblPos val="outEnd"/>
          <c:showLegendKey val="0"/>
          <c:showVal val="1"/>
          <c:showCatName val="0"/>
          <c:showSerName val="0"/>
          <c:showPercent val="0"/>
          <c:showBubbleSize val="0"/>
        </c:dLbls>
        <c:gapWidth val="21"/>
        <c:overlap val="6"/>
        <c:axId val="295696640"/>
        <c:axId val="295715968"/>
      </c:barChart>
      <c:catAx>
        <c:axId val="29569664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295715968"/>
        <c:crosses val="autoZero"/>
        <c:auto val="1"/>
        <c:lblAlgn val="ctr"/>
        <c:lblOffset val="100"/>
        <c:noMultiLvlLbl val="0"/>
      </c:catAx>
      <c:valAx>
        <c:axId val="295715968"/>
        <c:scaling>
          <c:orientation val="minMax"/>
        </c:scaling>
        <c:delete val="1"/>
        <c:axPos val="t"/>
        <c:numFmt formatCode="0%" sourceLinked="1"/>
        <c:majorTickMark val="none"/>
        <c:minorTickMark val="none"/>
        <c:tickLblPos val="nextTo"/>
        <c:crossAx val="295696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7469776211984414"/>
          <c:y val="0"/>
          <c:w val="0.37706518803643374"/>
          <c:h val="0.96504837346731132"/>
        </c:manualLayout>
      </c:layout>
      <c:barChart>
        <c:barDir val="bar"/>
        <c:grouping val="clustered"/>
        <c:varyColors val="0"/>
        <c:ser>
          <c:idx val="0"/>
          <c:order val="0"/>
          <c:spPr>
            <a:solidFill>
              <a:srgbClr val="006301"/>
            </a:solidFill>
            <a:ln>
              <a:noFill/>
            </a:ln>
            <a:effectLst/>
          </c:spPr>
          <c:invertIfNegative val="0"/>
          <c:dLbls>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C$13</c:f>
              <c:strCache>
                <c:ptCount val="12"/>
                <c:pt idx="0">
                  <c:v>Can educate their customers/community about the virus</c:v>
                </c:pt>
                <c:pt idx="1">
                  <c:v>Adhere strictly to all safety measures by making provision for hand washing and sanitising at store entrance.</c:v>
                </c:pt>
                <c:pt idx="2">
                  <c:v>Have space in your premises to store food, medical supplies safely</c:v>
                </c:pt>
                <c:pt idx="3">
                  <c:v>Voluntary donations of food, medical supplies etc</c:v>
                </c:pt>
                <c:pt idx="4">
                  <c:v>Can disseminate food, medical supplies or other goods (Collection point)</c:v>
                </c:pt>
                <c:pt idx="5">
                  <c:v>Voluntary donation of funds/ monetary support</c:v>
                </c:pt>
                <c:pt idx="6">
                  <c:v>Can disseminate government cash transfers</c:v>
                </c:pt>
                <c:pt idx="7">
                  <c:v>Donation and encourage the use  of face/nose mask /giving out hand gloves</c:v>
                </c:pt>
                <c:pt idx="8">
                  <c:v>Encouraging social distancing</c:v>
                </c:pt>
                <c:pt idx="9">
                  <c:v>Sharing  and encourage the use  of  hand sanitizers /washing of hands frequently</c:v>
                </c:pt>
                <c:pt idx="10">
                  <c:v>By prayers  / praying</c:v>
                </c:pt>
                <c:pt idx="11">
                  <c:v>Creating more awareness by all means ( social media ,TV,Radio)</c:v>
                </c:pt>
              </c:strCache>
            </c:strRef>
          </c:cat>
          <c:val>
            <c:numRef>
              <c:f>Sheet1!$D$2:$D$13</c:f>
              <c:numCache>
                <c:formatCode>0%</c:formatCode>
                <c:ptCount val="12"/>
                <c:pt idx="0">
                  <c:v>0.59</c:v>
                </c:pt>
                <c:pt idx="1">
                  <c:v>0.4</c:v>
                </c:pt>
                <c:pt idx="2">
                  <c:v>0.14000000000000001</c:v>
                </c:pt>
                <c:pt idx="3">
                  <c:v>0.12</c:v>
                </c:pt>
                <c:pt idx="4">
                  <c:v>0.08</c:v>
                </c:pt>
                <c:pt idx="5">
                  <c:v>0.08</c:v>
                </c:pt>
                <c:pt idx="6">
                  <c:v>0.05</c:v>
                </c:pt>
                <c:pt idx="7">
                  <c:v>4.3536999999999999E-2</c:v>
                </c:pt>
                <c:pt idx="8">
                  <c:v>2.9932E-2</c:v>
                </c:pt>
                <c:pt idx="9">
                  <c:v>2.7210999999999999E-2</c:v>
                </c:pt>
                <c:pt idx="10">
                  <c:v>2.7210999999999999E-2</c:v>
                </c:pt>
                <c:pt idx="11">
                  <c:v>2.7210999999999999E-2</c:v>
                </c:pt>
              </c:numCache>
            </c:numRef>
          </c:val>
          <c:extLst>
            <c:ext xmlns:c16="http://schemas.microsoft.com/office/drawing/2014/chart" uri="{C3380CC4-5D6E-409C-BE32-E72D297353CC}">
              <c16:uniqueId val="{00000000-41BA-4CDD-AFD8-243FA12F1F21}"/>
            </c:ext>
          </c:extLst>
        </c:ser>
        <c:dLbls>
          <c:dLblPos val="outEnd"/>
          <c:showLegendKey val="0"/>
          <c:showVal val="1"/>
          <c:showCatName val="0"/>
          <c:showSerName val="0"/>
          <c:showPercent val="0"/>
          <c:showBubbleSize val="0"/>
        </c:dLbls>
        <c:gapWidth val="21"/>
        <c:overlap val="6"/>
        <c:axId val="295478784"/>
        <c:axId val="295506304"/>
      </c:barChart>
      <c:catAx>
        <c:axId val="2954787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295506304"/>
        <c:crosses val="autoZero"/>
        <c:auto val="1"/>
        <c:lblAlgn val="ctr"/>
        <c:lblOffset val="100"/>
        <c:noMultiLvlLbl val="0"/>
      </c:catAx>
      <c:valAx>
        <c:axId val="295506304"/>
        <c:scaling>
          <c:orientation val="minMax"/>
        </c:scaling>
        <c:delete val="1"/>
        <c:axPos val="t"/>
        <c:numFmt formatCode="0%" sourceLinked="1"/>
        <c:majorTickMark val="none"/>
        <c:minorTickMark val="none"/>
        <c:tickLblPos val="nextTo"/>
        <c:crossAx val="295478784"/>
        <c:crosses val="autoZero"/>
        <c:crossBetween val="between"/>
      </c:valAx>
      <c:spPr>
        <a:noFill/>
        <a:ln>
          <a:noFill/>
        </a:ln>
        <a:effectLst/>
      </c:spPr>
    </c:plotArea>
    <c:plotVisOnly val="1"/>
    <c:dispBlanksAs val="gap"/>
    <c:showDLblsOverMax val="0"/>
  </c:chart>
  <c:spPr>
    <a:noFill/>
    <a:ln>
      <a:noFill/>
    </a:ln>
    <a:effectLst/>
  </c:spPr>
  <c:txPr>
    <a:bodyPr/>
    <a:lstStyle/>
    <a:p>
      <a:pPr>
        <a:defRPr sz="1050" b="1"/>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2633006068663427E-2"/>
          <c:y val="5.8355433603080431E-2"/>
          <c:w val="0.79664682947691168"/>
          <c:h val="0.89301503839435259"/>
        </c:manualLayout>
      </c:layout>
      <c:doughnutChart>
        <c:varyColors val="1"/>
        <c:ser>
          <c:idx val="0"/>
          <c:order val="0"/>
          <c:tx>
            <c:strRef>
              <c:f>Sheet1!$B$1</c:f>
              <c:strCache>
                <c:ptCount val="1"/>
                <c:pt idx="0">
                  <c:v>Column1</c:v>
                </c:pt>
              </c:strCache>
            </c:strRef>
          </c:tx>
          <c:spPr>
            <a:solidFill>
              <a:srgbClr val="A6A6A6"/>
            </a:solidFill>
            <a:effectLst/>
          </c:spPr>
          <c:dPt>
            <c:idx val="0"/>
            <c:bubble3D val="0"/>
            <c:spPr>
              <a:solidFill>
                <a:srgbClr val="21572B"/>
              </a:solidFill>
              <a:effectLst/>
            </c:spPr>
            <c:extLst>
              <c:ext xmlns:c16="http://schemas.microsoft.com/office/drawing/2014/chart" uri="{C3380CC4-5D6E-409C-BE32-E72D297353CC}">
                <c16:uniqueId val="{00000001-02B8-4497-A787-7864058C5E60}"/>
              </c:ext>
            </c:extLst>
          </c:dPt>
          <c:dPt>
            <c:idx val="1"/>
            <c:bubble3D val="0"/>
            <c:spPr>
              <a:solidFill>
                <a:srgbClr val="A6A6A6">
                  <a:alpha val="30000"/>
                </a:srgbClr>
              </a:solidFill>
              <a:effectLst/>
            </c:spPr>
            <c:extLst>
              <c:ext xmlns:c16="http://schemas.microsoft.com/office/drawing/2014/chart" uri="{C3380CC4-5D6E-409C-BE32-E72D297353CC}">
                <c16:uniqueId val="{00000003-02B8-4497-A787-7864058C5E60}"/>
              </c:ext>
            </c:extLst>
          </c:dPt>
          <c:cat>
            <c:numRef>
              <c:f>Sheet1!$A$2:$A$3</c:f>
              <c:numCache>
                <c:formatCode>General</c:formatCode>
                <c:ptCount val="2"/>
              </c:numCache>
            </c:numRef>
          </c:cat>
          <c:val>
            <c:numRef>
              <c:f>Sheet1!$B$2:$B$3</c:f>
              <c:numCache>
                <c:formatCode>General</c:formatCode>
                <c:ptCount val="2"/>
                <c:pt idx="0">
                  <c:v>87</c:v>
                </c:pt>
                <c:pt idx="1">
                  <c:v>13</c:v>
                </c:pt>
              </c:numCache>
            </c:numRef>
          </c:val>
          <c:extLst>
            <c:ext xmlns:c16="http://schemas.microsoft.com/office/drawing/2014/chart" uri="{C3380CC4-5D6E-409C-BE32-E72D297353CC}">
              <c16:uniqueId val="{00000004-02B8-4497-A787-7864058C5E60}"/>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9279720592794"/>
          <c:y val="0.13052552147900609"/>
          <c:w val="0.53177134897395595"/>
          <c:h val="0.7544742090227996"/>
        </c:manualLayout>
      </c:layout>
      <c:doughnutChart>
        <c:varyColors val="1"/>
        <c:ser>
          <c:idx val="0"/>
          <c:order val="0"/>
          <c:tx>
            <c:strRef>
              <c:f>Sheet1!$B$1</c:f>
              <c:strCache>
                <c:ptCount val="1"/>
                <c:pt idx="0">
                  <c:v>Awareness</c:v>
                </c:pt>
              </c:strCache>
            </c:strRef>
          </c:tx>
          <c:dPt>
            <c:idx val="0"/>
            <c:bubble3D val="0"/>
            <c:spPr>
              <a:solidFill>
                <a:schemeClr val="accent6">
                  <a:lumMod val="50000"/>
                </a:schemeClr>
              </a:solidFill>
            </c:spPr>
            <c:extLst>
              <c:ext xmlns:c16="http://schemas.microsoft.com/office/drawing/2014/chart" uri="{C3380CC4-5D6E-409C-BE32-E72D297353CC}">
                <c16:uniqueId val="{00000001-6C32-435A-93CF-55AE3068DF25}"/>
              </c:ext>
            </c:extLst>
          </c:dPt>
          <c:dPt>
            <c:idx val="1"/>
            <c:bubble3D val="0"/>
            <c:explosion val="16"/>
            <c:spPr>
              <a:solidFill>
                <a:schemeClr val="bg1"/>
              </a:solidFill>
            </c:spPr>
            <c:extLst>
              <c:ext xmlns:c16="http://schemas.microsoft.com/office/drawing/2014/chart" uri="{C3380CC4-5D6E-409C-BE32-E72D297353CC}">
                <c16:uniqueId val="{00000003-6C32-435A-93CF-55AE3068DF25}"/>
              </c:ext>
            </c:extLst>
          </c:dPt>
          <c:cat>
            <c:strRef>
              <c:f>Sheet1!$A$2:$A$3</c:f>
              <c:strCache>
                <c:ptCount val="2"/>
                <c:pt idx="0">
                  <c:v>Yes</c:v>
                </c:pt>
                <c:pt idx="1">
                  <c:v>No</c:v>
                </c:pt>
              </c:strCache>
            </c:strRef>
          </c:cat>
          <c:val>
            <c:numRef>
              <c:f>Sheet1!$B$2:$B$3</c:f>
              <c:numCache>
                <c:formatCode>0%</c:formatCode>
                <c:ptCount val="2"/>
                <c:pt idx="0">
                  <c:v>0.98</c:v>
                </c:pt>
                <c:pt idx="1">
                  <c:v>0.02</c:v>
                </c:pt>
              </c:numCache>
            </c:numRef>
          </c:val>
          <c:extLst>
            <c:ext xmlns:c16="http://schemas.microsoft.com/office/drawing/2014/chart" uri="{C3380CC4-5D6E-409C-BE32-E72D297353CC}">
              <c16:uniqueId val="{00000004-6C32-435A-93CF-55AE3068DF25}"/>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9279720592794"/>
          <c:y val="0.13052552147900609"/>
          <c:w val="0.53177134897395595"/>
          <c:h val="0.7544742090227996"/>
        </c:manualLayout>
      </c:layout>
      <c:doughnutChart>
        <c:varyColors val="1"/>
        <c:ser>
          <c:idx val="0"/>
          <c:order val="0"/>
          <c:tx>
            <c:strRef>
              <c:f>Sheet1!$B$1</c:f>
              <c:strCache>
                <c:ptCount val="1"/>
                <c:pt idx="0">
                  <c:v>Afraid of getting infected</c:v>
                </c:pt>
              </c:strCache>
            </c:strRef>
          </c:tx>
          <c:dPt>
            <c:idx val="0"/>
            <c:bubble3D val="0"/>
            <c:explosion val="12"/>
            <c:spPr>
              <a:solidFill>
                <a:schemeClr val="accent6">
                  <a:lumMod val="50000"/>
                </a:schemeClr>
              </a:solidFill>
            </c:spPr>
            <c:extLst>
              <c:ext xmlns:c16="http://schemas.microsoft.com/office/drawing/2014/chart" uri="{C3380CC4-5D6E-409C-BE32-E72D297353CC}">
                <c16:uniqueId val="{00000001-825F-479E-9D42-4D4B0B14B167}"/>
              </c:ext>
            </c:extLst>
          </c:dPt>
          <c:dPt>
            <c:idx val="1"/>
            <c:bubble3D val="0"/>
            <c:explosion val="16"/>
            <c:spPr>
              <a:solidFill>
                <a:schemeClr val="bg1"/>
              </a:solidFill>
            </c:spPr>
            <c:extLst>
              <c:ext xmlns:c16="http://schemas.microsoft.com/office/drawing/2014/chart" uri="{C3380CC4-5D6E-409C-BE32-E72D297353CC}">
                <c16:uniqueId val="{00000003-825F-479E-9D42-4D4B0B14B167}"/>
              </c:ext>
            </c:extLst>
          </c:dPt>
          <c:cat>
            <c:strRef>
              <c:f>Sheet1!$A$2:$A$3</c:f>
              <c:strCache>
                <c:ptCount val="2"/>
                <c:pt idx="0">
                  <c:v>Yes</c:v>
                </c:pt>
                <c:pt idx="1">
                  <c:v>No</c:v>
                </c:pt>
              </c:strCache>
            </c:strRef>
          </c:cat>
          <c:val>
            <c:numRef>
              <c:f>Sheet1!$B$2:$B$3</c:f>
              <c:numCache>
                <c:formatCode>0%</c:formatCode>
                <c:ptCount val="2"/>
                <c:pt idx="0">
                  <c:v>0.72</c:v>
                </c:pt>
                <c:pt idx="1">
                  <c:v>0.28000000000000003</c:v>
                </c:pt>
              </c:numCache>
            </c:numRef>
          </c:val>
          <c:extLst>
            <c:ext xmlns:c16="http://schemas.microsoft.com/office/drawing/2014/chart" uri="{C3380CC4-5D6E-409C-BE32-E72D297353CC}">
              <c16:uniqueId val="{00000004-825F-479E-9D42-4D4B0B14B167}"/>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46016775629172"/>
          <c:y val="6.0513233219668516E-3"/>
          <c:w val="0.62029525902233529"/>
          <c:h val="0.9334354434583646"/>
        </c:manualLayout>
      </c:layout>
      <c:barChart>
        <c:barDir val="bar"/>
        <c:grouping val="clustered"/>
        <c:varyColors val="0"/>
        <c:ser>
          <c:idx val="0"/>
          <c:order val="0"/>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5:$C$12</c:f>
              <c:strCache>
                <c:ptCount val="8"/>
                <c:pt idx="0">
                  <c:v>First Bank</c:v>
                </c:pt>
                <c:pt idx="1">
                  <c:v>MTN</c:v>
                </c:pt>
                <c:pt idx="2">
                  <c:v>Mimo (MKudi</c:v>
                </c:pt>
                <c:pt idx="3">
                  <c:v>Pay Com (Opay)</c:v>
                </c:pt>
                <c:pt idx="4">
                  <c:v>Airtel</c:v>
                </c:pt>
                <c:pt idx="5">
                  <c:v>First City Monument Bank</c:v>
                </c:pt>
                <c:pt idx="6">
                  <c:v>Guaranty Trust Bank</c:v>
                </c:pt>
                <c:pt idx="7">
                  <c:v>Others</c:v>
                </c:pt>
              </c:strCache>
            </c:strRef>
          </c:cat>
          <c:val>
            <c:numRef>
              <c:f>Sheet1!$D$5:$D$12</c:f>
              <c:numCache>
                <c:formatCode>###0%</c:formatCode>
                <c:ptCount val="8"/>
                <c:pt idx="0">
                  <c:v>0.30188679245283018</c:v>
                </c:pt>
                <c:pt idx="1">
                  <c:v>0.22641509433962265</c:v>
                </c:pt>
                <c:pt idx="2">
                  <c:v>9.4339622641509441E-2</c:v>
                </c:pt>
                <c:pt idx="3">
                  <c:v>7.5471698113207544E-2</c:v>
                </c:pt>
                <c:pt idx="4">
                  <c:v>7.5471698113207544E-2</c:v>
                </c:pt>
                <c:pt idx="5">
                  <c:v>5.6603773584905662E-2</c:v>
                </c:pt>
                <c:pt idx="6">
                  <c:v>5.6603773584905662E-2</c:v>
                </c:pt>
                <c:pt idx="7" formatCode="###0.0%">
                  <c:v>0.25</c:v>
                </c:pt>
              </c:numCache>
            </c:numRef>
          </c:val>
          <c:extLst>
            <c:ext xmlns:c16="http://schemas.microsoft.com/office/drawing/2014/chart" uri="{C3380CC4-5D6E-409C-BE32-E72D297353CC}">
              <c16:uniqueId val="{00000000-54F0-4492-B693-DA9EA8EA1FCF}"/>
            </c:ext>
          </c:extLst>
        </c:ser>
        <c:dLbls>
          <c:dLblPos val="outEnd"/>
          <c:showLegendKey val="0"/>
          <c:showVal val="1"/>
          <c:showCatName val="0"/>
          <c:showSerName val="0"/>
          <c:showPercent val="0"/>
          <c:showBubbleSize val="0"/>
        </c:dLbls>
        <c:gapWidth val="50"/>
        <c:axId val="1955682016"/>
        <c:axId val="1846142256"/>
      </c:barChart>
      <c:catAx>
        <c:axId val="19556820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1846142256"/>
        <c:crosses val="autoZero"/>
        <c:auto val="1"/>
        <c:lblAlgn val="ctr"/>
        <c:lblOffset val="100"/>
        <c:noMultiLvlLbl val="0"/>
      </c:catAx>
      <c:valAx>
        <c:axId val="1846142256"/>
        <c:scaling>
          <c:orientation val="minMax"/>
        </c:scaling>
        <c:delete val="1"/>
        <c:axPos val="t"/>
        <c:numFmt formatCode="###0%" sourceLinked="1"/>
        <c:majorTickMark val="none"/>
        <c:minorTickMark val="none"/>
        <c:tickLblPos val="nextTo"/>
        <c:crossAx val="19556820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89007988166337"/>
          <c:y val="3.7184829756499904E-3"/>
          <c:w val="0.44302145052820108"/>
          <c:h val="0.96043295691678598"/>
        </c:manualLayout>
      </c:layout>
      <c:barChart>
        <c:barDir val="bar"/>
        <c:grouping val="clustered"/>
        <c:varyColors val="0"/>
        <c:ser>
          <c:idx val="0"/>
          <c:order val="0"/>
          <c:spPr>
            <a:solidFill>
              <a:srgbClr val="006301"/>
            </a:solidFill>
            <a:ln>
              <a:solidFill>
                <a:schemeClr val="bg1"/>
              </a:solidFill>
            </a:ln>
            <a:effectLst>
              <a:outerShdw blurRad="50800" dist="38100" dir="2700000" algn="ctr" rotWithShape="0">
                <a:srgbClr val="000000">
                  <a:alpha val="40000"/>
                </a:srgbClr>
              </a:outerShdw>
            </a:effectLst>
          </c:spPr>
          <c:invertIfNegative val="0"/>
          <c:dLbls>
            <c:spPr>
              <a:noFill/>
              <a:ln>
                <a:noFill/>
              </a:ln>
              <a:effectLst/>
            </c:spPr>
            <c:txPr>
              <a:bodyPr/>
              <a:lstStyle/>
              <a:p>
                <a:pPr>
                  <a:defRPr sz="9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Distribution of hand sanitizers/ hand gloves/ provision of face/nose mask</c:v>
                </c:pt>
                <c:pt idx="1">
                  <c:v>Financial support</c:v>
                </c:pt>
                <c:pt idx="2">
                  <c:v>Creating more awareness</c:v>
                </c:pt>
                <c:pt idx="3">
                  <c:v>Good network services</c:v>
                </c:pt>
                <c:pt idx="4">
                  <c:v>Reduction of bank charges</c:v>
                </c:pt>
                <c:pt idx="5">
                  <c:v>They can give sign board/posters/ hand bills on guidelines on how to prevent coronavirus to distribute to customers</c:v>
                </c:pt>
                <c:pt idx="6">
                  <c:v>Staying / keeping In touch with customers</c:v>
                </c:pt>
                <c:pt idx="7">
                  <c:v>Loan should should be easy to collect</c:v>
                </c:pt>
                <c:pt idx="8">
                  <c:v>Give food stuff</c:v>
                </c:pt>
                <c:pt idx="9">
                  <c:v>Educate them more on it .</c:v>
                </c:pt>
              </c:strCache>
            </c:strRef>
          </c:cat>
          <c:val>
            <c:numRef>
              <c:f>Sheet1!$B$2:$B$11</c:f>
              <c:numCache>
                <c:formatCode>0%</c:formatCode>
                <c:ptCount val="10"/>
                <c:pt idx="0">
                  <c:v>0.33333299999999999</c:v>
                </c:pt>
                <c:pt idx="1">
                  <c:v>0.25</c:v>
                </c:pt>
                <c:pt idx="2">
                  <c:v>0.16666699999999998</c:v>
                </c:pt>
                <c:pt idx="3">
                  <c:v>0.16666699999999998</c:v>
                </c:pt>
                <c:pt idx="4">
                  <c:v>0.16666699999999998</c:v>
                </c:pt>
                <c:pt idx="5">
                  <c:v>8.333299999999999E-2</c:v>
                </c:pt>
                <c:pt idx="6">
                  <c:v>8.333299999999999E-2</c:v>
                </c:pt>
                <c:pt idx="7">
                  <c:v>8.333299999999999E-2</c:v>
                </c:pt>
                <c:pt idx="8">
                  <c:v>8.333299999999999E-2</c:v>
                </c:pt>
                <c:pt idx="9">
                  <c:v>8.333299999999999E-2</c:v>
                </c:pt>
              </c:numCache>
            </c:numRef>
          </c:val>
          <c:extLst>
            <c:ext xmlns:c16="http://schemas.microsoft.com/office/drawing/2014/chart" uri="{C3380CC4-5D6E-409C-BE32-E72D297353CC}">
              <c16:uniqueId val="{00000000-8C61-4157-BC10-0E7AAA2A2CC5}"/>
            </c:ext>
          </c:extLst>
        </c:ser>
        <c:dLbls>
          <c:showLegendKey val="0"/>
          <c:showVal val="0"/>
          <c:showCatName val="0"/>
          <c:showSerName val="0"/>
          <c:showPercent val="0"/>
          <c:showBubbleSize val="0"/>
        </c:dLbls>
        <c:gapWidth val="50"/>
        <c:axId val="520978816"/>
        <c:axId val="520980352"/>
      </c:barChart>
      <c:catAx>
        <c:axId val="520978816"/>
        <c:scaling>
          <c:orientation val="maxMin"/>
        </c:scaling>
        <c:delete val="0"/>
        <c:axPos val="l"/>
        <c:numFmt formatCode="General" sourceLinked="0"/>
        <c:majorTickMark val="out"/>
        <c:minorTickMark val="none"/>
        <c:tickLblPos val="nextTo"/>
        <c:crossAx val="520980352"/>
        <c:crosses val="autoZero"/>
        <c:auto val="1"/>
        <c:lblAlgn val="ctr"/>
        <c:lblOffset val="100"/>
        <c:noMultiLvlLbl val="0"/>
      </c:catAx>
      <c:valAx>
        <c:axId val="520980352"/>
        <c:scaling>
          <c:orientation val="minMax"/>
          <c:max val="0.70000000000000007"/>
          <c:min val="0"/>
        </c:scaling>
        <c:delete val="1"/>
        <c:axPos val="t"/>
        <c:numFmt formatCode="0%" sourceLinked="1"/>
        <c:majorTickMark val="out"/>
        <c:minorTickMark val="none"/>
        <c:tickLblPos val="nextTo"/>
        <c:crossAx val="520978816"/>
        <c:crosses val="autoZero"/>
        <c:crossBetween val="between"/>
        <c:majorUnit val="0.2"/>
      </c:valAx>
    </c:plotArea>
    <c:plotVisOnly val="1"/>
    <c:dispBlanksAs val="gap"/>
    <c:showDLblsOverMax val="0"/>
  </c:chart>
  <c:spPr>
    <a:noFill/>
    <a:ln w="28575"/>
  </c:spPr>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Column1</c:v>
                </c:pt>
              </c:strCache>
            </c:strRef>
          </c:tx>
          <c:spPr>
            <a:solidFill>
              <a:srgbClr val="A6A6A6"/>
            </a:solidFill>
            <a:effectLst/>
          </c:spPr>
          <c:dPt>
            <c:idx val="0"/>
            <c:bubble3D val="0"/>
            <c:spPr>
              <a:solidFill>
                <a:srgbClr val="21572B"/>
              </a:solidFill>
              <a:effectLst/>
            </c:spPr>
            <c:extLst>
              <c:ext xmlns:c16="http://schemas.microsoft.com/office/drawing/2014/chart" uri="{C3380CC4-5D6E-409C-BE32-E72D297353CC}">
                <c16:uniqueId val="{00000001-5A24-4464-A006-529D206D4104}"/>
              </c:ext>
            </c:extLst>
          </c:dPt>
          <c:dPt>
            <c:idx val="1"/>
            <c:bubble3D val="0"/>
            <c:spPr>
              <a:solidFill>
                <a:srgbClr val="A6A6A6">
                  <a:alpha val="30000"/>
                </a:srgbClr>
              </a:solidFill>
              <a:effectLst/>
            </c:spPr>
            <c:extLst>
              <c:ext xmlns:c16="http://schemas.microsoft.com/office/drawing/2014/chart" uri="{C3380CC4-5D6E-409C-BE32-E72D297353CC}">
                <c16:uniqueId val="{00000003-5A24-4464-A006-529D206D4104}"/>
              </c:ext>
            </c:extLst>
          </c:dPt>
          <c:cat>
            <c:numRef>
              <c:f>Sheet1!$A$2:$A$3</c:f>
              <c:numCache>
                <c:formatCode>General</c:formatCode>
                <c:ptCount val="2"/>
              </c:numCache>
            </c:numRef>
          </c:cat>
          <c:val>
            <c:numRef>
              <c:f>Sheet1!$B$2:$B$3</c:f>
              <c:numCache>
                <c:formatCode>General</c:formatCode>
                <c:ptCount val="2"/>
                <c:pt idx="0">
                  <c:v>71</c:v>
                </c:pt>
                <c:pt idx="1">
                  <c:v>29</c:v>
                </c:pt>
              </c:numCache>
            </c:numRef>
          </c:val>
          <c:extLst>
            <c:ext xmlns:c16="http://schemas.microsoft.com/office/drawing/2014/chart" uri="{C3380CC4-5D6E-409C-BE32-E72D297353CC}">
              <c16:uniqueId val="{00000004-5A24-4464-A006-529D206D4104}"/>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Column1</c:v>
                </c:pt>
              </c:strCache>
            </c:strRef>
          </c:tx>
          <c:spPr>
            <a:solidFill>
              <a:srgbClr val="A6A6A6"/>
            </a:solidFill>
            <a:effectLst/>
          </c:spPr>
          <c:dPt>
            <c:idx val="0"/>
            <c:bubble3D val="0"/>
            <c:spPr>
              <a:solidFill>
                <a:srgbClr val="21572B"/>
              </a:solidFill>
              <a:effectLst/>
            </c:spPr>
            <c:extLst>
              <c:ext xmlns:c16="http://schemas.microsoft.com/office/drawing/2014/chart" uri="{C3380CC4-5D6E-409C-BE32-E72D297353CC}">
                <c16:uniqueId val="{00000001-37A5-49F5-8C0C-90A78F61ABAF}"/>
              </c:ext>
            </c:extLst>
          </c:dPt>
          <c:dPt>
            <c:idx val="1"/>
            <c:bubble3D val="0"/>
            <c:spPr>
              <a:solidFill>
                <a:srgbClr val="A6A6A6">
                  <a:alpha val="30000"/>
                </a:srgbClr>
              </a:solidFill>
              <a:effectLst/>
            </c:spPr>
            <c:extLst>
              <c:ext xmlns:c16="http://schemas.microsoft.com/office/drawing/2014/chart" uri="{C3380CC4-5D6E-409C-BE32-E72D297353CC}">
                <c16:uniqueId val="{00000003-37A5-49F5-8C0C-90A78F61ABAF}"/>
              </c:ext>
            </c:extLst>
          </c:dPt>
          <c:cat>
            <c:numRef>
              <c:f>Sheet1!$A$2:$A$3</c:f>
              <c:numCache>
                <c:formatCode>General</c:formatCode>
                <c:ptCount val="2"/>
              </c:numCache>
            </c:numRef>
          </c:cat>
          <c:val>
            <c:numRef>
              <c:f>Sheet1!$B$2:$B$3</c:f>
              <c:numCache>
                <c:formatCode>General</c:formatCode>
                <c:ptCount val="2"/>
                <c:pt idx="0">
                  <c:v>15</c:v>
                </c:pt>
                <c:pt idx="1">
                  <c:v>85</c:v>
                </c:pt>
              </c:numCache>
            </c:numRef>
          </c:val>
          <c:extLst>
            <c:ext xmlns:c16="http://schemas.microsoft.com/office/drawing/2014/chart" uri="{C3380CC4-5D6E-409C-BE32-E72D297353CC}">
              <c16:uniqueId val="{00000004-37A5-49F5-8C0C-90A78F61ABAF}"/>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Column1</c:v>
                </c:pt>
              </c:strCache>
            </c:strRef>
          </c:tx>
          <c:spPr>
            <a:solidFill>
              <a:srgbClr val="A6A6A6"/>
            </a:solidFill>
            <a:effectLst/>
          </c:spPr>
          <c:dPt>
            <c:idx val="0"/>
            <c:bubble3D val="0"/>
            <c:spPr>
              <a:solidFill>
                <a:srgbClr val="21572B"/>
              </a:solidFill>
              <a:effectLst/>
            </c:spPr>
            <c:extLst>
              <c:ext xmlns:c16="http://schemas.microsoft.com/office/drawing/2014/chart" uri="{C3380CC4-5D6E-409C-BE32-E72D297353CC}">
                <c16:uniqueId val="{00000001-72C2-4470-A910-407200A2271C}"/>
              </c:ext>
            </c:extLst>
          </c:dPt>
          <c:dPt>
            <c:idx val="1"/>
            <c:bubble3D val="0"/>
            <c:spPr>
              <a:solidFill>
                <a:srgbClr val="A6A6A6">
                  <a:alpha val="30000"/>
                </a:srgbClr>
              </a:solidFill>
              <a:effectLst/>
            </c:spPr>
            <c:extLst>
              <c:ext xmlns:c16="http://schemas.microsoft.com/office/drawing/2014/chart" uri="{C3380CC4-5D6E-409C-BE32-E72D297353CC}">
                <c16:uniqueId val="{00000003-72C2-4470-A910-407200A2271C}"/>
              </c:ext>
            </c:extLst>
          </c:dPt>
          <c:cat>
            <c:numRef>
              <c:f>Sheet1!$A$2:$A$3</c:f>
              <c:numCache>
                <c:formatCode>General</c:formatCode>
                <c:ptCount val="2"/>
              </c:numCache>
            </c:num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72C2-4470-A910-407200A2271C}"/>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Column1</c:v>
                </c:pt>
              </c:strCache>
            </c:strRef>
          </c:tx>
          <c:spPr>
            <a:solidFill>
              <a:srgbClr val="A6A6A6"/>
            </a:solidFill>
            <a:effectLst/>
          </c:spPr>
          <c:dPt>
            <c:idx val="0"/>
            <c:bubble3D val="0"/>
            <c:spPr>
              <a:solidFill>
                <a:srgbClr val="21572B"/>
              </a:solidFill>
              <a:effectLst/>
            </c:spPr>
            <c:extLst>
              <c:ext xmlns:c16="http://schemas.microsoft.com/office/drawing/2014/chart" uri="{C3380CC4-5D6E-409C-BE32-E72D297353CC}">
                <c16:uniqueId val="{00000001-5986-4EF0-8EAF-676D3C415C22}"/>
              </c:ext>
            </c:extLst>
          </c:dPt>
          <c:dPt>
            <c:idx val="1"/>
            <c:bubble3D val="0"/>
            <c:spPr>
              <a:solidFill>
                <a:srgbClr val="A6A6A6">
                  <a:alpha val="30000"/>
                </a:srgbClr>
              </a:solidFill>
              <a:effectLst/>
            </c:spPr>
            <c:extLst>
              <c:ext xmlns:c16="http://schemas.microsoft.com/office/drawing/2014/chart" uri="{C3380CC4-5D6E-409C-BE32-E72D297353CC}">
                <c16:uniqueId val="{00000003-5986-4EF0-8EAF-676D3C415C22}"/>
              </c:ext>
            </c:extLst>
          </c:dPt>
          <c:cat>
            <c:numRef>
              <c:f>Sheet1!$A$2:$A$3</c:f>
              <c:numCache>
                <c:formatCode>General</c:formatCode>
                <c:ptCount val="2"/>
              </c:numCache>
            </c:numRef>
          </c:cat>
          <c:val>
            <c:numRef>
              <c:f>Sheet1!$B$2:$B$3</c:f>
              <c:numCache>
                <c:formatCode>General</c:formatCode>
                <c:ptCount val="2"/>
                <c:pt idx="0">
                  <c:v>3</c:v>
                </c:pt>
                <c:pt idx="1">
                  <c:v>97</c:v>
                </c:pt>
              </c:numCache>
            </c:numRef>
          </c:val>
          <c:extLst>
            <c:ext xmlns:c16="http://schemas.microsoft.com/office/drawing/2014/chart" uri="{C3380CC4-5D6E-409C-BE32-E72D297353CC}">
              <c16:uniqueId val="{00000004-5986-4EF0-8EAF-676D3C415C22}"/>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07-04T14:42:25.063" idx="1">
    <p:pos x="10" y="10"/>
    <p:text>Standardise the spacing in this slide. They are not the same.</p:text>
    <p:extLst>
      <p:ext uri="{C676402C-5697-4E1C-873F-D02D1690AC5C}">
        <p15:threadingInfo xmlns:p15="http://schemas.microsoft.com/office/powerpoint/2012/main" timeZoneBias="-6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7-04T14:43:55.788" idx="2">
    <p:pos x="10" y="10"/>
    <p:text>You can change the background so that it can look different from agent survey report</p:text>
    <p:extLst>
      <p:ext uri="{C676402C-5697-4E1C-873F-D02D1690AC5C}">
        <p15:threadingInfo xmlns:p15="http://schemas.microsoft.com/office/powerpoint/2012/main" timeZoneBias="-6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0-07-04T14:46:07.838" idx="3">
    <p:pos x="10" y="10"/>
    <p:text>Change the picture here to be different from other report</p:text>
    <p:extLst>
      <p:ext uri="{C676402C-5697-4E1C-873F-D02D1690AC5C}">
        <p15:threadingInfo xmlns:p15="http://schemas.microsoft.com/office/powerpoint/2012/main" timeZoneBias="-60"/>
      </p:ext>
    </p:extLst>
  </p:cm>
  <p:cm authorId="1" dt="2020-07-04T14:47:04.445" idx="4">
    <p:pos x="146" y="146"/>
    <p:text>Beyond the recommendations, I can't see more additions to what Nielsen did. I thought Fisayo did more analysis based on feedback from Ashley?</p:text>
    <p:extLst>
      <p:ext uri="{C676402C-5697-4E1C-873F-D02D1690AC5C}">
        <p15:threadingInfo xmlns:p15="http://schemas.microsoft.com/office/powerpoint/2012/main" timeZoneBias="-60"/>
      </p:ext>
    </p:extLst>
  </p:cm>
  <p:cm authorId="1" dt="2020-07-04T14:52:29.843" idx="5">
    <p:pos x="4334" y="1103"/>
    <p:text>In the recommendation, include the need for standardisation of safety messages amongst agents to avoid communication wrong messages to clients</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85967C-F32A-4154-828B-A4D0D0114189}"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GB"/>
        </a:p>
      </dgm:t>
    </dgm:pt>
    <dgm:pt modelId="{84B90FB1-3924-4FFA-A1C4-1217BD6BAD42}">
      <dgm:prSet phldrT="[Text]"/>
      <dgm:spPr>
        <a:solidFill>
          <a:schemeClr val="bg1"/>
        </a:solidFill>
      </dgm:spPr>
      <dgm:t>
        <a:bodyPr/>
        <a:lstStyle/>
        <a:p>
          <a:r>
            <a:rPr lang="en-GB" b="1">
              <a:solidFill>
                <a:schemeClr val="tx1"/>
              </a:solidFill>
            </a:rPr>
            <a:t>Research</a:t>
          </a:r>
        </a:p>
      </dgm:t>
    </dgm:pt>
    <dgm:pt modelId="{9DBA75D8-7937-44AB-899F-C5EC5AF16ED6}" type="parTrans" cxnId="{382522EA-5B25-4C57-B55C-4C4F517A0D39}">
      <dgm:prSet/>
      <dgm:spPr/>
      <dgm:t>
        <a:bodyPr/>
        <a:lstStyle/>
        <a:p>
          <a:endParaRPr lang="en-GB" b="1">
            <a:solidFill>
              <a:schemeClr val="tx1"/>
            </a:solidFill>
          </a:endParaRPr>
        </a:p>
      </dgm:t>
    </dgm:pt>
    <dgm:pt modelId="{5CC67E49-F8F6-407B-95A3-405AA0AF09F3}" type="sibTrans" cxnId="{382522EA-5B25-4C57-B55C-4C4F517A0D39}">
      <dgm:prSet/>
      <dgm:spPr>
        <a:ln>
          <a:solidFill>
            <a:schemeClr val="bg1"/>
          </a:solidFill>
        </a:ln>
      </dgm:spPr>
      <dgm:t>
        <a:bodyPr/>
        <a:lstStyle/>
        <a:p>
          <a:endParaRPr lang="en-GB" b="1">
            <a:solidFill>
              <a:schemeClr val="tx1"/>
            </a:solidFill>
          </a:endParaRPr>
        </a:p>
      </dgm:t>
    </dgm:pt>
    <dgm:pt modelId="{00749D48-8096-49A4-BDC9-11D7A6682DD3}">
      <dgm:prSet phldrT="[Text]"/>
      <dgm:spPr>
        <a:solidFill>
          <a:schemeClr val="bg1"/>
        </a:solidFill>
        <a:ln>
          <a:solidFill>
            <a:schemeClr val="bg1"/>
          </a:solidFill>
        </a:ln>
      </dgm:spPr>
      <dgm:t>
        <a:bodyPr/>
        <a:lstStyle/>
        <a:p>
          <a:r>
            <a:rPr lang="en-GB" b="1">
              <a:solidFill>
                <a:schemeClr val="tx1"/>
              </a:solidFill>
            </a:rPr>
            <a:t>Innovation</a:t>
          </a:r>
        </a:p>
      </dgm:t>
    </dgm:pt>
    <dgm:pt modelId="{E5621451-BD7D-413B-BC40-CBB0E5B8EA67}" type="parTrans" cxnId="{C43BE3F8-2542-478B-A8EE-4961A364AEA8}">
      <dgm:prSet/>
      <dgm:spPr/>
      <dgm:t>
        <a:bodyPr/>
        <a:lstStyle/>
        <a:p>
          <a:endParaRPr lang="en-GB" b="1">
            <a:solidFill>
              <a:schemeClr val="tx1"/>
            </a:solidFill>
          </a:endParaRPr>
        </a:p>
      </dgm:t>
    </dgm:pt>
    <dgm:pt modelId="{5F94D881-7AA9-42E9-BBCE-02E62E066D30}" type="sibTrans" cxnId="{C43BE3F8-2542-478B-A8EE-4961A364AEA8}">
      <dgm:prSet/>
      <dgm:spPr>
        <a:ln>
          <a:solidFill>
            <a:schemeClr val="bg1"/>
          </a:solidFill>
        </a:ln>
      </dgm:spPr>
      <dgm:t>
        <a:bodyPr/>
        <a:lstStyle/>
        <a:p>
          <a:endParaRPr lang="en-GB" b="1">
            <a:solidFill>
              <a:schemeClr val="tx1"/>
            </a:solidFill>
          </a:endParaRPr>
        </a:p>
      </dgm:t>
    </dgm:pt>
    <dgm:pt modelId="{BCBE8230-1DA2-4A32-B36A-AE0C9F3EF94B}">
      <dgm:prSet phldrT="[Text]"/>
      <dgm:spPr>
        <a:solidFill>
          <a:schemeClr val="bg1"/>
        </a:solidFill>
      </dgm:spPr>
      <dgm:t>
        <a:bodyPr/>
        <a:lstStyle/>
        <a:p>
          <a:r>
            <a:rPr lang="en-GB" b="1">
              <a:solidFill>
                <a:schemeClr val="tx1"/>
              </a:solidFill>
            </a:rPr>
            <a:t>Digital Finance</a:t>
          </a:r>
        </a:p>
      </dgm:t>
    </dgm:pt>
    <dgm:pt modelId="{DDAEC7AC-FC11-4E58-B302-C40218CD2604}" type="parTrans" cxnId="{12A6876A-7788-4291-AC1B-10B4AF276B2C}">
      <dgm:prSet/>
      <dgm:spPr/>
      <dgm:t>
        <a:bodyPr/>
        <a:lstStyle/>
        <a:p>
          <a:endParaRPr lang="en-GB" b="1">
            <a:solidFill>
              <a:schemeClr val="tx1"/>
            </a:solidFill>
          </a:endParaRPr>
        </a:p>
      </dgm:t>
    </dgm:pt>
    <dgm:pt modelId="{D304B3F0-83EF-450F-A924-BF67B9ECBE2A}" type="sibTrans" cxnId="{12A6876A-7788-4291-AC1B-10B4AF276B2C}">
      <dgm:prSet/>
      <dgm:spPr>
        <a:ln>
          <a:solidFill>
            <a:schemeClr val="bg1"/>
          </a:solidFill>
        </a:ln>
      </dgm:spPr>
      <dgm:t>
        <a:bodyPr/>
        <a:lstStyle/>
        <a:p>
          <a:endParaRPr lang="en-GB" b="1">
            <a:solidFill>
              <a:schemeClr val="tx1"/>
            </a:solidFill>
          </a:endParaRPr>
        </a:p>
      </dgm:t>
    </dgm:pt>
    <dgm:pt modelId="{906FE94A-23E1-497A-90D2-443DC352E211}">
      <dgm:prSet phldrT="[Text]"/>
      <dgm:spPr>
        <a:solidFill>
          <a:schemeClr val="bg1"/>
        </a:solidFill>
      </dgm:spPr>
      <dgm:t>
        <a:bodyPr/>
        <a:lstStyle/>
        <a:p>
          <a:r>
            <a:rPr lang="en-GB" b="1">
              <a:solidFill>
                <a:schemeClr val="tx1"/>
              </a:solidFill>
            </a:rPr>
            <a:t>Capacity Building &amp; Advocacy</a:t>
          </a:r>
        </a:p>
      </dgm:t>
    </dgm:pt>
    <dgm:pt modelId="{4478984C-74A4-4043-B9C3-BAE3A5EA3029}" type="parTrans" cxnId="{03E9954D-5D6A-4A88-B509-AEEFA82DF03F}">
      <dgm:prSet/>
      <dgm:spPr/>
      <dgm:t>
        <a:bodyPr/>
        <a:lstStyle/>
        <a:p>
          <a:endParaRPr lang="en-GB" b="1">
            <a:solidFill>
              <a:schemeClr val="tx1"/>
            </a:solidFill>
          </a:endParaRPr>
        </a:p>
      </dgm:t>
    </dgm:pt>
    <dgm:pt modelId="{4CA7A1AB-EDDE-41D1-AE99-C5B9F3973AC7}" type="sibTrans" cxnId="{03E9954D-5D6A-4A88-B509-AEEFA82DF03F}">
      <dgm:prSet/>
      <dgm:spPr>
        <a:ln>
          <a:solidFill>
            <a:schemeClr val="bg1"/>
          </a:solidFill>
        </a:ln>
      </dgm:spPr>
      <dgm:t>
        <a:bodyPr/>
        <a:lstStyle/>
        <a:p>
          <a:endParaRPr lang="en-GB" b="1">
            <a:solidFill>
              <a:schemeClr val="tx1"/>
            </a:solidFill>
          </a:endParaRPr>
        </a:p>
      </dgm:t>
    </dgm:pt>
    <dgm:pt modelId="{D73C450B-2DA7-4F3B-8E95-A0EC2A3B9D0D}" type="pres">
      <dgm:prSet presAssocID="{F085967C-F32A-4154-828B-A4D0D0114189}" presName="cycle" presStyleCnt="0">
        <dgm:presLayoutVars>
          <dgm:dir/>
          <dgm:resizeHandles val="exact"/>
        </dgm:presLayoutVars>
      </dgm:prSet>
      <dgm:spPr/>
    </dgm:pt>
    <dgm:pt modelId="{AE464CD9-0D49-4F64-850C-A8AAA4C72E04}" type="pres">
      <dgm:prSet presAssocID="{84B90FB1-3924-4FFA-A1C4-1217BD6BAD42}" presName="node" presStyleLbl="node1" presStyleIdx="0" presStyleCnt="4">
        <dgm:presLayoutVars>
          <dgm:bulletEnabled val="1"/>
        </dgm:presLayoutVars>
      </dgm:prSet>
      <dgm:spPr/>
    </dgm:pt>
    <dgm:pt modelId="{F3851021-F6DD-4BDA-A7BF-E750B476CDBA}" type="pres">
      <dgm:prSet presAssocID="{84B90FB1-3924-4FFA-A1C4-1217BD6BAD42}" presName="spNode" presStyleCnt="0"/>
      <dgm:spPr/>
    </dgm:pt>
    <dgm:pt modelId="{60506B0D-562C-4DFE-A405-EF60205E9FC4}" type="pres">
      <dgm:prSet presAssocID="{5CC67E49-F8F6-407B-95A3-405AA0AF09F3}" presName="sibTrans" presStyleLbl="sibTrans1D1" presStyleIdx="0" presStyleCnt="4"/>
      <dgm:spPr/>
    </dgm:pt>
    <dgm:pt modelId="{3CF2DDE9-4A3D-43FF-9D9A-BA1CCB64C2AD}" type="pres">
      <dgm:prSet presAssocID="{00749D48-8096-49A4-BDC9-11D7A6682DD3}" presName="node" presStyleLbl="node1" presStyleIdx="1" presStyleCnt="4">
        <dgm:presLayoutVars>
          <dgm:bulletEnabled val="1"/>
        </dgm:presLayoutVars>
      </dgm:prSet>
      <dgm:spPr/>
    </dgm:pt>
    <dgm:pt modelId="{1BC3CBDF-490E-4781-A4B2-0DF02B0A644C}" type="pres">
      <dgm:prSet presAssocID="{00749D48-8096-49A4-BDC9-11D7A6682DD3}" presName="spNode" presStyleCnt="0"/>
      <dgm:spPr/>
    </dgm:pt>
    <dgm:pt modelId="{CB072A51-61B0-4B29-BA34-D24832F86117}" type="pres">
      <dgm:prSet presAssocID="{5F94D881-7AA9-42E9-BBCE-02E62E066D30}" presName="sibTrans" presStyleLbl="sibTrans1D1" presStyleIdx="1" presStyleCnt="4"/>
      <dgm:spPr/>
    </dgm:pt>
    <dgm:pt modelId="{0D903F85-EF67-49EA-8554-358785A2E113}" type="pres">
      <dgm:prSet presAssocID="{BCBE8230-1DA2-4A32-B36A-AE0C9F3EF94B}" presName="node" presStyleLbl="node1" presStyleIdx="2" presStyleCnt="4">
        <dgm:presLayoutVars>
          <dgm:bulletEnabled val="1"/>
        </dgm:presLayoutVars>
      </dgm:prSet>
      <dgm:spPr/>
    </dgm:pt>
    <dgm:pt modelId="{637C8889-279F-4047-AB21-BC3EDF518C7F}" type="pres">
      <dgm:prSet presAssocID="{BCBE8230-1DA2-4A32-B36A-AE0C9F3EF94B}" presName="spNode" presStyleCnt="0"/>
      <dgm:spPr/>
    </dgm:pt>
    <dgm:pt modelId="{5F67B392-5674-410F-A18C-5DA3F0FF8FE6}" type="pres">
      <dgm:prSet presAssocID="{D304B3F0-83EF-450F-A924-BF67B9ECBE2A}" presName="sibTrans" presStyleLbl="sibTrans1D1" presStyleIdx="2" presStyleCnt="4"/>
      <dgm:spPr/>
    </dgm:pt>
    <dgm:pt modelId="{4E625BF8-62F1-41A5-B168-5AC24481595B}" type="pres">
      <dgm:prSet presAssocID="{906FE94A-23E1-497A-90D2-443DC352E211}" presName="node" presStyleLbl="node1" presStyleIdx="3" presStyleCnt="4">
        <dgm:presLayoutVars>
          <dgm:bulletEnabled val="1"/>
        </dgm:presLayoutVars>
      </dgm:prSet>
      <dgm:spPr/>
    </dgm:pt>
    <dgm:pt modelId="{63324D61-5074-4813-8DF2-CB8A7D3C62D1}" type="pres">
      <dgm:prSet presAssocID="{906FE94A-23E1-497A-90D2-443DC352E211}" presName="spNode" presStyleCnt="0"/>
      <dgm:spPr/>
    </dgm:pt>
    <dgm:pt modelId="{234FE555-1950-4349-95DB-A0DF067DF0F0}" type="pres">
      <dgm:prSet presAssocID="{4CA7A1AB-EDDE-41D1-AE99-C5B9F3973AC7}" presName="sibTrans" presStyleLbl="sibTrans1D1" presStyleIdx="3" presStyleCnt="4"/>
      <dgm:spPr/>
    </dgm:pt>
  </dgm:ptLst>
  <dgm:cxnLst>
    <dgm:cxn modelId="{DEA0DE09-BAAD-4065-9F18-3E4BB1090EF1}" type="presOf" srcId="{5F94D881-7AA9-42E9-BBCE-02E62E066D30}" destId="{CB072A51-61B0-4B29-BA34-D24832F86117}" srcOrd="0" destOrd="0" presId="urn:microsoft.com/office/officeart/2005/8/layout/cycle6"/>
    <dgm:cxn modelId="{970D3F19-D9A6-489C-8BE8-65A0E9B24246}" type="presOf" srcId="{00749D48-8096-49A4-BDC9-11D7A6682DD3}" destId="{3CF2DDE9-4A3D-43FF-9D9A-BA1CCB64C2AD}" srcOrd="0" destOrd="0" presId="urn:microsoft.com/office/officeart/2005/8/layout/cycle6"/>
    <dgm:cxn modelId="{12A6876A-7788-4291-AC1B-10B4AF276B2C}" srcId="{F085967C-F32A-4154-828B-A4D0D0114189}" destId="{BCBE8230-1DA2-4A32-B36A-AE0C9F3EF94B}" srcOrd="2" destOrd="0" parTransId="{DDAEC7AC-FC11-4E58-B302-C40218CD2604}" sibTransId="{D304B3F0-83EF-450F-A924-BF67B9ECBE2A}"/>
    <dgm:cxn modelId="{03E9954D-5D6A-4A88-B509-AEEFA82DF03F}" srcId="{F085967C-F32A-4154-828B-A4D0D0114189}" destId="{906FE94A-23E1-497A-90D2-443DC352E211}" srcOrd="3" destOrd="0" parTransId="{4478984C-74A4-4043-B9C3-BAE3A5EA3029}" sibTransId="{4CA7A1AB-EDDE-41D1-AE99-C5B9F3973AC7}"/>
    <dgm:cxn modelId="{CED00F7F-C910-42B4-A152-5AF6DAA9A904}" type="presOf" srcId="{BCBE8230-1DA2-4A32-B36A-AE0C9F3EF94B}" destId="{0D903F85-EF67-49EA-8554-358785A2E113}" srcOrd="0" destOrd="0" presId="urn:microsoft.com/office/officeart/2005/8/layout/cycle6"/>
    <dgm:cxn modelId="{988B2D85-0814-435E-BF0E-8E79F982BE53}" type="presOf" srcId="{4CA7A1AB-EDDE-41D1-AE99-C5B9F3973AC7}" destId="{234FE555-1950-4349-95DB-A0DF067DF0F0}" srcOrd="0" destOrd="0" presId="urn:microsoft.com/office/officeart/2005/8/layout/cycle6"/>
    <dgm:cxn modelId="{1CE0AA94-39A2-4A40-A16E-B474A75A8D68}" type="presOf" srcId="{5CC67E49-F8F6-407B-95A3-405AA0AF09F3}" destId="{60506B0D-562C-4DFE-A405-EF60205E9FC4}" srcOrd="0" destOrd="0" presId="urn:microsoft.com/office/officeart/2005/8/layout/cycle6"/>
    <dgm:cxn modelId="{4F7ACC9F-D66C-4B5F-B52D-C8C7BDCE6A06}" type="presOf" srcId="{D304B3F0-83EF-450F-A924-BF67B9ECBE2A}" destId="{5F67B392-5674-410F-A18C-5DA3F0FF8FE6}" srcOrd="0" destOrd="0" presId="urn:microsoft.com/office/officeart/2005/8/layout/cycle6"/>
    <dgm:cxn modelId="{216242AF-E09F-4265-B5DC-E5A2DAF89CD2}" type="presOf" srcId="{84B90FB1-3924-4FFA-A1C4-1217BD6BAD42}" destId="{AE464CD9-0D49-4F64-850C-A8AAA4C72E04}" srcOrd="0" destOrd="0" presId="urn:microsoft.com/office/officeart/2005/8/layout/cycle6"/>
    <dgm:cxn modelId="{C54269D7-0C99-4B39-A8BD-248235385388}" type="presOf" srcId="{906FE94A-23E1-497A-90D2-443DC352E211}" destId="{4E625BF8-62F1-41A5-B168-5AC24481595B}" srcOrd="0" destOrd="0" presId="urn:microsoft.com/office/officeart/2005/8/layout/cycle6"/>
    <dgm:cxn modelId="{382522EA-5B25-4C57-B55C-4C4F517A0D39}" srcId="{F085967C-F32A-4154-828B-A4D0D0114189}" destId="{84B90FB1-3924-4FFA-A1C4-1217BD6BAD42}" srcOrd="0" destOrd="0" parTransId="{9DBA75D8-7937-44AB-899F-C5EC5AF16ED6}" sibTransId="{5CC67E49-F8F6-407B-95A3-405AA0AF09F3}"/>
    <dgm:cxn modelId="{1EC92EEE-9F87-46A8-8B7B-D84D5ECC089F}" type="presOf" srcId="{F085967C-F32A-4154-828B-A4D0D0114189}" destId="{D73C450B-2DA7-4F3B-8E95-A0EC2A3B9D0D}" srcOrd="0" destOrd="0" presId="urn:microsoft.com/office/officeart/2005/8/layout/cycle6"/>
    <dgm:cxn modelId="{C43BE3F8-2542-478B-A8EE-4961A364AEA8}" srcId="{F085967C-F32A-4154-828B-A4D0D0114189}" destId="{00749D48-8096-49A4-BDC9-11D7A6682DD3}" srcOrd="1" destOrd="0" parTransId="{E5621451-BD7D-413B-BC40-CBB0E5B8EA67}" sibTransId="{5F94D881-7AA9-42E9-BBCE-02E62E066D30}"/>
    <dgm:cxn modelId="{D76BB481-F6BD-4A77-B464-F7C5397FF8FA}" type="presParOf" srcId="{D73C450B-2DA7-4F3B-8E95-A0EC2A3B9D0D}" destId="{AE464CD9-0D49-4F64-850C-A8AAA4C72E04}" srcOrd="0" destOrd="0" presId="urn:microsoft.com/office/officeart/2005/8/layout/cycle6"/>
    <dgm:cxn modelId="{ADAAD8CA-7E98-4954-AFF9-FA3F2F113E38}" type="presParOf" srcId="{D73C450B-2DA7-4F3B-8E95-A0EC2A3B9D0D}" destId="{F3851021-F6DD-4BDA-A7BF-E750B476CDBA}" srcOrd="1" destOrd="0" presId="urn:microsoft.com/office/officeart/2005/8/layout/cycle6"/>
    <dgm:cxn modelId="{38D0A3D4-D732-4ABB-816F-9D1F7815E4DC}" type="presParOf" srcId="{D73C450B-2DA7-4F3B-8E95-A0EC2A3B9D0D}" destId="{60506B0D-562C-4DFE-A405-EF60205E9FC4}" srcOrd="2" destOrd="0" presId="urn:microsoft.com/office/officeart/2005/8/layout/cycle6"/>
    <dgm:cxn modelId="{255E7E84-7323-427E-B959-94F5BD58039F}" type="presParOf" srcId="{D73C450B-2DA7-4F3B-8E95-A0EC2A3B9D0D}" destId="{3CF2DDE9-4A3D-43FF-9D9A-BA1CCB64C2AD}" srcOrd="3" destOrd="0" presId="urn:microsoft.com/office/officeart/2005/8/layout/cycle6"/>
    <dgm:cxn modelId="{4E820EBA-4ADD-4A2E-81D2-105AD4E18ACD}" type="presParOf" srcId="{D73C450B-2DA7-4F3B-8E95-A0EC2A3B9D0D}" destId="{1BC3CBDF-490E-4781-A4B2-0DF02B0A644C}" srcOrd="4" destOrd="0" presId="urn:microsoft.com/office/officeart/2005/8/layout/cycle6"/>
    <dgm:cxn modelId="{A6E2BBE7-C18B-430C-AAE1-9EACA9C3B809}" type="presParOf" srcId="{D73C450B-2DA7-4F3B-8E95-A0EC2A3B9D0D}" destId="{CB072A51-61B0-4B29-BA34-D24832F86117}" srcOrd="5" destOrd="0" presId="urn:microsoft.com/office/officeart/2005/8/layout/cycle6"/>
    <dgm:cxn modelId="{AE4F6A7F-7867-4F7F-AD15-7CAB82AC8186}" type="presParOf" srcId="{D73C450B-2DA7-4F3B-8E95-A0EC2A3B9D0D}" destId="{0D903F85-EF67-49EA-8554-358785A2E113}" srcOrd="6" destOrd="0" presId="urn:microsoft.com/office/officeart/2005/8/layout/cycle6"/>
    <dgm:cxn modelId="{55ECA38F-EC82-4374-8090-BED5524B466D}" type="presParOf" srcId="{D73C450B-2DA7-4F3B-8E95-A0EC2A3B9D0D}" destId="{637C8889-279F-4047-AB21-BC3EDF518C7F}" srcOrd="7" destOrd="0" presId="urn:microsoft.com/office/officeart/2005/8/layout/cycle6"/>
    <dgm:cxn modelId="{B9E9FF62-B17A-48FC-A942-13FEE4B402FD}" type="presParOf" srcId="{D73C450B-2DA7-4F3B-8E95-A0EC2A3B9D0D}" destId="{5F67B392-5674-410F-A18C-5DA3F0FF8FE6}" srcOrd="8" destOrd="0" presId="urn:microsoft.com/office/officeart/2005/8/layout/cycle6"/>
    <dgm:cxn modelId="{4BE71DC0-CBFE-40B2-8AA5-EAF52F6CDA1D}" type="presParOf" srcId="{D73C450B-2DA7-4F3B-8E95-A0EC2A3B9D0D}" destId="{4E625BF8-62F1-41A5-B168-5AC24481595B}" srcOrd="9" destOrd="0" presId="urn:microsoft.com/office/officeart/2005/8/layout/cycle6"/>
    <dgm:cxn modelId="{07CC5746-6A30-442F-9D1D-2F4C3AAD6F3A}" type="presParOf" srcId="{D73C450B-2DA7-4F3B-8E95-A0EC2A3B9D0D}" destId="{63324D61-5074-4813-8DF2-CB8A7D3C62D1}" srcOrd="10" destOrd="0" presId="urn:microsoft.com/office/officeart/2005/8/layout/cycle6"/>
    <dgm:cxn modelId="{160FFD81-FE98-4578-8C86-D0CAF681DF50}" type="presParOf" srcId="{D73C450B-2DA7-4F3B-8E95-A0EC2A3B9D0D}" destId="{234FE555-1950-4349-95DB-A0DF067DF0F0}" srcOrd="11" destOrd="0" presId="urn:microsoft.com/office/officeart/2005/8/layout/cycle6"/>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F72722-74EE-41F4-AAC7-BE7E7A5DA2F6}" type="doc">
      <dgm:prSet loTypeId="urn:microsoft.com/office/officeart/2005/8/layout/equation1" loCatId="process" qsTypeId="urn:microsoft.com/office/officeart/2005/8/quickstyle/simple1" qsCatId="simple" csTypeId="urn:microsoft.com/office/officeart/2005/8/colors/accent1_2" csCatId="accent1" phldr="1"/>
      <dgm:spPr/>
    </dgm:pt>
    <dgm:pt modelId="{F71983ED-5505-4571-AB6F-266B99A679C2}">
      <dgm:prSet phldrT="[Text]"/>
      <dgm:spPr>
        <a:xfrm>
          <a:off x="2144320" y="578188"/>
          <a:ext cx="1279789" cy="1279789"/>
        </a:xfrm>
        <a:prstGeom prst="ellipse">
          <a:avLst/>
        </a:prstGeom>
        <a:solidFill>
          <a:srgbClr val="8DC63F">
            <a:lumMod val="60000"/>
            <a:lumOff val="40000"/>
          </a:srgbClr>
        </a:solidFill>
        <a:ln w="10795" cap="flat" cmpd="sng" algn="ctr">
          <a:solidFill>
            <a:srgbClr val="FFFFFF">
              <a:hueOff val="0"/>
              <a:satOff val="0"/>
              <a:lumOff val="0"/>
              <a:alphaOff val="0"/>
            </a:srgbClr>
          </a:solidFill>
          <a:prstDash val="solid"/>
        </a:ln>
        <a:effectLst/>
      </dgm:spPr>
      <dgm:t>
        <a:bodyPr/>
        <a:lstStyle/>
        <a:p>
          <a:pPr>
            <a:buNone/>
          </a:pPr>
          <a:r>
            <a:rPr lang="en-US">
              <a:solidFill>
                <a:srgbClr val="000000"/>
              </a:solidFill>
              <a:latin typeface="Arial"/>
              <a:ea typeface="+mn-ea"/>
              <a:cs typeface="+mn-cs"/>
            </a:rPr>
            <a:t>54,662 NGN</a:t>
          </a:r>
        </a:p>
      </dgm:t>
    </dgm:pt>
    <dgm:pt modelId="{9784CA53-CBAE-4257-A852-5F13EFE5C99E}" type="parTrans" cxnId="{946137CF-8385-4D2E-A6F3-B366D19CCDE9}">
      <dgm:prSet/>
      <dgm:spPr/>
      <dgm:t>
        <a:bodyPr/>
        <a:lstStyle/>
        <a:p>
          <a:endParaRPr lang="en-US"/>
        </a:p>
      </dgm:t>
    </dgm:pt>
    <dgm:pt modelId="{4892E290-E56E-4C9E-AAC5-1C2C8F25BCBF}" type="sibTrans" cxnId="{946137CF-8385-4D2E-A6F3-B366D19CCDE9}">
      <dgm:prSet/>
      <dgm:spPr>
        <a:xfrm>
          <a:off x="3431720" y="846944"/>
          <a:ext cx="742278" cy="742278"/>
        </a:xfrm>
        <a:prstGeom prst="quadArrowCallout">
          <a:avLst/>
        </a:prstGeom>
        <a:solidFill>
          <a:srgbClr val="00AEEF">
            <a:tint val="60000"/>
            <a:hueOff val="0"/>
            <a:satOff val="0"/>
            <a:lumOff val="0"/>
            <a:alphaOff val="0"/>
          </a:srgbClr>
        </a:solidFill>
        <a:ln>
          <a:noFill/>
        </a:ln>
        <a:effectLst/>
      </dgm:spPr>
      <dgm:t>
        <a:bodyPr/>
        <a:lstStyle/>
        <a:p>
          <a:pPr>
            <a:buNone/>
          </a:pPr>
          <a:endParaRPr lang="en-US">
            <a:solidFill>
              <a:srgbClr val="FFFFFF"/>
            </a:solidFill>
            <a:latin typeface="Arial"/>
            <a:ea typeface="+mn-ea"/>
            <a:cs typeface="+mn-cs"/>
          </a:endParaRPr>
        </a:p>
      </dgm:t>
    </dgm:pt>
    <dgm:pt modelId="{3D3EACE0-2A5F-41CD-A89E-7DF119E5E3A0}">
      <dgm:prSet phldrT="[Text]" custT="1"/>
      <dgm:spPr>
        <a:xfrm>
          <a:off x="4346118" y="564757"/>
          <a:ext cx="1407768" cy="1279802"/>
        </a:xfrm>
        <a:prstGeom prst="ellipse">
          <a:avLst/>
        </a:prstGeom>
        <a:solidFill>
          <a:srgbClr val="DC0015"/>
        </a:solidFill>
        <a:ln w="10795" cap="flat" cmpd="sng" algn="ctr">
          <a:solidFill>
            <a:srgbClr val="FFFFFF">
              <a:hueOff val="0"/>
              <a:satOff val="0"/>
              <a:lumOff val="0"/>
              <a:alphaOff val="0"/>
            </a:srgbClr>
          </a:solidFill>
          <a:prstDash val="solid"/>
        </a:ln>
        <a:effectLst/>
      </dgm:spPr>
      <dgm:t>
        <a:bodyPr/>
        <a:lstStyle/>
        <a:p>
          <a:pPr>
            <a:buNone/>
          </a:pPr>
          <a:r>
            <a:rPr lang="en-US" sz="2000" b="0">
              <a:solidFill>
                <a:srgbClr val="FFFFFF"/>
              </a:solidFill>
              <a:latin typeface="Arial"/>
              <a:ea typeface="+mn-ea"/>
              <a:cs typeface="+mn-cs"/>
            </a:rPr>
            <a:t>27,944</a:t>
          </a:r>
        </a:p>
        <a:p>
          <a:pPr>
            <a:buNone/>
          </a:pPr>
          <a:r>
            <a:rPr lang="en-US" sz="2000" b="0">
              <a:solidFill>
                <a:srgbClr val="FFFFFF"/>
              </a:solidFill>
              <a:latin typeface="Arial"/>
              <a:ea typeface="+mn-ea"/>
              <a:cs typeface="+mn-cs"/>
            </a:rPr>
            <a:t>NGN</a:t>
          </a:r>
        </a:p>
      </dgm:t>
    </dgm:pt>
    <dgm:pt modelId="{C07EB05B-FBC7-4C71-AEFA-FB1C6A43B745}" type="parTrans" cxnId="{A8F48AAA-782C-450F-8CD4-AF2541087511}">
      <dgm:prSet/>
      <dgm:spPr/>
      <dgm:t>
        <a:bodyPr/>
        <a:lstStyle/>
        <a:p>
          <a:endParaRPr lang="en-US"/>
        </a:p>
      </dgm:t>
    </dgm:pt>
    <dgm:pt modelId="{579FEBE6-192E-43AD-A9F4-BEE391CC600A}" type="sibTrans" cxnId="{A8F48AAA-782C-450F-8CD4-AF2541087511}">
      <dgm:prSet/>
      <dgm:spPr/>
      <dgm:t>
        <a:bodyPr/>
        <a:lstStyle/>
        <a:p>
          <a:endParaRPr lang="en-US"/>
        </a:p>
      </dgm:t>
    </dgm:pt>
    <dgm:pt modelId="{C3B9F6E8-19D1-44E2-B7AE-0963F1C92999}" type="pres">
      <dgm:prSet presAssocID="{26F72722-74EE-41F4-AAC7-BE7E7A5DA2F6}" presName="linearFlow" presStyleCnt="0">
        <dgm:presLayoutVars>
          <dgm:dir/>
          <dgm:resizeHandles val="exact"/>
        </dgm:presLayoutVars>
      </dgm:prSet>
      <dgm:spPr/>
    </dgm:pt>
    <dgm:pt modelId="{6E6C9720-6597-47FE-88ED-29951750CEFF}" type="pres">
      <dgm:prSet presAssocID="{F71983ED-5505-4571-AB6F-266B99A679C2}" presName="node" presStyleLbl="node1" presStyleIdx="0" presStyleCnt="2" custScaleX="85493" custScaleY="85195" custLinFactX="-11313" custLinFactNeighborX="-100000" custLinFactNeighborY="-895">
        <dgm:presLayoutVars>
          <dgm:bulletEnabled val="1"/>
        </dgm:presLayoutVars>
      </dgm:prSet>
      <dgm:spPr/>
    </dgm:pt>
    <dgm:pt modelId="{F4ED133B-CA65-4204-BF25-0648D1166FAA}" type="pres">
      <dgm:prSet presAssocID="{4892E290-E56E-4C9E-AAC5-1C2C8F25BCBF}" presName="spacerL" presStyleCnt="0"/>
      <dgm:spPr/>
    </dgm:pt>
    <dgm:pt modelId="{A34497D8-2E35-4973-9849-BAF6E5798E11}" type="pres">
      <dgm:prSet presAssocID="{4892E290-E56E-4C9E-AAC5-1C2C8F25BCBF}" presName="sibTrans" presStyleLbl="sibTrans2D1" presStyleIdx="0" presStyleCnt="1" custLinFactNeighborX="-69992" custLinFactNeighborY="-3971"/>
      <dgm:spPr>
        <a:prstGeom prst="quadArrowCallout">
          <a:avLst/>
        </a:prstGeom>
      </dgm:spPr>
    </dgm:pt>
    <dgm:pt modelId="{4F9B759F-6BC3-4971-8478-41E76D1824DF}" type="pres">
      <dgm:prSet presAssocID="{4892E290-E56E-4C9E-AAC5-1C2C8F25BCBF}" presName="spacerR" presStyleCnt="0"/>
      <dgm:spPr/>
    </dgm:pt>
    <dgm:pt modelId="{E51AE5B0-340C-4304-BBBE-C6AA8CC011E4}" type="pres">
      <dgm:prSet presAssocID="{3D3EACE0-2A5F-41CD-A89E-7DF119E5E3A0}" presName="node" presStyleLbl="node1" presStyleIdx="1" presStyleCnt="2" custScaleX="91825" custScaleY="91573" custLinFactX="54352" custLinFactNeighborX="100000" custLinFactNeighborY="1098">
        <dgm:presLayoutVars>
          <dgm:bulletEnabled val="1"/>
        </dgm:presLayoutVars>
      </dgm:prSet>
      <dgm:spPr/>
    </dgm:pt>
  </dgm:ptLst>
  <dgm:cxnLst>
    <dgm:cxn modelId="{30946608-C20F-4C95-BC8B-F92E828FDABD}" type="presOf" srcId="{26F72722-74EE-41F4-AAC7-BE7E7A5DA2F6}" destId="{C3B9F6E8-19D1-44E2-B7AE-0963F1C92999}" srcOrd="0" destOrd="0" presId="urn:microsoft.com/office/officeart/2005/8/layout/equation1"/>
    <dgm:cxn modelId="{AC0C9324-EBB4-4CCC-A6B7-44F95406A6F9}" type="presOf" srcId="{4892E290-E56E-4C9E-AAC5-1C2C8F25BCBF}" destId="{A34497D8-2E35-4973-9849-BAF6E5798E11}" srcOrd="0" destOrd="0" presId="urn:microsoft.com/office/officeart/2005/8/layout/equation1"/>
    <dgm:cxn modelId="{0000BF36-9ADB-4310-AD3A-5D8C26C6D6DF}" type="presOf" srcId="{F71983ED-5505-4571-AB6F-266B99A679C2}" destId="{6E6C9720-6597-47FE-88ED-29951750CEFF}" srcOrd="0" destOrd="0" presId="urn:microsoft.com/office/officeart/2005/8/layout/equation1"/>
    <dgm:cxn modelId="{861EA64D-5EFF-47FD-93FC-0E83B2B5F6EE}" type="presOf" srcId="{3D3EACE0-2A5F-41CD-A89E-7DF119E5E3A0}" destId="{E51AE5B0-340C-4304-BBBE-C6AA8CC011E4}" srcOrd="0" destOrd="0" presId="urn:microsoft.com/office/officeart/2005/8/layout/equation1"/>
    <dgm:cxn modelId="{A8F48AAA-782C-450F-8CD4-AF2541087511}" srcId="{26F72722-74EE-41F4-AAC7-BE7E7A5DA2F6}" destId="{3D3EACE0-2A5F-41CD-A89E-7DF119E5E3A0}" srcOrd="1" destOrd="0" parTransId="{C07EB05B-FBC7-4C71-AEFA-FB1C6A43B745}" sibTransId="{579FEBE6-192E-43AD-A9F4-BEE391CC600A}"/>
    <dgm:cxn modelId="{946137CF-8385-4D2E-A6F3-B366D19CCDE9}" srcId="{26F72722-74EE-41F4-AAC7-BE7E7A5DA2F6}" destId="{F71983ED-5505-4571-AB6F-266B99A679C2}" srcOrd="0" destOrd="0" parTransId="{9784CA53-CBAE-4257-A852-5F13EFE5C99E}" sibTransId="{4892E290-E56E-4C9E-AAC5-1C2C8F25BCBF}"/>
    <dgm:cxn modelId="{A1EDB65C-ADD3-4DD6-9D2D-473DF8F67196}" type="presParOf" srcId="{C3B9F6E8-19D1-44E2-B7AE-0963F1C92999}" destId="{6E6C9720-6597-47FE-88ED-29951750CEFF}" srcOrd="0" destOrd="0" presId="urn:microsoft.com/office/officeart/2005/8/layout/equation1"/>
    <dgm:cxn modelId="{2954603F-A5CF-40D5-B8D8-0967C5B09089}" type="presParOf" srcId="{C3B9F6E8-19D1-44E2-B7AE-0963F1C92999}" destId="{F4ED133B-CA65-4204-BF25-0648D1166FAA}" srcOrd="1" destOrd="0" presId="urn:microsoft.com/office/officeart/2005/8/layout/equation1"/>
    <dgm:cxn modelId="{BF9A9CA9-7105-4836-9E8E-810C3D7B3C48}" type="presParOf" srcId="{C3B9F6E8-19D1-44E2-B7AE-0963F1C92999}" destId="{A34497D8-2E35-4973-9849-BAF6E5798E11}" srcOrd="2" destOrd="0" presId="urn:microsoft.com/office/officeart/2005/8/layout/equation1"/>
    <dgm:cxn modelId="{FF1183C6-8DE1-4AD4-95E2-A4D4F107A8BB}" type="presParOf" srcId="{C3B9F6E8-19D1-44E2-B7AE-0963F1C92999}" destId="{4F9B759F-6BC3-4971-8478-41E76D1824DF}" srcOrd="3" destOrd="0" presId="urn:microsoft.com/office/officeart/2005/8/layout/equation1"/>
    <dgm:cxn modelId="{ED90F06D-8F25-49B4-8BB2-E95071C32CC9}" type="presParOf" srcId="{C3B9F6E8-19D1-44E2-B7AE-0963F1C92999}" destId="{E51AE5B0-340C-4304-BBBE-C6AA8CC011E4}" srcOrd="4"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464CD9-0D49-4F64-850C-A8AAA4C72E04}">
      <dsp:nvSpPr>
        <dsp:cNvPr id="0" name=""/>
        <dsp:cNvSpPr/>
      </dsp:nvSpPr>
      <dsp:spPr>
        <a:xfrm>
          <a:off x="1098996" y="686"/>
          <a:ext cx="981025" cy="637666"/>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a:solidFill>
                <a:schemeClr val="tx1"/>
              </a:solidFill>
            </a:rPr>
            <a:t>Research</a:t>
          </a:r>
        </a:p>
      </dsp:txBody>
      <dsp:txXfrm>
        <a:off x="1130124" y="31814"/>
        <a:ext cx="918769" cy="575410"/>
      </dsp:txXfrm>
    </dsp:sp>
    <dsp:sp modelId="{60506B0D-562C-4DFE-A405-EF60205E9FC4}">
      <dsp:nvSpPr>
        <dsp:cNvPr id="0" name=""/>
        <dsp:cNvSpPr/>
      </dsp:nvSpPr>
      <dsp:spPr>
        <a:xfrm>
          <a:off x="536895" y="319519"/>
          <a:ext cx="2105228" cy="2105228"/>
        </a:xfrm>
        <a:custGeom>
          <a:avLst/>
          <a:gdLst/>
          <a:ahLst/>
          <a:cxnLst/>
          <a:rect l="0" t="0" r="0" b="0"/>
          <a:pathLst>
            <a:path>
              <a:moveTo>
                <a:pt x="1550179" y="125023"/>
              </a:moveTo>
              <a:arcTo wR="1052614" hR="1052614" stAng="17892563" swAng="262345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3CF2DDE9-4A3D-43FF-9D9A-BA1CCB64C2AD}">
      <dsp:nvSpPr>
        <dsp:cNvPr id="0" name=""/>
        <dsp:cNvSpPr/>
      </dsp:nvSpPr>
      <dsp:spPr>
        <a:xfrm>
          <a:off x="2151610" y="1053300"/>
          <a:ext cx="981025" cy="637666"/>
        </a:xfrm>
        <a:prstGeom prst="roundRect">
          <a:avLst/>
        </a:prstGeom>
        <a:solidFill>
          <a:schemeClr val="bg1"/>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a:solidFill>
                <a:schemeClr val="tx1"/>
              </a:solidFill>
            </a:rPr>
            <a:t>Innovation</a:t>
          </a:r>
        </a:p>
      </dsp:txBody>
      <dsp:txXfrm>
        <a:off x="2182738" y="1084428"/>
        <a:ext cx="918769" cy="575410"/>
      </dsp:txXfrm>
    </dsp:sp>
    <dsp:sp modelId="{CB072A51-61B0-4B29-BA34-D24832F86117}">
      <dsp:nvSpPr>
        <dsp:cNvPr id="0" name=""/>
        <dsp:cNvSpPr/>
      </dsp:nvSpPr>
      <dsp:spPr>
        <a:xfrm>
          <a:off x="536895" y="319519"/>
          <a:ext cx="2105228" cy="2105228"/>
        </a:xfrm>
        <a:custGeom>
          <a:avLst/>
          <a:gdLst/>
          <a:ahLst/>
          <a:cxnLst/>
          <a:rect l="0" t="0" r="0" b="0"/>
          <a:pathLst>
            <a:path>
              <a:moveTo>
                <a:pt x="2053331" y="1379050"/>
              </a:moveTo>
              <a:arcTo wR="1052614" hR="1052614" stAng="1083986" swAng="262345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0D903F85-EF67-49EA-8554-358785A2E113}">
      <dsp:nvSpPr>
        <dsp:cNvPr id="0" name=""/>
        <dsp:cNvSpPr/>
      </dsp:nvSpPr>
      <dsp:spPr>
        <a:xfrm>
          <a:off x="1098996" y="2105914"/>
          <a:ext cx="981025" cy="637666"/>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a:solidFill>
                <a:schemeClr val="tx1"/>
              </a:solidFill>
            </a:rPr>
            <a:t>Digital Finance</a:t>
          </a:r>
        </a:p>
      </dsp:txBody>
      <dsp:txXfrm>
        <a:off x="1130124" y="2137042"/>
        <a:ext cx="918769" cy="575410"/>
      </dsp:txXfrm>
    </dsp:sp>
    <dsp:sp modelId="{5F67B392-5674-410F-A18C-5DA3F0FF8FE6}">
      <dsp:nvSpPr>
        <dsp:cNvPr id="0" name=""/>
        <dsp:cNvSpPr/>
      </dsp:nvSpPr>
      <dsp:spPr>
        <a:xfrm>
          <a:off x="536895" y="319519"/>
          <a:ext cx="2105228" cy="2105228"/>
        </a:xfrm>
        <a:custGeom>
          <a:avLst/>
          <a:gdLst/>
          <a:ahLst/>
          <a:cxnLst/>
          <a:rect l="0" t="0" r="0" b="0"/>
          <a:pathLst>
            <a:path>
              <a:moveTo>
                <a:pt x="555048" y="1980205"/>
              </a:moveTo>
              <a:arcTo wR="1052614" hR="1052614" stAng="7092563" swAng="262345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4E625BF8-62F1-41A5-B168-5AC24481595B}">
      <dsp:nvSpPr>
        <dsp:cNvPr id="0" name=""/>
        <dsp:cNvSpPr/>
      </dsp:nvSpPr>
      <dsp:spPr>
        <a:xfrm>
          <a:off x="46382" y="1053300"/>
          <a:ext cx="981025" cy="637666"/>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a:solidFill>
                <a:schemeClr val="tx1"/>
              </a:solidFill>
            </a:rPr>
            <a:t>Capacity Building &amp; Advocacy</a:t>
          </a:r>
        </a:p>
      </dsp:txBody>
      <dsp:txXfrm>
        <a:off x="77510" y="1084428"/>
        <a:ext cx="918769" cy="575410"/>
      </dsp:txXfrm>
    </dsp:sp>
    <dsp:sp modelId="{234FE555-1950-4349-95DB-A0DF067DF0F0}">
      <dsp:nvSpPr>
        <dsp:cNvPr id="0" name=""/>
        <dsp:cNvSpPr/>
      </dsp:nvSpPr>
      <dsp:spPr>
        <a:xfrm>
          <a:off x="536895" y="319519"/>
          <a:ext cx="2105228" cy="2105228"/>
        </a:xfrm>
        <a:custGeom>
          <a:avLst/>
          <a:gdLst/>
          <a:ahLst/>
          <a:cxnLst/>
          <a:rect l="0" t="0" r="0" b="0"/>
          <a:pathLst>
            <a:path>
              <a:moveTo>
                <a:pt x="51896" y="726178"/>
              </a:moveTo>
              <a:arcTo wR="1052614" hR="1052614" stAng="11883986" swAng="262345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6C9720-6597-47FE-88ED-29951750CEFF}">
      <dsp:nvSpPr>
        <dsp:cNvPr id="0" name=""/>
        <dsp:cNvSpPr/>
      </dsp:nvSpPr>
      <dsp:spPr>
        <a:xfrm>
          <a:off x="1058065" y="43370"/>
          <a:ext cx="1616266" cy="1610632"/>
        </a:xfrm>
        <a:prstGeom prst="ellipse">
          <a:avLst/>
        </a:prstGeom>
        <a:solidFill>
          <a:srgbClr val="8DC63F">
            <a:lumMod val="60000"/>
            <a:lumOff val="40000"/>
          </a:srgbClr>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a:solidFill>
                <a:srgbClr val="000000"/>
              </a:solidFill>
              <a:latin typeface="Arial"/>
              <a:ea typeface="+mn-ea"/>
              <a:cs typeface="+mn-cs"/>
            </a:rPr>
            <a:t>54,662 NGN</a:t>
          </a:r>
        </a:p>
      </dsp:txBody>
      <dsp:txXfrm>
        <a:off x="1294762" y="279242"/>
        <a:ext cx="1142872" cy="1138888"/>
      </dsp:txXfrm>
    </dsp:sp>
    <dsp:sp modelId="{A34497D8-2E35-4973-9849-BAF6E5798E11}">
      <dsp:nvSpPr>
        <dsp:cNvPr id="0" name=""/>
        <dsp:cNvSpPr/>
      </dsp:nvSpPr>
      <dsp:spPr>
        <a:xfrm>
          <a:off x="3087782" y="273812"/>
          <a:ext cx="1096504" cy="1096504"/>
        </a:xfrm>
        <a:prstGeom prst="quadArrowCallout">
          <a:avLst/>
        </a:prstGeom>
        <a:solidFill>
          <a:srgbClr val="00AEEF">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solidFill>
              <a:srgbClr val="FFFFFF"/>
            </a:solidFill>
            <a:latin typeface="Arial"/>
            <a:ea typeface="+mn-ea"/>
            <a:cs typeface="+mn-cs"/>
          </a:endParaRPr>
        </a:p>
      </dsp:txBody>
      <dsp:txXfrm>
        <a:off x="3372199" y="558229"/>
        <a:ext cx="527670" cy="527670"/>
      </dsp:txXfrm>
    </dsp:sp>
    <dsp:sp modelId="{E51AE5B0-340C-4304-BBBE-C6AA8CC011E4}">
      <dsp:nvSpPr>
        <dsp:cNvPr id="0" name=""/>
        <dsp:cNvSpPr/>
      </dsp:nvSpPr>
      <dsp:spPr>
        <a:xfrm>
          <a:off x="5626291" y="3"/>
          <a:ext cx="1735974" cy="1731209"/>
        </a:xfrm>
        <a:prstGeom prst="ellipse">
          <a:avLst/>
        </a:prstGeom>
        <a:solidFill>
          <a:srgbClr val="DC0015"/>
        </a:solidFill>
        <a:ln w="10795"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0" kern="1200">
              <a:solidFill>
                <a:srgbClr val="FFFFFF"/>
              </a:solidFill>
              <a:latin typeface="Arial"/>
              <a:ea typeface="+mn-ea"/>
              <a:cs typeface="+mn-cs"/>
            </a:rPr>
            <a:t>27,944</a:t>
          </a:r>
        </a:p>
        <a:p>
          <a:pPr marL="0" lvl="0" indent="0" algn="ctr" defTabSz="889000">
            <a:lnSpc>
              <a:spcPct val="90000"/>
            </a:lnSpc>
            <a:spcBef>
              <a:spcPct val="0"/>
            </a:spcBef>
            <a:spcAft>
              <a:spcPct val="35000"/>
            </a:spcAft>
            <a:buNone/>
          </a:pPr>
          <a:r>
            <a:rPr lang="en-US" sz="2000" b="0" kern="1200">
              <a:solidFill>
                <a:srgbClr val="FFFFFF"/>
              </a:solidFill>
              <a:latin typeface="Arial"/>
              <a:ea typeface="+mn-ea"/>
              <a:cs typeface="+mn-cs"/>
            </a:rPr>
            <a:t>NGN</a:t>
          </a:r>
        </a:p>
      </dsp:txBody>
      <dsp:txXfrm>
        <a:off x="5880519" y="253533"/>
        <a:ext cx="1227518" cy="1224149"/>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26727</cdr:x>
      <cdr:y>0.40062</cdr:y>
    </cdr:from>
    <cdr:to>
      <cdr:x>0.63926</cdr:x>
      <cdr:y>0.62454</cdr:y>
    </cdr:to>
    <cdr:sp macro="" textlink="">
      <cdr:nvSpPr>
        <cdr:cNvPr id="2" name="TextBox 9">
          <a:extLst xmlns:a="http://schemas.openxmlformats.org/drawingml/2006/main">
            <a:ext uri="{FF2B5EF4-FFF2-40B4-BE49-F238E27FC236}">
              <a16:creationId xmlns:a16="http://schemas.microsoft.com/office/drawing/2014/main" id="{0C8B1939-B848-E442-9BB4-092F63804A87}"/>
            </a:ext>
          </a:extLst>
        </cdr:cNvPr>
        <cdr:cNvSpPr txBox="1"/>
      </cdr:nvSpPr>
      <cdr:spPr>
        <a:xfrm xmlns:a="http://schemas.openxmlformats.org/drawingml/2006/main">
          <a:off x="782435" y="1046258"/>
          <a:ext cx="1088988" cy="584775"/>
        </a:xfrm>
        <a:prstGeom xmlns:a="http://schemas.openxmlformats.org/drawingml/2006/main" prst="rect">
          <a:avLst/>
        </a:prstGeom>
        <a:noFill xmlns:a="http://schemas.openxmlformats.org/drawingml/2006/main"/>
      </cdr:spPr>
      <cdr:txBody>
        <a:bodyPr xmlns:a="http://schemas.openxmlformats.org/drawingml/2006/main" wrap="square" rtlCol="0" anchor="ctr">
          <a:spAutoFit/>
        </a:bodyPr>
        <a:lstStyle xmlns:a="http://schemas.openxmlformats.org/drawingml/2006/main">
          <a:defPPr>
            <a:defRPr lang="en-US"/>
          </a:defPPr>
          <a:lvl1pPr marL="0" algn="l" defTabSz="457139" rtl="0" eaLnBrk="1" latinLnBrk="0" hangingPunct="1">
            <a:defRPr sz="1800" kern="1200">
              <a:solidFill>
                <a:schemeClr val="tx1"/>
              </a:solidFill>
              <a:latin typeface="+mn-lt"/>
              <a:ea typeface="+mn-ea"/>
              <a:cs typeface="+mn-cs"/>
            </a:defRPr>
          </a:lvl1pPr>
          <a:lvl2pPr marL="457139" algn="l" defTabSz="457139" rtl="0" eaLnBrk="1" latinLnBrk="0" hangingPunct="1">
            <a:defRPr sz="1800" kern="1200">
              <a:solidFill>
                <a:schemeClr val="tx1"/>
              </a:solidFill>
              <a:latin typeface="+mn-lt"/>
              <a:ea typeface="+mn-ea"/>
              <a:cs typeface="+mn-cs"/>
            </a:defRPr>
          </a:lvl2pPr>
          <a:lvl3pPr marL="914280" algn="l" defTabSz="457139" rtl="0" eaLnBrk="1" latinLnBrk="0" hangingPunct="1">
            <a:defRPr sz="1800" kern="1200">
              <a:solidFill>
                <a:schemeClr val="tx1"/>
              </a:solidFill>
              <a:latin typeface="+mn-lt"/>
              <a:ea typeface="+mn-ea"/>
              <a:cs typeface="+mn-cs"/>
            </a:defRPr>
          </a:lvl3pPr>
          <a:lvl4pPr marL="1371419" algn="l" defTabSz="457139" rtl="0" eaLnBrk="1" latinLnBrk="0" hangingPunct="1">
            <a:defRPr sz="1800" kern="1200">
              <a:solidFill>
                <a:schemeClr val="tx1"/>
              </a:solidFill>
              <a:latin typeface="+mn-lt"/>
              <a:ea typeface="+mn-ea"/>
              <a:cs typeface="+mn-cs"/>
            </a:defRPr>
          </a:lvl4pPr>
          <a:lvl5pPr marL="1828556" algn="l" defTabSz="457139" rtl="0" eaLnBrk="1" latinLnBrk="0" hangingPunct="1">
            <a:defRPr sz="1800" kern="1200">
              <a:solidFill>
                <a:schemeClr val="tx1"/>
              </a:solidFill>
              <a:latin typeface="+mn-lt"/>
              <a:ea typeface="+mn-ea"/>
              <a:cs typeface="+mn-cs"/>
            </a:defRPr>
          </a:lvl5pPr>
          <a:lvl6pPr marL="2285697" algn="l" defTabSz="457139" rtl="0" eaLnBrk="1" latinLnBrk="0" hangingPunct="1">
            <a:defRPr sz="1800" kern="1200">
              <a:solidFill>
                <a:schemeClr val="tx1"/>
              </a:solidFill>
              <a:latin typeface="+mn-lt"/>
              <a:ea typeface="+mn-ea"/>
              <a:cs typeface="+mn-cs"/>
            </a:defRPr>
          </a:lvl6pPr>
          <a:lvl7pPr marL="2742836" algn="l" defTabSz="457139" rtl="0" eaLnBrk="1" latinLnBrk="0" hangingPunct="1">
            <a:defRPr sz="1800" kern="1200">
              <a:solidFill>
                <a:schemeClr val="tx1"/>
              </a:solidFill>
              <a:latin typeface="+mn-lt"/>
              <a:ea typeface="+mn-ea"/>
              <a:cs typeface="+mn-cs"/>
            </a:defRPr>
          </a:lvl7pPr>
          <a:lvl8pPr marL="3199976" algn="l" defTabSz="457139" rtl="0" eaLnBrk="1" latinLnBrk="0" hangingPunct="1">
            <a:defRPr sz="1800" kern="1200">
              <a:solidFill>
                <a:schemeClr val="tx1"/>
              </a:solidFill>
              <a:latin typeface="+mn-lt"/>
              <a:ea typeface="+mn-ea"/>
              <a:cs typeface="+mn-cs"/>
            </a:defRPr>
          </a:lvl8pPr>
          <a:lvl9pPr marL="3657115" algn="l" defTabSz="457139" rtl="0" eaLnBrk="1" latinLnBrk="0" hangingPunct="1">
            <a:defRPr sz="1800" kern="1200">
              <a:solidFill>
                <a:schemeClr val="tx1"/>
              </a:solidFill>
              <a:latin typeface="+mn-lt"/>
              <a:ea typeface="+mn-ea"/>
              <a:cs typeface="+mn-cs"/>
            </a:defRPr>
          </a:lvl9pPr>
        </a:lstStyle>
        <a:p xmlns:a="http://schemas.openxmlformats.org/drawingml/2006/main">
          <a:pPr algn="ctr"/>
          <a:r>
            <a:rPr lang="en-US" sz="3200" b="1" dirty="0">
              <a:solidFill>
                <a:schemeClr val="tx2"/>
              </a:solidFill>
              <a:cs typeface="Poppins" pitchFamily="2" charset="77"/>
            </a:rPr>
            <a:t>87%</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F992E2-F478-4381-9107-8D3D1D7B3BD7}" type="datetimeFigureOut">
              <a:rPr lang="en-GB" smtClean="0"/>
              <a:t>13/07/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07F548-C941-4D4D-8B44-4AE9A182BAE8}" type="slidenum">
              <a:rPr lang="en-GB" smtClean="0"/>
              <a:t>‹#›</a:t>
            </a:fld>
            <a:endParaRPr lang="en-GB"/>
          </a:p>
        </p:txBody>
      </p:sp>
    </p:spTree>
    <p:extLst>
      <p:ext uri="{BB962C8B-B14F-4D97-AF65-F5344CB8AC3E}">
        <p14:creationId xmlns:p14="http://schemas.microsoft.com/office/powerpoint/2010/main" val="23896738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742950"/>
            <a:ext cx="6581775" cy="3703638"/>
          </a:xfrm>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4F21C8F5-AF12-4225-9DEF-296E370C2999}" type="slidenum">
              <a:rPr lang="en-GB" smtClean="0"/>
              <a:pPr/>
              <a:t>2</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5622594" y="6456381"/>
            <a:ext cx="4303313" cy="340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Calibri" pitchFamily="34" charset="0"/>
              </a:defRPr>
            </a:lvl1pPr>
            <a:lvl2pPr marL="742950" indent="-285750">
              <a:defRPr sz="1200">
                <a:solidFill>
                  <a:schemeClr val="tx1"/>
                </a:solidFill>
                <a:latin typeface="Calibri" pitchFamily="34" charset="0"/>
              </a:defRPr>
            </a:lvl2pPr>
            <a:lvl3pPr marL="1143000" indent="-228600">
              <a:defRPr sz="1200">
                <a:solidFill>
                  <a:schemeClr val="tx1"/>
                </a:solidFill>
                <a:latin typeface="Calibri" pitchFamily="34" charset="0"/>
              </a:defRPr>
            </a:lvl3pPr>
            <a:lvl4pPr marL="1600200" indent="-228600">
              <a:defRPr sz="1200">
                <a:solidFill>
                  <a:schemeClr val="tx1"/>
                </a:solidFill>
                <a:latin typeface="Calibri" pitchFamily="34" charset="0"/>
              </a:defRPr>
            </a:lvl4pPr>
            <a:lvl5pPr marL="2057400" indent="-228600">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45413DC-E2A5-41AF-9EEB-11D7E1F4D4C5}" type="slidenum">
              <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3</a:t>
            </a:fld>
            <a:endPar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endParaRPr>
          </a:p>
        </p:txBody>
      </p:sp>
      <p:sp>
        <p:nvSpPr>
          <p:cNvPr id="109571" name="Rectangle 2"/>
          <p:cNvSpPr>
            <a:spLocks noGrp="1" noRot="1" noChangeAspect="1" noChangeArrowheads="1" noTextEdit="1"/>
          </p:cNvSpPr>
          <p:nvPr>
            <p:ph type="sldImg"/>
          </p:nvPr>
        </p:nvSpPr>
        <p:spPr bwMode="auto">
          <a:xfrm>
            <a:off x="2698750" y="509588"/>
            <a:ext cx="4532313"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xfrm>
            <a:off x="1323919" y="3229277"/>
            <a:ext cx="7280391" cy="30586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761920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5622594" y="6456381"/>
            <a:ext cx="4303313" cy="340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Calibri" pitchFamily="34" charset="0"/>
              </a:defRPr>
            </a:lvl1pPr>
            <a:lvl2pPr marL="742950" indent="-285750">
              <a:defRPr sz="1200">
                <a:solidFill>
                  <a:schemeClr val="tx1"/>
                </a:solidFill>
                <a:latin typeface="Calibri" pitchFamily="34" charset="0"/>
              </a:defRPr>
            </a:lvl2pPr>
            <a:lvl3pPr marL="1143000" indent="-228600">
              <a:defRPr sz="1200">
                <a:solidFill>
                  <a:schemeClr val="tx1"/>
                </a:solidFill>
                <a:latin typeface="Calibri" pitchFamily="34" charset="0"/>
              </a:defRPr>
            </a:lvl3pPr>
            <a:lvl4pPr marL="1600200" indent="-228600">
              <a:defRPr sz="1200">
                <a:solidFill>
                  <a:schemeClr val="tx1"/>
                </a:solidFill>
                <a:latin typeface="Calibri" pitchFamily="34" charset="0"/>
              </a:defRPr>
            </a:lvl4pPr>
            <a:lvl5pPr marL="2057400" indent="-228600">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45413DC-E2A5-41AF-9EEB-11D7E1F4D4C5}" type="slidenum">
              <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endParaRPr>
          </a:p>
        </p:txBody>
      </p:sp>
      <p:sp>
        <p:nvSpPr>
          <p:cNvPr id="109571" name="Rectangle 2"/>
          <p:cNvSpPr>
            <a:spLocks noGrp="1" noRot="1" noChangeAspect="1" noChangeArrowheads="1" noTextEdit="1"/>
          </p:cNvSpPr>
          <p:nvPr>
            <p:ph type="sldImg"/>
          </p:nvPr>
        </p:nvSpPr>
        <p:spPr bwMode="auto">
          <a:xfrm>
            <a:off x="2698750" y="509588"/>
            <a:ext cx="4532313"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xfrm>
            <a:off x="1323919" y="3229277"/>
            <a:ext cx="7280391" cy="30586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534039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5622594" y="6456381"/>
            <a:ext cx="4303313" cy="340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Calibri" pitchFamily="34" charset="0"/>
              </a:defRPr>
            </a:lvl1pPr>
            <a:lvl2pPr marL="742950" indent="-285750">
              <a:defRPr sz="1200">
                <a:solidFill>
                  <a:schemeClr val="tx1"/>
                </a:solidFill>
                <a:latin typeface="Calibri" pitchFamily="34" charset="0"/>
              </a:defRPr>
            </a:lvl2pPr>
            <a:lvl3pPr marL="1143000" indent="-228600">
              <a:defRPr sz="1200">
                <a:solidFill>
                  <a:schemeClr val="tx1"/>
                </a:solidFill>
                <a:latin typeface="Calibri" pitchFamily="34" charset="0"/>
              </a:defRPr>
            </a:lvl3pPr>
            <a:lvl4pPr marL="1600200" indent="-228600">
              <a:defRPr sz="1200">
                <a:solidFill>
                  <a:schemeClr val="tx1"/>
                </a:solidFill>
                <a:latin typeface="Calibri" pitchFamily="34" charset="0"/>
              </a:defRPr>
            </a:lvl4pPr>
            <a:lvl5pPr marL="2057400" indent="-228600">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45413DC-E2A5-41AF-9EEB-11D7E1F4D4C5}" type="slidenum">
              <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endParaRPr>
          </a:p>
        </p:txBody>
      </p:sp>
      <p:sp>
        <p:nvSpPr>
          <p:cNvPr id="109571" name="Rectangle 2"/>
          <p:cNvSpPr>
            <a:spLocks noGrp="1" noRot="1" noChangeAspect="1" noChangeArrowheads="1" noTextEdit="1"/>
          </p:cNvSpPr>
          <p:nvPr>
            <p:ph type="sldImg"/>
          </p:nvPr>
        </p:nvSpPr>
        <p:spPr bwMode="auto">
          <a:xfrm>
            <a:off x="2698750" y="509588"/>
            <a:ext cx="4532313"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xfrm>
            <a:off x="1323919" y="3229277"/>
            <a:ext cx="7280391" cy="30586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530028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5622594" y="6456381"/>
            <a:ext cx="4303313" cy="340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chemeClr val="tx1"/>
                </a:solidFill>
                <a:latin typeface="Calibri" pitchFamily="34" charset="0"/>
              </a:defRPr>
            </a:lvl1pPr>
            <a:lvl2pPr marL="742950" indent="-285750">
              <a:defRPr sz="1200">
                <a:solidFill>
                  <a:schemeClr val="tx1"/>
                </a:solidFill>
                <a:latin typeface="Calibri" pitchFamily="34" charset="0"/>
              </a:defRPr>
            </a:lvl2pPr>
            <a:lvl3pPr marL="1143000" indent="-228600">
              <a:defRPr sz="1200">
                <a:solidFill>
                  <a:schemeClr val="tx1"/>
                </a:solidFill>
                <a:latin typeface="Calibri" pitchFamily="34" charset="0"/>
              </a:defRPr>
            </a:lvl3pPr>
            <a:lvl4pPr marL="1600200" indent="-228600">
              <a:defRPr sz="1200">
                <a:solidFill>
                  <a:schemeClr val="tx1"/>
                </a:solidFill>
                <a:latin typeface="Calibri" pitchFamily="34" charset="0"/>
              </a:defRPr>
            </a:lvl4pPr>
            <a:lvl5pPr marL="2057400" indent="-228600">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45413DC-E2A5-41AF-9EEB-11D7E1F4D4C5}" type="slidenum">
              <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GB" altLang="en-US" sz="1200" b="1" i="0" u="none" strike="noStrike" kern="1200" cap="none" spc="0" normalizeH="0" baseline="0" noProof="0">
              <a:ln>
                <a:noFill/>
              </a:ln>
              <a:solidFill>
                <a:prstClr val="black"/>
              </a:solidFill>
              <a:effectLst/>
              <a:uLnTx/>
              <a:uFillTx/>
              <a:latin typeface="Times New Roman" pitchFamily="18" charset="0"/>
              <a:ea typeface="+mn-ea"/>
              <a:cs typeface="Arial" pitchFamily="34" charset="0"/>
            </a:endParaRPr>
          </a:p>
        </p:txBody>
      </p:sp>
      <p:sp>
        <p:nvSpPr>
          <p:cNvPr id="109571" name="Rectangle 2"/>
          <p:cNvSpPr>
            <a:spLocks noGrp="1" noRot="1" noChangeAspect="1" noChangeArrowheads="1" noTextEdit="1"/>
          </p:cNvSpPr>
          <p:nvPr>
            <p:ph type="sldImg"/>
          </p:nvPr>
        </p:nvSpPr>
        <p:spPr bwMode="auto">
          <a:xfrm>
            <a:off x="2698750" y="509588"/>
            <a:ext cx="4532313"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2" name="Rectangle 3"/>
          <p:cNvSpPr>
            <a:spLocks noGrp="1" noChangeArrowheads="1"/>
          </p:cNvSpPr>
          <p:nvPr>
            <p:ph type="body" idx="1"/>
          </p:nvPr>
        </p:nvSpPr>
        <p:spPr bwMode="auto">
          <a:xfrm>
            <a:off x="1323919" y="3229277"/>
            <a:ext cx="7280391" cy="305862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010682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696709-7319-4C91-805A-2A9847ED9D2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A5AAA67-0F65-4F68-A191-BA6390829A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8A2C468-3548-49B9-A297-DCD6A3D60F5D}"/>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5" name="Footer Placeholder 4">
            <a:extLst>
              <a:ext uri="{FF2B5EF4-FFF2-40B4-BE49-F238E27FC236}">
                <a16:creationId xmlns:a16="http://schemas.microsoft.com/office/drawing/2014/main" id="{67D31D3C-6C10-4CE2-9C55-493D5021C7D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C2F94B-4916-4896-A8F7-18E2EA85CB1D}"/>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5081985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A8D0C-B103-458B-8559-92CD540E345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50719C1-667F-47F4-8685-6616B180EA5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4F0AF17-DBA6-41CE-B6B2-20AD828E415A}"/>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5" name="Footer Placeholder 4">
            <a:extLst>
              <a:ext uri="{FF2B5EF4-FFF2-40B4-BE49-F238E27FC236}">
                <a16:creationId xmlns:a16="http://schemas.microsoft.com/office/drawing/2014/main" id="{BF7AA4FB-8D04-41D4-8C4C-7CD65943D3D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CA07E1-2214-4830-83CC-E0324B0F3E99}"/>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37419717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7B14037-6751-4C80-9B88-DA6C7B9D5CB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C41DD6F-BAA4-4E72-9C6A-73BF8A4DBC5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47B609F-3E47-44E4-9815-ADF2E38E06DE}"/>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5" name="Footer Placeholder 4">
            <a:extLst>
              <a:ext uri="{FF2B5EF4-FFF2-40B4-BE49-F238E27FC236}">
                <a16:creationId xmlns:a16="http://schemas.microsoft.com/office/drawing/2014/main" id="{D757B377-FE92-4735-8839-BD0164E2D83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38073A7-CE6C-4151-827A-95FAA42253E1}"/>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3394079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extLst>
              <p:ext uri="{D42A27DB-BD31-4B8C-83A1-F6EECF244321}">
                <p14:modId xmlns:p14="http://schemas.microsoft.com/office/powerpoint/2010/main" val="37318636"/>
              </p:ext>
            </p:extLst>
          </p:nvPr>
        </p:nvGraphicFramePr>
        <p:xfrm>
          <a:off x="1" y="0"/>
          <a:ext cx="195385" cy="158750"/>
        </p:xfrm>
        <a:graphic>
          <a:graphicData uri="http://schemas.openxmlformats.org/presentationml/2006/ole">
            <mc:AlternateContent xmlns:mc="http://schemas.openxmlformats.org/markup-compatibility/2006">
              <mc:Choice xmlns:v="urn:schemas-microsoft-com:vml" Requires="v">
                <p:oleObj spid="_x0000_s13313" name="think-cell Slide" r:id="rId11" imgW="0" imgH="0" progId="TCLayout.ActiveDocument.1">
                  <p:embed/>
                </p:oleObj>
              </mc:Choice>
              <mc:Fallback>
                <p:oleObj name="think-cell Slide" r:id="rId11" imgW="0" imgH="0" progId="TCLayout.ActiveDocument.1">
                  <p:embed/>
                  <p:pic>
                    <p:nvPicPr>
                      <p:cNvPr id="3"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 name="Object 10"/>
          <p:cNvGraphicFramePr>
            <a:graphicFrameLocks noChangeAspect="1"/>
          </p:cNvGraphicFramePr>
          <p:nvPr>
            <p:custDataLst>
              <p:tags r:id="rId3"/>
            </p:custDataLst>
          </p:nvPr>
        </p:nvGraphicFramePr>
        <p:xfrm>
          <a:off x="0" y="0"/>
          <a:ext cx="11254154" cy="946150"/>
        </p:xfrm>
        <a:graphic>
          <a:graphicData uri="http://schemas.openxmlformats.org/presentationml/2006/ole">
            <mc:AlternateContent xmlns:mc="http://schemas.openxmlformats.org/markup-compatibility/2006">
              <mc:Choice xmlns:v="urn:schemas-microsoft-com:vml" Requires="v">
                <p:oleObj spid="_x0000_s13314" name="CorelDRAW" r:id="rId12" imgW="10085760" imgH="1044000" progId="">
                  <p:embed/>
                </p:oleObj>
              </mc:Choice>
              <mc:Fallback>
                <p:oleObj name="CorelDRAW" r:id="rId12" imgW="10085760" imgH="1044000" progId="">
                  <p:embed/>
                  <p:pic>
                    <p:nvPicPr>
                      <p:cNvPr id="4" name="Object 1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1254154" cy="946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E30000"/>
                              </a:outerShdw>
                            </a:effectLst>
                          </a14:hiddenEffects>
                        </a:ext>
                      </a:extLst>
                    </p:spPr>
                  </p:pic>
                </p:oleObj>
              </mc:Fallback>
            </mc:AlternateContent>
          </a:graphicData>
        </a:graphic>
      </p:graphicFrame>
      <p:sp>
        <p:nvSpPr>
          <p:cNvPr id="5" name="!!!Do not delete this text object!!!!_&quot;A4rb_standard&quot;"/>
          <p:cNvSpPr txBox="1"/>
          <p:nvPr>
            <p:custDataLst>
              <p:tags r:id="rId4"/>
            </p:custDataLst>
          </p:nvPr>
        </p:nvSpPr>
        <p:spPr>
          <a:xfrm rot="16200000">
            <a:off x="11609393" y="599956"/>
            <a:ext cx="1292225" cy="92333"/>
          </a:xfrm>
          <a:prstGeom prst="rect">
            <a:avLst/>
          </a:prstGeom>
          <a:noFill/>
        </p:spPr>
        <p:txBody>
          <a:bodyPr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r">
              <a:buClr>
                <a:schemeClr val="tx1"/>
              </a:buClr>
              <a:buSzPct val="100000"/>
              <a:defRPr/>
            </a:pPr>
            <a:r>
              <a:rPr lang="en-US" sz="300" b="0">
                <a:solidFill>
                  <a:srgbClr val="00B050"/>
                </a:solidFill>
                <a:latin typeface="+mn-lt"/>
                <a:cs typeface="Arial" pitchFamily="34" charset="0"/>
              </a:rPr>
              <a:t>"</a:t>
            </a:r>
            <a:r>
              <a:rPr lang="en-US" sz="300" b="0" noProof="1">
                <a:solidFill>
                  <a:srgbClr val="00B050"/>
                </a:solidFill>
                <a:latin typeface="+mn-lt"/>
                <a:cs typeface="Arial" pitchFamily="34" charset="0"/>
              </a:rPr>
              <a:t>A4rb_standard_band_photo</a:t>
            </a:r>
            <a:r>
              <a:rPr lang="en-US" sz="300" b="0">
                <a:solidFill>
                  <a:srgbClr val="00B050"/>
                </a:solidFill>
                <a:latin typeface="+mn-lt"/>
                <a:cs typeface="Arial" pitchFamily="34" charset="0"/>
              </a:rPr>
              <a:t>" – 20100111 – do not delete this text object!</a:t>
            </a:r>
          </a:p>
          <a:p>
            <a:pPr algn="r">
              <a:buClr>
                <a:schemeClr val="tx1"/>
              </a:buClr>
              <a:buSzPct val="100000"/>
              <a:defRPr/>
            </a:pPr>
            <a:r>
              <a:rPr lang="en-US" sz="300" b="0">
                <a:solidFill>
                  <a:srgbClr val="00B050"/>
                </a:solidFill>
                <a:latin typeface="+mn-lt"/>
                <a:cs typeface="Arial" pitchFamily="34" charset="0"/>
              </a:rPr>
              <a:t>colored</a:t>
            </a:r>
          </a:p>
        </p:txBody>
      </p:sp>
      <p:sp>
        <p:nvSpPr>
          <p:cNvPr id="6" name="Rectangle 8"/>
          <p:cNvSpPr>
            <a:spLocks noChangeArrowheads="1"/>
          </p:cNvSpPr>
          <p:nvPr>
            <p:custDataLst>
              <p:tags r:id="rId5"/>
            </p:custDataLst>
          </p:nvPr>
        </p:nvSpPr>
        <p:spPr bwMode="auto">
          <a:xfrm>
            <a:off x="5296883" y="15875"/>
            <a:ext cx="6873631" cy="122238"/>
          </a:xfrm>
          <a:prstGeom prst="rect">
            <a:avLst/>
          </a:prstGeom>
          <a:solidFill>
            <a:srgbClr val="1D73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b="1">
                <a:solidFill>
                  <a:schemeClr val="tx1"/>
                </a:solidFill>
                <a:latin typeface="Arial" pitchFamily="34" charset="0"/>
                <a:cs typeface="Arial" pitchFamily="34" charset="0"/>
              </a:defRPr>
            </a:lvl1pPr>
            <a:lvl2pPr marL="742950" indent="-285750" eaLnBrk="0" hangingPunct="0">
              <a:defRPr sz="1300" b="1">
                <a:solidFill>
                  <a:schemeClr val="tx1"/>
                </a:solidFill>
                <a:latin typeface="Arial" pitchFamily="34" charset="0"/>
                <a:cs typeface="Arial" pitchFamily="34" charset="0"/>
              </a:defRPr>
            </a:lvl2pPr>
            <a:lvl3pPr marL="1143000" indent="-228600" eaLnBrk="0" hangingPunct="0">
              <a:defRPr sz="1300" b="1">
                <a:solidFill>
                  <a:schemeClr val="tx1"/>
                </a:solidFill>
                <a:latin typeface="Arial" pitchFamily="34" charset="0"/>
                <a:cs typeface="Arial" pitchFamily="34" charset="0"/>
              </a:defRPr>
            </a:lvl3pPr>
            <a:lvl4pPr marL="1600200" indent="-228600" eaLnBrk="0" hangingPunct="0">
              <a:defRPr sz="1300" b="1">
                <a:solidFill>
                  <a:schemeClr val="tx1"/>
                </a:solidFill>
                <a:latin typeface="Arial" pitchFamily="34" charset="0"/>
                <a:cs typeface="Arial" pitchFamily="34" charset="0"/>
              </a:defRPr>
            </a:lvl4pPr>
            <a:lvl5pPr marL="2057400" indent="-228600" eaLnBrk="0" hangingPunct="0">
              <a:defRPr sz="13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3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3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3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300" b="1">
                <a:solidFill>
                  <a:schemeClr val="tx1"/>
                </a:solidFill>
                <a:latin typeface="Arial" pitchFamily="34" charset="0"/>
                <a:cs typeface="Arial" pitchFamily="34" charset="0"/>
              </a:defRPr>
            </a:lvl9pPr>
          </a:lstStyle>
          <a:p>
            <a:pPr eaLnBrk="1" hangingPunct="1">
              <a:defRPr/>
            </a:pPr>
            <a:endParaRPr lang="en-GB" altLang="en-US" sz="1300"/>
          </a:p>
        </p:txBody>
      </p:sp>
      <p:sp>
        <p:nvSpPr>
          <p:cNvPr id="8" name="Slide Number"/>
          <p:cNvSpPr txBox="1">
            <a:spLocks noChangeArrowheads="1"/>
          </p:cNvSpPr>
          <p:nvPr userDrawn="1">
            <p:custDataLst>
              <p:tags r:id="rId6"/>
            </p:custDataLst>
          </p:nvPr>
        </p:nvSpPr>
        <p:spPr bwMode="auto">
          <a:xfrm>
            <a:off x="11551137" y="6718305"/>
            <a:ext cx="134652" cy="138499"/>
          </a:xfrm>
          <a:prstGeom prst="rect">
            <a:avLst/>
          </a:prstGeom>
          <a:noFill/>
          <a:ln w="9525">
            <a:noFill/>
            <a:miter lim="800000"/>
            <a:headEnd/>
            <a:tailEnd/>
          </a:ln>
          <a:effectLst/>
        </p:spPr>
        <p:txBody>
          <a:bodyPr wrap="none" lIns="0" tIns="0" rIns="0" bIns="0">
            <a:spAutoFit/>
          </a:bodyPr>
          <a:lstStyle>
            <a:lvl1pPr>
              <a:defRPr sz="900" b="0" smtClean="0"/>
            </a:lvl1pPr>
          </a:lstStyle>
          <a:p>
            <a:pPr>
              <a:defRPr/>
            </a:pPr>
            <a:fld id="{1202A41D-0400-4053-BDBD-F5C0BDE29FC5}" type="slidenum">
              <a:rPr lang="en-US" sz="900">
                <a:latin typeface="+mn-lt"/>
              </a:rPr>
              <a:pPr>
                <a:defRPr/>
              </a:pPr>
              <a:t>‹#›</a:t>
            </a:fld>
            <a:endParaRPr lang="en-US" sz="900">
              <a:latin typeface="+mn-lt"/>
            </a:endParaRPr>
          </a:p>
        </p:txBody>
      </p:sp>
      <p:sp>
        <p:nvSpPr>
          <p:cNvPr id="9" name="Slide Number Line"/>
          <p:cNvSpPr>
            <a:spLocks noChangeShapeType="1"/>
          </p:cNvSpPr>
          <p:nvPr userDrawn="1">
            <p:custDataLst>
              <p:tags r:id="rId7"/>
            </p:custDataLst>
          </p:nvPr>
        </p:nvSpPr>
        <p:spPr bwMode="auto">
          <a:xfrm>
            <a:off x="11408508" y="6734184"/>
            <a:ext cx="0" cy="1238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en-GB" sz="1300"/>
          </a:p>
        </p:txBody>
      </p:sp>
      <p:sp>
        <p:nvSpPr>
          <p:cNvPr id="14" name="Title Placeholder 1"/>
          <p:cNvSpPr>
            <a:spLocks noGrp="1"/>
          </p:cNvSpPr>
          <p:nvPr>
            <p:ph type="title" hasCustomPrompt="1"/>
          </p:nvPr>
        </p:nvSpPr>
        <p:spPr>
          <a:xfrm>
            <a:off x="2532185" y="-117895"/>
            <a:ext cx="9216310" cy="1311128"/>
          </a:xfrm>
          <a:prstGeom prst="rect">
            <a:avLst/>
          </a:prstGeom>
        </p:spPr>
        <p:txBody>
          <a:bodyPr rtlCol="0">
            <a:spAutoFit/>
          </a:bodyPr>
          <a:lstStyle/>
          <a:p>
            <a:r>
              <a:rPr lang="en-US"/>
              <a:t>Click to edit Master </a:t>
            </a:r>
            <a:br>
              <a:rPr lang="en-US"/>
            </a:br>
            <a:r>
              <a:rPr lang="en-US"/>
              <a:t>title style</a:t>
            </a:r>
          </a:p>
        </p:txBody>
      </p:sp>
      <p:sp>
        <p:nvSpPr>
          <p:cNvPr id="10" name="Footer Placeholder 22"/>
          <p:cNvSpPr>
            <a:spLocks noGrp="1"/>
          </p:cNvSpPr>
          <p:nvPr>
            <p:ph type="ftr" sz="quarter" idx="10"/>
            <p:custDataLst>
              <p:tags r:id="rId8"/>
            </p:custDataLst>
          </p:nvPr>
        </p:nvSpPr>
        <p:spPr>
          <a:xfrm>
            <a:off x="10460893" y="6867526"/>
            <a:ext cx="1553308" cy="30778"/>
          </a:xfrm>
          <a:prstGeom prst="rect">
            <a:avLst/>
          </a:prstGeom>
        </p:spPr>
        <p:txBody>
          <a:bodyPr vert="horz" wrap="square" lIns="0" tIns="0" rIns="0" bIns="0" numCol="1" anchor="t" anchorCtr="0" compatLnSpc="1">
            <a:prstTxWarp prst="textNoShape">
              <a:avLst/>
            </a:prstTxWarp>
            <a:spAutoFit/>
          </a:bodyPr>
          <a:lstStyle>
            <a:lvl1pPr algn="r">
              <a:defRPr sz="200" b="0">
                <a:solidFill>
                  <a:srgbClr val="FFFFFF"/>
                </a:solidFill>
                <a:latin typeface="Arial" charset="0"/>
                <a:ea typeface="MS PGothic" pitchFamily="34" charset="-128"/>
                <a:cs typeface="Arial" charset="0"/>
              </a:defRPr>
            </a:lvl1pPr>
          </a:lstStyle>
          <a:p>
            <a:pPr>
              <a:defRPr/>
            </a:pPr>
            <a:endParaRPr lang="en-US"/>
          </a:p>
        </p:txBody>
      </p:sp>
      <p:sp>
        <p:nvSpPr>
          <p:cNvPr id="11" name="Slide Number Placeholder 28"/>
          <p:cNvSpPr>
            <a:spLocks noGrp="1"/>
          </p:cNvSpPr>
          <p:nvPr>
            <p:ph type="sldNum" sz="quarter" idx="11"/>
            <p:custDataLst>
              <p:tags r:id="rId9"/>
            </p:custDataLst>
          </p:nvPr>
        </p:nvSpPr>
        <p:spPr>
          <a:xfrm>
            <a:off x="12037647" y="6867217"/>
            <a:ext cx="146538" cy="30778"/>
          </a:xfrm>
          <a:prstGeom prst="rect">
            <a:avLst/>
          </a:prstGeom>
        </p:spPr>
        <p:txBody>
          <a:bodyPr vert="horz" wrap="square" lIns="0" tIns="0" rIns="0" bIns="0" numCol="1" anchor="ctr" anchorCtr="0" compatLnSpc="1">
            <a:prstTxWarp prst="textNoShape">
              <a:avLst/>
            </a:prstTxWarp>
            <a:spAutoFit/>
          </a:bodyPr>
          <a:lstStyle>
            <a:lvl1pPr algn="r">
              <a:defRPr sz="200" b="0">
                <a:solidFill>
                  <a:srgbClr val="FFFFFF"/>
                </a:solidFill>
                <a:latin typeface="Arial" charset="0"/>
                <a:ea typeface="MS PGothic" pitchFamily="34" charset="-128"/>
                <a:cs typeface="Arial" charset="0"/>
              </a:defRPr>
            </a:lvl1pPr>
          </a:lstStyle>
          <a:p>
            <a:pPr>
              <a:defRPr/>
            </a:pPr>
            <a:fld id="{47794585-347E-4355-955C-F2766ACC4F25}" type="slidenum">
              <a:rPr lang="en-US"/>
              <a:pPr>
                <a:defRPr/>
              </a:pPr>
              <a:t>‹#›</a:t>
            </a:fld>
            <a:endParaRPr lang="en-US"/>
          </a:p>
        </p:txBody>
      </p:sp>
    </p:spTree>
    <p:extLst>
      <p:ext uri="{BB962C8B-B14F-4D97-AF65-F5344CB8AC3E}">
        <p14:creationId xmlns:p14="http://schemas.microsoft.com/office/powerpoint/2010/main" val="3644202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C6B66-3915-48AF-8FEB-9B57D5C6576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2F54C15-9CDB-4662-98E8-F846352E0F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C90AAB-F8B5-4ECC-BAA8-75446E13DA4D}"/>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5" name="Footer Placeholder 4">
            <a:extLst>
              <a:ext uri="{FF2B5EF4-FFF2-40B4-BE49-F238E27FC236}">
                <a16:creationId xmlns:a16="http://schemas.microsoft.com/office/drawing/2014/main" id="{E8456C37-AAF2-490E-A3BC-69F6F894811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D8EEA74-0ECE-4ECA-8241-F0C828CB9DED}"/>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1426468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E5331-C383-45DA-8395-9A33D446566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0F97B11-7BE0-460B-A5A0-63B6224D05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669FA2-068A-4F26-B2F1-0C8FBBC6C2DF}"/>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5" name="Footer Placeholder 4">
            <a:extLst>
              <a:ext uri="{FF2B5EF4-FFF2-40B4-BE49-F238E27FC236}">
                <a16:creationId xmlns:a16="http://schemas.microsoft.com/office/drawing/2014/main" id="{C59AFAC4-058D-4910-871C-FE53E83A24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E007E9E-2A32-4248-85DF-60D88A312170}"/>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315219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618FC-961F-46F8-A581-55ED6B97BB2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41B73EB-EE70-4027-9323-96BD2C7572B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7D99707-48C3-42B9-9E3C-7BDE3B74D5A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60B4F7E-79BE-4BBA-8C65-EC3ED49C3FDA}"/>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6" name="Footer Placeholder 5">
            <a:extLst>
              <a:ext uri="{FF2B5EF4-FFF2-40B4-BE49-F238E27FC236}">
                <a16:creationId xmlns:a16="http://schemas.microsoft.com/office/drawing/2014/main" id="{2FBB320C-964C-4AE0-B542-FD7C6B4BEC6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A5ED58-0814-41AE-8199-62D7917AFB83}"/>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3210411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A6057-E2E6-4330-B1DE-80275D7629D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391A82C-4A49-4A0C-A2A2-3940294769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ED788E-D7A6-4E7A-90D3-92207537960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D942E67-208C-43EE-9BCC-1783611B0D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907C676-035F-4A31-B778-F73403BDCF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3200415-C7AC-47B2-845B-905938C1D1D1}"/>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8" name="Footer Placeholder 7">
            <a:extLst>
              <a:ext uri="{FF2B5EF4-FFF2-40B4-BE49-F238E27FC236}">
                <a16:creationId xmlns:a16="http://schemas.microsoft.com/office/drawing/2014/main" id="{F49831E3-2512-45AC-BCDF-1D15B9636B5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31C64FA-552A-4AF9-8B12-D7FC7EE61141}"/>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3155520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0A934-B660-4B93-845D-82E2EEB0FE8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DE1C095-4C67-4045-9E4D-8C10C989D2E1}"/>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4" name="Footer Placeholder 3">
            <a:extLst>
              <a:ext uri="{FF2B5EF4-FFF2-40B4-BE49-F238E27FC236}">
                <a16:creationId xmlns:a16="http://schemas.microsoft.com/office/drawing/2014/main" id="{87197618-81A9-4F0B-B806-19F2E23642F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A61D64F-94BE-48E0-86A3-032C4661BCE8}"/>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1883144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9D1B01-CAF3-4148-AA2A-063A24CBD85E}"/>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3" name="Footer Placeholder 2">
            <a:extLst>
              <a:ext uri="{FF2B5EF4-FFF2-40B4-BE49-F238E27FC236}">
                <a16:creationId xmlns:a16="http://schemas.microsoft.com/office/drawing/2014/main" id="{B604A9FE-4C08-49C0-8A1D-F14177DECD5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07866CE-A3D3-4250-B77C-A7ADAD44EA78}"/>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930323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A89EFA-AC63-4993-9CE2-E5F80DD959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1E884CC-2EAB-42CC-97AD-7EB2396FE71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2662328-19FC-4A9E-96AE-450770F9D8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A884B-3B05-4588-B92E-8CFABE6D45E6}"/>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6" name="Footer Placeholder 5">
            <a:extLst>
              <a:ext uri="{FF2B5EF4-FFF2-40B4-BE49-F238E27FC236}">
                <a16:creationId xmlns:a16="http://schemas.microsoft.com/office/drawing/2014/main" id="{5D627217-3224-49D2-BC71-7ADA88A3E13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296BB2-2D1B-4722-977C-51D431D0FD01}"/>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11278351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ADC95-A714-4B9D-AA29-604772D7B8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2893168-451D-4438-8255-03F1168C14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EF5B996-FD2F-4999-95AE-83E766505C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9EEAB5-8B10-4970-AE46-05CB151C983B}"/>
              </a:ext>
            </a:extLst>
          </p:cNvPr>
          <p:cNvSpPr>
            <a:spLocks noGrp="1"/>
          </p:cNvSpPr>
          <p:nvPr>
            <p:ph type="dt" sz="half" idx="10"/>
          </p:nvPr>
        </p:nvSpPr>
        <p:spPr/>
        <p:txBody>
          <a:bodyPr/>
          <a:lstStyle/>
          <a:p>
            <a:fld id="{87C588C1-0675-43BC-A851-2D4EC1E5D3C2}" type="datetimeFigureOut">
              <a:rPr lang="en-GB" smtClean="0"/>
              <a:t>13/07/2020</a:t>
            </a:fld>
            <a:endParaRPr lang="en-GB"/>
          </a:p>
        </p:txBody>
      </p:sp>
      <p:sp>
        <p:nvSpPr>
          <p:cNvPr id="6" name="Footer Placeholder 5">
            <a:extLst>
              <a:ext uri="{FF2B5EF4-FFF2-40B4-BE49-F238E27FC236}">
                <a16:creationId xmlns:a16="http://schemas.microsoft.com/office/drawing/2014/main" id="{0046C318-8F75-4775-BBE2-D12AD708E3E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2BE596-63A5-47E7-8619-197B3E3838AB}"/>
              </a:ext>
            </a:extLst>
          </p:cNvPr>
          <p:cNvSpPr>
            <a:spLocks noGrp="1"/>
          </p:cNvSpPr>
          <p:nvPr>
            <p:ph type="sldNum" sz="quarter" idx="12"/>
          </p:nvPr>
        </p:nvSpPr>
        <p:spPr/>
        <p:txBody>
          <a:bodyPr/>
          <a:lstStyle/>
          <a:p>
            <a:fld id="{ABD32F6C-B9DB-4CAA-B64A-F768D648AFC7}" type="slidenum">
              <a:rPr lang="en-GB" smtClean="0"/>
              <a:t>‹#›</a:t>
            </a:fld>
            <a:endParaRPr lang="en-GB"/>
          </a:p>
        </p:txBody>
      </p:sp>
    </p:spTree>
    <p:extLst>
      <p:ext uri="{BB962C8B-B14F-4D97-AF65-F5344CB8AC3E}">
        <p14:creationId xmlns:p14="http://schemas.microsoft.com/office/powerpoint/2010/main" val="3671234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EC5EA9-DC8F-413F-8268-7E6BC320D60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764A1B8-02FE-4134-8B98-27F93DFA7D5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033DC17-5CD4-4084-98D5-158E3C2F3A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C588C1-0675-43BC-A851-2D4EC1E5D3C2}" type="datetimeFigureOut">
              <a:rPr lang="en-GB" smtClean="0"/>
              <a:t>13/07/2020</a:t>
            </a:fld>
            <a:endParaRPr lang="en-GB"/>
          </a:p>
        </p:txBody>
      </p:sp>
      <p:sp>
        <p:nvSpPr>
          <p:cNvPr id="5" name="Footer Placeholder 4">
            <a:extLst>
              <a:ext uri="{FF2B5EF4-FFF2-40B4-BE49-F238E27FC236}">
                <a16:creationId xmlns:a16="http://schemas.microsoft.com/office/drawing/2014/main" id="{E86C2AEB-6342-45C3-85CC-1D5727B3D2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43CA852-D7BE-40BA-8861-0D283FAB82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D32F6C-B9DB-4CAA-B64A-F768D648AFC7}" type="slidenum">
              <a:rPr lang="en-GB" smtClean="0"/>
              <a:t>‹#›</a:t>
            </a:fld>
            <a:endParaRPr lang="en-GB"/>
          </a:p>
        </p:txBody>
      </p:sp>
    </p:spTree>
    <p:extLst>
      <p:ext uri="{BB962C8B-B14F-4D97-AF65-F5344CB8AC3E}">
        <p14:creationId xmlns:p14="http://schemas.microsoft.com/office/powerpoint/2010/main" val="34568457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8.png"/><Relationship Id="rId1" Type="http://schemas.openxmlformats.org/officeDocument/2006/relationships/slideLayout" Target="../slideLayouts/slideLayout12.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chart" Target="../charts/chart10.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5" Type="http://schemas.openxmlformats.org/officeDocument/2006/relationships/comments" Target="../comments/comment3.xml"/><Relationship Id="rId4" Type="http://schemas.openxmlformats.org/officeDocument/2006/relationships/image" Target="../media/image22.jpeg"/></Relationships>
</file>

<file path=ppt/slides/_rels/slide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jpe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omments" Target="../comments/comment1.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tags" Target="../tags/tag56.xml"/><Relationship Id="rId50" Type="http://schemas.openxmlformats.org/officeDocument/2006/relationships/tags" Target="../tags/tag59.xml"/><Relationship Id="rId55" Type="http://schemas.openxmlformats.org/officeDocument/2006/relationships/image" Target="../media/image6.emf"/><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tags" Target="../tags/tag54.xml"/><Relationship Id="rId53" Type="http://schemas.openxmlformats.org/officeDocument/2006/relationships/notesSlide" Target="../notesSlides/notesSlide4.xml"/><Relationship Id="rId58" Type="http://schemas.openxmlformats.org/officeDocument/2006/relationships/image" Target="../media/image8.png"/><Relationship Id="rId5" Type="http://schemas.openxmlformats.org/officeDocument/2006/relationships/tags" Target="../tags/tag14.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image" Target="../media/image7.jpeg"/><Relationship Id="rId8" Type="http://schemas.openxmlformats.org/officeDocument/2006/relationships/tags" Target="../tags/tag17.xml"/><Relationship Id="rId51" Type="http://schemas.openxmlformats.org/officeDocument/2006/relationships/tags" Target="../tags/tag6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comments" Target="../comments/comment2.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oleObject" Target="../embeddings/oleObject3.bin"/><Relationship Id="rId1" Type="http://schemas.openxmlformats.org/officeDocument/2006/relationships/vmlDrawing" Target="../drawings/vmlDrawing4.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chart" Target="../charts/chart1.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chart" Target="../charts/chart2.xml"/><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chart" Target="../charts/chart3.xml"/><Relationship Id="rId4" Type="http://schemas.openxmlformats.org/officeDocument/2006/relationships/image" Target="../media/image11.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4.xml"/><Relationship Id="rId2" Type="http://schemas.openxmlformats.org/officeDocument/2006/relationships/tags" Target="../tags/tag61.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Layout" Target="../slideLayouts/slideLayout12.xml"/><Relationship Id="rId5" Type="http://schemas.microsoft.com/office/2007/relationships/hdphoto" Target="../media/hdphoto3.wdp"/><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7E098A-16BF-9943-9015-5D0997B42888}"/>
              </a:ext>
            </a:extLst>
          </p:cNvPr>
          <p:cNvPicPr>
            <a:picLocks noChangeAspect="1"/>
          </p:cNvPicPr>
          <p:nvPr/>
        </p:nvPicPr>
        <p:blipFill>
          <a:blip r:embed="rId2"/>
          <a:stretch>
            <a:fillRect/>
          </a:stretch>
        </p:blipFill>
        <p:spPr>
          <a:xfrm>
            <a:off x="4581388" y="3120363"/>
            <a:ext cx="3029228" cy="617277"/>
          </a:xfrm>
          <a:prstGeom prst="rect">
            <a:avLst/>
          </a:prstGeom>
        </p:spPr>
      </p:pic>
      <p:pic>
        <p:nvPicPr>
          <p:cNvPr id="5" name="Picture 4">
            <a:extLst>
              <a:ext uri="{FF2B5EF4-FFF2-40B4-BE49-F238E27FC236}">
                <a16:creationId xmlns:a16="http://schemas.microsoft.com/office/drawing/2014/main" id="{1835110B-D1D2-0F47-ACB8-A5728A2CF062}"/>
              </a:ext>
            </a:extLst>
          </p:cNvPr>
          <p:cNvPicPr>
            <a:picLocks noChangeAspect="1"/>
          </p:cNvPicPr>
          <p:nvPr/>
        </p:nvPicPr>
        <p:blipFill>
          <a:blip r:embed="rId2"/>
          <a:stretch>
            <a:fillRect/>
          </a:stretch>
        </p:blipFill>
        <p:spPr>
          <a:xfrm>
            <a:off x="4718559" y="3257535"/>
            <a:ext cx="3029228" cy="617277"/>
          </a:xfrm>
          <a:prstGeom prst="rect">
            <a:avLst/>
          </a:prstGeom>
        </p:spPr>
      </p:pic>
      <p:pic>
        <p:nvPicPr>
          <p:cNvPr id="6" name="Picture 5">
            <a:extLst>
              <a:ext uri="{FF2B5EF4-FFF2-40B4-BE49-F238E27FC236}">
                <a16:creationId xmlns:a16="http://schemas.microsoft.com/office/drawing/2014/main" id="{41F44746-3800-5940-8E26-76E8A48F2775}"/>
              </a:ext>
            </a:extLst>
          </p:cNvPr>
          <p:cNvPicPr>
            <a:picLocks noChangeAspect="1"/>
          </p:cNvPicPr>
          <p:nvPr/>
        </p:nvPicPr>
        <p:blipFill>
          <a:blip r:embed="rId2"/>
          <a:stretch>
            <a:fillRect/>
          </a:stretch>
        </p:blipFill>
        <p:spPr>
          <a:xfrm>
            <a:off x="4855732" y="3394708"/>
            <a:ext cx="3029228" cy="617277"/>
          </a:xfrm>
          <a:prstGeom prst="rect">
            <a:avLst/>
          </a:prstGeom>
        </p:spPr>
      </p:pic>
      <p:pic>
        <p:nvPicPr>
          <p:cNvPr id="3" name="Picture 2" descr="A screenshot of a cell phone&#10;&#10;Description automatically generated">
            <a:extLst>
              <a:ext uri="{FF2B5EF4-FFF2-40B4-BE49-F238E27FC236}">
                <a16:creationId xmlns:a16="http://schemas.microsoft.com/office/drawing/2014/main" id="{3A9C9F29-682B-8845-BD43-2A2584CF64C4}"/>
              </a:ext>
            </a:extLst>
          </p:cNvPr>
          <p:cNvPicPr>
            <a:picLocks noChangeAspect="1"/>
          </p:cNvPicPr>
          <p:nvPr/>
        </p:nvPicPr>
        <p:blipFill rotWithShape="1">
          <a:blip r:embed="rId3"/>
          <a:srcRect l="2908" t="17501" b="45757"/>
          <a:stretch/>
        </p:blipFill>
        <p:spPr>
          <a:xfrm>
            <a:off x="1620171" y="259432"/>
            <a:ext cx="8804723" cy="2082498"/>
          </a:xfrm>
          <a:prstGeom prst="rect">
            <a:avLst/>
          </a:prstGeom>
        </p:spPr>
      </p:pic>
      <p:cxnSp>
        <p:nvCxnSpPr>
          <p:cNvPr id="7" name="Straight Connector 6">
            <a:extLst>
              <a:ext uri="{FF2B5EF4-FFF2-40B4-BE49-F238E27FC236}">
                <a16:creationId xmlns:a16="http://schemas.microsoft.com/office/drawing/2014/main" id="{FC5662AC-8508-46B8-9144-1D7401D09D03}"/>
              </a:ext>
            </a:extLst>
          </p:cNvPr>
          <p:cNvCxnSpPr/>
          <p:nvPr/>
        </p:nvCxnSpPr>
        <p:spPr>
          <a:xfrm>
            <a:off x="2041452" y="3893354"/>
            <a:ext cx="8116439" cy="0"/>
          </a:xfrm>
          <a:prstGeom prst="line">
            <a:avLst/>
          </a:prstGeom>
          <a:ln w="9525">
            <a:solidFill>
              <a:srgbClr val="909090"/>
            </a:solidFill>
          </a:ln>
        </p:spPr>
        <p:style>
          <a:lnRef idx="1">
            <a:schemeClr val="accent1"/>
          </a:lnRef>
          <a:fillRef idx="0">
            <a:schemeClr val="accent1"/>
          </a:fillRef>
          <a:effectRef idx="0">
            <a:schemeClr val="accent1"/>
          </a:effectRef>
          <a:fontRef idx="minor">
            <a:schemeClr val="tx1"/>
          </a:fontRef>
        </p:style>
      </p:cxnSp>
      <p:sp>
        <p:nvSpPr>
          <p:cNvPr id="9" name="Rectangle 1">
            <a:extLst>
              <a:ext uri="{FF2B5EF4-FFF2-40B4-BE49-F238E27FC236}">
                <a16:creationId xmlns:a16="http://schemas.microsoft.com/office/drawing/2014/main" id="{81AD242B-05DE-4866-A6B7-F8D337FD423F}"/>
              </a:ext>
            </a:extLst>
          </p:cNvPr>
          <p:cNvSpPr>
            <a:spLocks noChangeArrowheads="1"/>
          </p:cNvSpPr>
          <p:nvPr/>
        </p:nvSpPr>
        <p:spPr bwMode="auto">
          <a:xfrm>
            <a:off x="2041452" y="2796278"/>
            <a:ext cx="8383442" cy="243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8" tIns="45709" rIns="91418" bIns="45709">
            <a:spAutoFit/>
          </a:bodyPr>
          <a:lstStyle/>
          <a:p>
            <a:pPr algn="ctr"/>
            <a:r>
              <a:rPr lang="en-US" altLang="de-DE" sz="3200" b="1">
                <a:solidFill>
                  <a:schemeClr val="tx1">
                    <a:lumMod val="75000"/>
                    <a:lumOff val="25000"/>
                  </a:schemeClr>
                </a:solidFill>
                <a:latin typeface="Futura LtCn BT" panose="020B0408020204030204" pitchFamily="34" charset="0"/>
                <a:cs typeface="Arial" panose="020B0604020202020204" pitchFamily="34" charset="0"/>
              </a:rPr>
              <a:t>Impact of COVID-19 on </a:t>
            </a:r>
          </a:p>
          <a:p>
            <a:pPr algn="ctr"/>
            <a:r>
              <a:rPr lang="en-US" altLang="de-DE" sz="3200" b="1">
                <a:solidFill>
                  <a:schemeClr val="tx1">
                    <a:lumMod val="75000"/>
                    <a:lumOff val="25000"/>
                  </a:schemeClr>
                </a:solidFill>
                <a:latin typeface="Futura LtCn BT" panose="020B0408020204030204" pitchFamily="34" charset="0"/>
                <a:cs typeface="Arial" panose="020B0604020202020204" pitchFamily="34" charset="0"/>
              </a:rPr>
              <a:t>Financial Services Agents</a:t>
            </a:r>
          </a:p>
          <a:p>
            <a:pPr algn="ctr"/>
            <a:endParaRPr lang="en-US" altLang="de-DE" sz="3200" b="1">
              <a:solidFill>
                <a:schemeClr val="tx1">
                  <a:lumMod val="75000"/>
                  <a:lumOff val="25000"/>
                </a:schemeClr>
              </a:solidFill>
              <a:latin typeface="Futura LtCn BT" panose="020B0408020204030204" pitchFamily="34" charset="0"/>
              <a:cs typeface="Arial" panose="020B0604020202020204" pitchFamily="34" charset="0"/>
            </a:endParaRPr>
          </a:p>
          <a:p>
            <a:pPr algn="ctr"/>
            <a:r>
              <a:rPr lang="en-US" altLang="de-DE" sz="2400" b="1">
                <a:solidFill>
                  <a:srgbClr val="FF0000"/>
                </a:solidFill>
                <a:latin typeface="Futura LtCn BT" panose="020B0408020204030204" pitchFamily="34" charset="0"/>
                <a:cs typeface="Arial" panose="020B0604020202020204" pitchFamily="34" charset="0"/>
              </a:rPr>
              <a:t>Key Findings</a:t>
            </a:r>
          </a:p>
          <a:p>
            <a:pPr algn="ctr"/>
            <a:endParaRPr lang="en-US" altLang="de-DE" sz="3200">
              <a:solidFill>
                <a:schemeClr val="tx1">
                  <a:lumMod val="75000"/>
                  <a:lumOff val="25000"/>
                </a:schemeClr>
              </a:solidFill>
              <a:latin typeface="Futura LtCn BT" panose="020B040802020403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A1D4CC96-743D-4FCB-BFB0-738F59C5715E}"/>
              </a:ext>
            </a:extLst>
          </p:cNvPr>
          <p:cNvSpPr>
            <a:spLocks noGrp="1"/>
          </p:cNvSpPr>
          <p:nvPr>
            <p:ph type="sldNum" sz="quarter" idx="12"/>
          </p:nvPr>
        </p:nvSpPr>
        <p:spPr/>
        <p:txBody>
          <a:bodyPr/>
          <a:lstStyle/>
          <a:p>
            <a:fld id="{E46E2C3B-4F37-420A-99E8-2482C2787464}" type="slidenum">
              <a:rPr lang="en-GB" smtClean="0"/>
              <a:t>1</a:t>
            </a:fld>
            <a:endParaRPr lang="en-GB"/>
          </a:p>
        </p:txBody>
      </p:sp>
      <p:sp>
        <p:nvSpPr>
          <p:cNvPr id="8" name="Rectangle 7">
            <a:extLst>
              <a:ext uri="{FF2B5EF4-FFF2-40B4-BE49-F238E27FC236}">
                <a16:creationId xmlns:a16="http://schemas.microsoft.com/office/drawing/2014/main" id="{A9A273DB-B6F8-4DAD-9467-6C05E0D69075}"/>
              </a:ext>
            </a:extLst>
          </p:cNvPr>
          <p:cNvSpPr/>
          <p:nvPr/>
        </p:nvSpPr>
        <p:spPr>
          <a:xfrm>
            <a:off x="9122936" y="6247291"/>
            <a:ext cx="1301958" cy="369332"/>
          </a:xfrm>
          <a:prstGeom prst="rect">
            <a:avLst/>
          </a:prstGeom>
        </p:spPr>
        <p:txBody>
          <a:bodyPr wrap="none">
            <a:spAutoFit/>
          </a:bodyPr>
          <a:lstStyle/>
          <a:p>
            <a:pPr algn="ctr"/>
            <a:r>
              <a:rPr lang="en-US" altLang="de-DE" b="1">
                <a:solidFill>
                  <a:schemeClr val="tx1">
                    <a:lumMod val="75000"/>
                    <a:lumOff val="25000"/>
                  </a:schemeClr>
                </a:solidFill>
                <a:latin typeface="Futura LtCn BT" panose="020B0408020204030204" pitchFamily="34" charset="0"/>
                <a:cs typeface="Arial" panose="020B0604020202020204" pitchFamily="34" charset="0"/>
              </a:rPr>
              <a:t>June 2020</a:t>
            </a:r>
          </a:p>
        </p:txBody>
      </p:sp>
      <p:sp>
        <p:nvSpPr>
          <p:cNvPr id="10" name="object 4">
            <a:extLst>
              <a:ext uri="{FF2B5EF4-FFF2-40B4-BE49-F238E27FC236}">
                <a16:creationId xmlns:a16="http://schemas.microsoft.com/office/drawing/2014/main" id="{87246F13-B856-4BD2-A627-B22B99C510CE}"/>
              </a:ext>
            </a:extLst>
          </p:cNvPr>
          <p:cNvSpPr/>
          <p:nvPr/>
        </p:nvSpPr>
        <p:spPr>
          <a:xfrm>
            <a:off x="10664191" y="5569503"/>
            <a:ext cx="1181685" cy="1280160"/>
          </a:xfrm>
          <a:prstGeom prst="rect">
            <a:avLst/>
          </a:prstGeom>
          <a:blipFill>
            <a:blip r:embed="rId4" cstate="print"/>
            <a:stretch>
              <a:fillRect/>
            </a:stretch>
          </a:blipFill>
        </p:spPr>
        <p:txBody>
          <a:bodyPr wrap="square" lIns="0" tIns="0" rIns="0" bIns="0" rtlCol="0">
            <a:noAutofit/>
          </a:bodyPr>
          <a:lstStyle/>
          <a:p>
            <a:pPr defTabSz="914423" fontAlgn="auto">
              <a:spcBef>
                <a:spcPts val="0"/>
              </a:spcBef>
              <a:spcAft>
                <a:spcPts val="0"/>
              </a:spcAft>
              <a:defRPr/>
            </a:pPr>
            <a:endParaRPr sz="1800" b="0" kern="0">
              <a:solidFill>
                <a:prstClr val="black"/>
              </a:solidFill>
            </a:endParaRPr>
          </a:p>
        </p:txBody>
      </p:sp>
    </p:spTree>
    <p:extLst>
      <p:ext uri="{BB962C8B-B14F-4D97-AF65-F5344CB8AC3E}">
        <p14:creationId xmlns:p14="http://schemas.microsoft.com/office/powerpoint/2010/main" val="1853457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FA61EA-1E06-4251-A204-F97F199760B8}"/>
              </a:ext>
            </a:extLst>
          </p:cNvPr>
          <p:cNvSpPr>
            <a:spLocks noGrp="1"/>
          </p:cNvSpPr>
          <p:nvPr>
            <p:ph type="sldNum" sz="quarter" idx="11"/>
          </p:nvPr>
        </p:nvSpPr>
        <p:spPr/>
        <p:txBody>
          <a:bodyPr/>
          <a:lstStyle/>
          <a:p>
            <a:pPr>
              <a:defRPr/>
            </a:pPr>
            <a:fld id="{47794585-347E-4355-955C-F2766ACC4F25}" type="slidenum">
              <a:rPr lang="en-US" smtClean="0"/>
              <a:pPr>
                <a:defRPr/>
              </a:pPr>
              <a:t>10</a:t>
            </a:fld>
            <a:endParaRPr lang="en-US"/>
          </a:p>
        </p:txBody>
      </p:sp>
      <p:graphicFrame>
        <p:nvGraphicFramePr>
          <p:cNvPr id="5" name="P_Chart">
            <a:extLst>
              <a:ext uri="{FF2B5EF4-FFF2-40B4-BE49-F238E27FC236}">
                <a16:creationId xmlns:a16="http://schemas.microsoft.com/office/drawing/2014/main" id="{D8CE08D7-55EE-4D7A-8582-45DB18A0B766}"/>
              </a:ext>
            </a:extLst>
          </p:cNvPr>
          <p:cNvGraphicFramePr/>
          <p:nvPr/>
        </p:nvGraphicFramePr>
        <p:xfrm>
          <a:off x="5232479" y="1592279"/>
          <a:ext cx="6059297" cy="4627767"/>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2">
            <a:extLst>
              <a:ext uri="{FF2B5EF4-FFF2-40B4-BE49-F238E27FC236}">
                <a16:creationId xmlns:a16="http://schemas.microsoft.com/office/drawing/2014/main" id="{91BD625F-C88D-426A-AA55-0A49069C71D1}"/>
              </a:ext>
            </a:extLst>
          </p:cNvPr>
          <p:cNvSpPr txBox="1">
            <a:spLocks/>
          </p:cNvSpPr>
          <p:nvPr/>
        </p:nvSpPr>
        <p:spPr>
          <a:xfrm>
            <a:off x="2378511" y="314171"/>
            <a:ext cx="8896493" cy="723840"/>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00" i="1">
                <a:latin typeface="+mn-lt"/>
              </a:rPr>
              <a:t>Over 70% of the agents who received support  are satisfied with the level of support received. However more can be done towards improving the level of support given to the agents. </a:t>
            </a:r>
          </a:p>
        </p:txBody>
      </p:sp>
      <p:sp>
        <p:nvSpPr>
          <p:cNvPr id="8" name="Rectangle 7">
            <a:extLst>
              <a:ext uri="{FF2B5EF4-FFF2-40B4-BE49-F238E27FC236}">
                <a16:creationId xmlns:a16="http://schemas.microsoft.com/office/drawing/2014/main" id="{0EAA2456-19D9-4E9F-AA76-C307D4191094}"/>
              </a:ext>
            </a:extLst>
          </p:cNvPr>
          <p:cNvSpPr/>
          <p:nvPr/>
        </p:nvSpPr>
        <p:spPr>
          <a:xfrm>
            <a:off x="18906" y="6352959"/>
            <a:ext cx="12173093" cy="438582"/>
          </a:xfrm>
          <a:prstGeom prst="rect">
            <a:avLst/>
          </a:prstGeom>
        </p:spPr>
        <p:txBody>
          <a:bodyPr wrap="square" lIns="68580" tIns="34290" rIns="68580" bIns="34290">
            <a:spAutoFit/>
          </a:bodyPr>
          <a:lstStyle/>
          <a:p>
            <a:pPr lvl="0"/>
            <a:r>
              <a:rPr lang="en-US" sz="800">
                <a:solidFill>
                  <a:srgbClr val="FF0000"/>
                </a:solidFill>
              </a:rPr>
              <a:t>Base: n=53 (caution based on small sample)</a:t>
            </a:r>
          </a:p>
          <a:p>
            <a:r>
              <a:rPr lang="en-US" sz="800"/>
              <a:t>Q6. Can you please tell me how satisfied you are with the support given by your service provider? </a:t>
            </a:r>
          </a:p>
          <a:p>
            <a:pPr lvl="0"/>
            <a:r>
              <a:rPr lang="en-US" sz="800"/>
              <a:t>Q7. What can be done to improve on the support that you have received/ are receiving from your service provider?  </a:t>
            </a:r>
            <a:r>
              <a:rPr lang="en-US" sz="800">
                <a:solidFill>
                  <a:srgbClr val="FF0000"/>
                </a:solidFill>
              </a:rPr>
              <a:t>(n=12**)                                                                   </a:t>
            </a:r>
            <a:r>
              <a:rPr lang="en-US" sz="800"/>
              <a:t>					</a:t>
            </a:r>
            <a:endParaRPr lang="en-US" sz="800">
              <a:solidFill>
                <a:srgbClr val="FF0000"/>
              </a:solidFill>
            </a:endParaRPr>
          </a:p>
        </p:txBody>
      </p:sp>
      <p:sp>
        <p:nvSpPr>
          <p:cNvPr id="9" name="Rounded Rectangle 305">
            <a:extLst>
              <a:ext uri="{FF2B5EF4-FFF2-40B4-BE49-F238E27FC236}">
                <a16:creationId xmlns:a16="http://schemas.microsoft.com/office/drawing/2014/main" id="{67D1C05D-13D8-4387-A509-E7D90A59591D}"/>
              </a:ext>
            </a:extLst>
          </p:cNvPr>
          <p:cNvSpPr/>
          <p:nvPr/>
        </p:nvSpPr>
        <p:spPr>
          <a:xfrm>
            <a:off x="625911" y="1302744"/>
            <a:ext cx="3925999" cy="213881"/>
          </a:xfrm>
          <a:prstGeom prst="roundRect">
            <a:avLst/>
          </a:prstGeom>
          <a:solidFill>
            <a:srgbClr val="2157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t>Overall Satisfaction Level</a:t>
            </a:r>
          </a:p>
        </p:txBody>
      </p:sp>
      <p:sp>
        <p:nvSpPr>
          <p:cNvPr id="10" name="Rectangle 9">
            <a:extLst>
              <a:ext uri="{FF2B5EF4-FFF2-40B4-BE49-F238E27FC236}">
                <a16:creationId xmlns:a16="http://schemas.microsoft.com/office/drawing/2014/main" id="{6DC3EDD0-AA5A-4E63-8549-E9668D0424F3}"/>
              </a:ext>
            </a:extLst>
          </p:cNvPr>
          <p:cNvSpPr/>
          <p:nvPr/>
        </p:nvSpPr>
        <p:spPr>
          <a:xfrm>
            <a:off x="2400004" y="2041551"/>
            <a:ext cx="2139558" cy="307777"/>
          </a:xfrm>
          <a:prstGeom prst="rect">
            <a:avLst/>
          </a:prstGeom>
        </p:spPr>
        <p:txBody>
          <a:bodyPr wrap="square">
            <a:spAutoFit/>
          </a:bodyPr>
          <a:lstStyle/>
          <a:p>
            <a:pPr algn="ctr" defTabSz="924259" fontAlgn="b"/>
            <a:r>
              <a:rPr lang="en-US" sz="1400" kern="0">
                <a:solidFill>
                  <a:srgbClr val="C00000"/>
                </a:solidFill>
                <a:ea typeface="Segoe UI" panose="020B0502040204020203" pitchFamily="34" charset="0"/>
                <a:cs typeface="Segoe UI" panose="020B0502040204020203" pitchFamily="34" charset="0"/>
              </a:rPr>
              <a:t>Very Dissatisfied</a:t>
            </a:r>
          </a:p>
        </p:txBody>
      </p:sp>
      <p:sp>
        <p:nvSpPr>
          <p:cNvPr id="11" name="Rectangle 10">
            <a:extLst>
              <a:ext uri="{FF2B5EF4-FFF2-40B4-BE49-F238E27FC236}">
                <a16:creationId xmlns:a16="http://schemas.microsoft.com/office/drawing/2014/main" id="{4235D7BD-04BB-4BAD-8F14-9CC073E3741C}"/>
              </a:ext>
            </a:extLst>
          </p:cNvPr>
          <p:cNvSpPr/>
          <p:nvPr/>
        </p:nvSpPr>
        <p:spPr>
          <a:xfrm>
            <a:off x="2378511" y="2797740"/>
            <a:ext cx="2046250" cy="307777"/>
          </a:xfrm>
          <a:prstGeom prst="rect">
            <a:avLst/>
          </a:prstGeom>
        </p:spPr>
        <p:txBody>
          <a:bodyPr wrap="square">
            <a:spAutoFit/>
          </a:bodyPr>
          <a:lstStyle/>
          <a:p>
            <a:pPr algn="ctr"/>
            <a:r>
              <a:rPr lang="en-US" sz="1400">
                <a:solidFill>
                  <a:srgbClr val="FF0000"/>
                </a:solidFill>
                <a:ea typeface="Segoe UI" panose="020B0502040204020203" pitchFamily="34" charset="0"/>
                <a:cs typeface="Segoe UI" panose="020B0502040204020203" pitchFamily="34" charset="0"/>
              </a:rPr>
              <a:t>Dissatisfied</a:t>
            </a:r>
          </a:p>
        </p:txBody>
      </p:sp>
      <p:sp>
        <p:nvSpPr>
          <p:cNvPr id="12" name="Rectangle 11">
            <a:extLst>
              <a:ext uri="{FF2B5EF4-FFF2-40B4-BE49-F238E27FC236}">
                <a16:creationId xmlns:a16="http://schemas.microsoft.com/office/drawing/2014/main" id="{014D12F8-75B2-4E8D-803D-DB79B2053DF4}"/>
              </a:ext>
            </a:extLst>
          </p:cNvPr>
          <p:cNvSpPr/>
          <p:nvPr/>
        </p:nvSpPr>
        <p:spPr>
          <a:xfrm>
            <a:off x="2410497" y="3497857"/>
            <a:ext cx="2141413" cy="523220"/>
          </a:xfrm>
          <a:prstGeom prst="rect">
            <a:avLst/>
          </a:prstGeom>
        </p:spPr>
        <p:txBody>
          <a:bodyPr wrap="square">
            <a:spAutoFit/>
          </a:bodyPr>
          <a:lstStyle/>
          <a:p>
            <a:pPr algn="ctr" defTabSz="924259" fontAlgn="b"/>
            <a:r>
              <a:rPr lang="en-US" sz="1400">
                <a:solidFill>
                  <a:srgbClr val="969894"/>
                </a:solidFill>
                <a:ea typeface="Segoe UI" panose="020B0502040204020203" pitchFamily="34" charset="0"/>
                <a:cs typeface="Segoe UI" panose="020B0502040204020203" pitchFamily="34" charset="0"/>
              </a:rPr>
              <a:t>Neither Satisfied nor dissatisfied</a:t>
            </a:r>
            <a:endParaRPr lang="en-GB" sz="1400" kern="0">
              <a:solidFill>
                <a:srgbClr val="969894"/>
              </a:solidFill>
              <a:ea typeface="Segoe UI" panose="020B0502040204020203"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1674409E-DC78-4152-9FE3-FB11D204BCE0}"/>
              </a:ext>
            </a:extLst>
          </p:cNvPr>
          <p:cNvSpPr/>
          <p:nvPr/>
        </p:nvSpPr>
        <p:spPr>
          <a:xfrm>
            <a:off x="2921059" y="4284595"/>
            <a:ext cx="1196833" cy="307777"/>
          </a:xfrm>
          <a:prstGeom prst="rect">
            <a:avLst/>
          </a:prstGeom>
        </p:spPr>
        <p:txBody>
          <a:bodyPr wrap="square">
            <a:spAutoFit/>
          </a:bodyPr>
          <a:lstStyle/>
          <a:p>
            <a:pPr algn="ctr"/>
            <a:r>
              <a:rPr lang="en-US" sz="1400">
                <a:solidFill>
                  <a:srgbClr val="61CB6B"/>
                </a:solidFill>
                <a:ea typeface="Segoe UI" panose="020B0502040204020203" pitchFamily="34" charset="0"/>
                <a:cs typeface="Segoe UI" panose="020B0502040204020203" pitchFamily="34" charset="0"/>
              </a:rPr>
              <a:t>Satisfied</a:t>
            </a:r>
          </a:p>
        </p:txBody>
      </p:sp>
      <p:sp>
        <p:nvSpPr>
          <p:cNvPr id="14" name="Rectangle 13">
            <a:extLst>
              <a:ext uri="{FF2B5EF4-FFF2-40B4-BE49-F238E27FC236}">
                <a16:creationId xmlns:a16="http://schemas.microsoft.com/office/drawing/2014/main" id="{876DADB2-01A9-4587-8F45-6FF046C0618F}"/>
              </a:ext>
            </a:extLst>
          </p:cNvPr>
          <p:cNvSpPr/>
          <p:nvPr/>
        </p:nvSpPr>
        <p:spPr>
          <a:xfrm>
            <a:off x="2767753" y="5159970"/>
            <a:ext cx="1448168" cy="307777"/>
          </a:xfrm>
          <a:prstGeom prst="rect">
            <a:avLst/>
          </a:prstGeom>
        </p:spPr>
        <p:txBody>
          <a:bodyPr wrap="square">
            <a:spAutoFit/>
          </a:bodyPr>
          <a:lstStyle/>
          <a:p>
            <a:pPr algn="ctr"/>
            <a:r>
              <a:rPr lang="en-US" sz="1400" kern="0">
                <a:solidFill>
                  <a:srgbClr val="00B050"/>
                </a:solidFill>
                <a:ea typeface="Segoe UI" panose="020B0502040204020203" pitchFamily="34" charset="0"/>
                <a:cs typeface="Segoe UI" panose="020B0502040204020203" pitchFamily="34" charset="0"/>
              </a:rPr>
              <a:t>Very Satisfied</a:t>
            </a:r>
          </a:p>
        </p:txBody>
      </p:sp>
      <p:grpSp>
        <p:nvGrpSpPr>
          <p:cNvPr id="15" name="Group 14">
            <a:extLst>
              <a:ext uri="{FF2B5EF4-FFF2-40B4-BE49-F238E27FC236}">
                <a16:creationId xmlns:a16="http://schemas.microsoft.com/office/drawing/2014/main" id="{BF3BB75B-6890-4FF8-8381-B7F8B8E0B834}"/>
              </a:ext>
            </a:extLst>
          </p:cNvPr>
          <p:cNvGrpSpPr/>
          <p:nvPr/>
        </p:nvGrpSpPr>
        <p:grpSpPr>
          <a:xfrm>
            <a:off x="374634" y="1664845"/>
            <a:ext cx="5114165" cy="3777803"/>
            <a:chOff x="299058" y="1200150"/>
            <a:chExt cx="3739542" cy="3429000"/>
          </a:xfrm>
        </p:grpSpPr>
        <p:sp>
          <p:nvSpPr>
            <p:cNvPr id="16" name="Title 1">
              <a:extLst>
                <a:ext uri="{FF2B5EF4-FFF2-40B4-BE49-F238E27FC236}">
                  <a16:creationId xmlns:a16="http://schemas.microsoft.com/office/drawing/2014/main" id="{233E999B-14CE-4831-83D2-16521B04D3A5}"/>
                </a:ext>
              </a:extLst>
            </p:cNvPr>
            <p:cNvSpPr txBox="1">
              <a:spLocks/>
            </p:cNvSpPr>
            <p:nvPr/>
          </p:nvSpPr>
          <p:spPr>
            <a:xfrm>
              <a:off x="990600" y="1483741"/>
              <a:ext cx="1128651" cy="329129"/>
            </a:xfrm>
            <a:prstGeom prst="rect">
              <a:avLst/>
            </a:prstGeom>
          </p:spPr>
          <p:txBody>
            <a:bodyPr vert="horz" wrap="square" lIns="0" tIns="0" rIns="0" bIns="0" rtlCol="0" anchor="t">
              <a:spAutoFit/>
            </a:bodyPr>
            <a:lstStyle/>
            <a:p>
              <a:pPr algn="ctr" defTabSz="709239">
                <a:lnSpc>
                  <a:spcPct val="70000"/>
                </a:lnSpc>
                <a:spcBef>
                  <a:spcPct val="0"/>
                </a:spcBef>
                <a:defRPr/>
              </a:pPr>
              <a:r>
                <a:rPr lang="en-GB" sz="2992" b="1" kern="0" spc="-101">
                  <a:solidFill>
                    <a:srgbClr val="C00000"/>
                  </a:solidFill>
                  <a:ea typeface="Segoe UI" panose="020B0502040204020203" pitchFamily="34" charset="0"/>
                  <a:cs typeface="Segoe UI" panose="020B0502040204020203" pitchFamily="34" charset="0"/>
                </a:rPr>
                <a:t>4%</a:t>
              </a:r>
            </a:p>
          </p:txBody>
        </p:sp>
        <p:sp>
          <p:nvSpPr>
            <p:cNvPr id="17" name="Freeform 20">
              <a:extLst>
                <a:ext uri="{FF2B5EF4-FFF2-40B4-BE49-F238E27FC236}">
                  <a16:creationId xmlns:a16="http://schemas.microsoft.com/office/drawing/2014/main" id="{6080D95E-CD4A-4E41-9642-9FCE22EBCBB1}"/>
                </a:ext>
              </a:extLst>
            </p:cNvPr>
            <p:cNvSpPr>
              <a:spLocks noChangeAspect="1" noEditPoints="1"/>
            </p:cNvSpPr>
            <p:nvPr/>
          </p:nvSpPr>
          <p:spPr bwMode="auto">
            <a:xfrm>
              <a:off x="299058" y="1403677"/>
              <a:ext cx="507989" cy="510567"/>
            </a:xfrm>
            <a:custGeom>
              <a:avLst/>
              <a:gdLst/>
              <a:ahLst/>
              <a:cxnLst>
                <a:cxn ang="0">
                  <a:pos x="427" y="66"/>
                </a:cxn>
                <a:cxn ang="0">
                  <a:pos x="404" y="21"/>
                </a:cxn>
                <a:cxn ang="0">
                  <a:pos x="314" y="0"/>
                </a:cxn>
                <a:cxn ang="0">
                  <a:pos x="145" y="26"/>
                </a:cxn>
                <a:cxn ang="0">
                  <a:pos x="26" y="0"/>
                </a:cxn>
                <a:cxn ang="0">
                  <a:pos x="0" y="27"/>
                </a:cxn>
                <a:cxn ang="0">
                  <a:pos x="26" y="270"/>
                </a:cxn>
                <a:cxn ang="0">
                  <a:pos x="141" y="257"/>
                </a:cxn>
                <a:cxn ang="0">
                  <a:pos x="195" y="335"/>
                </a:cxn>
                <a:cxn ang="0">
                  <a:pos x="228" y="373"/>
                </a:cxn>
                <a:cxn ang="0">
                  <a:pos x="239" y="418"/>
                </a:cxn>
                <a:cxn ang="0">
                  <a:pos x="282" y="447"/>
                </a:cxn>
                <a:cxn ang="0">
                  <a:pos x="315" y="429"/>
                </a:cxn>
                <a:cxn ang="0">
                  <a:pos x="304" y="300"/>
                </a:cxn>
                <a:cxn ang="0">
                  <a:pos x="395" y="297"/>
                </a:cxn>
                <a:cxn ang="0">
                  <a:pos x="438" y="248"/>
                </a:cxn>
                <a:cxn ang="0">
                  <a:pos x="431" y="219"/>
                </a:cxn>
                <a:cxn ang="0">
                  <a:pos x="443" y="183"/>
                </a:cxn>
                <a:cxn ang="0">
                  <a:pos x="430" y="150"/>
                </a:cxn>
                <a:cxn ang="0">
                  <a:pos x="422" y="84"/>
                </a:cxn>
                <a:cxn ang="0">
                  <a:pos x="34" y="235"/>
                </a:cxn>
                <a:cxn ang="0">
                  <a:pos x="110" y="35"/>
                </a:cxn>
                <a:cxn ang="0">
                  <a:pos x="409" y="183"/>
                </a:cxn>
                <a:cxn ang="0">
                  <a:pos x="398" y="199"/>
                </a:cxn>
                <a:cxn ang="0">
                  <a:pos x="394" y="231"/>
                </a:cxn>
                <a:cxn ang="0">
                  <a:pos x="404" y="248"/>
                </a:cxn>
                <a:cxn ang="0">
                  <a:pos x="388" y="263"/>
                </a:cxn>
                <a:cxn ang="0">
                  <a:pos x="272" y="263"/>
                </a:cxn>
                <a:cxn ang="0">
                  <a:pos x="256" y="290"/>
                </a:cxn>
                <a:cxn ang="0">
                  <a:pos x="290" y="405"/>
                </a:cxn>
                <a:cxn ang="0">
                  <a:pos x="274" y="410"/>
                </a:cxn>
                <a:cxn ang="0">
                  <a:pos x="258" y="356"/>
                </a:cxn>
                <a:cxn ang="0">
                  <a:pos x="215" y="304"/>
                </a:cxn>
                <a:cxn ang="0">
                  <a:pos x="145" y="216"/>
                </a:cxn>
                <a:cxn ang="0">
                  <a:pos x="275" y="36"/>
                </a:cxn>
                <a:cxn ang="0">
                  <a:pos x="358" y="39"/>
                </a:cxn>
                <a:cxn ang="0">
                  <a:pos x="390" y="55"/>
                </a:cxn>
                <a:cxn ang="0">
                  <a:pos x="391" y="68"/>
                </a:cxn>
                <a:cxn ang="0">
                  <a:pos x="375" y="91"/>
                </a:cxn>
                <a:cxn ang="0">
                  <a:pos x="405" y="120"/>
                </a:cxn>
                <a:cxn ang="0">
                  <a:pos x="394" y="137"/>
                </a:cxn>
                <a:cxn ang="0">
                  <a:pos x="395" y="168"/>
                </a:cxn>
                <a:cxn ang="0">
                  <a:pos x="409" y="183"/>
                </a:cxn>
              </a:cxnLst>
              <a:rect l="0" t="0" r="r" b="b"/>
              <a:pathLst>
                <a:path w="444" h="447">
                  <a:moveTo>
                    <a:pt x="422" y="84"/>
                  </a:moveTo>
                  <a:cubicBezTo>
                    <a:pt x="425" y="78"/>
                    <a:pt x="427" y="72"/>
                    <a:pt x="427" y="66"/>
                  </a:cubicBezTo>
                  <a:cubicBezTo>
                    <a:pt x="427" y="56"/>
                    <a:pt x="425" y="46"/>
                    <a:pt x="420" y="39"/>
                  </a:cubicBezTo>
                  <a:cubicBezTo>
                    <a:pt x="416" y="31"/>
                    <a:pt x="410" y="25"/>
                    <a:pt x="404" y="21"/>
                  </a:cubicBezTo>
                  <a:cubicBezTo>
                    <a:pt x="391" y="12"/>
                    <a:pt x="378" y="9"/>
                    <a:pt x="367" y="6"/>
                  </a:cubicBezTo>
                  <a:cubicBezTo>
                    <a:pt x="352" y="2"/>
                    <a:pt x="335" y="0"/>
                    <a:pt x="314" y="0"/>
                  </a:cubicBezTo>
                  <a:cubicBezTo>
                    <a:pt x="301" y="0"/>
                    <a:pt x="287" y="1"/>
                    <a:pt x="272" y="2"/>
                  </a:cubicBezTo>
                  <a:cubicBezTo>
                    <a:pt x="234" y="5"/>
                    <a:pt x="191" y="19"/>
                    <a:pt x="145" y="26"/>
                  </a:cubicBezTo>
                  <a:cubicBezTo>
                    <a:pt x="145" y="12"/>
                    <a:pt x="133" y="0"/>
                    <a:pt x="118" y="0"/>
                  </a:cubicBezTo>
                  <a:cubicBezTo>
                    <a:pt x="26" y="0"/>
                    <a:pt x="26" y="0"/>
                    <a:pt x="26" y="0"/>
                  </a:cubicBezTo>
                  <a:cubicBezTo>
                    <a:pt x="11" y="0"/>
                    <a:pt x="0" y="12"/>
                    <a:pt x="0" y="27"/>
                  </a:cubicBezTo>
                  <a:cubicBezTo>
                    <a:pt x="0" y="27"/>
                    <a:pt x="0" y="27"/>
                    <a:pt x="0" y="27"/>
                  </a:cubicBezTo>
                  <a:cubicBezTo>
                    <a:pt x="0" y="243"/>
                    <a:pt x="0" y="243"/>
                    <a:pt x="0" y="243"/>
                  </a:cubicBezTo>
                  <a:cubicBezTo>
                    <a:pt x="0" y="258"/>
                    <a:pt x="11" y="270"/>
                    <a:pt x="26" y="270"/>
                  </a:cubicBezTo>
                  <a:cubicBezTo>
                    <a:pt x="118" y="270"/>
                    <a:pt x="118" y="270"/>
                    <a:pt x="118" y="270"/>
                  </a:cubicBezTo>
                  <a:cubicBezTo>
                    <a:pt x="128" y="270"/>
                    <a:pt x="136" y="265"/>
                    <a:pt x="141" y="257"/>
                  </a:cubicBezTo>
                  <a:cubicBezTo>
                    <a:pt x="152" y="268"/>
                    <a:pt x="165" y="285"/>
                    <a:pt x="175" y="306"/>
                  </a:cubicBezTo>
                  <a:cubicBezTo>
                    <a:pt x="180" y="316"/>
                    <a:pt x="187" y="325"/>
                    <a:pt x="195" y="335"/>
                  </a:cubicBezTo>
                  <a:cubicBezTo>
                    <a:pt x="204" y="344"/>
                    <a:pt x="213" y="354"/>
                    <a:pt x="219" y="362"/>
                  </a:cubicBezTo>
                  <a:cubicBezTo>
                    <a:pt x="224" y="367"/>
                    <a:pt x="227" y="372"/>
                    <a:pt x="228" y="373"/>
                  </a:cubicBezTo>
                  <a:cubicBezTo>
                    <a:pt x="230" y="378"/>
                    <a:pt x="232" y="385"/>
                    <a:pt x="234" y="392"/>
                  </a:cubicBezTo>
                  <a:cubicBezTo>
                    <a:pt x="235" y="400"/>
                    <a:pt x="236" y="409"/>
                    <a:pt x="239" y="418"/>
                  </a:cubicBezTo>
                  <a:cubicBezTo>
                    <a:pt x="242" y="424"/>
                    <a:pt x="245" y="430"/>
                    <a:pt x="251" y="436"/>
                  </a:cubicBezTo>
                  <a:cubicBezTo>
                    <a:pt x="259" y="443"/>
                    <a:pt x="271" y="447"/>
                    <a:pt x="282" y="447"/>
                  </a:cubicBezTo>
                  <a:cubicBezTo>
                    <a:pt x="289" y="446"/>
                    <a:pt x="294" y="445"/>
                    <a:pt x="300" y="442"/>
                  </a:cubicBezTo>
                  <a:cubicBezTo>
                    <a:pt x="305" y="439"/>
                    <a:pt x="310" y="435"/>
                    <a:pt x="315" y="429"/>
                  </a:cubicBezTo>
                  <a:cubicBezTo>
                    <a:pt x="324" y="418"/>
                    <a:pt x="331" y="402"/>
                    <a:pt x="331" y="381"/>
                  </a:cubicBezTo>
                  <a:cubicBezTo>
                    <a:pt x="331" y="359"/>
                    <a:pt x="323" y="332"/>
                    <a:pt x="304" y="300"/>
                  </a:cubicBezTo>
                  <a:cubicBezTo>
                    <a:pt x="315" y="301"/>
                    <a:pt x="326" y="301"/>
                    <a:pt x="337" y="301"/>
                  </a:cubicBezTo>
                  <a:cubicBezTo>
                    <a:pt x="361" y="301"/>
                    <a:pt x="382" y="300"/>
                    <a:pt x="395" y="297"/>
                  </a:cubicBezTo>
                  <a:cubicBezTo>
                    <a:pt x="406" y="294"/>
                    <a:pt x="415" y="289"/>
                    <a:pt x="423" y="281"/>
                  </a:cubicBezTo>
                  <a:cubicBezTo>
                    <a:pt x="431" y="273"/>
                    <a:pt x="438" y="262"/>
                    <a:pt x="438" y="248"/>
                  </a:cubicBezTo>
                  <a:cubicBezTo>
                    <a:pt x="438" y="238"/>
                    <a:pt x="436" y="228"/>
                    <a:pt x="431" y="220"/>
                  </a:cubicBezTo>
                  <a:cubicBezTo>
                    <a:pt x="431" y="219"/>
                    <a:pt x="431" y="219"/>
                    <a:pt x="431" y="219"/>
                  </a:cubicBezTo>
                  <a:cubicBezTo>
                    <a:pt x="432" y="217"/>
                    <a:pt x="433" y="216"/>
                    <a:pt x="434" y="214"/>
                  </a:cubicBezTo>
                  <a:cubicBezTo>
                    <a:pt x="440" y="205"/>
                    <a:pt x="443" y="195"/>
                    <a:pt x="443" y="183"/>
                  </a:cubicBezTo>
                  <a:cubicBezTo>
                    <a:pt x="444" y="172"/>
                    <a:pt x="439" y="161"/>
                    <a:pt x="432" y="153"/>
                  </a:cubicBezTo>
                  <a:cubicBezTo>
                    <a:pt x="432" y="152"/>
                    <a:pt x="431" y="151"/>
                    <a:pt x="430" y="150"/>
                  </a:cubicBezTo>
                  <a:cubicBezTo>
                    <a:pt x="436" y="142"/>
                    <a:pt x="439" y="132"/>
                    <a:pt x="439" y="120"/>
                  </a:cubicBezTo>
                  <a:cubicBezTo>
                    <a:pt x="439" y="106"/>
                    <a:pt x="433" y="93"/>
                    <a:pt x="422" y="84"/>
                  </a:cubicBezTo>
                  <a:close/>
                  <a:moveTo>
                    <a:pt x="110" y="235"/>
                  </a:moveTo>
                  <a:cubicBezTo>
                    <a:pt x="34" y="235"/>
                    <a:pt x="34" y="235"/>
                    <a:pt x="34" y="235"/>
                  </a:cubicBezTo>
                  <a:cubicBezTo>
                    <a:pt x="34" y="35"/>
                    <a:pt x="34" y="35"/>
                    <a:pt x="34" y="35"/>
                  </a:cubicBezTo>
                  <a:cubicBezTo>
                    <a:pt x="110" y="35"/>
                    <a:pt x="110" y="35"/>
                    <a:pt x="110" y="35"/>
                  </a:cubicBezTo>
                  <a:lnTo>
                    <a:pt x="110" y="235"/>
                  </a:lnTo>
                  <a:close/>
                  <a:moveTo>
                    <a:pt x="409" y="183"/>
                  </a:moveTo>
                  <a:cubicBezTo>
                    <a:pt x="409" y="188"/>
                    <a:pt x="407" y="192"/>
                    <a:pt x="406" y="194"/>
                  </a:cubicBezTo>
                  <a:cubicBezTo>
                    <a:pt x="404" y="197"/>
                    <a:pt x="402" y="198"/>
                    <a:pt x="398" y="199"/>
                  </a:cubicBezTo>
                  <a:cubicBezTo>
                    <a:pt x="392" y="201"/>
                    <a:pt x="387" y="207"/>
                    <a:pt x="386" y="214"/>
                  </a:cubicBezTo>
                  <a:cubicBezTo>
                    <a:pt x="385" y="221"/>
                    <a:pt x="389" y="227"/>
                    <a:pt x="394" y="231"/>
                  </a:cubicBezTo>
                  <a:cubicBezTo>
                    <a:pt x="398" y="233"/>
                    <a:pt x="400" y="235"/>
                    <a:pt x="401" y="237"/>
                  </a:cubicBezTo>
                  <a:cubicBezTo>
                    <a:pt x="403" y="239"/>
                    <a:pt x="404" y="242"/>
                    <a:pt x="404" y="248"/>
                  </a:cubicBezTo>
                  <a:cubicBezTo>
                    <a:pt x="404" y="250"/>
                    <a:pt x="402" y="253"/>
                    <a:pt x="399" y="257"/>
                  </a:cubicBezTo>
                  <a:cubicBezTo>
                    <a:pt x="396" y="260"/>
                    <a:pt x="391" y="262"/>
                    <a:pt x="388" y="263"/>
                  </a:cubicBezTo>
                  <a:cubicBezTo>
                    <a:pt x="379" y="265"/>
                    <a:pt x="359" y="266"/>
                    <a:pt x="337" y="266"/>
                  </a:cubicBezTo>
                  <a:cubicBezTo>
                    <a:pt x="316" y="266"/>
                    <a:pt x="293" y="265"/>
                    <a:pt x="272" y="263"/>
                  </a:cubicBezTo>
                  <a:cubicBezTo>
                    <a:pt x="265" y="262"/>
                    <a:pt x="259" y="265"/>
                    <a:pt x="255" y="271"/>
                  </a:cubicBezTo>
                  <a:cubicBezTo>
                    <a:pt x="252" y="277"/>
                    <a:pt x="252" y="285"/>
                    <a:pt x="256" y="290"/>
                  </a:cubicBezTo>
                  <a:cubicBezTo>
                    <a:pt x="288" y="333"/>
                    <a:pt x="296" y="363"/>
                    <a:pt x="296" y="381"/>
                  </a:cubicBezTo>
                  <a:cubicBezTo>
                    <a:pt x="296" y="393"/>
                    <a:pt x="293" y="400"/>
                    <a:pt x="290" y="405"/>
                  </a:cubicBezTo>
                  <a:cubicBezTo>
                    <a:pt x="287" y="409"/>
                    <a:pt x="283" y="411"/>
                    <a:pt x="282" y="412"/>
                  </a:cubicBezTo>
                  <a:cubicBezTo>
                    <a:pt x="276" y="412"/>
                    <a:pt x="275" y="411"/>
                    <a:pt x="274" y="410"/>
                  </a:cubicBezTo>
                  <a:cubicBezTo>
                    <a:pt x="274" y="410"/>
                    <a:pt x="272" y="408"/>
                    <a:pt x="271" y="403"/>
                  </a:cubicBezTo>
                  <a:cubicBezTo>
                    <a:pt x="268" y="393"/>
                    <a:pt x="268" y="375"/>
                    <a:pt x="258" y="356"/>
                  </a:cubicBezTo>
                  <a:cubicBezTo>
                    <a:pt x="253" y="348"/>
                    <a:pt x="246" y="340"/>
                    <a:pt x="238" y="331"/>
                  </a:cubicBezTo>
                  <a:cubicBezTo>
                    <a:pt x="230" y="322"/>
                    <a:pt x="221" y="312"/>
                    <a:pt x="215" y="304"/>
                  </a:cubicBezTo>
                  <a:cubicBezTo>
                    <a:pt x="210" y="298"/>
                    <a:pt x="207" y="294"/>
                    <a:pt x="207" y="292"/>
                  </a:cubicBezTo>
                  <a:cubicBezTo>
                    <a:pt x="188" y="250"/>
                    <a:pt x="159" y="226"/>
                    <a:pt x="145" y="216"/>
                  </a:cubicBezTo>
                  <a:cubicBezTo>
                    <a:pt x="145" y="188"/>
                    <a:pt x="145" y="108"/>
                    <a:pt x="145" y="61"/>
                  </a:cubicBezTo>
                  <a:cubicBezTo>
                    <a:pt x="197" y="53"/>
                    <a:pt x="242" y="38"/>
                    <a:pt x="275" y="36"/>
                  </a:cubicBezTo>
                  <a:cubicBezTo>
                    <a:pt x="289" y="35"/>
                    <a:pt x="302" y="35"/>
                    <a:pt x="314" y="35"/>
                  </a:cubicBezTo>
                  <a:cubicBezTo>
                    <a:pt x="333" y="35"/>
                    <a:pt x="348" y="36"/>
                    <a:pt x="358" y="39"/>
                  </a:cubicBezTo>
                  <a:cubicBezTo>
                    <a:pt x="366" y="41"/>
                    <a:pt x="373" y="43"/>
                    <a:pt x="379" y="46"/>
                  </a:cubicBezTo>
                  <a:cubicBezTo>
                    <a:pt x="385" y="49"/>
                    <a:pt x="388" y="52"/>
                    <a:pt x="390" y="55"/>
                  </a:cubicBezTo>
                  <a:cubicBezTo>
                    <a:pt x="391" y="58"/>
                    <a:pt x="392" y="61"/>
                    <a:pt x="392" y="66"/>
                  </a:cubicBezTo>
                  <a:cubicBezTo>
                    <a:pt x="392" y="67"/>
                    <a:pt x="392" y="67"/>
                    <a:pt x="391" y="68"/>
                  </a:cubicBezTo>
                  <a:cubicBezTo>
                    <a:pt x="391" y="69"/>
                    <a:pt x="388" y="71"/>
                    <a:pt x="384" y="73"/>
                  </a:cubicBezTo>
                  <a:cubicBezTo>
                    <a:pt x="377" y="76"/>
                    <a:pt x="373" y="83"/>
                    <a:pt x="375" y="91"/>
                  </a:cubicBezTo>
                  <a:cubicBezTo>
                    <a:pt x="376" y="99"/>
                    <a:pt x="382" y="105"/>
                    <a:pt x="389" y="106"/>
                  </a:cubicBezTo>
                  <a:cubicBezTo>
                    <a:pt x="400" y="107"/>
                    <a:pt x="405" y="114"/>
                    <a:pt x="405" y="120"/>
                  </a:cubicBezTo>
                  <a:cubicBezTo>
                    <a:pt x="405" y="125"/>
                    <a:pt x="403" y="127"/>
                    <a:pt x="401" y="130"/>
                  </a:cubicBezTo>
                  <a:cubicBezTo>
                    <a:pt x="400" y="133"/>
                    <a:pt x="397" y="135"/>
                    <a:pt x="394" y="137"/>
                  </a:cubicBezTo>
                  <a:cubicBezTo>
                    <a:pt x="387" y="140"/>
                    <a:pt x="384" y="146"/>
                    <a:pt x="384" y="153"/>
                  </a:cubicBezTo>
                  <a:cubicBezTo>
                    <a:pt x="384" y="160"/>
                    <a:pt x="389" y="166"/>
                    <a:pt x="395" y="168"/>
                  </a:cubicBezTo>
                  <a:cubicBezTo>
                    <a:pt x="401" y="170"/>
                    <a:pt x="404" y="173"/>
                    <a:pt x="406" y="175"/>
                  </a:cubicBezTo>
                  <a:cubicBezTo>
                    <a:pt x="408" y="177"/>
                    <a:pt x="409" y="179"/>
                    <a:pt x="409" y="183"/>
                  </a:cubicBezTo>
                  <a:close/>
                </a:path>
              </a:pathLst>
            </a:custGeom>
            <a:solidFill>
              <a:srgbClr val="C00000"/>
            </a:solidFill>
            <a:ln w="9525">
              <a:noFill/>
              <a:round/>
              <a:headEnd/>
              <a:tailEnd/>
            </a:ln>
          </p:spPr>
          <p:txBody>
            <a:bodyPr vert="horz" wrap="square" lIns="68580" tIns="34290" rIns="68580" bIns="34290" numCol="1" anchor="t" anchorCtr="0" compatLnSpc="1">
              <a:prstTxWarp prst="textNoShape">
                <a:avLst/>
              </a:prstTxWarp>
            </a:bodyPr>
            <a:lstStyle/>
            <a:p>
              <a:endParaRPr lang="en-GB" sz="1350"/>
            </a:p>
          </p:txBody>
        </p:sp>
        <p:sp>
          <p:nvSpPr>
            <p:cNvPr id="18" name="Title 1">
              <a:extLst>
                <a:ext uri="{FF2B5EF4-FFF2-40B4-BE49-F238E27FC236}">
                  <a16:creationId xmlns:a16="http://schemas.microsoft.com/office/drawing/2014/main" id="{A786A3D4-E526-4EE0-A9C9-92C203334E58}"/>
                </a:ext>
              </a:extLst>
            </p:cNvPr>
            <p:cNvSpPr txBox="1">
              <a:spLocks/>
            </p:cNvSpPr>
            <p:nvPr/>
          </p:nvSpPr>
          <p:spPr>
            <a:xfrm>
              <a:off x="990600" y="2166421"/>
              <a:ext cx="982345" cy="329129"/>
            </a:xfrm>
            <a:prstGeom prst="rect">
              <a:avLst/>
            </a:prstGeom>
          </p:spPr>
          <p:txBody>
            <a:bodyPr vert="horz" wrap="square" lIns="0" tIns="0" rIns="0" bIns="0" rtlCol="0" anchor="t">
              <a:spAutoFit/>
            </a:bodyPr>
            <a:lstStyle/>
            <a:p>
              <a:pPr algn="ctr" defTabSz="709239">
                <a:lnSpc>
                  <a:spcPct val="70000"/>
                </a:lnSpc>
                <a:spcBef>
                  <a:spcPct val="0"/>
                </a:spcBef>
                <a:defRPr/>
              </a:pPr>
              <a:r>
                <a:rPr lang="en-GB" sz="2992" b="1" kern="0" spc="-101">
                  <a:solidFill>
                    <a:srgbClr val="FF0000"/>
                  </a:solidFill>
                  <a:ea typeface="Segoe UI" panose="020B0502040204020203" pitchFamily="34" charset="0"/>
                  <a:cs typeface="Segoe UI" panose="020B0502040204020203" pitchFamily="34" charset="0"/>
                </a:rPr>
                <a:t>5%</a:t>
              </a:r>
            </a:p>
          </p:txBody>
        </p:sp>
        <p:sp>
          <p:nvSpPr>
            <p:cNvPr id="19" name="Freeform 20">
              <a:extLst>
                <a:ext uri="{FF2B5EF4-FFF2-40B4-BE49-F238E27FC236}">
                  <a16:creationId xmlns:a16="http://schemas.microsoft.com/office/drawing/2014/main" id="{9F54FC2C-2D7C-46A8-8C3B-E3DFC6849A1D}"/>
                </a:ext>
              </a:extLst>
            </p:cNvPr>
            <p:cNvSpPr>
              <a:spLocks noChangeAspect="1" noEditPoints="1"/>
            </p:cNvSpPr>
            <p:nvPr/>
          </p:nvSpPr>
          <p:spPr bwMode="auto">
            <a:xfrm>
              <a:off x="299058" y="2114550"/>
              <a:ext cx="507989" cy="510567"/>
            </a:xfrm>
            <a:custGeom>
              <a:avLst/>
              <a:gdLst/>
              <a:ahLst/>
              <a:cxnLst>
                <a:cxn ang="0">
                  <a:pos x="427" y="66"/>
                </a:cxn>
                <a:cxn ang="0">
                  <a:pos x="404" y="21"/>
                </a:cxn>
                <a:cxn ang="0">
                  <a:pos x="314" y="0"/>
                </a:cxn>
                <a:cxn ang="0">
                  <a:pos x="145" y="26"/>
                </a:cxn>
                <a:cxn ang="0">
                  <a:pos x="26" y="0"/>
                </a:cxn>
                <a:cxn ang="0">
                  <a:pos x="0" y="27"/>
                </a:cxn>
                <a:cxn ang="0">
                  <a:pos x="26" y="270"/>
                </a:cxn>
                <a:cxn ang="0">
                  <a:pos x="141" y="257"/>
                </a:cxn>
                <a:cxn ang="0">
                  <a:pos x="195" y="335"/>
                </a:cxn>
                <a:cxn ang="0">
                  <a:pos x="228" y="373"/>
                </a:cxn>
                <a:cxn ang="0">
                  <a:pos x="239" y="418"/>
                </a:cxn>
                <a:cxn ang="0">
                  <a:pos x="282" y="447"/>
                </a:cxn>
                <a:cxn ang="0">
                  <a:pos x="315" y="429"/>
                </a:cxn>
                <a:cxn ang="0">
                  <a:pos x="304" y="300"/>
                </a:cxn>
                <a:cxn ang="0">
                  <a:pos x="395" y="297"/>
                </a:cxn>
                <a:cxn ang="0">
                  <a:pos x="438" y="248"/>
                </a:cxn>
                <a:cxn ang="0">
                  <a:pos x="431" y="219"/>
                </a:cxn>
                <a:cxn ang="0">
                  <a:pos x="443" y="183"/>
                </a:cxn>
                <a:cxn ang="0">
                  <a:pos x="430" y="150"/>
                </a:cxn>
                <a:cxn ang="0">
                  <a:pos x="422" y="84"/>
                </a:cxn>
                <a:cxn ang="0">
                  <a:pos x="34" y="235"/>
                </a:cxn>
                <a:cxn ang="0">
                  <a:pos x="110" y="35"/>
                </a:cxn>
                <a:cxn ang="0">
                  <a:pos x="409" y="183"/>
                </a:cxn>
                <a:cxn ang="0">
                  <a:pos x="398" y="199"/>
                </a:cxn>
                <a:cxn ang="0">
                  <a:pos x="394" y="231"/>
                </a:cxn>
                <a:cxn ang="0">
                  <a:pos x="404" y="248"/>
                </a:cxn>
                <a:cxn ang="0">
                  <a:pos x="388" y="263"/>
                </a:cxn>
                <a:cxn ang="0">
                  <a:pos x="272" y="263"/>
                </a:cxn>
                <a:cxn ang="0">
                  <a:pos x="256" y="290"/>
                </a:cxn>
                <a:cxn ang="0">
                  <a:pos x="290" y="405"/>
                </a:cxn>
                <a:cxn ang="0">
                  <a:pos x="274" y="410"/>
                </a:cxn>
                <a:cxn ang="0">
                  <a:pos x="258" y="356"/>
                </a:cxn>
                <a:cxn ang="0">
                  <a:pos x="215" y="304"/>
                </a:cxn>
                <a:cxn ang="0">
                  <a:pos x="145" y="216"/>
                </a:cxn>
                <a:cxn ang="0">
                  <a:pos x="275" y="36"/>
                </a:cxn>
                <a:cxn ang="0">
                  <a:pos x="358" y="39"/>
                </a:cxn>
                <a:cxn ang="0">
                  <a:pos x="390" y="55"/>
                </a:cxn>
                <a:cxn ang="0">
                  <a:pos x="391" y="68"/>
                </a:cxn>
                <a:cxn ang="0">
                  <a:pos x="375" y="91"/>
                </a:cxn>
                <a:cxn ang="0">
                  <a:pos x="405" y="120"/>
                </a:cxn>
                <a:cxn ang="0">
                  <a:pos x="394" y="137"/>
                </a:cxn>
                <a:cxn ang="0">
                  <a:pos x="395" y="168"/>
                </a:cxn>
                <a:cxn ang="0">
                  <a:pos x="409" y="183"/>
                </a:cxn>
              </a:cxnLst>
              <a:rect l="0" t="0" r="r" b="b"/>
              <a:pathLst>
                <a:path w="444" h="447">
                  <a:moveTo>
                    <a:pt x="422" y="84"/>
                  </a:moveTo>
                  <a:cubicBezTo>
                    <a:pt x="425" y="78"/>
                    <a:pt x="427" y="72"/>
                    <a:pt x="427" y="66"/>
                  </a:cubicBezTo>
                  <a:cubicBezTo>
                    <a:pt x="427" y="56"/>
                    <a:pt x="425" y="46"/>
                    <a:pt x="420" y="39"/>
                  </a:cubicBezTo>
                  <a:cubicBezTo>
                    <a:pt x="416" y="31"/>
                    <a:pt x="410" y="25"/>
                    <a:pt x="404" y="21"/>
                  </a:cubicBezTo>
                  <a:cubicBezTo>
                    <a:pt x="391" y="12"/>
                    <a:pt x="378" y="9"/>
                    <a:pt x="367" y="6"/>
                  </a:cubicBezTo>
                  <a:cubicBezTo>
                    <a:pt x="352" y="2"/>
                    <a:pt x="335" y="0"/>
                    <a:pt x="314" y="0"/>
                  </a:cubicBezTo>
                  <a:cubicBezTo>
                    <a:pt x="301" y="0"/>
                    <a:pt x="287" y="1"/>
                    <a:pt x="272" y="2"/>
                  </a:cubicBezTo>
                  <a:cubicBezTo>
                    <a:pt x="234" y="5"/>
                    <a:pt x="191" y="19"/>
                    <a:pt x="145" y="26"/>
                  </a:cubicBezTo>
                  <a:cubicBezTo>
                    <a:pt x="145" y="12"/>
                    <a:pt x="133" y="0"/>
                    <a:pt x="118" y="0"/>
                  </a:cubicBezTo>
                  <a:cubicBezTo>
                    <a:pt x="26" y="0"/>
                    <a:pt x="26" y="0"/>
                    <a:pt x="26" y="0"/>
                  </a:cubicBezTo>
                  <a:cubicBezTo>
                    <a:pt x="11" y="0"/>
                    <a:pt x="0" y="12"/>
                    <a:pt x="0" y="27"/>
                  </a:cubicBezTo>
                  <a:cubicBezTo>
                    <a:pt x="0" y="27"/>
                    <a:pt x="0" y="27"/>
                    <a:pt x="0" y="27"/>
                  </a:cubicBezTo>
                  <a:cubicBezTo>
                    <a:pt x="0" y="243"/>
                    <a:pt x="0" y="243"/>
                    <a:pt x="0" y="243"/>
                  </a:cubicBezTo>
                  <a:cubicBezTo>
                    <a:pt x="0" y="258"/>
                    <a:pt x="11" y="270"/>
                    <a:pt x="26" y="270"/>
                  </a:cubicBezTo>
                  <a:cubicBezTo>
                    <a:pt x="118" y="270"/>
                    <a:pt x="118" y="270"/>
                    <a:pt x="118" y="270"/>
                  </a:cubicBezTo>
                  <a:cubicBezTo>
                    <a:pt x="128" y="270"/>
                    <a:pt x="136" y="265"/>
                    <a:pt x="141" y="257"/>
                  </a:cubicBezTo>
                  <a:cubicBezTo>
                    <a:pt x="152" y="268"/>
                    <a:pt x="165" y="285"/>
                    <a:pt x="175" y="306"/>
                  </a:cubicBezTo>
                  <a:cubicBezTo>
                    <a:pt x="180" y="316"/>
                    <a:pt x="187" y="325"/>
                    <a:pt x="195" y="335"/>
                  </a:cubicBezTo>
                  <a:cubicBezTo>
                    <a:pt x="204" y="344"/>
                    <a:pt x="213" y="354"/>
                    <a:pt x="219" y="362"/>
                  </a:cubicBezTo>
                  <a:cubicBezTo>
                    <a:pt x="224" y="367"/>
                    <a:pt x="227" y="372"/>
                    <a:pt x="228" y="373"/>
                  </a:cubicBezTo>
                  <a:cubicBezTo>
                    <a:pt x="230" y="378"/>
                    <a:pt x="232" y="385"/>
                    <a:pt x="234" y="392"/>
                  </a:cubicBezTo>
                  <a:cubicBezTo>
                    <a:pt x="235" y="400"/>
                    <a:pt x="236" y="409"/>
                    <a:pt x="239" y="418"/>
                  </a:cubicBezTo>
                  <a:cubicBezTo>
                    <a:pt x="242" y="424"/>
                    <a:pt x="245" y="430"/>
                    <a:pt x="251" y="436"/>
                  </a:cubicBezTo>
                  <a:cubicBezTo>
                    <a:pt x="259" y="443"/>
                    <a:pt x="271" y="447"/>
                    <a:pt x="282" y="447"/>
                  </a:cubicBezTo>
                  <a:cubicBezTo>
                    <a:pt x="289" y="446"/>
                    <a:pt x="294" y="445"/>
                    <a:pt x="300" y="442"/>
                  </a:cubicBezTo>
                  <a:cubicBezTo>
                    <a:pt x="305" y="439"/>
                    <a:pt x="310" y="435"/>
                    <a:pt x="315" y="429"/>
                  </a:cubicBezTo>
                  <a:cubicBezTo>
                    <a:pt x="324" y="418"/>
                    <a:pt x="331" y="402"/>
                    <a:pt x="331" y="381"/>
                  </a:cubicBezTo>
                  <a:cubicBezTo>
                    <a:pt x="331" y="359"/>
                    <a:pt x="323" y="332"/>
                    <a:pt x="304" y="300"/>
                  </a:cubicBezTo>
                  <a:cubicBezTo>
                    <a:pt x="315" y="301"/>
                    <a:pt x="326" y="301"/>
                    <a:pt x="337" y="301"/>
                  </a:cubicBezTo>
                  <a:cubicBezTo>
                    <a:pt x="361" y="301"/>
                    <a:pt x="382" y="300"/>
                    <a:pt x="395" y="297"/>
                  </a:cubicBezTo>
                  <a:cubicBezTo>
                    <a:pt x="406" y="294"/>
                    <a:pt x="415" y="289"/>
                    <a:pt x="423" y="281"/>
                  </a:cubicBezTo>
                  <a:cubicBezTo>
                    <a:pt x="431" y="273"/>
                    <a:pt x="438" y="262"/>
                    <a:pt x="438" y="248"/>
                  </a:cubicBezTo>
                  <a:cubicBezTo>
                    <a:pt x="438" y="238"/>
                    <a:pt x="436" y="228"/>
                    <a:pt x="431" y="220"/>
                  </a:cubicBezTo>
                  <a:cubicBezTo>
                    <a:pt x="431" y="219"/>
                    <a:pt x="431" y="219"/>
                    <a:pt x="431" y="219"/>
                  </a:cubicBezTo>
                  <a:cubicBezTo>
                    <a:pt x="432" y="217"/>
                    <a:pt x="433" y="216"/>
                    <a:pt x="434" y="214"/>
                  </a:cubicBezTo>
                  <a:cubicBezTo>
                    <a:pt x="440" y="205"/>
                    <a:pt x="443" y="195"/>
                    <a:pt x="443" y="183"/>
                  </a:cubicBezTo>
                  <a:cubicBezTo>
                    <a:pt x="444" y="172"/>
                    <a:pt x="439" y="161"/>
                    <a:pt x="432" y="153"/>
                  </a:cubicBezTo>
                  <a:cubicBezTo>
                    <a:pt x="432" y="152"/>
                    <a:pt x="431" y="151"/>
                    <a:pt x="430" y="150"/>
                  </a:cubicBezTo>
                  <a:cubicBezTo>
                    <a:pt x="436" y="142"/>
                    <a:pt x="439" y="132"/>
                    <a:pt x="439" y="120"/>
                  </a:cubicBezTo>
                  <a:cubicBezTo>
                    <a:pt x="439" y="106"/>
                    <a:pt x="433" y="93"/>
                    <a:pt x="422" y="84"/>
                  </a:cubicBezTo>
                  <a:close/>
                  <a:moveTo>
                    <a:pt x="110" y="235"/>
                  </a:moveTo>
                  <a:cubicBezTo>
                    <a:pt x="34" y="235"/>
                    <a:pt x="34" y="235"/>
                    <a:pt x="34" y="235"/>
                  </a:cubicBezTo>
                  <a:cubicBezTo>
                    <a:pt x="34" y="35"/>
                    <a:pt x="34" y="35"/>
                    <a:pt x="34" y="35"/>
                  </a:cubicBezTo>
                  <a:cubicBezTo>
                    <a:pt x="110" y="35"/>
                    <a:pt x="110" y="35"/>
                    <a:pt x="110" y="35"/>
                  </a:cubicBezTo>
                  <a:lnTo>
                    <a:pt x="110" y="235"/>
                  </a:lnTo>
                  <a:close/>
                  <a:moveTo>
                    <a:pt x="409" y="183"/>
                  </a:moveTo>
                  <a:cubicBezTo>
                    <a:pt x="409" y="188"/>
                    <a:pt x="407" y="192"/>
                    <a:pt x="406" y="194"/>
                  </a:cubicBezTo>
                  <a:cubicBezTo>
                    <a:pt x="404" y="197"/>
                    <a:pt x="402" y="198"/>
                    <a:pt x="398" y="199"/>
                  </a:cubicBezTo>
                  <a:cubicBezTo>
                    <a:pt x="392" y="201"/>
                    <a:pt x="387" y="207"/>
                    <a:pt x="386" y="214"/>
                  </a:cubicBezTo>
                  <a:cubicBezTo>
                    <a:pt x="385" y="221"/>
                    <a:pt x="389" y="227"/>
                    <a:pt x="394" y="231"/>
                  </a:cubicBezTo>
                  <a:cubicBezTo>
                    <a:pt x="398" y="233"/>
                    <a:pt x="400" y="235"/>
                    <a:pt x="401" y="237"/>
                  </a:cubicBezTo>
                  <a:cubicBezTo>
                    <a:pt x="403" y="239"/>
                    <a:pt x="404" y="242"/>
                    <a:pt x="404" y="248"/>
                  </a:cubicBezTo>
                  <a:cubicBezTo>
                    <a:pt x="404" y="250"/>
                    <a:pt x="402" y="253"/>
                    <a:pt x="399" y="257"/>
                  </a:cubicBezTo>
                  <a:cubicBezTo>
                    <a:pt x="396" y="260"/>
                    <a:pt x="391" y="262"/>
                    <a:pt x="388" y="263"/>
                  </a:cubicBezTo>
                  <a:cubicBezTo>
                    <a:pt x="379" y="265"/>
                    <a:pt x="359" y="266"/>
                    <a:pt x="337" y="266"/>
                  </a:cubicBezTo>
                  <a:cubicBezTo>
                    <a:pt x="316" y="266"/>
                    <a:pt x="293" y="265"/>
                    <a:pt x="272" y="263"/>
                  </a:cubicBezTo>
                  <a:cubicBezTo>
                    <a:pt x="265" y="262"/>
                    <a:pt x="259" y="265"/>
                    <a:pt x="255" y="271"/>
                  </a:cubicBezTo>
                  <a:cubicBezTo>
                    <a:pt x="252" y="277"/>
                    <a:pt x="252" y="285"/>
                    <a:pt x="256" y="290"/>
                  </a:cubicBezTo>
                  <a:cubicBezTo>
                    <a:pt x="288" y="333"/>
                    <a:pt x="296" y="363"/>
                    <a:pt x="296" y="381"/>
                  </a:cubicBezTo>
                  <a:cubicBezTo>
                    <a:pt x="296" y="393"/>
                    <a:pt x="293" y="400"/>
                    <a:pt x="290" y="405"/>
                  </a:cubicBezTo>
                  <a:cubicBezTo>
                    <a:pt x="287" y="409"/>
                    <a:pt x="283" y="411"/>
                    <a:pt x="282" y="412"/>
                  </a:cubicBezTo>
                  <a:cubicBezTo>
                    <a:pt x="276" y="412"/>
                    <a:pt x="275" y="411"/>
                    <a:pt x="274" y="410"/>
                  </a:cubicBezTo>
                  <a:cubicBezTo>
                    <a:pt x="274" y="410"/>
                    <a:pt x="272" y="408"/>
                    <a:pt x="271" y="403"/>
                  </a:cubicBezTo>
                  <a:cubicBezTo>
                    <a:pt x="268" y="393"/>
                    <a:pt x="268" y="375"/>
                    <a:pt x="258" y="356"/>
                  </a:cubicBezTo>
                  <a:cubicBezTo>
                    <a:pt x="253" y="348"/>
                    <a:pt x="246" y="340"/>
                    <a:pt x="238" y="331"/>
                  </a:cubicBezTo>
                  <a:cubicBezTo>
                    <a:pt x="230" y="322"/>
                    <a:pt x="221" y="312"/>
                    <a:pt x="215" y="304"/>
                  </a:cubicBezTo>
                  <a:cubicBezTo>
                    <a:pt x="210" y="298"/>
                    <a:pt x="207" y="294"/>
                    <a:pt x="207" y="292"/>
                  </a:cubicBezTo>
                  <a:cubicBezTo>
                    <a:pt x="188" y="250"/>
                    <a:pt x="159" y="226"/>
                    <a:pt x="145" y="216"/>
                  </a:cubicBezTo>
                  <a:cubicBezTo>
                    <a:pt x="145" y="188"/>
                    <a:pt x="145" y="108"/>
                    <a:pt x="145" y="61"/>
                  </a:cubicBezTo>
                  <a:cubicBezTo>
                    <a:pt x="197" y="53"/>
                    <a:pt x="242" y="38"/>
                    <a:pt x="275" y="36"/>
                  </a:cubicBezTo>
                  <a:cubicBezTo>
                    <a:pt x="289" y="35"/>
                    <a:pt x="302" y="35"/>
                    <a:pt x="314" y="35"/>
                  </a:cubicBezTo>
                  <a:cubicBezTo>
                    <a:pt x="333" y="35"/>
                    <a:pt x="348" y="36"/>
                    <a:pt x="358" y="39"/>
                  </a:cubicBezTo>
                  <a:cubicBezTo>
                    <a:pt x="366" y="41"/>
                    <a:pt x="373" y="43"/>
                    <a:pt x="379" y="46"/>
                  </a:cubicBezTo>
                  <a:cubicBezTo>
                    <a:pt x="385" y="49"/>
                    <a:pt x="388" y="52"/>
                    <a:pt x="390" y="55"/>
                  </a:cubicBezTo>
                  <a:cubicBezTo>
                    <a:pt x="391" y="58"/>
                    <a:pt x="392" y="61"/>
                    <a:pt x="392" y="66"/>
                  </a:cubicBezTo>
                  <a:cubicBezTo>
                    <a:pt x="392" y="67"/>
                    <a:pt x="392" y="67"/>
                    <a:pt x="391" y="68"/>
                  </a:cubicBezTo>
                  <a:cubicBezTo>
                    <a:pt x="391" y="69"/>
                    <a:pt x="388" y="71"/>
                    <a:pt x="384" y="73"/>
                  </a:cubicBezTo>
                  <a:cubicBezTo>
                    <a:pt x="377" y="76"/>
                    <a:pt x="373" y="83"/>
                    <a:pt x="375" y="91"/>
                  </a:cubicBezTo>
                  <a:cubicBezTo>
                    <a:pt x="376" y="99"/>
                    <a:pt x="382" y="105"/>
                    <a:pt x="389" y="106"/>
                  </a:cubicBezTo>
                  <a:cubicBezTo>
                    <a:pt x="400" y="107"/>
                    <a:pt x="405" y="114"/>
                    <a:pt x="405" y="120"/>
                  </a:cubicBezTo>
                  <a:cubicBezTo>
                    <a:pt x="405" y="125"/>
                    <a:pt x="403" y="127"/>
                    <a:pt x="401" y="130"/>
                  </a:cubicBezTo>
                  <a:cubicBezTo>
                    <a:pt x="400" y="133"/>
                    <a:pt x="397" y="135"/>
                    <a:pt x="394" y="137"/>
                  </a:cubicBezTo>
                  <a:cubicBezTo>
                    <a:pt x="387" y="140"/>
                    <a:pt x="384" y="146"/>
                    <a:pt x="384" y="153"/>
                  </a:cubicBezTo>
                  <a:cubicBezTo>
                    <a:pt x="384" y="160"/>
                    <a:pt x="389" y="166"/>
                    <a:pt x="395" y="168"/>
                  </a:cubicBezTo>
                  <a:cubicBezTo>
                    <a:pt x="401" y="170"/>
                    <a:pt x="404" y="173"/>
                    <a:pt x="406" y="175"/>
                  </a:cubicBezTo>
                  <a:cubicBezTo>
                    <a:pt x="408" y="177"/>
                    <a:pt x="409" y="179"/>
                    <a:pt x="409" y="183"/>
                  </a:cubicBezTo>
                  <a:close/>
                </a:path>
              </a:pathLst>
            </a:custGeom>
            <a:solidFill>
              <a:srgbClr val="FF0000"/>
            </a:solidFill>
            <a:ln w="9525">
              <a:noFill/>
              <a:round/>
              <a:headEnd/>
              <a:tailEnd/>
            </a:ln>
          </p:spPr>
          <p:txBody>
            <a:bodyPr vert="horz" wrap="square" lIns="68580" tIns="34290" rIns="68580" bIns="34290" numCol="1" anchor="t" anchorCtr="0" compatLnSpc="1">
              <a:prstTxWarp prst="textNoShape">
                <a:avLst/>
              </a:prstTxWarp>
            </a:bodyPr>
            <a:lstStyle/>
            <a:p>
              <a:endParaRPr lang="en-GB" sz="1350"/>
            </a:p>
          </p:txBody>
        </p:sp>
        <p:sp>
          <p:nvSpPr>
            <p:cNvPr id="20" name="Title 1">
              <a:extLst>
                <a:ext uri="{FF2B5EF4-FFF2-40B4-BE49-F238E27FC236}">
                  <a16:creationId xmlns:a16="http://schemas.microsoft.com/office/drawing/2014/main" id="{13D4D7FE-607A-44CB-9045-C927397B47D3}"/>
                </a:ext>
              </a:extLst>
            </p:cNvPr>
            <p:cNvSpPr txBox="1">
              <a:spLocks/>
            </p:cNvSpPr>
            <p:nvPr/>
          </p:nvSpPr>
          <p:spPr>
            <a:xfrm>
              <a:off x="990600" y="2928421"/>
              <a:ext cx="961444" cy="329129"/>
            </a:xfrm>
            <a:prstGeom prst="rect">
              <a:avLst/>
            </a:prstGeom>
          </p:spPr>
          <p:txBody>
            <a:bodyPr vert="horz" wrap="square" lIns="0" tIns="0" rIns="0" bIns="0" rtlCol="0" anchor="t">
              <a:spAutoFit/>
            </a:bodyPr>
            <a:lstStyle/>
            <a:p>
              <a:pPr algn="ctr" defTabSz="709239">
                <a:lnSpc>
                  <a:spcPct val="70000"/>
                </a:lnSpc>
                <a:spcBef>
                  <a:spcPct val="0"/>
                </a:spcBef>
                <a:defRPr/>
              </a:pPr>
              <a:r>
                <a:rPr lang="en-GB" sz="2992" b="1" kern="0" spc="-101">
                  <a:solidFill>
                    <a:srgbClr val="969894"/>
                  </a:solidFill>
                  <a:ea typeface="Segoe UI" panose="020B0502040204020203" pitchFamily="34" charset="0"/>
                  <a:cs typeface="Segoe UI" panose="020B0502040204020203" pitchFamily="34" charset="0"/>
                </a:rPr>
                <a:t>14%</a:t>
              </a:r>
            </a:p>
          </p:txBody>
        </p:sp>
        <p:pic>
          <p:nvPicPr>
            <p:cNvPr id="21" name="Picture 2" descr="Image result for neither like nor dislike">
              <a:extLst>
                <a:ext uri="{FF2B5EF4-FFF2-40B4-BE49-F238E27FC236}">
                  <a16:creationId xmlns:a16="http://schemas.microsoft.com/office/drawing/2014/main" id="{613CA2FE-3D0A-4EB3-BC95-B040113B9922}"/>
                </a:ext>
              </a:extLst>
            </p:cNvPr>
            <p:cNvPicPr>
              <a:picLocks noChangeAspect="1" noChangeArrowheads="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b="31938"/>
            <a:stretch/>
          </p:blipFill>
          <p:spPr bwMode="auto">
            <a:xfrm flipH="1">
              <a:off x="299058" y="2800350"/>
              <a:ext cx="501370" cy="514076"/>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E51B3D73-232E-4339-8D8A-06F46C1D8F16}"/>
                </a:ext>
              </a:extLst>
            </p:cNvPr>
            <p:cNvSpPr txBox="1">
              <a:spLocks/>
            </p:cNvSpPr>
            <p:nvPr/>
          </p:nvSpPr>
          <p:spPr>
            <a:xfrm>
              <a:off x="990600" y="3634165"/>
              <a:ext cx="992795" cy="329129"/>
            </a:xfrm>
            <a:prstGeom prst="rect">
              <a:avLst/>
            </a:prstGeom>
          </p:spPr>
          <p:txBody>
            <a:bodyPr vert="horz" wrap="square" lIns="0" tIns="0" rIns="0" bIns="0" rtlCol="0" anchor="t">
              <a:spAutoFit/>
            </a:bodyPr>
            <a:lstStyle/>
            <a:p>
              <a:pPr algn="ctr" defTabSz="709239">
                <a:lnSpc>
                  <a:spcPct val="70000"/>
                </a:lnSpc>
                <a:spcBef>
                  <a:spcPct val="0"/>
                </a:spcBef>
                <a:defRPr/>
              </a:pPr>
              <a:r>
                <a:rPr lang="en-GB" sz="2992" b="1" kern="0" spc="-101">
                  <a:solidFill>
                    <a:srgbClr val="61CB6B"/>
                  </a:solidFill>
                  <a:ea typeface="Segoe UI" panose="020B0502040204020203" pitchFamily="34" charset="0"/>
                  <a:cs typeface="Segoe UI" panose="020B0502040204020203" pitchFamily="34" charset="0"/>
                </a:rPr>
                <a:t>38%</a:t>
              </a:r>
            </a:p>
          </p:txBody>
        </p:sp>
        <p:sp>
          <p:nvSpPr>
            <p:cNvPr id="23" name="Freeform 18">
              <a:extLst>
                <a:ext uri="{FF2B5EF4-FFF2-40B4-BE49-F238E27FC236}">
                  <a16:creationId xmlns:a16="http://schemas.microsoft.com/office/drawing/2014/main" id="{0A0DF5C5-F16B-4527-AF5A-1F01D183CF01}"/>
                </a:ext>
              </a:extLst>
            </p:cNvPr>
            <p:cNvSpPr>
              <a:spLocks noChangeAspect="1" noEditPoints="1"/>
            </p:cNvSpPr>
            <p:nvPr/>
          </p:nvSpPr>
          <p:spPr bwMode="auto">
            <a:xfrm>
              <a:off x="299058" y="3452321"/>
              <a:ext cx="507112" cy="510973"/>
            </a:xfrm>
            <a:custGeom>
              <a:avLst/>
              <a:gdLst/>
              <a:ahLst/>
              <a:cxnLst>
                <a:cxn ang="0">
                  <a:pos x="430" y="297"/>
                </a:cxn>
                <a:cxn ang="0">
                  <a:pos x="443" y="263"/>
                </a:cxn>
                <a:cxn ang="0">
                  <a:pos x="431" y="228"/>
                </a:cxn>
                <a:cxn ang="0">
                  <a:pos x="438" y="199"/>
                </a:cxn>
                <a:cxn ang="0">
                  <a:pos x="395" y="150"/>
                </a:cxn>
                <a:cxn ang="0">
                  <a:pos x="304" y="146"/>
                </a:cxn>
                <a:cxn ang="0">
                  <a:pos x="315" y="18"/>
                </a:cxn>
                <a:cxn ang="0">
                  <a:pos x="282" y="0"/>
                </a:cxn>
                <a:cxn ang="0">
                  <a:pos x="239" y="29"/>
                </a:cxn>
                <a:cxn ang="0">
                  <a:pos x="228" y="73"/>
                </a:cxn>
                <a:cxn ang="0">
                  <a:pos x="195" y="112"/>
                </a:cxn>
                <a:cxn ang="0">
                  <a:pos x="141" y="189"/>
                </a:cxn>
                <a:cxn ang="0">
                  <a:pos x="26" y="177"/>
                </a:cxn>
                <a:cxn ang="0">
                  <a:pos x="0" y="420"/>
                </a:cxn>
                <a:cxn ang="0">
                  <a:pos x="26" y="447"/>
                </a:cxn>
                <a:cxn ang="0">
                  <a:pos x="145" y="420"/>
                </a:cxn>
                <a:cxn ang="0">
                  <a:pos x="314" y="447"/>
                </a:cxn>
                <a:cxn ang="0">
                  <a:pos x="404" y="426"/>
                </a:cxn>
                <a:cxn ang="0">
                  <a:pos x="427" y="381"/>
                </a:cxn>
                <a:cxn ang="0">
                  <a:pos x="439" y="326"/>
                </a:cxn>
                <a:cxn ang="0">
                  <a:pos x="34" y="412"/>
                </a:cxn>
                <a:cxn ang="0">
                  <a:pos x="110" y="211"/>
                </a:cxn>
                <a:cxn ang="0">
                  <a:pos x="406" y="272"/>
                </a:cxn>
                <a:cxn ang="0">
                  <a:pos x="384" y="293"/>
                </a:cxn>
                <a:cxn ang="0">
                  <a:pos x="401" y="316"/>
                </a:cxn>
                <a:cxn ang="0">
                  <a:pos x="389" y="341"/>
                </a:cxn>
                <a:cxn ang="0">
                  <a:pos x="384" y="374"/>
                </a:cxn>
                <a:cxn ang="0">
                  <a:pos x="392" y="381"/>
                </a:cxn>
                <a:cxn ang="0">
                  <a:pos x="379" y="400"/>
                </a:cxn>
                <a:cxn ang="0">
                  <a:pos x="314" y="412"/>
                </a:cxn>
                <a:cxn ang="0">
                  <a:pos x="145" y="385"/>
                </a:cxn>
                <a:cxn ang="0">
                  <a:pos x="207" y="155"/>
                </a:cxn>
                <a:cxn ang="0">
                  <a:pos x="238" y="116"/>
                </a:cxn>
                <a:cxn ang="0">
                  <a:pos x="271" y="44"/>
                </a:cxn>
                <a:cxn ang="0">
                  <a:pos x="282" y="35"/>
                </a:cxn>
                <a:cxn ang="0">
                  <a:pos x="296" y="65"/>
                </a:cxn>
                <a:cxn ang="0">
                  <a:pos x="255" y="176"/>
                </a:cxn>
                <a:cxn ang="0">
                  <a:pos x="337" y="180"/>
                </a:cxn>
                <a:cxn ang="0">
                  <a:pos x="399" y="190"/>
                </a:cxn>
                <a:cxn ang="0">
                  <a:pos x="401" y="209"/>
                </a:cxn>
                <a:cxn ang="0">
                  <a:pos x="386" y="233"/>
                </a:cxn>
                <a:cxn ang="0">
                  <a:pos x="406" y="252"/>
                </a:cxn>
                <a:cxn ang="0">
                  <a:pos x="406" y="272"/>
                </a:cxn>
              </a:cxnLst>
              <a:rect l="0" t="0" r="r" b="b"/>
              <a:pathLst>
                <a:path w="444" h="447">
                  <a:moveTo>
                    <a:pt x="439" y="326"/>
                  </a:moveTo>
                  <a:cubicBezTo>
                    <a:pt x="439" y="315"/>
                    <a:pt x="436" y="305"/>
                    <a:pt x="430" y="297"/>
                  </a:cubicBezTo>
                  <a:cubicBezTo>
                    <a:pt x="431" y="296"/>
                    <a:pt x="432" y="295"/>
                    <a:pt x="432" y="294"/>
                  </a:cubicBezTo>
                  <a:cubicBezTo>
                    <a:pt x="439" y="286"/>
                    <a:pt x="444" y="275"/>
                    <a:pt x="443" y="263"/>
                  </a:cubicBezTo>
                  <a:cubicBezTo>
                    <a:pt x="443" y="252"/>
                    <a:pt x="440" y="241"/>
                    <a:pt x="434" y="233"/>
                  </a:cubicBezTo>
                  <a:cubicBezTo>
                    <a:pt x="433" y="231"/>
                    <a:pt x="432" y="229"/>
                    <a:pt x="431" y="228"/>
                  </a:cubicBezTo>
                  <a:cubicBezTo>
                    <a:pt x="431" y="228"/>
                    <a:pt x="431" y="227"/>
                    <a:pt x="431" y="227"/>
                  </a:cubicBezTo>
                  <a:cubicBezTo>
                    <a:pt x="436" y="219"/>
                    <a:pt x="438" y="209"/>
                    <a:pt x="438" y="199"/>
                  </a:cubicBezTo>
                  <a:cubicBezTo>
                    <a:pt x="438" y="184"/>
                    <a:pt x="431" y="173"/>
                    <a:pt x="423" y="165"/>
                  </a:cubicBezTo>
                  <a:cubicBezTo>
                    <a:pt x="415" y="157"/>
                    <a:pt x="406" y="152"/>
                    <a:pt x="395" y="150"/>
                  </a:cubicBezTo>
                  <a:cubicBezTo>
                    <a:pt x="382" y="147"/>
                    <a:pt x="361" y="146"/>
                    <a:pt x="337" y="146"/>
                  </a:cubicBezTo>
                  <a:cubicBezTo>
                    <a:pt x="326" y="146"/>
                    <a:pt x="315" y="146"/>
                    <a:pt x="304" y="146"/>
                  </a:cubicBezTo>
                  <a:cubicBezTo>
                    <a:pt x="323" y="114"/>
                    <a:pt x="331" y="87"/>
                    <a:pt x="331" y="65"/>
                  </a:cubicBezTo>
                  <a:cubicBezTo>
                    <a:pt x="331" y="45"/>
                    <a:pt x="324" y="28"/>
                    <a:pt x="315" y="18"/>
                  </a:cubicBezTo>
                  <a:cubicBezTo>
                    <a:pt x="310" y="12"/>
                    <a:pt x="305" y="8"/>
                    <a:pt x="300" y="5"/>
                  </a:cubicBezTo>
                  <a:cubicBezTo>
                    <a:pt x="294" y="2"/>
                    <a:pt x="289" y="0"/>
                    <a:pt x="282" y="0"/>
                  </a:cubicBezTo>
                  <a:cubicBezTo>
                    <a:pt x="271" y="0"/>
                    <a:pt x="259" y="3"/>
                    <a:pt x="251" y="11"/>
                  </a:cubicBezTo>
                  <a:cubicBezTo>
                    <a:pt x="245" y="16"/>
                    <a:pt x="242" y="23"/>
                    <a:pt x="239" y="29"/>
                  </a:cubicBezTo>
                  <a:cubicBezTo>
                    <a:pt x="236" y="38"/>
                    <a:pt x="235" y="47"/>
                    <a:pt x="234" y="54"/>
                  </a:cubicBezTo>
                  <a:cubicBezTo>
                    <a:pt x="232" y="62"/>
                    <a:pt x="230" y="68"/>
                    <a:pt x="228" y="73"/>
                  </a:cubicBezTo>
                  <a:cubicBezTo>
                    <a:pt x="227" y="75"/>
                    <a:pt x="224" y="79"/>
                    <a:pt x="219" y="84"/>
                  </a:cubicBezTo>
                  <a:cubicBezTo>
                    <a:pt x="213" y="92"/>
                    <a:pt x="204" y="102"/>
                    <a:pt x="195" y="112"/>
                  </a:cubicBezTo>
                  <a:cubicBezTo>
                    <a:pt x="187" y="122"/>
                    <a:pt x="180" y="131"/>
                    <a:pt x="175" y="140"/>
                  </a:cubicBezTo>
                  <a:cubicBezTo>
                    <a:pt x="165" y="162"/>
                    <a:pt x="152" y="178"/>
                    <a:pt x="141" y="189"/>
                  </a:cubicBezTo>
                  <a:cubicBezTo>
                    <a:pt x="136" y="182"/>
                    <a:pt x="128" y="177"/>
                    <a:pt x="118" y="177"/>
                  </a:cubicBezTo>
                  <a:cubicBezTo>
                    <a:pt x="26" y="177"/>
                    <a:pt x="26" y="177"/>
                    <a:pt x="26" y="177"/>
                  </a:cubicBezTo>
                  <a:cubicBezTo>
                    <a:pt x="11" y="177"/>
                    <a:pt x="0" y="189"/>
                    <a:pt x="0" y="203"/>
                  </a:cubicBezTo>
                  <a:cubicBezTo>
                    <a:pt x="0" y="420"/>
                    <a:pt x="0" y="420"/>
                    <a:pt x="0" y="420"/>
                  </a:cubicBezTo>
                  <a:cubicBezTo>
                    <a:pt x="0" y="420"/>
                    <a:pt x="0" y="420"/>
                    <a:pt x="0" y="420"/>
                  </a:cubicBezTo>
                  <a:cubicBezTo>
                    <a:pt x="0" y="435"/>
                    <a:pt x="11" y="447"/>
                    <a:pt x="26" y="447"/>
                  </a:cubicBezTo>
                  <a:cubicBezTo>
                    <a:pt x="118" y="447"/>
                    <a:pt x="118" y="447"/>
                    <a:pt x="118" y="447"/>
                  </a:cubicBezTo>
                  <a:cubicBezTo>
                    <a:pt x="133" y="447"/>
                    <a:pt x="145" y="435"/>
                    <a:pt x="145" y="420"/>
                  </a:cubicBezTo>
                  <a:cubicBezTo>
                    <a:pt x="191" y="428"/>
                    <a:pt x="234" y="442"/>
                    <a:pt x="272" y="445"/>
                  </a:cubicBezTo>
                  <a:cubicBezTo>
                    <a:pt x="287" y="446"/>
                    <a:pt x="301" y="447"/>
                    <a:pt x="314" y="447"/>
                  </a:cubicBezTo>
                  <a:cubicBezTo>
                    <a:pt x="335" y="447"/>
                    <a:pt x="352" y="445"/>
                    <a:pt x="367" y="441"/>
                  </a:cubicBezTo>
                  <a:cubicBezTo>
                    <a:pt x="378" y="438"/>
                    <a:pt x="391" y="435"/>
                    <a:pt x="404" y="426"/>
                  </a:cubicBezTo>
                  <a:cubicBezTo>
                    <a:pt x="410" y="422"/>
                    <a:pt x="416" y="416"/>
                    <a:pt x="420" y="408"/>
                  </a:cubicBezTo>
                  <a:cubicBezTo>
                    <a:pt x="425" y="400"/>
                    <a:pt x="427" y="391"/>
                    <a:pt x="427" y="381"/>
                  </a:cubicBezTo>
                  <a:cubicBezTo>
                    <a:pt x="427" y="375"/>
                    <a:pt x="425" y="368"/>
                    <a:pt x="422" y="363"/>
                  </a:cubicBezTo>
                  <a:cubicBezTo>
                    <a:pt x="433" y="354"/>
                    <a:pt x="439" y="341"/>
                    <a:pt x="439" y="326"/>
                  </a:cubicBezTo>
                  <a:close/>
                  <a:moveTo>
                    <a:pt x="110" y="412"/>
                  </a:moveTo>
                  <a:cubicBezTo>
                    <a:pt x="34" y="412"/>
                    <a:pt x="34" y="412"/>
                    <a:pt x="34" y="412"/>
                  </a:cubicBezTo>
                  <a:cubicBezTo>
                    <a:pt x="34" y="211"/>
                    <a:pt x="34" y="211"/>
                    <a:pt x="34" y="211"/>
                  </a:cubicBezTo>
                  <a:cubicBezTo>
                    <a:pt x="110" y="211"/>
                    <a:pt x="110" y="211"/>
                    <a:pt x="110" y="211"/>
                  </a:cubicBezTo>
                  <a:lnTo>
                    <a:pt x="110" y="412"/>
                  </a:lnTo>
                  <a:close/>
                  <a:moveTo>
                    <a:pt x="406" y="272"/>
                  </a:moveTo>
                  <a:cubicBezTo>
                    <a:pt x="404" y="274"/>
                    <a:pt x="401" y="276"/>
                    <a:pt x="395" y="278"/>
                  </a:cubicBezTo>
                  <a:cubicBezTo>
                    <a:pt x="389" y="281"/>
                    <a:pt x="384" y="287"/>
                    <a:pt x="384" y="293"/>
                  </a:cubicBezTo>
                  <a:cubicBezTo>
                    <a:pt x="384" y="300"/>
                    <a:pt x="387" y="307"/>
                    <a:pt x="394" y="310"/>
                  </a:cubicBezTo>
                  <a:cubicBezTo>
                    <a:pt x="397" y="311"/>
                    <a:pt x="400" y="314"/>
                    <a:pt x="401" y="316"/>
                  </a:cubicBezTo>
                  <a:cubicBezTo>
                    <a:pt x="403" y="319"/>
                    <a:pt x="405" y="322"/>
                    <a:pt x="405" y="326"/>
                  </a:cubicBezTo>
                  <a:cubicBezTo>
                    <a:pt x="405" y="333"/>
                    <a:pt x="400" y="339"/>
                    <a:pt x="389" y="341"/>
                  </a:cubicBezTo>
                  <a:cubicBezTo>
                    <a:pt x="382" y="342"/>
                    <a:pt x="376" y="348"/>
                    <a:pt x="375" y="356"/>
                  </a:cubicBezTo>
                  <a:cubicBezTo>
                    <a:pt x="373" y="363"/>
                    <a:pt x="377" y="371"/>
                    <a:pt x="384" y="374"/>
                  </a:cubicBezTo>
                  <a:cubicBezTo>
                    <a:pt x="388" y="376"/>
                    <a:pt x="391" y="378"/>
                    <a:pt x="391" y="379"/>
                  </a:cubicBezTo>
                  <a:cubicBezTo>
                    <a:pt x="392" y="380"/>
                    <a:pt x="392" y="380"/>
                    <a:pt x="392" y="381"/>
                  </a:cubicBezTo>
                  <a:cubicBezTo>
                    <a:pt x="392" y="386"/>
                    <a:pt x="391" y="389"/>
                    <a:pt x="390" y="391"/>
                  </a:cubicBezTo>
                  <a:cubicBezTo>
                    <a:pt x="388" y="395"/>
                    <a:pt x="385" y="398"/>
                    <a:pt x="379" y="400"/>
                  </a:cubicBezTo>
                  <a:cubicBezTo>
                    <a:pt x="373" y="403"/>
                    <a:pt x="366" y="405"/>
                    <a:pt x="358" y="407"/>
                  </a:cubicBezTo>
                  <a:cubicBezTo>
                    <a:pt x="348" y="410"/>
                    <a:pt x="333" y="412"/>
                    <a:pt x="314" y="412"/>
                  </a:cubicBezTo>
                  <a:cubicBezTo>
                    <a:pt x="302" y="412"/>
                    <a:pt x="289" y="411"/>
                    <a:pt x="275" y="410"/>
                  </a:cubicBezTo>
                  <a:cubicBezTo>
                    <a:pt x="242" y="408"/>
                    <a:pt x="197" y="393"/>
                    <a:pt x="145" y="385"/>
                  </a:cubicBezTo>
                  <a:cubicBezTo>
                    <a:pt x="145" y="339"/>
                    <a:pt x="145" y="258"/>
                    <a:pt x="145" y="231"/>
                  </a:cubicBezTo>
                  <a:cubicBezTo>
                    <a:pt x="159" y="221"/>
                    <a:pt x="188" y="196"/>
                    <a:pt x="207" y="155"/>
                  </a:cubicBezTo>
                  <a:cubicBezTo>
                    <a:pt x="207" y="153"/>
                    <a:pt x="210" y="148"/>
                    <a:pt x="215" y="143"/>
                  </a:cubicBezTo>
                  <a:cubicBezTo>
                    <a:pt x="221" y="135"/>
                    <a:pt x="230" y="125"/>
                    <a:pt x="238" y="116"/>
                  </a:cubicBezTo>
                  <a:cubicBezTo>
                    <a:pt x="246" y="106"/>
                    <a:pt x="253" y="98"/>
                    <a:pt x="258" y="90"/>
                  </a:cubicBezTo>
                  <a:cubicBezTo>
                    <a:pt x="268" y="72"/>
                    <a:pt x="268" y="54"/>
                    <a:pt x="271" y="44"/>
                  </a:cubicBezTo>
                  <a:cubicBezTo>
                    <a:pt x="272" y="39"/>
                    <a:pt x="274" y="37"/>
                    <a:pt x="274" y="36"/>
                  </a:cubicBezTo>
                  <a:cubicBezTo>
                    <a:pt x="275" y="36"/>
                    <a:pt x="276" y="35"/>
                    <a:pt x="282" y="35"/>
                  </a:cubicBezTo>
                  <a:cubicBezTo>
                    <a:pt x="283" y="35"/>
                    <a:pt x="287" y="37"/>
                    <a:pt x="290" y="42"/>
                  </a:cubicBezTo>
                  <a:cubicBezTo>
                    <a:pt x="293" y="46"/>
                    <a:pt x="296" y="54"/>
                    <a:pt x="296" y="65"/>
                  </a:cubicBezTo>
                  <a:cubicBezTo>
                    <a:pt x="296" y="84"/>
                    <a:pt x="288" y="114"/>
                    <a:pt x="256" y="157"/>
                  </a:cubicBezTo>
                  <a:cubicBezTo>
                    <a:pt x="252" y="162"/>
                    <a:pt x="252" y="170"/>
                    <a:pt x="255" y="176"/>
                  </a:cubicBezTo>
                  <a:cubicBezTo>
                    <a:pt x="259" y="181"/>
                    <a:pt x="265" y="185"/>
                    <a:pt x="272" y="184"/>
                  </a:cubicBezTo>
                  <a:cubicBezTo>
                    <a:pt x="293" y="181"/>
                    <a:pt x="316" y="180"/>
                    <a:pt x="337" y="180"/>
                  </a:cubicBezTo>
                  <a:cubicBezTo>
                    <a:pt x="359" y="180"/>
                    <a:pt x="379" y="182"/>
                    <a:pt x="388" y="184"/>
                  </a:cubicBezTo>
                  <a:cubicBezTo>
                    <a:pt x="391" y="184"/>
                    <a:pt x="396" y="187"/>
                    <a:pt x="399" y="190"/>
                  </a:cubicBezTo>
                  <a:cubicBezTo>
                    <a:pt x="402" y="193"/>
                    <a:pt x="404" y="196"/>
                    <a:pt x="404" y="199"/>
                  </a:cubicBezTo>
                  <a:cubicBezTo>
                    <a:pt x="404" y="204"/>
                    <a:pt x="403" y="207"/>
                    <a:pt x="401" y="209"/>
                  </a:cubicBezTo>
                  <a:cubicBezTo>
                    <a:pt x="400" y="212"/>
                    <a:pt x="398" y="214"/>
                    <a:pt x="394" y="216"/>
                  </a:cubicBezTo>
                  <a:cubicBezTo>
                    <a:pt x="389" y="219"/>
                    <a:pt x="385" y="226"/>
                    <a:pt x="386" y="233"/>
                  </a:cubicBezTo>
                  <a:cubicBezTo>
                    <a:pt x="387" y="239"/>
                    <a:pt x="392" y="245"/>
                    <a:pt x="398" y="247"/>
                  </a:cubicBezTo>
                  <a:cubicBezTo>
                    <a:pt x="402" y="248"/>
                    <a:pt x="404" y="250"/>
                    <a:pt x="406" y="252"/>
                  </a:cubicBezTo>
                  <a:cubicBezTo>
                    <a:pt x="407" y="255"/>
                    <a:pt x="409" y="258"/>
                    <a:pt x="409" y="263"/>
                  </a:cubicBezTo>
                  <a:cubicBezTo>
                    <a:pt x="409" y="268"/>
                    <a:pt x="408" y="269"/>
                    <a:pt x="406" y="272"/>
                  </a:cubicBezTo>
                  <a:close/>
                </a:path>
              </a:pathLst>
            </a:custGeom>
            <a:solidFill>
              <a:srgbClr val="92D050"/>
            </a:solidFill>
            <a:ln w="9525">
              <a:solidFill>
                <a:srgbClr val="61CB6B"/>
              </a:solidFill>
              <a:round/>
              <a:headEnd/>
              <a:tailEnd/>
            </a:ln>
          </p:spPr>
          <p:txBody>
            <a:bodyPr vert="horz" wrap="square" lIns="68580" tIns="34290" rIns="68580" bIns="34290" numCol="1" anchor="t" anchorCtr="0" compatLnSpc="1">
              <a:prstTxWarp prst="textNoShape">
                <a:avLst/>
              </a:prstTxWarp>
            </a:bodyPr>
            <a:lstStyle/>
            <a:p>
              <a:endParaRPr lang="en-GB" sz="1350">
                <a:solidFill>
                  <a:srgbClr val="61CB6B"/>
                </a:solidFill>
              </a:endParaRPr>
            </a:p>
          </p:txBody>
        </p:sp>
        <p:sp>
          <p:nvSpPr>
            <p:cNvPr id="24" name="Title 1">
              <a:extLst>
                <a:ext uri="{FF2B5EF4-FFF2-40B4-BE49-F238E27FC236}">
                  <a16:creationId xmlns:a16="http://schemas.microsoft.com/office/drawing/2014/main" id="{A58829DD-873E-49E8-BCA9-35041E1EC070}"/>
                </a:ext>
              </a:extLst>
            </p:cNvPr>
            <p:cNvSpPr txBox="1">
              <a:spLocks/>
            </p:cNvSpPr>
            <p:nvPr/>
          </p:nvSpPr>
          <p:spPr>
            <a:xfrm>
              <a:off x="1066800" y="4300021"/>
              <a:ext cx="885273" cy="329129"/>
            </a:xfrm>
            <a:prstGeom prst="rect">
              <a:avLst/>
            </a:prstGeom>
          </p:spPr>
          <p:txBody>
            <a:bodyPr vert="horz" wrap="square" lIns="0" tIns="0" rIns="0" bIns="0" rtlCol="0" anchor="t">
              <a:spAutoFit/>
            </a:bodyPr>
            <a:lstStyle/>
            <a:p>
              <a:pPr algn="ctr" defTabSz="709239">
                <a:lnSpc>
                  <a:spcPct val="70000"/>
                </a:lnSpc>
                <a:spcBef>
                  <a:spcPct val="0"/>
                </a:spcBef>
                <a:defRPr/>
              </a:pPr>
              <a:r>
                <a:rPr lang="en-GB" sz="2992" b="1" kern="0" spc="-101">
                  <a:solidFill>
                    <a:srgbClr val="3C9E46"/>
                  </a:solidFill>
                  <a:ea typeface="Segoe UI" panose="020B0502040204020203" pitchFamily="34" charset="0"/>
                  <a:cs typeface="Segoe UI" panose="020B0502040204020203" pitchFamily="34" charset="0"/>
                </a:rPr>
                <a:t>38%</a:t>
              </a:r>
            </a:p>
          </p:txBody>
        </p:sp>
        <p:sp>
          <p:nvSpPr>
            <p:cNvPr id="25" name="Freeform 18">
              <a:extLst>
                <a:ext uri="{FF2B5EF4-FFF2-40B4-BE49-F238E27FC236}">
                  <a16:creationId xmlns:a16="http://schemas.microsoft.com/office/drawing/2014/main" id="{7D13DABE-D4CA-4AE8-BCED-28D0CFDD3CED}"/>
                </a:ext>
              </a:extLst>
            </p:cNvPr>
            <p:cNvSpPr>
              <a:spLocks noChangeAspect="1" noEditPoints="1"/>
            </p:cNvSpPr>
            <p:nvPr/>
          </p:nvSpPr>
          <p:spPr bwMode="auto">
            <a:xfrm>
              <a:off x="299058" y="4118177"/>
              <a:ext cx="507112" cy="510973"/>
            </a:xfrm>
            <a:custGeom>
              <a:avLst/>
              <a:gdLst/>
              <a:ahLst/>
              <a:cxnLst>
                <a:cxn ang="0">
                  <a:pos x="430" y="297"/>
                </a:cxn>
                <a:cxn ang="0">
                  <a:pos x="443" y="263"/>
                </a:cxn>
                <a:cxn ang="0">
                  <a:pos x="431" y="228"/>
                </a:cxn>
                <a:cxn ang="0">
                  <a:pos x="438" y="199"/>
                </a:cxn>
                <a:cxn ang="0">
                  <a:pos x="395" y="150"/>
                </a:cxn>
                <a:cxn ang="0">
                  <a:pos x="304" y="146"/>
                </a:cxn>
                <a:cxn ang="0">
                  <a:pos x="315" y="18"/>
                </a:cxn>
                <a:cxn ang="0">
                  <a:pos x="282" y="0"/>
                </a:cxn>
                <a:cxn ang="0">
                  <a:pos x="239" y="29"/>
                </a:cxn>
                <a:cxn ang="0">
                  <a:pos x="228" y="73"/>
                </a:cxn>
                <a:cxn ang="0">
                  <a:pos x="195" y="112"/>
                </a:cxn>
                <a:cxn ang="0">
                  <a:pos x="141" y="189"/>
                </a:cxn>
                <a:cxn ang="0">
                  <a:pos x="26" y="177"/>
                </a:cxn>
                <a:cxn ang="0">
                  <a:pos x="0" y="420"/>
                </a:cxn>
                <a:cxn ang="0">
                  <a:pos x="26" y="447"/>
                </a:cxn>
                <a:cxn ang="0">
                  <a:pos x="145" y="420"/>
                </a:cxn>
                <a:cxn ang="0">
                  <a:pos x="314" y="447"/>
                </a:cxn>
                <a:cxn ang="0">
                  <a:pos x="404" y="426"/>
                </a:cxn>
                <a:cxn ang="0">
                  <a:pos x="427" y="381"/>
                </a:cxn>
                <a:cxn ang="0">
                  <a:pos x="439" y="326"/>
                </a:cxn>
                <a:cxn ang="0">
                  <a:pos x="34" y="412"/>
                </a:cxn>
                <a:cxn ang="0">
                  <a:pos x="110" y="211"/>
                </a:cxn>
                <a:cxn ang="0">
                  <a:pos x="406" y="272"/>
                </a:cxn>
                <a:cxn ang="0">
                  <a:pos x="384" y="293"/>
                </a:cxn>
                <a:cxn ang="0">
                  <a:pos x="401" y="316"/>
                </a:cxn>
                <a:cxn ang="0">
                  <a:pos x="389" y="341"/>
                </a:cxn>
                <a:cxn ang="0">
                  <a:pos x="384" y="374"/>
                </a:cxn>
                <a:cxn ang="0">
                  <a:pos x="392" y="381"/>
                </a:cxn>
                <a:cxn ang="0">
                  <a:pos x="379" y="400"/>
                </a:cxn>
                <a:cxn ang="0">
                  <a:pos x="314" y="412"/>
                </a:cxn>
                <a:cxn ang="0">
                  <a:pos x="145" y="385"/>
                </a:cxn>
                <a:cxn ang="0">
                  <a:pos x="207" y="155"/>
                </a:cxn>
                <a:cxn ang="0">
                  <a:pos x="238" y="116"/>
                </a:cxn>
                <a:cxn ang="0">
                  <a:pos x="271" y="44"/>
                </a:cxn>
                <a:cxn ang="0">
                  <a:pos x="282" y="35"/>
                </a:cxn>
                <a:cxn ang="0">
                  <a:pos x="296" y="65"/>
                </a:cxn>
                <a:cxn ang="0">
                  <a:pos x="255" y="176"/>
                </a:cxn>
                <a:cxn ang="0">
                  <a:pos x="337" y="180"/>
                </a:cxn>
                <a:cxn ang="0">
                  <a:pos x="399" y="190"/>
                </a:cxn>
                <a:cxn ang="0">
                  <a:pos x="401" y="209"/>
                </a:cxn>
                <a:cxn ang="0">
                  <a:pos x="386" y="233"/>
                </a:cxn>
                <a:cxn ang="0">
                  <a:pos x="406" y="252"/>
                </a:cxn>
                <a:cxn ang="0">
                  <a:pos x="406" y="272"/>
                </a:cxn>
              </a:cxnLst>
              <a:rect l="0" t="0" r="r" b="b"/>
              <a:pathLst>
                <a:path w="444" h="447">
                  <a:moveTo>
                    <a:pt x="439" y="326"/>
                  </a:moveTo>
                  <a:cubicBezTo>
                    <a:pt x="439" y="315"/>
                    <a:pt x="436" y="305"/>
                    <a:pt x="430" y="297"/>
                  </a:cubicBezTo>
                  <a:cubicBezTo>
                    <a:pt x="431" y="296"/>
                    <a:pt x="432" y="295"/>
                    <a:pt x="432" y="294"/>
                  </a:cubicBezTo>
                  <a:cubicBezTo>
                    <a:pt x="439" y="286"/>
                    <a:pt x="444" y="275"/>
                    <a:pt x="443" y="263"/>
                  </a:cubicBezTo>
                  <a:cubicBezTo>
                    <a:pt x="443" y="252"/>
                    <a:pt x="440" y="241"/>
                    <a:pt x="434" y="233"/>
                  </a:cubicBezTo>
                  <a:cubicBezTo>
                    <a:pt x="433" y="231"/>
                    <a:pt x="432" y="229"/>
                    <a:pt x="431" y="228"/>
                  </a:cubicBezTo>
                  <a:cubicBezTo>
                    <a:pt x="431" y="228"/>
                    <a:pt x="431" y="227"/>
                    <a:pt x="431" y="227"/>
                  </a:cubicBezTo>
                  <a:cubicBezTo>
                    <a:pt x="436" y="219"/>
                    <a:pt x="438" y="209"/>
                    <a:pt x="438" y="199"/>
                  </a:cubicBezTo>
                  <a:cubicBezTo>
                    <a:pt x="438" y="184"/>
                    <a:pt x="431" y="173"/>
                    <a:pt x="423" y="165"/>
                  </a:cubicBezTo>
                  <a:cubicBezTo>
                    <a:pt x="415" y="157"/>
                    <a:pt x="406" y="152"/>
                    <a:pt x="395" y="150"/>
                  </a:cubicBezTo>
                  <a:cubicBezTo>
                    <a:pt x="382" y="147"/>
                    <a:pt x="361" y="146"/>
                    <a:pt x="337" y="146"/>
                  </a:cubicBezTo>
                  <a:cubicBezTo>
                    <a:pt x="326" y="146"/>
                    <a:pt x="315" y="146"/>
                    <a:pt x="304" y="146"/>
                  </a:cubicBezTo>
                  <a:cubicBezTo>
                    <a:pt x="323" y="114"/>
                    <a:pt x="331" y="87"/>
                    <a:pt x="331" y="65"/>
                  </a:cubicBezTo>
                  <a:cubicBezTo>
                    <a:pt x="331" y="45"/>
                    <a:pt x="324" y="28"/>
                    <a:pt x="315" y="18"/>
                  </a:cubicBezTo>
                  <a:cubicBezTo>
                    <a:pt x="310" y="12"/>
                    <a:pt x="305" y="8"/>
                    <a:pt x="300" y="5"/>
                  </a:cubicBezTo>
                  <a:cubicBezTo>
                    <a:pt x="294" y="2"/>
                    <a:pt x="289" y="0"/>
                    <a:pt x="282" y="0"/>
                  </a:cubicBezTo>
                  <a:cubicBezTo>
                    <a:pt x="271" y="0"/>
                    <a:pt x="259" y="3"/>
                    <a:pt x="251" y="11"/>
                  </a:cubicBezTo>
                  <a:cubicBezTo>
                    <a:pt x="245" y="16"/>
                    <a:pt x="242" y="23"/>
                    <a:pt x="239" y="29"/>
                  </a:cubicBezTo>
                  <a:cubicBezTo>
                    <a:pt x="236" y="38"/>
                    <a:pt x="235" y="47"/>
                    <a:pt x="234" y="54"/>
                  </a:cubicBezTo>
                  <a:cubicBezTo>
                    <a:pt x="232" y="62"/>
                    <a:pt x="230" y="68"/>
                    <a:pt x="228" y="73"/>
                  </a:cubicBezTo>
                  <a:cubicBezTo>
                    <a:pt x="227" y="75"/>
                    <a:pt x="224" y="79"/>
                    <a:pt x="219" y="84"/>
                  </a:cubicBezTo>
                  <a:cubicBezTo>
                    <a:pt x="213" y="92"/>
                    <a:pt x="204" y="102"/>
                    <a:pt x="195" y="112"/>
                  </a:cubicBezTo>
                  <a:cubicBezTo>
                    <a:pt x="187" y="122"/>
                    <a:pt x="180" y="131"/>
                    <a:pt x="175" y="140"/>
                  </a:cubicBezTo>
                  <a:cubicBezTo>
                    <a:pt x="165" y="162"/>
                    <a:pt x="152" y="178"/>
                    <a:pt x="141" y="189"/>
                  </a:cubicBezTo>
                  <a:cubicBezTo>
                    <a:pt x="136" y="182"/>
                    <a:pt x="128" y="177"/>
                    <a:pt x="118" y="177"/>
                  </a:cubicBezTo>
                  <a:cubicBezTo>
                    <a:pt x="26" y="177"/>
                    <a:pt x="26" y="177"/>
                    <a:pt x="26" y="177"/>
                  </a:cubicBezTo>
                  <a:cubicBezTo>
                    <a:pt x="11" y="177"/>
                    <a:pt x="0" y="189"/>
                    <a:pt x="0" y="203"/>
                  </a:cubicBezTo>
                  <a:cubicBezTo>
                    <a:pt x="0" y="420"/>
                    <a:pt x="0" y="420"/>
                    <a:pt x="0" y="420"/>
                  </a:cubicBezTo>
                  <a:cubicBezTo>
                    <a:pt x="0" y="420"/>
                    <a:pt x="0" y="420"/>
                    <a:pt x="0" y="420"/>
                  </a:cubicBezTo>
                  <a:cubicBezTo>
                    <a:pt x="0" y="435"/>
                    <a:pt x="11" y="447"/>
                    <a:pt x="26" y="447"/>
                  </a:cubicBezTo>
                  <a:cubicBezTo>
                    <a:pt x="118" y="447"/>
                    <a:pt x="118" y="447"/>
                    <a:pt x="118" y="447"/>
                  </a:cubicBezTo>
                  <a:cubicBezTo>
                    <a:pt x="133" y="447"/>
                    <a:pt x="145" y="435"/>
                    <a:pt x="145" y="420"/>
                  </a:cubicBezTo>
                  <a:cubicBezTo>
                    <a:pt x="191" y="428"/>
                    <a:pt x="234" y="442"/>
                    <a:pt x="272" y="445"/>
                  </a:cubicBezTo>
                  <a:cubicBezTo>
                    <a:pt x="287" y="446"/>
                    <a:pt x="301" y="447"/>
                    <a:pt x="314" y="447"/>
                  </a:cubicBezTo>
                  <a:cubicBezTo>
                    <a:pt x="335" y="447"/>
                    <a:pt x="352" y="445"/>
                    <a:pt x="367" y="441"/>
                  </a:cubicBezTo>
                  <a:cubicBezTo>
                    <a:pt x="378" y="438"/>
                    <a:pt x="391" y="435"/>
                    <a:pt x="404" y="426"/>
                  </a:cubicBezTo>
                  <a:cubicBezTo>
                    <a:pt x="410" y="422"/>
                    <a:pt x="416" y="416"/>
                    <a:pt x="420" y="408"/>
                  </a:cubicBezTo>
                  <a:cubicBezTo>
                    <a:pt x="425" y="400"/>
                    <a:pt x="427" y="391"/>
                    <a:pt x="427" y="381"/>
                  </a:cubicBezTo>
                  <a:cubicBezTo>
                    <a:pt x="427" y="375"/>
                    <a:pt x="425" y="368"/>
                    <a:pt x="422" y="363"/>
                  </a:cubicBezTo>
                  <a:cubicBezTo>
                    <a:pt x="433" y="354"/>
                    <a:pt x="439" y="341"/>
                    <a:pt x="439" y="326"/>
                  </a:cubicBezTo>
                  <a:close/>
                  <a:moveTo>
                    <a:pt x="110" y="412"/>
                  </a:moveTo>
                  <a:cubicBezTo>
                    <a:pt x="34" y="412"/>
                    <a:pt x="34" y="412"/>
                    <a:pt x="34" y="412"/>
                  </a:cubicBezTo>
                  <a:cubicBezTo>
                    <a:pt x="34" y="211"/>
                    <a:pt x="34" y="211"/>
                    <a:pt x="34" y="211"/>
                  </a:cubicBezTo>
                  <a:cubicBezTo>
                    <a:pt x="110" y="211"/>
                    <a:pt x="110" y="211"/>
                    <a:pt x="110" y="211"/>
                  </a:cubicBezTo>
                  <a:lnTo>
                    <a:pt x="110" y="412"/>
                  </a:lnTo>
                  <a:close/>
                  <a:moveTo>
                    <a:pt x="406" y="272"/>
                  </a:moveTo>
                  <a:cubicBezTo>
                    <a:pt x="404" y="274"/>
                    <a:pt x="401" y="276"/>
                    <a:pt x="395" y="278"/>
                  </a:cubicBezTo>
                  <a:cubicBezTo>
                    <a:pt x="389" y="281"/>
                    <a:pt x="384" y="287"/>
                    <a:pt x="384" y="293"/>
                  </a:cubicBezTo>
                  <a:cubicBezTo>
                    <a:pt x="384" y="300"/>
                    <a:pt x="387" y="307"/>
                    <a:pt x="394" y="310"/>
                  </a:cubicBezTo>
                  <a:cubicBezTo>
                    <a:pt x="397" y="311"/>
                    <a:pt x="400" y="314"/>
                    <a:pt x="401" y="316"/>
                  </a:cubicBezTo>
                  <a:cubicBezTo>
                    <a:pt x="403" y="319"/>
                    <a:pt x="405" y="322"/>
                    <a:pt x="405" y="326"/>
                  </a:cubicBezTo>
                  <a:cubicBezTo>
                    <a:pt x="405" y="333"/>
                    <a:pt x="400" y="339"/>
                    <a:pt x="389" y="341"/>
                  </a:cubicBezTo>
                  <a:cubicBezTo>
                    <a:pt x="382" y="342"/>
                    <a:pt x="376" y="348"/>
                    <a:pt x="375" y="356"/>
                  </a:cubicBezTo>
                  <a:cubicBezTo>
                    <a:pt x="373" y="363"/>
                    <a:pt x="377" y="371"/>
                    <a:pt x="384" y="374"/>
                  </a:cubicBezTo>
                  <a:cubicBezTo>
                    <a:pt x="388" y="376"/>
                    <a:pt x="391" y="378"/>
                    <a:pt x="391" y="379"/>
                  </a:cubicBezTo>
                  <a:cubicBezTo>
                    <a:pt x="392" y="380"/>
                    <a:pt x="392" y="380"/>
                    <a:pt x="392" y="381"/>
                  </a:cubicBezTo>
                  <a:cubicBezTo>
                    <a:pt x="392" y="386"/>
                    <a:pt x="391" y="389"/>
                    <a:pt x="390" y="391"/>
                  </a:cubicBezTo>
                  <a:cubicBezTo>
                    <a:pt x="388" y="395"/>
                    <a:pt x="385" y="398"/>
                    <a:pt x="379" y="400"/>
                  </a:cubicBezTo>
                  <a:cubicBezTo>
                    <a:pt x="373" y="403"/>
                    <a:pt x="366" y="405"/>
                    <a:pt x="358" y="407"/>
                  </a:cubicBezTo>
                  <a:cubicBezTo>
                    <a:pt x="348" y="410"/>
                    <a:pt x="333" y="412"/>
                    <a:pt x="314" y="412"/>
                  </a:cubicBezTo>
                  <a:cubicBezTo>
                    <a:pt x="302" y="412"/>
                    <a:pt x="289" y="411"/>
                    <a:pt x="275" y="410"/>
                  </a:cubicBezTo>
                  <a:cubicBezTo>
                    <a:pt x="242" y="408"/>
                    <a:pt x="197" y="393"/>
                    <a:pt x="145" y="385"/>
                  </a:cubicBezTo>
                  <a:cubicBezTo>
                    <a:pt x="145" y="339"/>
                    <a:pt x="145" y="258"/>
                    <a:pt x="145" y="231"/>
                  </a:cubicBezTo>
                  <a:cubicBezTo>
                    <a:pt x="159" y="221"/>
                    <a:pt x="188" y="196"/>
                    <a:pt x="207" y="155"/>
                  </a:cubicBezTo>
                  <a:cubicBezTo>
                    <a:pt x="207" y="153"/>
                    <a:pt x="210" y="148"/>
                    <a:pt x="215" y="143"/>
                  </a:cubicBezTo>
                  <a:cubicBezTo>
                    <a:pt x="221" y="135"/>
                    <a:pt x="230" y="125"/>
                    <a:pt x="238" y="116"/>
                  </a:cubicBezTo>
                  <a:cubicBezTo>
                    <a:pt x="246" y="106"/>
                    <a:pt x="253" y="98"/>
                    <a:pt x="258" y="90"/>
                  </a:cubicBezTo>
                  <a:cubicBezTo>
                    <a:pt x="268" y="72"/>
                    <a:pt x="268" y="54"/>
                    <a:pt x="271" y="44"/>
                  </a:cubicBezTo>
                  <a:cubicBezTo>
                    <a:pt x="272" y="39"/>
                    <a:pt x="274" y="37"/>
                    <a:pt x="274" y="36"/>
                  </a:cubicBezTo>
                  <a:cubicBezTo>
                    <a:pt x="275" y="36"/>
                    <a:pt x="276" y="35"/>
                    <a:pt x="282" y="35"/>
                  </a:cubicBezTo>
                  <a:cubicBezTo>
                    <a:pt x="283" y="35"/>
                    <a:pt x="287" y="37"/>
                    <a:pt x="290" y="42"/>
                  </a:cubicBezTo>
                  <a:cubicBezTo>
                    <a:pt x="293" y="46"/>
                    <a:pt x="296" y="54"/>
                    <a:pt x="296" y="65"/>
                  </a:cubicBezTo>
                  <a:cubicBezTo>
                    <a:pt x="296" y="84"/>
                    <a:pt x="288" y="114"/>
                    <a:pt x="256" y="157"/>
                  </a:cubicBezTo>
                  <a:cubicBezTo>
                    <a:pt x="252" y="162"/>
                    <a:pt x="252" y="170"/>
                    <a:pt x="255" y="176"/>
                  </a:cubicBezTo>
                  <a:cubicBezTo>
                    <a:pt x="259" y="181"/>
                    <a:pt x="265" y="185"/>
                    <a:pt x="272" y="184"/>
                  </a:cubicBezTo>
                  <a:cubicBezTo>
                    <a:pt x="293" y="181"/>
                    <a:pt x="316" y="180"/>
                    <a:pt x="337" y="180"/>
                  </a:cubicBezTo>
                  <a:cubicBezTo>
                    <a:pt x="359" y="180"/>
                    <a:pt x="379" y="182"/>
                    <a:pt x="388" y="184"/>
                  </a:cubicBezTo>
                  <a:cubicBezTo>
                    <a:pt x="391" y="184"/>
                    <a:pt x="396" y="187"/>
                    <a:pt x="399" y="190"/>
                  </a:cubicBezTo>
                  <a:cubicBezTo>
                    <a:pt x="402" y="193"/>
                    <a:pt x="404" y="196"/>
                    <a:pt x="404" y="199"/>
                  </a:cubicBezTo>
                  <a:cubicBezTo>
                    <a:pt x="404" y="204"/>
                    <a:pt x="403" y="207"/>
                    <a:pt x="401" y="209"/>
                  </a:cubicBezTo>
                  <a:cubicBezTo>
                    <a:pt x="400" y="212"/>
                    <a:pt x="398" y="214"/>
                    <a:pt x="394" y="216"/>
                  </a:cubicBezTo>
                  <a:cubicBezTo>
                    <a:pt x="389" y="219"/>
                    <a:pt x="385" y="226"/>
                    <a:pt x="386" y="233"/>
                  </a:cubicBezTo>
                  <a:cubicBezTo>
                    <a:pt x="387" y="239"/>
                    <a:pt x="392" y="245"/>
                    <a:pt x="398" y="247"/>
                  </a:cubicBezTo>
                  <a:cubicBezTo>
                    <a:pt x="402" y="248"/>
                    <a:pt x="404" y="250"/>
                    <a:pt x="406" y="252"/>
                  </a:cubicBezTo>
                  <a:cubicBezTo>
                    <a:pt x="407" y="255"/>
                    <a:pt x="409" y="258"/>
                    <a:pt x="409" y="263"/>
                  </a:cubicBezTo>
                  <a:cubicBezTo>
                    <a:pt x="409" y="268"/>
                    <a:pt x="408" y="269"/>
                    <a:pt x="406" y="272"/>
                  </a:cubicBezTo>
                  <a:close/>
                </a:path>
              </a:pathLst>
            </a:custGeom>
            <a:solidFill>
              <a:srgbClr val="3C9E46"/>
            </a:solidFill>
            <a:ln w="9525">
              <a:noFill/>
              <a:round/>
              <a:headEnd/>
              <a:tailEnd/>
            </a:ln>
          </p:spPr>
          <p:txBody>
            <a:bodyPr vert="horz" wrap="square" lIns="68580" tIns="34290" rIns="68580" bIns="34290" numCol="1" anchor="t" anchorCtr="0" compatLnSpc="1">
              <a:prstTxWarp prst="textNoShape">
                <a:avLst/>
              </a:prstTxWarp>
            </a:bodyPr>
            <a:lstStyle/>
            <a:p>
              <a:endParaRPr lang="en-GB" sz="1350"/>
            </a:p>
          </p:txBody>
        </p:sp>
        <p:cxnSp>
          <p:nvCxnSpPr>
            <p:cNvPr id="26" name="Straight Connector 25">
              <a:extLst>
                <a:ext uri="{FF2B5EF4-FFF2-40B4-BE49-F238E27FC236}">
                  <a16:creationId xmlns:a16="http://schemas.microsoft.com/office/drawing/2014/main" id="{FACD50DD-4D7B-4B48-A92E-D53FB75FD86B}"/>
                </a:ext>
              </a:extLst>
            </p:cNvPr>
            <p:cNvCxnSpPr/>
            <p:nvPr/>
          </p:nvCxnSpPr>
          <p:spPr>
            <a:xfrm>
              <a:off x="4038600" y="1200150"/>
              <a:ext cx="0" cy="3425770"/>
            </a:xfrm>
            <a:prstGeom prst="line">
              <a:avLst/>
            </a:prstGeom>
            <a:ln w="12700">
              <a:solidFill>
                <a:srgbClr val="C00000"/>
              </a:solidFill>
              <a:prstDash val="dash"/>
            </a:ln>
          </p:spPr>
          <p:style>
            <a:lnRef idx="2">
              <a:schemeClr val="accent1"/>
            </a:lnRef>
            <a:fillRef idx="0">
              <a:schemeClr val="accent1"/>
            </a:fillRef>
            <a:effectRef idx="1">
              <a:schemeClr val="accent1"/>
            </a:effectRef>
            <a:fontRef idx="minor">
              <a:schemeClr val="tx1"/>
            </a:fontRef>
          </p:style>
        </p:cxnSp>
      </p:grpSp>
      <p:sp>
        <p:nvSpPr>
          <p:cNvPr id="27" name="Rounded Rectangle 47">
            <a:extLst>
              <a:ext uri="{FF2B5EF4-FFF2-40B4-BE49-F238E27FC236}">
                <a16:creationId xmlns:a16="http://schemas.microsoft.com/office/drawing/2014/main" id="{19CEFE5D-0287-4C2F-8982-0E18881E0E86}"/>
              </a:ext>
            </a:extLst>
          </p:cNvPr>
          <p:cNvSpPr/>
          <p:nvPr/>
        </p:nvSpPr>
        <p:spPr>
          <a:xfrm>
            <a:off x="5896472" y="1291703"/>
            <a:ext cx="4991267" cy="213882"/>
          </a:xfrm>
          <a:prstGeom prst="roundRect">
            <a:avLst/>
          </a:prstGeom>
          <a:solidFill>
            <a:srgbClr val="2157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t>What can be done to improve Support received from providers? </a:t>
            </a:r>
          </a:p>
        </p:txBody>
      </p:sp>
      <p:grpSp>
        <p:nvGrpSpPr>
          <p:cNvPr id="28" name="Group 27">
            <a:extLst>
              <a:ext uri="{FF2B5EF4-FFF2-40B4-BE49-F238E27FC236}">
                <a16:creationId xmlns:a16="http://schemas.microsoft.com/office/drawing/2014/main" id="{D8561E1B-3F67-4B7C-8D19-569AB612C776}"/>
              </a:ext>
            </a:extLst>
          </p:cNvPr>
          <p:cNvGrpSpPr/>
          <p:nvPr/>
        </p:nvGrpSpPr>
        <p:grpSpPr>
          <a:xfrm>
            <a:off x="4132164" y="2024010"/>
            <a:ext cx="2032699" cy="1997067"/>
            <a:chOff x="3121152" y="1428749"/>
            <a:chExt cx="1374648" cy="1828801"/>
          </a:xfrm>
        </p:grpSpPr>
        <p:sp>
          <p:nvSpPr>
            <p:cNvPr id="29" name="Right Brace 28">
              <a:extLst>
                <a:ext uri="{FF2B5EF4-FFF2-40B4-BE49-F238E27FC236}">
                  <a16:creationId xmlns:a16="http://schemas.microsoft.com/office/drawing/2014/main" id="{A7E5F1F2-551D-48F4-A9CF-92AA3069910C}"/>
                </a:ext>
              </a:extLst>
            </p:cNvPr>
            <p:cNvSpPr/>
            <p:nvPr/>
          </p:nvSpPr>
          <p:spPr>
            <a:xfrm>
              <a:off x="3121152" y="1428749"/>
              <a:ext cx="460248" cy="1828801"/>
            </a:xfrm>
            <a:prstGeom prst="rightBrace">
              <a:avLst/>
            </a:prstGeom>
            <a:ln w="19050">
              <a:solidFill>
                <a:srgbClr val="C0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30" name="Elbow Connector 4">
              <a:extLst>
                <a:ext uri="{FF2B5EF4-FFF2-40B4-BE49-F238E27FC236}">
                  <a16:creationId xmlns:a16="http://schemas.microsoft.com/office/drawing/2014/main" id="{97EBB53C-7E53-450E-AE7C-1038C966C824}"/>
                </a:ext>
              </a:extLst>
            </p:cNvPr>
            <p:cNvCxnSpPr/>
            <p:nvPr/>
          </p:nvCxnSpPr>
          <p:spPr>
            <a:xfrm>
              <a:off x="3581400" y="2343150"/>
              <a:ext cx="914400" cy="567771"/>
            </a:xfrm>
            <a:prstGeom prst="bentConnector3">
              <a:avLst>
                <a:gd name="adj1" fmla="val 49074"/>
              </a:avLst>
            </a:prstGeom>
            <a:ln w="19050">
              <a:solidFill>
                <a:srgbClr val="C00000"/>
              </a:solidFill>
              <a:prstDash val="sysDash"/>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9734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463C111-9AC7-4152-8AB7-FBA3B52192D3}"/>
              </a:ext>
            </a:extLst>
          </p:cNvPr>
          <p:cNvSpPr>
            <a:spLocks noGrp="1"/>
          </p:cNvSpPr>
          <p:nvPr>
            <p:ph type="sldNum" sz="quarter" idx="11"/>
          </p:nvPr>
        </p:nvSpPr>
        <p:spPr/>
        <p:txBody>
          <a:bodyPr/>
          <a:lstStyle/>
          <a:p>
            <a:pPr>
              <a:defRPr/>
            </a:pPr>
            <a:fld id="{47794585-347E-4355-955C-F2766ACC4F25}" type="slidenum">
              <a:rPr lang="en-US" smtClean="0"/>
              <a:pPr>
                <a:defRPr/>
              </a:pPr>
              <a:t>11</a:t>
            </a:fld>
            <a:endParaRPr lang="en-US"/>
          </a:p>
        </p:txBody>
      </p:sp>
      <p:sp>
        <p:nvSpPr>
          <p:cNvPr id="6" name="Title 2">
            <a:extLst>
              <a:ext uri="{FF2B5EF4-FFF2-40B4-BE49-F238E27FC236}">
                <a16:creationId xmlns:a16="http://schemas.microsoft.com/office/drawing/2014/main" id="{E4900E2E-9BB6-416E-B7A9-B7BE13AB7163}"/>
              </a:ext>
            </a:extLst>
          </p:cNvPr>
          <p:cNvSpPr txBox="1">
            <a:spLocks/>
          </p:cNvSpPr>
          <p:nvPr/>
        </p:nvSpPr>
        <p:spPr>
          <a:xfrm>
            <a:off x="2248422" y="318289"/>
            <a:ext cx="9686403" cy="692976"/>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67" i="1">
                <a:latin typeface="+mn-lt"/>
              </a:rPr>
              <a:t>80% of agents’ businesses have been negatively impacted by the pandemic</a:t>
            </a:r>
          </a:p>
        </p:txBody>
      </p:sp>
      <p:sp>
        <p:nvSpPr>
          <p:cNvPr id="8" name="Rectangle 7">
            <a:extLst>
              <a:ext uri="{FF2B5EF4-FFF2-40B4-BE49-F238E27FC236}">
                <a16:creationId xmlns:a16="http://schemas.microsoft.com/office/drawing/2014/main" id="{33EC8A73-99CC-4F7B-B05A-BE104B97E99A}"/>
              </a:ext>
            </a:extLst>
          </p:cNvPr>
          <p:cNvSpPr/>
          <p:nvPr/>
        </p:nvSpPr>
        <p:spPr>
          <a:xfrm>
            <a:off x="223901" y="6273801"/>
            <a:ext cx="11358499" cy="584968"/>
          </a:xfrm>
          <a:prstGeom prst="rect">
            <a:avLst/>
          </a:prstGeom>
        </p:spPr>
        <p:txBody>
          <a:bodyPr wrap="square" lIns="91440" tIns="45720" rIns="91440" bIns="45720">
            <a:spAutoFit/>
          </a:bodyPr>
          <a:lstStyle/>
          <a:p>
            <a:pPr lvl="0"/>
            <a:r>
              <a:rPr lang="en-US" sz="1067"/>
              <a:t>Base: n=631</a:t>
            </a:r>
          </a:p>
          <a:p>
            <a:pPr lvl="0"/>
            <a:r>
              <a:rPr lang="en-US" sz="1067"/>
              <a:t>Q9. How has your agency business been affected since the Corona virus / COVID-19 pandemic started? SA.</a:t>
            </a:r>
          </a:p>
          <a:p>
            <a:pPr lvl="0"/>
            <a:r>
              <a:rPr lang="en-US" sz="1067"/>
              <a:t>Q10. When did you last perform a transaction as a financial service agent? SA.</a:t>
            </a:r>
          </a:p>
        </p:txBody>
      </p:sp>
      <p:grpSp>
        <p:nvGrpSpPr>
          <p:cNvPr id="9" name="Group 8">
            <a:extLst>
              <a:ext uri="{FF2B5EF4-FFF2-40B4-BE49-F238E27FC236}">
                <a16:creationId xmlns:a16="http://schemas.microsoft.com/office/drawing/2014/main" id="{D49D67D7-BB6A-4FDF-9600-768B36322215}"/>
              </a:ext>
            </a:extLst>
          </p:cNvPr>
          <p:cNvGrpSpPr/>
          <p:nvPr/>
        </p:nvGrpSpPr>
        <p:grpSpPr>
          <a:xfrm>
            <a:off x="688870" y="1368970"/>
            <a:ext cx="10496947" cy="2588506"/>
            <a:chOff x="750742" y="1652074"/>
            <a:chExt cx="7646159" cy="1941380"/>
          </a:xfrm>
        </p:grpSpPr>
        <p:sp>
          <p:nvSpPr>
            <p:cNvPr id="10" name="Rectangle 9">
              <a:extLst>
                <a:ext uri="{FF2B5EF4-FFF2-40B4-BE49-F238E27FC236}">
                  <a16:creationId xmlns:a16="http://schemas.microsoft.com/office/drawing/2014/main" id="{BBE821C5-6E40-4195-96C0-1D3D2D5BD808}"/>
                </a:ext>
              </a:extLst>
            </p:cNvPr>
            <p:cNvSpPr/>
            <p:nvPr/>
          </p:nvSpPr>
          <p:spPr>
            <a:xfrm>
              <a:off x="7014885" y="3065983"/>
              <a:ext cx="1382016" cy="438581"/>
            </a:xfrm>
            <a:prstGeom prst="rect">
              <a:avLst/>
            </a:prstGeom>
          </p:spPr>
          <p:txBody>
            <a:bodyPr wrap="square">
              <a:spAutoFit/>
            </a:bodyPr>
            <a:lstStyle/>
            <a:p>
              <a:pPr algn="ctr"/>
              <a:r>
                <a:rPr lang="en-US" sz="1600" kern="0">
                  <a:solidFill>
                    <a:srgbClr val="00B050"/>
                  </a:solidFill>
                  <a:ea typeface="Segoe UI" panose="020B0502040204020203" pitchFamily="34" charset="0"/>
                  <a:cs typeface="Segoe UI" panose="020B0502040204020203" pitchFamily="34" charset="0"/>
                </a:rPr>
                <a:t>Business is Much Better</a:t>
              </a:r>
            </a:p>
          </p:txBody>
        </p:sp>
        <p:sp>
          <p:nvSpPr>
            <p:cNvPr id="11" name="Title 1">
              <a:extLst>
                <a:ext uri="{FF2B5EF4-FFF2-40B4-BE49-F238E27FC236}">
                  <a16:creationId xmlns:a16="http://schemas.microsoft.com/office/drawing/2014/main" id="{2C0B2F10-E808-4FC4-A0E4-329D4F3F68CE}"/>
                </a:ext>
              </a:extLst>
            </p:cNvPr>
            <p:cNvSpPr txBox="1">
              <a:spLocks/>
            </p:cNvSpPr>
            <p:nvPr/>
          </p:nvSpPr>
          <p:spPr>
            <a:xfrm>
              <a:off x="7185835" y="2706083"/>
              <a:ext cx="885273" cy="343075"/>
            </a:xfrm>
            <a:prstGeom prst="rect">
              <a:avLst/>
            </a:prstGeom>
          </p:spPr>
          <p:txBody>
            <a:bodyPr vert="horz" wrap="square" lIns="0" tIns="0" rIns="0" bIns="0" rtlCol="0" anchor="t">
              <a:spAutoFit/>
            </a:bodyPr>
            <a:lstStyle/>
            <a:p>
              <a:pPr algn="ctr" defTabSz="945628">
                <a:lnSpc>
                  <a:spcPct val="70000"/>
                </a:lnSpc>
                <a:spcBef>
                  <a:spcPct val="0"/>
                </a:spcBef>
                <a:defRPr/>
              </a:pPr>
              <a:r>
                <a:rPr lang="en-GB" sz="3989" b="1" kern="0" spc="-135">
                  <a:solidFill>
                    <a:srgbClr val="3C9E46"/>
                  </a:solidFill>
                  <a:ea typeface="Segoe UI" panose="020B0502040204020203" pitchFamily="34" charset="0"/>
                  <a:cs typeface="Segoe UI" panose="020B0502040204020203" pitchFamily="34" charset="0"/>
                </a:rPr>
                <a:t>5%</a:t>
              </a:r>
            </a:p>
          </p:txBody>
        </p:sp>
        <p:sp>
          <p:nvSpPr>
            <p:cNvPr id="12" name="Title 1">
              <a:extLst>
                <a:ext uri="{FF2B5EF4-FFF2-40B4-BE49-F238E27FC236}">
                  <a16:creationId xmlns:a16="http://schemas.microsoft.com/office/drawing/2014/main" id="{BA2E1AF2-9EB5-475B-8B46-0508D374525F}"/>
                </a:ext>
              </a:extLst>
            </p:cNvPr>
            <p:cNvSpPr txBox="1">
              <a:spLocks/>
            </p:cNvSpPr>
            <p:nvPr/>
          </p:nvSpPr>
          <p:spPr>
            <a:xfrm>
              <a:off x="5660841" y="2706078"/>
              <a:ext cx="992795" cy="343075"/>
            </a:xfrm>
            <a:prstGeom prst="rect">
              <a:avLst/>
            </a:prstGeom>
          </p:spPr>
          <p:txBody>
            <a:bodyPr vert="horz" wrap="square" lIns="0" tIns="0" rIns="0" bIns="0" rtlCol="0" anchor="t">
              <a:spAutoFit/>
            </a:bodyPr>
            <a:lstStyle/>
            <a:p>
              <a:pPr algn="ctr" defTabSz="945628">
                <a:lnSpc>
                  <a:spcPct val="70000"/>
                </a:lnSpc>
                <a:spcBef>
                  <a:spcPct val="0"/>
                </a:spcBef>
                <a:defRPr/>
              </a:pPr>
              <a:r>
                <a:rPr lang="en-GB" sz="3989" b="1" kern="0" spc="-135">
                  <a:solidFill>
                    <a:srgbClr val="61CB6B"/>
                  </a:solidFill>
                  <a:ea typeface="Segoe UI" panose="020B0502040204020203" pitchFamily="34" charset="0"/>
                  <a:cs typeface="Segoe UI" panose="020B0502040204020203" pitchFamily="34" charset="0"/>
                </a:rPr>
                <a:t>11%</a:t>
              </a:r>
            </a:p>
          </p:txBody>
        </p:sp>
        <p:sp>
          <p:nvSpPr>
            <p:cNvPr id="13" name="Rectangle 12">
              <a:extLst>
                <a:ext uri="{FF2B5EF4-FFF2-40B4-BE49-F238E27FC236}">
                  <a16:creationId xmlns:a16="http://schemas.microsoft.com/office/drawing/2014/main" id="{622AE4DF-A280-4118-BD69-2CCB22D8679A}"/>
                </a:ext>
              </a:extLst>
            </p:cNvPr>
            <p:cNvSpPr/>
            <p:nvPr/>
          </p:nvSpPr>
          <p:spPr>
            <a:xfrm>
              <a:off x="5448849" y="3065978"/>
              <a:ext cx="1382016" cy="438581"/>
            </a:xfrm>
            <a:prstGeom prst="rect">
              <a:avLst/>
            </a:prstGeom>
          </p:spPr>
          <p:txBody>
            <a:bodyPr wrap="square">
              <a:spAutoFit/>
            </a:bodyPr>
            <a:lstStyle/>
            <a:p>
              <a:pPr algn="ctr"/>
              <a:r>
                <a:rPr lang="en-US" sz="1600">
                  <a:solidFill>
                    <a:srgbClr val="61CB6B"/>
                  </a:solidFill>
                  <a:ea typeface="Segoe UI" panose="020B0502040204020203" pitchFamily="34" charset="0"/>
                  <a:cs typeface="Segoe UI" panose="020B0502040204020203" pitchFamily="34" charset="0"/>
                </a:rPr>
                <a:t>Business is  slightly better</a:t>
              </a:r>
            </a:p>
          </p:txBody>
        </p:sp>
        <p:cxnSp>
          <p:nvCxnSpPr>
            <p:cNvPr id="14" name="Straight Connector 13">
              <a:extLst>
                <a:ext uri="{FF2B5EF4-FFF2-40B4-BE49-F238E27FC236}">
                  <a16:creationId xmlns:a16="http://schemas.microsoft.com/office/drawing/2014/main" id="{D48338D9-7250-427E-BD89-61CA910E0F82}"/>
                </a:ext>
              </a:extLst>
            </p:cNvPr>
            <p:cNvCxnSpPr/>
            <p:nvPr/>
          </p:nvCxnSpPr>
          <p:spPr>
            <a:xfrm>
              <a:off x="2276917" y="1782997"/>
              <a:ext cx="0" cy="1679533"/>
            </a:xfrm>
            <a:prstGeom prst="line">
              <a:avLst/>
            </a:prstGeom>
            <a:noFill/>
            <a:ln w="9525" cap="flat" cmpd="sng" algn="ctr">
              <a:solidFill>
                <a:schemeClr val="accent3">
                  <a:lumMod val="50000"/>
                </a:schemeClr>
              </a:solidFill>
              <a:prstDash val="dash"/>
            </a:ln>
            <a:effectLst/>
          </p:spPr>
        </p:cxnSp>
        <p:cxnSp>
          <p:nvCxnSpPr>
            <p:cNvPr id="15" name="Straight Connector 14">
              <a:extLst>
                <a:ext uri="{FF2B5EF4-FFF2-40B4-BE49-F238E27FC236}">
                  <a16:creationId xmlns:a16="http://schemas.microsoft.com/office/drawing/2014/main" id="{F9535C79-69F2-44FB-BE16-F29CFFF93035}"/>
                </a:ext>
              </a:extLst>
            </p:cNvPr>
            <p:cNvCxnSpPr/>
            <p:nvPr/>
          </p:nvCxnSpPr>
          <p:spPr>
            <a:xfrm>
              <a:off x="3803506" y="1782997"/>
              <a:ext cx="0" cy="1679533"/>
            </a:xfrm>
            <a:prstGeom prst="line">
              <a:avLst/>
            </a:prstGeom>
            <a:noFill/>
            <a:ln w="9525" cap="flat" cmpd="sng" algn="ctr">
              <a:solidFill>
                <a:schemeClr val="accent3">
                  <a:lumMod val="50000"/>
                </a:schemeClr>
              </a:solidFill>
              <a:prstDash val="dash"/>
            </a:ln>
            <a:effectLst/>
          </p:spPr>
        </p:cxnSp>
        <p:cxnSp>
          <p:nvCxnSpPr>
            <p:cNvPr id="16" name="Straight Connector 15">
              <a:extLst>
                <a:ext uri="{FF2B5EF4-FFF2-40B4-BE49-F238E27FC236}">
                  <a16:creationId xmlns:a16="http://schemas.microsoft.com/office/drawing/2014/main" id="{248FFB5F-41B8-42B3-B459-BBA611EAC9BB}"/>
                </a:ext>
              </a:extLst>
            </p:cNvPr>
            <p:cNvCxnSpPr/>
            <p:nvPr/>
          </p:nvCxnSpPr>
          <p:spPr>
            <a:xfrm>
              <a:off x="5305870" y="1782997"/>
              <a:ext cx="0" cy="1679533"/>
            </a:xfrm>
            <a:prstGeom prst="line">
              <a:avLst/>
            </a:prstGeom>
            <a:noFill/>
            <a:ln w="9525" cap="flat" cmpd="sng" algn="ctr">
              <a:solidFill>
                <a:schemeClr val="accent3">
                  <a:lumMod val="50000"/>
                </a:schemeClr>
              </a:solidFill>
              <a:prstDash val="dash"/>
            </a:ln>
            <a:effectLst/>
          </p:spPr>
        </p:cxnSp>
        <p:cxnSp>
          <p:nvCxnSpPr>
            <p:cNvPr id="17" name="Straight Connector 16">
              <a:extLst>
                <a:ext uri="{FF2B5EF4-FFF2-40B4-BE49-F238E27FC236}">
                  <a16:creationId xmlns:a16="http://schemas.microsoft.com/office/drawing/2014/main" id="{2C08AAC9-0D8E-4EA5-8A69-715FDDB57283}"/>
                </a:ext>
              </a:extLst>
            </p:cNvPr>
            <p:cNvCxnSpPr/>
            <p:nvPr/>
          </p:nvCxnSpPr>
          <p:spPr>
            <a:xfrm>
              <a:off x="6843326" y="1782997"/>
              <a:ext cx="0" cy="1679533"/>
            </a:xfrm>
            <a:prstGeom prst="line">
              <a:avLst/>
            </a:prstGeom>
            <a:noFill/>
            <a:ln w="9525" cap="flat" cmpd="sng" algn="ctr">
              <a:solidFill>
                <a:schemeClr val="accent3">
                  <a:lumMod val="50000"/>
                </a:schemeClr>
              </a:solidFill>
              <a:prstDash val="dash"/>
            </a:ln>
            <a:effectLst/>
          </p:spPr>
        </p:cxnSp>
        <p:cxnSp>
          <p:nvCxnSpPr>
            <p:cNvPr id="18" name="Straight Connector 17">
              <a:extLst>
                <a:ext uri="{FF2B5EF4-FFF2-40B4-BE49-F238E27FC236}">
                  <a16:creationId xmlns:a16="http://schemas.microsoft.com/office/drawing/2014/main" id="{E5811BE0-3E59-4980-9250-66FACF1858B1}"/>
                </a:ext>
              </a:extLst>
            </p:cNvPr>
            <p:cNvCxnSpPr/>
            <p:nvPr/>
          </p:nvCxnSpPr>
          <p:spPr>
            <a:xfrm>
              <a:off x="750742" y="1652074"/>
              <a:ext cx="7543615" cy="0"/>
            </a:xfrm>
            <a:prstGeom prst="line">
              <a:avLst/>
            </a:prstGeom>
            <a:noFill/>
            <a:ln w="9525" cap="flat" cmpd="sng" algn="ctr">
              <a:solidFill>
                <a:schemeClr val="accent3">
                  <a:lumMod val="50000"/>
                </a:schemeClr>
              </a:solidFill>
              <a:prstDash val="dash"/>
            </a:ln>
            <a:effectLst/>
          </p:spPr>
        </p:cxnSp>
        <p:sp>
          <p:nvSpPr>
            <p:cNvPr id="19" name="Rectangle 18">
              <a:extLst>
                <a:ext uri="{FF2B5EF4-FFF2-40B4-BE49-F238E27FC236}">
                  <a16:creationId xmlns:a16="http://schemas.microsoft.com/office/drawing/2014/main" id="{AC171F1F-8C01-48D9-A8A8-7BC246807E63}"/>
                </a:ext>
              </a:extLst>
            </p:cNvPr>
            <p:cNvSpPr/>
            <p:nvPr/>
          </p:nvSpPr>
          <p:spPr>
            <a:xfrm>
              <a:off x="855059" y="3065978"/>
              <a:ext cx="1380818" cy="438581"/>
            </a:xfrm>
            <a:prstGeom prst="rect">
              <a:avLst/>
            </a:prstGeom>
          </p:spPr>
          <p:txBody>
            <a:bodyPr wrap="square">
              <a:spAutoFit/>
            </a:bodyPr>
            <a:lstStyle/>
            <a:p>
              <a:pPr algn="ctr" defTabSz="1232315" fontAlgn="b"/>
              <a:r>
                <a:rPr lang="en-US" sz="1600" kern="0">
                  <a:solidFill>
                    <a:srgbClr val="C00000"/>
                  </a:solidFill>
                  <a:ea typeface="Segoe UI" panose="020B0502040204020203" pitchFamily="34" charset="0"/>
                  <a:cs typeface="Segoe UI" panose="020B0502040204020203" pitchFamily="34" charset="0"/>
                </a:rPr>
                <a:t>Business is much worse</a:t>
              </a:r>
            </a:p>
          </p:txBody>
        </p:sp>
        <p:sp>
          <p:nvSpPr>
            <p:cNvPr id="20" name="Title 1">
              <a:extLst>
                <a:ext uri="{FF2B5EF4-FFF2-40B4-BE49-F238E27FC236}">
                  <a16:creationId xmlns:a16="http://schemas.microsoft.com/office/drawing/2014/main" id="{0CC00553-6FDE-4212-9399-ADABACC65832}"/>
                </a:ext>
              </a:extLst>
            </p:cNvPr>
            <p:cNvSpPr txBox="1">
              <a:spLocks/>
            </p:cNvSpPr>
            <p:nvPr/>
          </p:nvSpPr>
          <p:spPr>
            <a:xfrm>
              <a:off x="895423" y="2706080"/>
              <a:ext cx="1128651" cy="343075"/>
            </a:xfrm>
            <a:prstGeom prst="rect">
              <a:avLst/>
            </a:prstGeom>
          </p:spPr>
          <p:txBody>
            <a:bodyPr vert="horz" wrap="square" lIns="0" tIns="0" rIns="0" bIns="0" rtlCol="0" anchor="t">
              <a:spAutoFit/>
            </a:bodyPr>
            <a:lstStyle/>
            <a:p>
              <a:pPr algn="ctr" defTabSz="945628">
                <a:lnSpc>
                  <a:spcPct val="70000"/>
                </a:lnSpc>
                <a:spcBef>
                  <a:spcPct val="0"/>
                </a:spcBef>
                <a:defRPr/>
              </a:pPr>
              <a:r>
                <a:rPr lang="en-GB" sz="3989" b="1" kern="0" spc="-135">
                  <a:solidFill>
                    <a:srgbClr val="C00000"/>
                  </a:solidFill>
                  <a:ea typeface="Segoe UI" panose="020B0502040204020203" pitchFamily="34" charset="0"/>
                  <a:cs typeface="Segoe UI" panose="020B0502040204020203" pitchFamily="34" charset="0"/>
                </a:rPr>
                <a:t>41%</a:t>
              </a:r>
            </a:p>
          </p:txBody>
        </p:sp>
        <p:sp>
          <p:nvSpPr>
            <p:cNvPr id="21" name="Rectangle 20">
              <a:extLst>
                <a:ext uri="{FF2B5EF4-FFF2-40B4-BE49-F238E27FC236}">
                  <a16:creationId xmlns:a16="http://schemas.microsoft.com/office/drawing/2014/main" id="{39602174-88C6-45ED-BC70-44F7D18ADA47}"/>
                </a:ext>
              </a:extLst>
            </p:cNvPr>
            <p:cNvSpPr/>
            <p:nvPr/>
          </p:nvSpPr>
          <p:spPr>
            <a:xfrm>
              <a:off x="2378196" y="3065984"/>
              <a:ext cx="1320599" cy="438581"/>
            </a:xfrm>
            <a:prstGeom prst="rect">
              <a:avLst/>
            </a:prstGeom>
          </p:spPr>
          <p:txBody>
            <a:bodyPr wrap="square">
              <a:spAutoFit/>
            </a:bodyPr>
            <a:lstStyle/>
            <a:p>
              <a:pPr algn="ctr"/>
              <a:r>
                <a:rPr lang="en-US" sz="1600">
                  <a:solidFill>
                    <a:srgbClr val="FF0000"/>
                  </a:solidFill>
                  <a:ea typeface="Segoe UI" panose="020B0502040204020203" pitchFamily="34" charset="0"/>
                  <a:cs typeface="Segoe UI" panose="020B0502040204020203" pitchFamily="34" charset="0"/>
                </a:rPr>
                <a:t>Business is slightly worse</a:t>
              </a:r>
            </a:p>
          </p:txBody>
        </p:sp>
        <p:sp>
          <p:nvSpPr>
            <p:cNvPr id="22" name="Title 1">
              <a:extLst>
                <a:ext uri="{FF2B5EF4-FFF2-40B4-BE49-F238E27FC236}">
                  <a16:creationId xmlns:a16="http://schemas.microsoft.com/office/drawing/2014/main" id="{4F82DDE6-605D-46A6-9D98-2A4F8DC2D227}"/>
                </a:ext>
              </a:extLst>
            </p:cNvPr>
            <p:cNvSpPr txBox="1">
              <a:spLocks/>
            </p:cNvSpPr>
            <p:nvPr/>
          </p:nvSpPr>
          <p:spPr>
            <a:xfrm>
              <a:off x="2525697" y="2706083"/>
              <a:ext cx="982345" cy="343075"/>
            </a:xfrm>
            <a:prstGeom prst="rect">
              <a:avLst/>
            </a:prstGeom>
          </p:spPr>
          <p:txBody>
            <a:bodyPr vert="horz" wrap="square" lIns="0" tIns="0" rIns="0" bIns="0" rtlCol="0" anchor="t">
              <a:spAutoFit/>
            </a:bodyPr>
            <a:lstStyle/>
            <a:p>
              <a:pPr algn="ctr" defTabSz="945628">
                <a:lnSpc>
                  <a:spcPct val="70000"/>
                </a:lnSpc>
                <a:spcBef>
                  <a:spcPct val="0"/>
                </a:spcBef>
                <a:defRPr/>
              </a:pPr>
              <a:r>
                <a:rPr lang="en-GB" sz="3989" b="1" kern="0" spc="-135">
                  <a:solidFill>
                    <a:srgbClr val="FF0000"/>
                  </a:solidFill>
                  <a:ea typeface="Segoe UI" panose="020B0502040204020203" pitchFamily="34" charset="0"/>
                  <a:cs typeface="Segoe UI" panose="020B0502040204020203" pitchFamily="34" charset="0"/>
                </a:rPr>
                <a:t>39%</a:t>
              </a:r>
            </a:p>
          </p:txBody>
        </p:sp>
        <p:sp>
          <p:nvSpPr>
            <p:cNvPr id="23" name="Rectangle 22">
              <a:extLst>
                <a:ext uri="{FF2B5EF4-FFF2-40B4-BE49-F238E27FC236}">
                  <a16:creationId xmlns:a16="http://schemas.microsoft.com/office/drawing/2014/main" id="{B24E900F-C5AC-469A-96AF-2619BDD0675B}"/>
                </a:ext>
              </a:extLst>
            </p:cNvPr>
            <p:cNvSpPr/>
            <p:nvPr/>
          </p:nvSpPr>
          <p:spPr>
            <a:xfrm>
              <a:off x="3882813" y="3065981"/>
              <a:ext cx="1382016" cy="438581"/>
            </a:xfrm>
            <a:prstGeom prst="rect">
              <a:avLst/>
            </a:prstGeom>
          </p:spPr>
          <p:txBody>
            <a:bodyPr wrap="square">
              <a:spAutoFit/>
            </a:bodyPr>
            <a:lstStyle/>
            <a:p>
              <a:pPr algn="ctr" defTabSz="1232315" fontAlgn="b"/>
              <a:r>
                <a:rPr lang="en-US" sz="1600">
                  <a:solidFill>
                    <a:srgbClr val="969894"/>
                  </a:solidFill>
                  <a:ea typeface="Segoe UI" panose="020B0502040204020203" pitchFamily="34" charset="0"/>
                  <a:cs typeface="Segoe UI" panose="020B0502040204020203" pitchFamily="34" charset="0"/>
                </a:rPr>
                <a:t>Business is still the same</a:t>
              </a:r>
              <a:endParaRPr lang="en-GB" sz="1600" kern="0">
                <a:solidFill>
                  <a:srgbClr val="969894"/>
                </a:solidFill>
                <a:ea typeface="Segoe UI" panose="020B0502040204020203" pitchFamily="34" charset="0"/>
                <a:cs typeface="Segoe UI" panose="020B0502040204020203" pitchFamily="34" charset="0"/>
              </a:endParaRPr>
            </a:p>
          </p:txBody>
        </p:sp>
        <p:sp>
          <p:nvSpPr>
            <p:cNvPr id="24" name="Title 1">
              <a:extLst>
                <a:ext uri="{FF2B5EF4-FFF2-40B4-BE49-F238E27FC236}">
                  <a16:creationId xmlns:a16="http://schemas.microsoft.com/office/drawing/2014/main" id="{2427F930-BDA2-4A79-A45D-2A2C11D41847}"/>
                </a:ext>
              </a:extLst>
            </p:cNvPr>
            <p:cNvSpPr txBox="1">
              <a:spLocks/>
            </p:cNvSpPr>
            <p:nvPr/>
          </p:nvSpPr>
          <p:spPr>
            <a:xfrm>
              <a:off x="4103719" y="2706080"/>
              <a:ext cx="961444" cy="343075"/>
            </a:xfrm>
            <a:prstGeom prst="rect">
              <a:avLst/>
            </a:prstGeom>
          </p:spPr>
          <p:txBody>
            <a:bodyPr vert="horz" wrap="square" lIns="0" tIns="0" rIns="0" bIns="0" rtlCol="0" anchor="t">
              <a:spAutoFit/>
            </a:bodyPr>
            <a:lstStyle/>
            <a:p>
              <a:pPr algn="ctr" defTabSz="945628">
                <a:lnSpc>
                  <a:spcPct val="70000"/>
                </a:lnSpc>
                <a:spcBef>
                  <a:spcPct val="0"/>
                </a:spcBef>
                <a:defRPr/>
              </a:pPr>
              <a:r>
                <a:rPr lang="en-GB" sz="3989" b="1" kern="0" spc="-135">
                  <a:solidFill>
                    <a:srgbClr val="969894"/>
                  </a:solidFill>
                  <a:ea typeface="Segoe UI" panose="020B0502040204020203" pitchFamily="34" charset="0"/>
                  <a:cs typeface="Segoe UI" panose="020B0502040204020203" pitchFamily="34" charset="0"/>
                </a:rPr>
                <a:t>4%</a:t>
              </a:r>
            </a:p>
          </p:txBody>
        </p:sp>
        <p:cxnSp>
          <p:nvCxnSpPr>
            <p:cNvPr id="25" name="Straight Connector 24">
              <a:extLst>
                <a:ext uri="{FF2B5EF4-FFF2-40B4-BE49-F238E27FC236}">
                  <a16:creationId xmlns:a16="http://schemas.microsoft.com/office/drawing/2014/main" id="{F114DDC4-28BB-4DCB-A449-C3884BF318DE}"/>
                </a:ext>
              </a:extLst>
            </p:cNvPr>
            <p:cNvCxnSpPr/>
            <p:nvPr/>
          </p:nvCxnSpPr>
          <p:spPr>
            <a:xfrm>
              <a:off x="750742" y="3593454"/>
              <a:ext cx="7543615" cy="0"/>
            </a:xfrm>
            <a:prstGeom prst="line">
              <a:avLst/>
            </a:prstGeom>
            <a:noFill/>
            <a:ln w="9525" cap="flat" cmpd="sng" algn="ctr">
              <a:solidFill>
                <a:schemeClr val="accent3">
                  <a:lumMod val="50000"/>
                </a:schemeClr>
              </a:solidFill>
              <a:prstDash val="dash"/>
            </a:ln>
            <a:effectLst/>
          </p:spPr>
        </p:cxnSp>
        <p:pic>
          <p:nvPicPr>
            <p:cNvPr id="26" name="Picture 2" descr="Image result for neither like nor dislike">
              <a:extLst>
                <a:ext uri="{FF2B5EF4-FFF2-40B4-BE49-F238E27FC236}">
                  <a16:creationId xmlns:a16="http://schemas.microsoft.com/office/drawing/2014/main" id="{EDA54A00-1019-483B-BF14-98EFE13874F8}"/>
                </a:ext>
              </a:extLst>
            </p:cNvPr>
            <p:cNvPicPr>
              <a:picLocks noChangeAspect="1" noChangeArrowheads="1"/>
            </p:cNvPicPr>
            <p:nvPr/>
          </p:nvPicPr>
          <p:blipFill rotWithShape="1">
            <a:blip r:embed="rId2">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b="31938"/>
            <a:stretch/>
          </p:blipFill>
          <p:spPr bwMode="auto">
            <a:xfrm flipH="1">
              <a:off x="4226065" y="1788359"/>
              <a:ext cx="734056" cy="752659"/>
            </a:xfrm>
            <a:prstGeom prst="rect">
              <a:avLst/>
            </a:prstGeom>
            <a:noFill/>
            <a:extLst>
              <a:ext uri="{909E8E84-426E-40DD-AFC4-6F175D3DCCD1}">
                <a14:hiddenFill xmlns:a14="http://schemas.microsoft.com/office/drawing/2010/main">
                  <a:solidFill>
                    <a:srgbClr val="FFFFFF"/>
                  </a:solidFill>
                </a14:hiddenFill>
              </a:ext>
            </a:extLst>
          </p:spPr>
        </p:pic>
        <p:sp>
          <p:nvSpPr>
            <p:cNvPr id="27" name="Freeform 18">
              <a:extLst>
                <a:ext uri="{FF2B5EF4-FFF2-40B4-BE49-F238E27FC236}">
                  <a16:creationId xmlns:a16="http://schemas.microsoft.com/office/drawing/2014/main" id="{F246CC43-49C6-4219-9D06-B0B8F1A8EB1C}"/>
                </a:ext>
              </a:extLst>
            </p:cNvPr>
            <p:cNvSpPr>
              <a:spLocks noChangeAspect="1" noEditPoints="1"/>
            </p:cNvSpPr>
            <p:nvPr/>
          </p:nvSpPr>
          <p:spPr bwMode="auto">
            <a:xfrm>
              <a:off x="7358747" y="1792904"/>
              <a:ext cx="742462" cy="748115"/>
            </a:xfrm>
            <a:custGeom>
              <a:avLst/>
              <a:gdLst/>
              <a:ahLst/>
              <a:cxnLst>
                <a:cxn ang="0">
                  <a:pos x="430" y="297"/>
                </a:cxn>
                <a:cxn ang="0">
                  <a:pos x="443" y="263"/>
                </a:cxn>
                <a:cxn ang="0">
                  <a:pos x="431" y="228"/>
                </a:cxn>
                <a:cxn ang="0">
                  <a:pos x="438" y="199"/>
                </a:cxn>
                <a:cxn ang="0">
                  <a:pos x="395" y="150"/>
                </a:cxn>
                <a:cxn ang="0">
                  <a:pos x="304" y="146"/>
                </a:cxn>
                <a:cxn ang="0">
                  <a:pos x="315" y="18"/>
                </a:cxn>
                <a:cxn ang="0">
                  <a:pos x="282" y="0"/>
                </a:cxn>
                <a:cxn ang="0">
                  <a:pos x="239" y="29"/>
                </a:cxn>
                <a:cxn ang="0">
                  <a:pos x="228" y="73"/>
                </a:cxn>
                <a:cxn ang="0">
                  <a:pos x="195" y="112"/>
                </a:cxn>
                <a:cxn ang="0">
                  <a:pos x="141" y="189"/>
                </a:cxn>
                <a:cxn ang="0">
                  <a:pos x="26" y="177"/>
                </a:cxn>
                <a:cxn ang="0">
                  <a:pos x="0" y="420"/>
                </a:cxn>
                <a:cxn ang="0">
                  <a:pos x="26" y="447"/>
                </a:cxn>
                <a:cxn ang="0">
                  <a:pos x="145" y="420"/>
                </a:cxn>
                <a:cxn ang="0">
                  <a:pos x="314" y="447"/>
                </a:cxn>
                <a:cxn ang="0">
                  <a:pos x="404" y="426"/>
                </a:cxn>
                <a:cxn ang="0">
                  <a:pos x="427" y="381"/>
                </a:cxn>
                <a:cxn ang="0">
                  <a:pos x="439" y="326"/>
                </a:cxn>
                <a:cxn ang="0">
                  <a:pos x="34" y="412"/>
                </a:cxn>
                <a:cxn ang="0">
                  <a:pos x="110" y="211"/>
                </a:cxn>
                <a:cxn ang="0">
                  <a:pos x="406" y="272"/>
                </a:cxn>
                <a:cxn ang="0">
                  <a:pos x="384" y="293"/>
                </a:cxn>
                <a:cxn ang="0">
                  <a:pos x="401" y="316"/>
                </a:cxn>
                <a:cxn ang="0">
                  <a:pos x="389" y="341"/>
                </a:cxn>
                <a:cxn ang="0">
                  <a:pos x="384" y="374"/>
                </a:cxn>
                <a:cxn ang="0">
                  <a:pos x="392" y="381"/>
                </a:cxn>
                <a:cxn ang="0">
                  <a:pos x="379" y="400"/>
                </a:cxn>
                <a:cxn ang="0">
                  <a:pos x="314" y="412"/>
                </a:cxn>
                <a:cxn ang="0">
                  <a:pos x="145" y="385"/>
                </a:cxn>
                <a:cxn ang="0">
                  <a:pos x="207" y="155"/>
                </a:cxn>
                <a:cxn ang="0">
                  <a:pos x="238" y="116"/>
                </a:cxn>
                <a:cxn ang="0">
                  <a:pos x="271" y="44"/>
                </a:cxn>
                <a:cxn ang="0">
                  <a:pos x="282" y="35"/>
                </a:cxn>
                <a:cxn ang="0">
                  <a:pos x="296" y="65"/>
                </a:cxn>
                <a:cxn ang="0">
                  <a:pos x="255" y="176"/>
                </a:cxn>
                <a:cxn ang="0">
                  <a:pos x="337" y="180"/>
                </a:cxn>
                <a:cxn ang="0">
                  <a:pos x="399" y="190"/>
                </a:cxn>
                <a:cxn ang="0">
                  <a:pos x="401" y="209"/>
                </a:cxn>
                <a:cxn ang="0">
                  <a:pos x="386" y="233"/>
                </a:cxn>
                <a:cxn ang="0">
                  <a:pos x="406" y="252"/>
                </a:cxn>
                <a:cxn ang="0">
                  <a:pos x="406" y="272"/>
                </a:cxn>
              </a:cxnLst>
              <a:rect l="0" t="0" r="r" b="b"/>
              <a:pathLst>
                <a:path w="444" h="447">
                  <a:moveTo>
                    <a:pt x="439" y="326"/>
                  </a:moveTo>
                  <a:cubicBezTo>
                    <a:pt x="439" y="315"/>
                    <a:pt x="436" y="305"/>
                    <a:pt x="430" y="297"/>
                  </a:cubicBezTo>
                  <a:cubicBezTo>
                    <a:pt x="431" y="296"/>
                    <a:pt x="432" y="295"/>
                    <a:pt x="432" y="294"/>
                  </a:cubicBezTo>
                  <a:cubicBezTo>
                    <a:pt x="439" y="286"/>
                    <a:pt x="444" y="275"/>
                    <a:pt x="443" y="263"/>
                  </a:cubicBezTo>
                  <a:cubicBezTo>
                    <a:pt x="443" y="252"/>
                    <a:pt x="440" y="241"/>
                    <a:pt x="434" y="233"/>
                  </a:cubicBezTo>
                  <a:cubicBezTo>
                    <a:pt x="433" y="231"/>
                    <a:pt x="432" y="229"/>
                    <a:pt x="431" y="228"/>
                  </a:cubicBezTo>
                  <a:cubicBezTo>
                    <a:pt x="431" y="228"/>
                    <a:pt x="431" y="227"/>
                    <a:pt x="431" y="227"/>
                  </a:cubicBezTo>
                  <a:cubicBezTo>
                    <a:pt x="436" y="219"/>
                    <a:pt x="438" y="209"/>
                    <a:pt x="438" y="199"/>
                  </a:cubicBezTo>
                  <a:cubicBezTo>
                    <a:pt x="438" y="184"/>
                    <a:pt x="431" y="173"/>
                    <a:pt x="423" y="165"/>
                  </a:cubicBezTo>
                  <a:cubicBezTo>
                    <a:pt x="415" y="157"/>
                    <a:pt x="406" y="152"/>
                    <a:pt x="395" y="150"/>
                  </a:cubicBezTo>
                  <a:cubicBezTo>
                    <a:pt x="382" y="147"/>
                    <a:pt x="361" y="146"/>
                    <a:pt x="337" y="146"/>
                  </a:cubicBezTo>
                  <a:cubicBezTo>
                    <a:pt x="326" y="146"/>
                    <a:pt x="315" y="146"/>
                    <a:pt x="304" y="146"/>
                  </a:cubicBezTo>
                  <a:cubicBezTo>
                    <a:pt x="323" y="114"/>
                    <a:pt x="331" y="87"/>
                    <a:pt x="331" y="65"/>
                  </a:cubicBezTo>
                  <a:cubicBezTo>
                    <a:pt x="331" y="45"/>
                    <a:pt x="324" y="28"/>
                    <a:pt x="315" y="18"/>
                  </a:cubicBezTo>
                  <a:cubicBezTo>
                    <a:pt x="310" y="12"/>
                    <a:pt x="305" y="8"/>
                    <a:pt x="300" y="5"/>
                  </a:cubicBezTo>
                  <a:cubicBezTo>
                    <a:pt x="294" y="2"/>
                    <a:pt x="289" y="0"/>
                    <a:pt x="282" y="0"/>
                  </a:cubicBezTo>
                  <a:cubicBezTo>
                    <a:pt x="271" y="0"/>
                    <a:pt x="259" y="3"/>
                    <a:pt x="251" y="11"/>
                  </a:cubicBezTo>
                  <a:cubicBezTo>
                    <a:pt x="245" y="16"/>
                    <a:pt x="242" y="23"/>
                    <a:pt x="239" y="29"/>
                  </a:cubicBezTo>
                  <a:cubicBezTo>
                    <a:pt x="236" y="38"/>
                    <a:pt x="235" y="47"/>
                    <a:pt x="234" y="54"/>
                  </a:cubicBezTo>
                  <a:cubicBezTo>
                    <a:pt x="232" y="62"/>
                    <a:pt x="230" y="68"/>
                    <a:pt x="228" y="73"/>
                  </a:cubicBezTo>
                  <a:cubicBezTo>
                    <a:pt x="227" y="75"/>
                    <a:pt x="224" y="79"/>
                    <a:pt x="219" y="84"/>
                  </a:cubicBezTo>
                  <a:cubicBezTo>
                    <a:pt x="213" y="92"/>
                    <a:pt x="204" y="102"/>
                    <a:pt x="195" y="112"/>
                  </a:cubicBezTo>
                  <a:cubicBezTo>
                    <a:pt x="187" y="122"/>
                    <a:pt x="180" y="131"/>
                    <a:pt x="175" y="140"/>
                  </a:cubicBezTo>
                  <a:cubicBezTo>
                    <a:pt x="165" y="162"/>
                    <a:pt x="152" y="178"/>
                    <a:pt x="141" y="189"/>
                  </a:cubicBezTo>
                  <a:cubicBezTo>
                    <a:pt x="136" y="182"/>
                    <a:pt x="128" y="177"/>
                    <a:pt x="118" y="177"/>
                  </a:cubicBezTo>
                  <a:cubicBezTo>
                    <a:pt x="26" y="177"/>
                    <a:pt x="26" y="177"/>
                    <a:pt x="26" y="177"/>
                  </a:cubicBezTo>
                  <a:cubicBezTo>
                    <a:pt x="11" y="177"/>
                    <a:pt x="0" y="189"/>
                    <a:pt x="0" y="203"/>
                  </a:cubicBezTo>
                  <a:cubicBezTo>
                    <a:pt x="0" y="420"/>
                    <a:pt x="0" y="420"/>
                    <a:pt x="0" y="420"/>
                  </a:cubicBezTo>
                  <a:cubicBezTo>
                    <a:pt x="0" y="420"/>
                    <a:pt x="0" y="420"/>
                    <a:pt x="0" y="420"/>
                  </a:cubicBezTo>
                  <a:cubicBezTo>
                    <a:pt x="0" y="435"/>
                    <a:pt x="11" y="447"/>
                    <a:pt x="26" y="447"/>
                  </a:cubicBezTo>
                  <a:cubicBezTo>
                    <a:pt x="118" y="447"/>
                    <a:pt x="118" y="447"/>
                    <a:pt x="118" y="447"/>
                  </a:cubicBezTo>
                  <a:cubicBezTo>
                    <a:pt x="133" y="447"/>
                    <a:pt x="145" y="435"/>
                    <a:pt x="145" y="420"/>
                  </a:cubicBezTo>
                  <a:cubicBezTo>
                    <a:pt x="191" y="428"/>
                    <a:pt x="234" y="442"/>
                    <a:pt x="272" y="445"/>
                  </a:cubicBezTo>
                  <a:cubicBezTo>
                    <a:pt x="287" y="446"/>
                    <a:pt x="301" y="447"/>
                    <a:pt x="314" y="447"/>
                  </a:cubicBezTo>
                  <a:cubicBezTo>
                    <a:pt x="335" y="447"/>
                    <a:pt x="352" y="445"/>
                    <a:pt x="367" y="441"/>
                  </a:cubicBezTo>
                  <a:cubicBezTo>
                    <a:pt x="378" y="438"/>
                    <a:pt x="391" y="435"/>
                    <a:pt x="404" y="426"/>
                  </a:cubicBezTo>
                  <a:cubicBezTo>
                    <a:pt x="410" y="422"/>
                    <a:pt x="416" y="416"/>
                    <a:pt x="420" y="408"/>
                  </a:cubicBezTo>
                  <a:cubicBezTo>
                    <a:pt x="425" y="400"/>
                    <a:pt x="427" y="391"/>
                    <a:pt x="427" y="381"/>
                  </a:cubicBezTo>
                  <a:cubicBezTo>
                    <a:pt x="427" y="375"/>
                    <a:pt x="425" y="368"/>
                    <a:pt x="422" y="363"/>
                  </a:cubicBezTo>
                  <a:cubicBezTo>
                    <a:pt x="433" y="354"/>
                    <a:pt x="439" y="341"/>
                    <a:pt x="439" y="326"/>
                  </a:cubicBezTo>
                  <a:close/>
                  <a:moveTo>
                    <a:pt x="110" y="412"/>
                  </a:moveTo>
                  <a:cubicBezTo>
                    <a:pt x="34" y="412"/>
                    <a:pt x="34" y="412"/>
                    <a:pt x="34" y="412"/>
                  </a:cubicBezTo>
                  <a:cubicBezTo>
                    <a:pt x="34" y="211"/>
                    <a:pt x="34" y="211"/>
                    <a:pt x="34" y="211"/>
                  </a:cubicBezTo>
                  <a:cubicBezTo>
                    <a:pt x="110" y="211"/>
                    <a:pt x="110" y="211"/>
                    <a:pt x="110" y="211"/>
                  </a:cubicBezTo>
                  <a:lnTo>
                    <a:pt x="110" y="412"/>
                  </a:lnTo>
                  <a:close/>
                  <a:moveTo>
                    <a:pt x="406" y="272"/>
                  </a:moveTo>
                  <a:cubicBezTo>
                    <a:pt x="404" y="274"/>
                    <a:pt x="401" y="276"/>
                    <a:pt x="395" y="278"/>
                  </a:cubicBezTo>
                  <a:cubicBezTo>
                    <a:pt x="389" y="281"/>
                    <a:pt x="384" y="287"/>
                    <a:pt x="384" y="293"/>
                  </a:cubicBezTo>
                  <a:cubicBezTo>
                    <a:pt x="384" y="300"/>
                    <a:pt x="387" y="307"/>
                    <a:pt x="394" y="310"/>
                  </a:cubicBezTo>
                  <a:cubicBezTo>
                    <a:pt x="397" y="311"/>
                    <a:pt x="400" y="314"/>
                    <a:pt x="401" y="316"/>
                  </a:cubicBezTo>
                  <a:cubicBezTo>
                    <a:pt x="403" y="319"/>
                    <a:pt x="405" y="322"/>
                    <a:pt x="405" y="326"/>
                  </a:cubicBezTo>
                  <a:cubicBezTo>
                    <a:pt x="405" y="333"/>
                    <a:pt x="400" y="339"/>
                    <a:pt x="389" y="341"/>
                  </a:cubicBezTo>
                  <a:cubicBezTo>
                    <a:pt x="382" y="342"/>
                    <a:pt x="376" y="348"/>
                    <a:pt x="375" y="356"/>
                  </a:cubicBezTo>
                  <a:cubicBezTo>
                    <a:pt x="373" y="363"/>
                    <a:pt x="377" y="371"/>
                    <a:pt x="384" y="374"/>
                  </a:cubicBezTo>
                  <a:cubicBezTo>
                    <a:pt x="388" y="376"/>
                    <a:pt x="391" y="378"/>
                    <a:pt x="391" y="379"/>
                  </a:cubicBezTo>
                  <a:cubicBezTo>
                    <a:pt x="392" y="380"/>
                    <a:pt x="392" y="380"/>
                    <a:pt x="392" y="381"/>
                  </a:cubicBezTo>
                  <a:cubicBezTo>
                    <a:pt x="392" y="386"/>
                    <a:pt x="391" y="389"/>
                    <a:pt x="390" y="391"/>
                  </a:cubicBezTo>
                  <a:cubicBezTo>
                    <a:pt x="388" y="395"/>
                    <a:pt x="385" y="398"/>
                    <a:pt x="379" y="400"/>
                  </a:cubicBezTo>
                  <a:cubicBezTo>
                    <a:pt x="373" y="403"/>
                    <a:pt x="366" y="405"/>
                    <a:pt x="358" y="407"/>
                  </a:cubicBezTo>
                  <a:cubicBezTo>
                    <a:pt x="348" y="410"/>
                    <a:pt x="333" y="412"/>
                    <a:pt x="314" y="412"/>
                  </a:cubicBezTo>
                  <a:cubicBezTo>
                    <a:pt x="302" y="412"/>
                    <a:pt x="289" y="411"/>
                    <a:pt x="275" y="410"/>
                  </a:cubicBezTo>
                  <a:cubicBezTo>
                    <a:pt x="242" y="408"/>
                    <a:pt x="197" y="393"/>
                    <a:pt x="145" y="385"/>
                  </a:cubicBezTo>
                  <a:cubicBezTo>
                    <a:pt x="145" y="339"/>
                    <a:pt x="145" y="258"/>
                    <a:pt x="145" y="231"/>
                  </a:cubicBezTo>
                  <a:cubicBezTo>
                    <a:pt x="159" y="221"/>
                    <a:pt x="188" y="196"/>
                    <a:pt x="207" y="155"/>
                  </a:cubicBezTo>
                  <a:cubicBezTo>
                    <a:pt x="207" y="153"/>
                    <a:pt x="210" y="148"/>
                    <a:pt x="215" y="143"/>
                  </a:cubicBezTo>
                  <a:cubicBezTo>
                    <a:pt x="221" y="135"/>
                    <a:pt x="230" y="125"/>
                    <a:pt x="238" y="116"/>
                  </a:cubicBezTo>
                  <a:cubicBezTo>
                    <a:pt x="246" y="106"/>
                    <a:pt x="253" y="98"/>
                    <a:pt x="258" y="90"/>
                  </a:cubicBezTo>
                  <a:cubicBezTo>
                    <a:pt x="268" y="72"/>
                    <a:pt x="268" y="54"/>
                    <a:pt x="271" y="44"/>
                  </a:cubicBezTo>
                  <a:cubicBezTo>
                    <a:pt x="272" y="39"/>
                    <a:pt x="274" y="37"/>
                    <a:pt x="274" y="36"/>
                  </a:cubicBezTo>
                  <a:cubicBezTo>
                    <a:pt x="275" y="36"/>
                    <a:pt x="276" y="35"/>
                    <a:pt x="282" y="35"/>
                  </a:cubicBezTo>
                  <a:cubicBezTo>
                    <a:pt x="283" y="35"/>
                    <a:pt x="287" y="37"/>
                    <a:pt x="290" y="42"/>
                  </a:cubicBezTo>
                  <a:cubicBezTo>
                    <a:pt x="293" y="46"/>
                    <a:pt x="296" y="54"/>
                    <a:pt x="296" y="65"/>
                  </a:cubicBezTo>
                  <a:cubicBezTo>
                    <a:pt x="296" y="84"/>
                    <a:pt x="288" y="114"/>
                    <a:pt x="256" y="157"/>
                  </a:cubicBezTo>
                  <a:cubicBezTo>
                    <a:pt x="252" y="162"/>
                    <a:pt x="252" y="170"/>
                    <a:pt x="255" y="176"/>
                  </a:cubicBezTo>
                  <a:cubicBezTo>
                    <a:pt x="259" y="181"/>
                    <a:pt x="265" y="185"/>
                    <a:pt x="272" y="184"/>
                  </a:cubicBezTo>
                  <a:cubicBezTo>
                    <a:pt x="293" y="181"/>
                    <a:pt x="316" y="180"/>
                    <a:pt x="337" y="180"/>
                  </a:cubicBezTo>
                  <a:cubicBezTo>
                    <a:pt x="359" y="180"/>
                    <a:pt x="379" y="182"/>
                    <a:pt x="388" y="184"/>
                  </a:cubicBezTo>
                  <a:cubicBezTo>
                    <a:pt x="391" y="184"/>
                    <a:pt x="396" y="187"/>
                    <a:pt x="399" y="190"/>
                  </a:cubicBezTo>
                  <a:cubicBezTo>
                    <a:pt x="402" y="193"/>
                    <a:pt x="404" y="196"/>
                    <a:pt x="404" y="199"/>
                  </a:cubicBezTo>
                  <a:cubicBezTo>
                    <a:pt x="404" y="204"/>
                    <a:pt x="403" y="207"/>
                    <a:pt x="401" y="209"/>
                  </a:cubicBezTo>
                  <a:cubicBezTo>
                    <a:pt x="400" y="212"/>
                    <a:pt x="398" y="214"/>
                    <a:pt x="394" y="216"/>
                  </a:cubicBezTo>
                  <a:cubicBezTo>
                    <a:pt x="389" y="219"/>
                    <a:pt x="385" y="226"/>
                    <a:pt x="386" y="233"/>
                  </a:cubicBezTo>
                  <a:cubicBezTo>
                    <a:pt x="387" y="239"/>
                    <a:pt x="392" y="245"/>
                    <a:pt x="398" y="247"/>
                  </a:cubicBezTo>
                  <a:cubicBezTo>
                    <a:pt x="402" y="248"/>
                    <a:pt x="404" y="250"/>
                    <a:pt x="406" y="252"/>
                  </a:cubicBezTo>
                  <a:cubicBezTo>
                    <a:pt x="407" y="255"/>
                    <a:pt x="409" y="258"/>
                    <a:pt x="409" y="263"/>
                  </a:cubicBezTo>
                  <a:cubicBezTo>
                    <a:pt x="409" y="268"/>
                    <a:pt x="408" y="269"/>
                    <a:pt x="406" y="272"/>
                  </a:cubicBezTo>
                  <a:close/>
                </a:path>
              </a:pathLst>
            </a:custGeom>
            <a:solidFill>
              <a:srgbClr val="3C9E4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20">
              <a:extLst>
                <a:ext uri="{FF2B5EF4-FFF2-40B4-BE49-F238E27FC236}">
                  <a16:creationId xmlns:a16="http://schemas.microsoft.com/office/drawing/2014/main" id="{2B9DA426-FC82-4637-BF67-C8D87DE431C7}"/>
                </a:ext>
              </a:extLst>
            </p:cNvPr>
            <p:cNvSpPr>
              <a:spLocks noChangeAspect="1" noEditPoints="1"/>
            </p:cNvSpPr>
            <p:nvPr/>
          </p:nvSpPr>
          <p:spPr bwMode="auto">
            <a:xfrm>
              <a:off x="2689625" y="1792904"/>
              <a:ext cx="743747" cy="747522"/>
            </a:xfrm>
            <a:custGeom>
              <a:avLst/>
              <a:gdLst/>
              <a:ahLst/>
              <a:cxnLst>
                <a:cxn ang="0">
                  <a:pos x="427" y="66"/>
                </a:cxn>
                <a:cxn ang="0">
                  <a:pos x="404" y="21"/>
                </a:cxn>
                <a:cxn ang="0">
                  <a:pos x="314" y="0"/>
                </a:cxn>
                <a:cxn ang="0">
                  <a:pos x="145" y="26"/>
                </a:cxn>
                <a:cxn ang="0">
                  <a:pos x="26" y="0"/>
                </a:cxn>
                <a:cxn ang="0">
                  <a:pos x="0" y="27"/>
                </a:cxn>
                <a:cxn ang="0">
                  <a:pos x="26" y="270"/>
                </a:cxn>
                <a:cxn ang="0">
                  <a:pos x="141" y="257"/>
                </a:cxn>
                <a:cxn ang="0">
                  <a:pos x="195" y="335"/>
                </a:cxn>
                <a:cxn ang="0">
                  <a:pos x="228" y="373"/>
                </a:cxn>
                <a:cxn ang="0">
                  <a:pos x="239" y="418"/>
                </a:cxn>
                <a:cxn ang="0">
                  <a:pos x="282" y="447"/>
                </a:cxn>
                <a:cxn ang="0">
                  <a:pos x="315" y="429"/>
                </a:cxn>
                <a:cxn ang="0">
                  <a:pos x="304" y="300"/>
                </a:cxn>
                <a:cxn ang="0">
                  <a:pos x="395" y="297"/>
                </a:cxn>
                <a:cxn ang="0">
                  <a:pos x="438" y="248"/>
                </a:cxn>
                <a:cxn ang="0">
                  <a:pos x="431" y="219"/>
                </a:cxn>
                <a:cxn ang="0">
                  <a:pos x="443" y="183"/>
                </a:cxn>
                <a:cxn ang="0">
                  <a:pos x="430" y="150"/>
                </a:cxn>
                <a:cxn ang="0">
                  <a:pos x="422" y="84"/>
                </a:cxn>
                <a:cxn ang="0">
                  <a:pos x="34" y="235"/>
                </a:cxn>
                <a:cxn ang="0">
                  <a:pos x="110" y="35"/>
                </a:cxn>
                <a:cxn ang="0">
                  <a:pos x="409" y="183"/>
                </a:cxn>
                <a:cxn ang="0">
                  <a:pos x="398" y="199"/>
                </a:cxn>
                <a:cxn ang="0">
                  <a:pos x="394" y="231"/>
                </a:cxn>
                <a:cxn ang="0">
                  <a:pos x="404" y="248"/>
                </a:cxn>
                <a:cxn ang="0">
                  <a:pos x="388" y="263"/>
                </a:cxn>
                <a:cxn ang="0">
                  <a:pos x="272" y="263"/>
                </a:cxn>
                <a:cxn ang="0">
                  <a:pos x="256" y="290"/>
                </a:cxn>
                <a:cxn ang="0">
                  <a:pos x="290" y="405"/>
                </a:cxn>
                <a:cxn ang="0">
                  <a:pos x="274" y="410"/>
                </a:cxn>
                <a:cxn ang="0">
                  <a:pos x="258" y="356"/>
                </a:cxn>
                <a:cxn ang="0">
                  <a:pos x="215" y="304"/>
                </a:cxn>
                <a:cxn ang="0">
                  <a:pos x="145" y="216"/>
                </a:cxn>
                <a:cxn ang="0">
                  <a:pos x="275" y="36"/>
                </a:cxn>
                <a:cxn ang="0">
                  <a:pos x="358" y="39"/>
                </a:cxn>
                <a:cxn ang="0">
                  <a:pos x="390" y="55"/>
                </a:cxn>
                <a:cxn ang="0">
                  <a:pos x="391" y="68"/>
                </a:cxn>
                <a:cxn ang="0">
                  <a:pos x="375" y="91"/>
                </a:cxn>
                <a:cxn ang="0">
                  <a:pos x="405" y="120"/>
                </a:cxn>
                <a:cxn ang="0">
                  <a:pos x="394" y="137"/>
                </a:cxn>
                <a:cxn ang="0">
                  <a:pos x="395" y="168"/>
                </a:cxn>
                <a:cxn ang="0">
                  <a:pos x="409" y="183"/>
                </a:cxn>
              </a:cxnLst>
              <a:rect l="0" t="0" r="r" b="b"/>
              <a:pathLst>
                <a:path w="444" h="447">
                  <a:moveTo>
                    <a:pt x="422" y="84"/>
                  </a:moveTo>
                  <a:cubicBezTo>
                    <a:pt x="425" y="78"/>
                    <a:pt x="427" y="72"/>
                    <a:pt x="427" y="66"/>
                  </a:cubicBezTo>
                  <a:cubicBezTo>
                    <a:pt x="427" y="56"/>
                    <a:pt x="425" y="46"/>
                    <a:pt x="420" y="39"/>
                  </a:cubicBezTo>
                  <a:cubicBezTo>
                    <a:pt x="416" y="31"/>
                    <a:pt x="410" y="25"/>
                    <a:pt x="404" y="21"/>
                  </a:cubicBezTo>
                  <a:cubicBezTo>
                    <a:pt x="391" y="12"/>
                    <a:pt x="378" y="9"/>
                    <a:pt x="367" y="6"/>
                  </a:cubicBezTo>
                  <a:cubicBezTo>
                    <a:pt x="352" y="2"/>
                    <a:pt x="335" y="0"/>
                    <a:pt x="314" y="0"/>
                  </a:cubicBezTo>
                  <a:cubicBezTo>
                    <a:pt x="301" y="0"/>
                    <a:pt x="287" y="1"/>
                    <a:pt x="272" y="2"/>
                  </a:cubicBezTo>
                  <a:cubicBezTo>
                    <a:pt x="234" y="5"/>
                    <a:pt x="191" y="19"/>
                    <a:pt x="145" y="26"/>
                  </a:cubicBezTo>
                  <a:cubicBezTo>
                    <a:pt x="145" y="12"/>
                    <a:pt x="133" y="0"/>
                    <a:pt x="118" y="0"/>
                  </a:cubicBezTo>
                  <a:cubicBezTo>
                    <a:pt x="26" y="0"/>
                    <a:pt x="26" y="0"/>
                    <a:pt x="26" y="0"/>
                  </a:cubicBezTo>
                  <a:cubicBezTo>
                    <a:pt x="11" y="0"/>
                    <a:pt x="0" y="12"/>
                    <a:pt x="0" y="27"/>
                  </a:cubicBezTo>
                  <a:cubicBezTo>
                    <a:pt x="0" y="27"/>
                    <a:pt x="0" y="27"/>
                    <a:pt x="0" y="27"/>
                  </a:cubicBezTo>
                  <a:cubicBezTo>
                    <a:pt x="0" y="243"/>
                    <a:pt x="0" y="243"/>
                    <a:pt x="0" y="243"/>
                  </a:cubicBezTo>
                  <a:cubicBezTo>
                    <a:pt x="0" y="258"/>
                    <a:pt x="11" y="270"/>
                    <a:pt x="26" y="270"/>
                  </a:cubicBezTo>
                  <a:cubicBezTo>
                    <a:pt x="118" y="270"/>
                    <a:pt x="118" y="270"/>
                    <a:pt x="118" y="270"/>
                  </a:cubicBezTo>
                  <a:cubicBezTo>
                    <a:pt x="128" y="270"/>
                    <a:pt x="136" y="265"/>
                    <a:pt x="141" y="257"/>
                  </a:cubicBezTo>
                  <a:cubicBezTo>
                    <a:pt x="152" y="268"/>
                    <a:pt x="165" y="285"/>
                    <a:pt x="175" y="306"/>
                  </a:cubicBezTo>
                  <a:cubicBezTo>
                    <a:pt x="180" y="316"/>
                    <a:pt x="187" y="325"/>
                    <a:pt x="195" y="335"/>
                  </a:cubicBezTo>
                  <a:cubicBezTo>
                    <a:pt x="204" y="344"/>
                    <a:pt x="213" y="354"/>
                    <a:pt x="219" y="362"/>
                  </a:cubicBezTo>
                  <a:cubicBezTo>
                    <a:pt x="224" y="367"/>
                    <a:pt x="227" y="372"/>
                    <a:pt x="228" y="373"/>
                  </a:cubicBezTo>
                  <a:cubicBezTo>
                    <a:pt x="230" y="378"/>
                    <a:pt x="232" y="385"/>
                    <a:pt x="234" y="392"/>
                  </a:cubicBezTo>
                  <a:cubicBezTo>
                    <a:pt x="235" y="400"/>
                    <a:pt x="236" y="409"/>
                    <a:pt x="239" y="418"/>
                  </a:cubicBezTo>
                  <a:cubicBezTo>
                    <a:pt x="242" y="424"/>
                    <a:pt x="245" y="430"/>
                    <a:pt x="251" y="436"/>
                  </a:cubicBezTo>
                  <a:cubicBezTo>
                    <a:pt x="259" y="443"/>
                    <a:pt x="271" y="447"/>
                    <a:pt x="282" y="447"/>
                  </a:cubicBezTo>
                  <a:cubicBezTo>
                    <a:pt x="289" y="446"/>
                    <a:pt x="294" y="445"/>
                    <a:pt x="300" y="442"/>
                  </a:cubicBezTo>
                  <a:cubicBezTo>
                    <a:pt x="305" y="439"/>
                    <a:pt x="310" y="435"/>
                    <a:pt x="315" y="429"/>
                  </a:cubicBezTo>
                  <a:cubicBezTo>
                    <a:pt x="324" y="418"/>
                    <a:pt x="331" y="402"/>
                    <a:pt x="331" y="381"/>
                  </a:cubicBezTo>
                  <a:cubicBezTo>
                    <a:pt x="331" y="359"/>
                    <a:pt x="323" y="332"/>
                    <a:pt x="304" y="300"/>
                  </a:cubicBezTo>
                  <a:cubicBezTo>
                    <a:pt x="315" y="301"/>
                    <a:pt x="326" y="301"/>
                    <a:pt x="337" y="301"/>
                  </a:cubicBezTo>
                  <a:cubicBezTo>
                    <a:pt x="361" y="301"/>
                    <a:pt x="382" y="300"/>
                    <a:pt x="395" y="297"/>
                  </a:cubicBezTo>
                  <a:cubicBezTo>
                    <a:pt x="406" y="294"/>
                    <a:pt x="415" y="289"/>
                    <a:pt x="423" y="281"/>
                  </a:cubicBezTo>
                  <a:cubicBezTo>
                    <a:pt x="431" y="273"/>
                    <a:pt x="438" y="262"/>
                    <a:pt x="438" y="248"/>
                  </a:cubicBezTo>
                  <a:cubicBezTo>
                    <a:pt x="438" y="238"/>
                    <a:pt x="436" y="228"/>
                    <a:pt x="431" y="220"/>
                  </a:cubicBezTo>
                  <a:cubicBezTo>
                    <a:pt x="431" y="219"/>
                    <a:pt x="431" y="219"/>
                    <a:pt x="431" y="219"/>
                  </a:cubicBezTo>
                  <a:cubicBezTo>
                    <a:pt x="432" y="217"/>
                    <a:pt x="433" y="216"/>
                    <a:pt x="434" y="214"/>
                  </a:cubicBezTo>
                  <a:cubicBezTo>
                    <a:pt x="440" y="205"/>
                    <a:pt x="443" y="195"/>
                    <a:pt x="443" y="183"/>
                  </a:cubicBezTo>
                  <a:cubicBezTo>
                    <a:pt x="444" y="172"/>
                    <a:pt x="439" y="161"/>
                    <a:pt x="432" y="153"/>
                  </a:cubicBezTo>
                  <a:cubicBezTo>
                    <a:pt x="432" y="152"/>
                    <a:pt x="431" y="151"/>
                    <a:pt x="430" y="150"/>
                  </a:cubicBezTo>
                  <a:cubicBezTo>
                    <a:pt x="436" y="142"/>
                    <a:pt x="439" y="132"/>
                    <a:pt x="439" y="120"/>
                  </a:cubicBezTo>
                  <a:cubicBezTo>
                    <a:pt x="439" y="106"/>
                    <a:pt x="433" y="93"/>
                    <a:pt x="422" y="84"/>
                  </a:cubicBezTo>
                  <a:close/>
                  <a:moveTo>
                    <a:pt x="110" y="235"/>
                  </a:moveTo>
                  <a:cubicBezTo>
                    <a:pt x="34" y="235"/>
                    <a:pt x="34" y="235"/>
                    <a:pt x="34" y="235"/>
                  </a:cubicBezTo>
                  <a:cubicBezTo>
                    <a:pt x="34" y="35"/>
                    <a:pt x="34" y="35"/>
                    <a:pt x="34" y="35"/>
                  </a:cubicBezTo>
                  <a:cubicBezTo>
                    <a:pt x="110" y="35"/>
                    <a:pt x="110" y="35"/>
                    <a:pt x="110" y="35"/>
                  </a:cubicBezTo>
                  <a:lnTo>
                    <a:pt x="110" y="235"/>
                  </a:lnTo>
                  <a:close/>
                  <a:moveTo>
                    <a:pt x="409" y="183"/>
                  </a:moveTo>
                  <a:cubicBezTo>
                    <a:pt x="409" y="188"/>
                    <a:pt x="407" y="192"/>
                    <a:pt x="406" y="194"/>
                  </a:cubicBezTo>
                  <a:cubicBezTo>
                    <a:pt x="404" y="197"/>
                    <a:pt x="402" y="198"/>
                    <a:pt x="398" y="199"/>
                  </a:cubicBezTo>
                  <a:cubicBezTo>
                    <a:pt x="392" y="201"/>
                    <a:pt x="387" y="207"/>
                    <a:pt x="386" y="214"/>
                  </a:cubicBezTo>
                  <a:cubicBezTo>
                    <a:pt x="385" y="221"/>
                    <a:pt x="389" y="227"/>
                    <a:pt x="394" y="231"/>
                  </a:cubicBezTo>
                  <a:cubicBezTo>
                    <a:pt x="398" y="233"/>
                    <a:pt x="400" y="235"/>
                    <a:pt x="401" y="237"/>
                  </a:cubicBezTo>
                  <a:cubicBezTo>
                    <a:pt x="403" y="239"/>
                    <a:pt x="404" y="242"/>
                    <a:pt x="404" y="248"/>
                  </a:cubicBezTo>
                  <a:cubicBezTo>
                    <a:pt x="404" y="250"/>
                    <a:pt x="402" y="253"/>
                    <a:pt x="399" y="257"/>
                  </a:cubicBezTo>
                  <a:cubicBezTo>
                    <a:pt x="396" y="260"/>
                    <a:pt x="391" y="262"/>
                    <a:pt x="388" y="263"/>
                  </a:cubicBezTo>
                  <a:cubicBezTo>
                    <a:pt x="379" y="265"/>
                    <a:pt x="359" y="266"/>
                    <a:pt x="337" y="266"/>
                  </a:cubicBezTo>
                  <a:cubicBezTo>
                    <a:pt x="316" y="266"/>
                    <a:pt x="293" y="265"/>
                    <a:pt x="272" y="263"/>
                  </a:cubicBezTo>
                  <a:cubicBezTo>
                    <a:pt x="265" y="262"/>
                    <a:pt x="259" y="265"/>
                    <a:pt x="255" y="271"/>
                  </a:cubicBezTo>
                  <a:cubicBezTo>
                    <a:pt x="252" y="277"/>
                    <a:pt x="252" y="285"/>
                    <a:pt x="256" y="290"/>
                  </a:cubicBezTo>
                  <a:cubicBezTo>
                    <a:pt x="288" y="333"/>
                    <a:pt x="296" y="363"/>
                    <a:pt x="296" y="381"/>
                  </a:cubicBezTo>
                  <a:cubicBezTo>
                    <a:pt x="296" y="393"/>
                    <a:pt x="293" y="400"/>
                    <a:pt x="290" y="405"/>
                  </a:cubicBezTo>
                  <a:cubicBezTo>
                    <a:pt x="287" y="409"/>
                    <a:pt x="283" y="411"/>
                    <a:pt x="282" y="412"/>
                  </a:cubicBezTo>
                  <a:cubicBezTo>
                    <a:pt x="276" y="412"/>
                    <a:pt x="275" y="411"/>
                    <a:pt x="274" y="410"/>
                  </a:cubicBezTo>
                  <a:cubicBezTo>
                    <a:pt x="274" y="410"/>
                    <a:pt x="272" y="408"/>
                    <a:pt x="271" y="403"/>
                  </a:cubicBezTo>
                  <a:cubicBezTo>
                    <a:pt x="268" y="393"/>
                    <a:pt x="268" y="375"/>
                    <a:pt x="258" y="356"/>
                  </a:cubicBezTo>
                  <a:cubicBezTo>
                    <a:pt x="253" y="348"/>
                    <a:pt x="246" y="340"/>
                    <a:pt x="238" y="331"/>
                  </a:cubicBezTo>
                  <a:cubicBezTo>
                    <a:pt x="230" y="322"/>
                    <a:pt x="221" y="312"/>
                    <a:pt x="215" y="304"/>
                  </a:cubicBezTo>
                  <a:cubicBezTo>
                    <a:pt x="210" y="298"/>
                    <a:pt x="207" y="294"/>
                    <a:pt x="207" y="292"/>
                  </a:cubicBezTo>
                  <a:cubicBezTo>
                    <a:pt x="188" y="250"/>
                    <a:pt x="159" y="226"/>
                    <a:pt x="145" y="216"/>
                  </a:cubicBezTo>
                  <a:cubicBezTo>
                    <a:pt x="145" y="188"/>
                    <a:pt x="145" y="108"/>
                    <a:pt x="145" y="61"/>
                  </a:cubicBezTo>
                  <a:cubicBezTo>
                    <a:pt x="197" y="53"/>
                    <a:pt x="242" y="38"/>
                    <a:pt x="275" y="36"/>
                  </a:cubicBezTo>
                  <a:cubicBezTo>
                    <a:pt x="289" y="35"/>
                    <a:pt x="302" y="35"/>
                    <a:pt x="314" y="35"/>
                  </a:cubicBezTo>
                  <a:cubicBezTo>
                    <a:pt x="333" y="35"/>
                    <a:pt x="348" y="36"/>
                    <a:pt x="358" y="39"/>
                  </a:cubicBezTo>
                  <a:cubicBezTo>
                    <a:pt x="366" y="41"/>
                    <a:pt x="373" y="43"/>
                    <a:pt x="379" y="46"/>
                  </a:cubicBezTo>
                  <a:cubicBezTo>
                    <a:pt x="385" y="49"/>
                    <a:pt x="388" y="52"/>
                    <a:pt x="390" y="55"/>
                  </a:cubicBezTo>
                  <a:cubicBezTo>
                    <a:pt x="391" y="58"/>
                    <a:pt x="392" y="61"/>
                    <a:pt x="392" y="66"/>
                  </a:cubicBezTo>
                  <a:cubicBezTo>
                    <a:pt x="392" y="67"/>
                    <a:pt x="392" y="67"/>
                    <a:pt x="391" y="68"/>
                  </a:cubicBezTo>
                  <a:cubicBezTo>
                    <a:pt x="391" y="69"/>
                    <a:pt x="388" y="71"/>
                    <a:pt x="384" y="73"/>
                  </a:cubicBezTo>
                  <a:cubicBezTo>
                    <a:pt x="377" y="76"/>
                    <a:pt x="373" y="83"/>
                    <a:pt x="375" y="91"/>
                  </a:cubicBezTo>
                  <a:cubicBezTo>
                    <a:pt x="376" y="99"/>
                    <a:pt x="382" y="105"/>
                    <a:pt x="389" y="106"/>
                  </a:cubicBezTo>
                  <a:cubicBezTo>
                    <a:pt x="400" y="107"/>
                    <a:pt x="405" y="114"/>
                    <a:pt x="405" y="120"/>
                  </a:cubicBezTo>
                  <a:cubicBezTo>
                    <a:pt x="405" y="125"/>
                    <a:pt x="403" y="127"/>
                    <a:pt x="401" y="130"/>
                  </a:cubicBezTo>
                  <a:cubicBezTo>
                    <a:pt x="400" y="133"/>
                    <a:pt x="397" y="135"/>
                    <a:pt x="394" y="137"/>
                  </a:cubicBezTo>
                  <a:cubicBezTo>
                    <a:pt x="387" y="140"/>
                    <a:pt x="384" y="146"/>
                    <a:pt x="384" y="153"/>
                  </a:cubicBezTo>
                  <a:cubicBezTo>
                    <a:pt x="384" y="160"/>
                    <a:pt x="389" y="166"/>
                    <a:pt x="395" y="168"/>
                  </a:cubicBezTo>
                  <a:cubicBezTo>
                    <a:pt x="401" y="170"/>
                    <a:pt x="404" y="173"/>
                    <a:pt x="406" y="175"/>
                  </a:cubicBezTo>
                  <a:cubicBezTo>
                    <a:pt x="408" y="177"/>
                    <a:pt x="409" y="179"/>
                    <a:pt x="409" y="183"/>
                  </a:cubicBez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8">
              <a:extLst>
                <a:ext uri="{FF2B5EF4-FFF2-40B4-BE49-F238E27FC236}">
                  <a16:creationId xmlns:a16="http://schemas.microsoft.com/office/drawing/2014/main" id="{50E89AA7-F5C1-4CA6-A3EC-48781D58025E}"/>
                </a:ext>
              </a:extLst>
            </p:cNvPr>
            <p:cNvSpPr>
              <a:spLocks noChangeAspect="1" noEditPoints="1"/>
            </p:cNvSpPr>
            <p:nvPr/>
          </p:nvSpPr>
          <p:spPr bwMode="auto">
            <a:xfrm>
              <a:off x="5755114" y="1792904"/>
              <a:ext cx="742462" cy="748115"/>
            </a:xfrm>
            <a:custGeom>
              <a:avLst/>
              <a:gdLst/>
              <a:ahLst/>
              <a:cxnLst>
                <a:cxn ang="0">
                  <a:pos x="430" y="297"/>
                </a:cxn>
                <a:cxn ang="0">
                  <a:pos x="443" y="263"/>
                </a:cxn>
                <a:cxn ang="0">
                  <a:pos x="431" y="228"/>
                </a:cxn>
                <a:cxn ang="0">
                  <a:pos x="438" y="199"/>
                </a:cxn>
                <a:cxn ang="0">
                  <a:pos x="395" y="150"/>
                </a:cxn>
                <a:cxn ang="0">
                  <a:pos x="304" y="146"/>
                </a:cxn>
                <a:cxn ang="0">
                  <a:pos x="315" y="18"/>
                </a:cxn>
                <a:cxn ang="0">
                  <a:pos x="282" y="0"/>
                </a:cxn>
                <a:cxn ang="0">
                  <a:pos x="239" y="29"/>
                </a:cxn>
                <a:cxn ang="0">
                  <a:pos x="228" y="73"/>
                </a:cxn>
                <a:cxn ang="0">
                  <a:pos x="195" y="112"/>
                </a:cxn>
                <a:cxn ang="0">
                  <a:pos x="141" y="189"/>
                </a:cxn>
                <a:cxn ang="0">
                  <a:pos x="26" y="177"/>
                </a:cxn>
                <a:cxn ang="0">
                  <a:pos x="0" y="420"/>
                </a:cxn>
                <a:cxn ang="0">
                  <a:pos x="26" y="447"/>
                </a:cxn>
                <a:cxn ang="0">
                  <a:pos x="145" y="420"/>
                </a:cxn>
                <a:cxn ang="0">
                  <a:pos x="314" y="447"/>
                </a:cxn>
                <a:cxn ang="0">
                  <a:pos x="404" y="426"/>
                </a:cxn>
                <a:cxn ang="0">
                  <a:pos x="427" y="381"/>
                </a:cxn>
                <a:cxn ang="0">
                  <a:pos x="439" y="326"/>
                </a:cxn>
                <a:cxn ang="0">
                  <a:pos x="34" y="412"/>
                </a:cxn>
                <a:cxn ang="0">
                  <a:pos x="110" y="211"/>
                </a:cxn>
                <a:cxn ang="0">
                  <a:pos x="406" y="272"/>
                </a:cxn>
                <a:cxn ang="0">
                  <a:pos x="384" y="293"/>
                </a:cxn>
                <a:cxn ang="0">
                  <a:pos x="401" y="316"/>
                </a:cxn>
                <a:cxn ang="0">
                  <a:pos x="389" y="341"/>
                </a:cxn>
                <a:cxn ang="0">
                  <a:pos x="384" y="374"/>
                </a:cxn>
                <a:cxn ang="0">
                  <a:pos x="392" y="381"/>
                </a:cxn>
                <a:cxn ang="0">
                  <a:pos x="379" y="400"/>
                </a:cxn>
                <a:cxn ang="0">
                  <a:pos x="314" y="412"/>
                </a:cxn>
                <a:cxn ang="0">
                  <a:pos x="145" y="385"/>
                </a:cxn>
                <a:cxn ang="0">
                  <a:pos x="207" y="155"/>
                </a:cxn>
                <a:cxn ang="0">
                  <a:pos x="238" y="116"/>
                </a:cxn>
                <a:cxn ang="0">
                  <a:pos x="271" y="44"/>
                </a:cxn>
                <a:cxn ang="0">
                  <a:pos x="282" y="35"/>
                </a:cxn>
                <a:cxn ang="0">
                  <a:pos x="296" y="65"/>
                </a:cxn>
                <a:cxn ang="0">
                  <a:pos x="255" y="176"/>
                </a:cxn>
                <a:cxn ang="0">
                  <a:pos x="337" y="180"/>
                </a:cxn>
                <a:cxn ang="0">
                  <a:pos x="399" y="190"/>
                </a:cxn>
                <a:cxn ang="0">
                  <a:pos x="401" y="209"/>
                </a:cxn>
                <a:cxn ang="0">
                  <a:pos x="386" y="233"/>
                </a:cxn>
                <a:cxn ang="0">
                  <a:pos x="406" y="252"/>
                </a:cxn>
                <a:cxn ang="0">
                  <a:pos x="406" y="272"/>
                </a:cxn>
              </a:cxnLst>
              <a:rect l="0" t="0" r="r" b="b"/>
              <a:pathLst>
                <a:path w="444" h="447">
                  <a:moveTo>
                    <a:pt x="439" y="326"/>
                  </a:moveTo>
                  <a:cubicBezTo>
                    <a:pt x="439" y="315"/>
                    <a:pt x="436" y="305"/>
                    <a:pt x="430" y="297"/>
                  </a:cubicBezTo>
                  <a:cubicBezTo>
                    <a:pt x="431" y="296"/>
                    <a:pt x="432" y="295"/>
                    <a:pt x="432" y="294"/>
                  </a:cubicBezTo>
                  <a:cubicBezTo>
                    <a:pt x="439" y="286"/>
                    <a:pt x="444" y="275"/>
                    <a:pt x="443" y="263"/>
                  </a:cubicBezTo>
                  <a:cubicBezTo>
                    <a:pt x="443" y="252"/>
                    <a:pt x="440" y="241"/>
                    <a:pt x="434" y="233"/>
                  </a:cubicBezTo>
                  <a:cubicBezTo>
                    <a:pt x="433" y="231"/>
                    <a:pt x="432" y="229"/>
                    <a:pt x="431" y="228"/>
                  </a:cubicBezTo>
                  <a:cubicBezTo>
                    <a:pt x="431" y="228"/>
                    <a:pt x="431" y="227"/>
                    <a:pt x="431" y="227"/>
                  </a:cubicBezTo>
                  <a:cubicBezTo>
                    <a:pt x="436" y="219"/>
                    <a:pt x="438" y="209"/>
                    <a:pt x="438" y="199"/>
                  </a:cubicBezTo>
                  <a:cubicBezTo>
                    <a:pt x="438" y="184"/>
                    <a:pt x="431" y="173"/>
                    <a:pt x="423" y="165"/>
                  </a:cubicBezTo>
                  <a:cubicBezTo>
                    <a:pt x="415" y="157"/>
                    <a:pt x="406" y="152"/>
                    <a:pt x="395" y="150"/>
                  </a:cubicBezTo>
                  <a:cubicBezTo>
                    <a:pt x="382" y="147"/>
                    <a:pt x="361" y="146"/>
                    <a:pt x="337" y="146"/>
                  </a:cubicBezTo>
                  <a:cubicBezTo>
                    <a:pt x="326" y="146"/>
                    <a:pt x="315" y="146"/>
                    <a:pt x="304" y="146"/>
                  </a:cubicBezTo>
                  <a:cubicBezTo>
                    <a:pt x="323" y="114"/>
                    <a:pt x="331" y="87"/>
                    <a:pt x="331" y="65"/>
                  </a:cubicBezTo>
                  <a:cubicBezTo>
                    <a:pt x="331" y="45"/>
                    <a:pt x="324" y="28"/>
                    <a:pt x="315" y="18"/>
                  </a:cubicBezTo>
                  <a:cubicBezTo>
                    <a:pt x="310" y="12"/>
                    <a:pt x="305" y="8"/>
                    <a:pt x="300" y="5"/>
                  </a:cubicBezTo>
                  <a:cubicBezTo>
                    <a:pt x="294" y="2"/>
                    <a:pt x="289" y="0"/>
                    <a:pt x="282" y="0"/>
                  </a:cubicBezTo>
                  <a:cubicBezTo>
                    <a:pt x="271" y="0"/>
                    <a:pt x="259" y="3"/>
                    <a:pt x="251" y="11"/>
                  </a:cubicBezTo>
                  <a:cubicBezTo>
                    <a:pt x="245" y="16"/>
                    <a:pt x="242" y="23"/>
                    <a:pt x="239" y="29"/>
                  </a:cubicBezTo>
                  <a:cubicBezTo>
                    <a:pt x="236" y="38"/>
                    <a:pt x="235" y="47"/>
                    <a:pt x="234" y="54"/>
                  </a:cubicBezTo>
                  <a:cubicBezTo>
                    <a:pt x="232" y="62"/>
                    <a:pt x="230" y="68"/>
                    <a:pt x="228" y="73"/>
                  </a:cubicBezTo>
                  <a:cubicBezTo>
                    <a:pt x="227" y="75"/>
                    <a:pt x="224" y="79"/>
                    <a:pt x="219" y="84"/>
                  </a:cubicBezTo>
                  <a:cubicBezTo>
                    <a:pt x="213" y="92"/>
                    <a:pt x="204" y="102"/>
                    <a:pt x="195" y="112"/>
                  </a:cubicBezTo>
                  <a:cubicBezTo>
                    <a:pt x="187" y="122"/>
                    <a:pt x="180" y="131"/>
                    <a:pt x="175" y="140"/>
                  </a:cubicBezTo>
                  <a:cubicBezTo>
                    <a:pt x="165" y="162"/>
                    <a:pt x="152" y="178"/>
                    <a:pt x="141" y="189"/>
                  </a:cubicBezTo>
                  <a:cubicBezTo>
                    <a:pt x="136" y="182"/>
                    <a:pt x="128" y="177"/>
                    <a:pt x="118" y="177"/>
                  </a:cubicBezTo>
                  <a:cubicBezTo>
                    <a:pt x="26" y="177"/>
                    <a:pt x="26" y="177"/>
                    <a:pt x="26" y="177"/>
                  </a:cubicBezTo>
                  <a:cubicBezTo>
                    <a:pt x="11" y="177"/>
                    <a:pt x="0" y="189"/>
                    <a:pt x="0" y="203"/>
                  </a:cubicBezTo>
                  <a:cubicBezTo>
                    <a:pt x="0" y="420"/>
                    <a:pt x="0" y="420"/>
                    <a:pt x="0" y="420"/>
                  </a:cubicBezTo>
                  <a:cubicBezTo>
                    <a:pt x="0" y="420"/>
                    <a:pt x="0" y="420"/>
                    <a:pt x="0" y="420"/>
                  </a:cubicBezTo>
                  <a:cubicBezTo>
                    <a:pt x="0" y="435"/>
                    <a:pt x="11" y="447"/>
                    <a:pt x="26" y="447"/>
                  </a:cubicBezTo>
                  <a:cubicBezTo>
                    <a:pt x="118" y="447"/>
                    <a:pt x="118" y="447"/>
                    <a:pt x="118" y="447"/>
                  </a:cubicBezTo>
                  <a:cubicBezTo>
                    <a:pt x="133" y="447"/>
                    <a:pt x="145" y="435"/>
                    <a:pt x="145" y="420"/>
                  </a:cubicBezTo>
                  <a:cubicBezTo>
                    <a:pt x="191" y="428"/>
                    <a:pt x="234" y="442"/>
                    <a:pt x="272" y="445"/>
                  </a:cubicBezTo>
                  <a:cubicBezTo>
                    <a:pt x="287" y="446"/>
                    <a:pt x="301" y="447"/>
                    <a:pt x="314" y="447"/>
                  </a:cubicBezTo>
                  <a:cubicBezTo>
                    <a:pt x="335" y="447"/>
                    <a:pt x="352" y="445"/>
                    <a:pt x="367" y="441"/>
                  </a:cubicBezTo>
                  <a:cubicBezTo>
                    <a:pt x="378" y="438"/>
                    <a:pt x="391" y="435"/>
                    <a:pt x="404" y="426"/>
                  </a:cubicBezTo>
                  <a:cubicBezTo>
                    <a:pt x="410" y="422"/>
                    <a:pt x="416" y="416"/>
                    <a:pt x="420" y="408"/>
                  </a:cubicBezTo>
                  <a:cubicBezTo>
                    <a:pt x="425" y="400"/>
                    <a:pt x="427" y="391"/>
                    <a:pt x="427" y="381"/>
                  </a:cubicBezTo>
                  <a:cubicBezTo>
                    <a:pt x="427" y="375"/>
                    <a:pt x="425" y="368"/>
                    <a:pt x="422" y="363"/>
                  </a:cubicBezTo>
                  <a:cubicBezTo>
                    <a:pt x="433" y="354"/>
                    <a:pt x="439" y="341"/>
                    <a:pt x="439" y="326"/>
                  </a:cubicBezTo>
                  <a:close/>
                  <a:moveTo>
                    <a:pt x="110" y="412"/>
                  </a:moveTo>
                  <a:cubicBezTo>
                    <a:pt x="34" y="412"/>
                    <a:pt x="34" y="412"/>
                    <a:pt x="34" y="412"/>
                  </a:cubicBezTo>
                  <a:cubicBezTo>
                    <a:pt x="34" y="211"/>
                    <a:pt x="34" y="211"/>
                    <a:pt x="34" y="211"/>
                  </a:cubicBezTo>
                  <a:cubicBezTo>
                    <a:pt x="110" y="211"/>
                    <a:pt x="110" y="211"/>
                    <a:pt x="110" y="211"/>
                  </a:cubicBezTo>
                  <a:lnTo>
                    <a:pt x="110" y="412"/>
                  </a:lnTo>
                  <a:close/>
                  <a:moveTo>
                    <a:pt x="406" y="272"/>
                  </a:moveTo>
                  <a:cubicBezTo>
                    <a:pt x="404" y="274"/>
                    <a:pt x="401" y="276"/>
                    <a:pt x="395" y="278"/>
                  </a:cubicBezTo>
                  <a:cubicBezTo>
                    <a:pt x="389" y="281"/>
                    <a:pt x="384" y="287"/>
                    <a:pt x="384" y="293"/>
                  </a:cubicBezTo>
                  <a:cubicBezTo>
                    <a:pt x="384" y="300"/>
                    <a:pt x="387" y="307"/>
                    <a:pt x="394" y="310"/>
                  </a:cubicBezTo>
                  <a:cubicBezTo>
                    <a:pt x="397" y="311"/>
                    <a:pt x="400" y="314"/>
                    <a:pt x="401" y="316"/>
                  </a:cubicBezTo>
                  <a:cubicBezTo>
                    <a:pt x="403" y="319"/>
                    <a:pt x="405" y="322"/>
                    <a:pt x="405" y="326"/>
                  </a:cubicBezTo>
                  <a:cubicBezTo>
                    <a:pt x="405" y="333"/>
                    <a:pt x="400" y="339"/>
                    <a:pt x="389" y="341"/>
                  </a:cubicBezTo>
                  <a:cubicBezTo>
                    <a:pt x="382" y="342"/>
                    <a:pt x="376" y="348"/>
                    <a:pt x="375" y="356"/>
                  </a:cubicBezTo>
                  <a:cubicBezTo>
                    <a:pt x="373" y="363"/>
                    <a:pt x="377" y="371"/>
                    <a:pt x="384" y="374"/>
                  </a:cubicBezTo>
                  <a:cubicBezTo>
                    <a:pt x="388" y="376"/>
                    <a:pt x="391" y="378"/>
                    <a:pt x="391" y="379"/>
                  </a:cubicBezTo>
                  <a:cubicBezTo>
                    <a:pt x="392" y="380"/>
                    <a:pt x="392" y="380"/>
                    <a:pt x="392" y="381"/>
                  </a:cubicBezTo>
                  <a:cubicBezTo>
                    <a:pt x="392" y="386"/>
                    <a:pt x="391" y="389"/>
                    <a:pt x="390" y="391"/>
                  </a:cubicBezTo>
                  <a:cubicBezTo>
                    <a:pt x="388" y="395"/>
                    <a:pt x="385" y="398"/>
                    <a:pt x="379" y="400"/>
                  </a:cubicBezTo>
                  <a:cubicBezTo>
                    <a:pt x="373" y="403"/>
                    <a:pt x="366" y="405"/>
                    <a:pt x="358" y="407"/>
                  </a:cubicBezTo>
                  <a:cubicBezTo>
                    <a:pt x="348" y="410"/>
                    <a:pt x="333" y="412"/>
                    <a:pt x="314" y="412"/>
                  </a:cubicBezTo>
                  <a:cubicBezTo>
                    <a:pt x="302" y="412"/>
                    <a:pt x="289" y="411"/>
                    <a:pt x="275" y="410"/>
                  </a:cubicBezTo>
                  <a:cubicBezTo>
                    <a:pt x="242" y="408"/>
                    <a:pt x="197" y="393"/>
                    <a:pt x="145" y="385"/>
                  </a:cubicBezTo>
                  <a:cubicBezTo>
                    <a:pt x="145" y="339"/>
                    <a:pt x="145" y="258"/>
                    <a:pt x="145" y="231"/>
                  </a:cubicBezTo>
                  <a:cubicBezTo>
                    <a:pt x="159" y="221"/>
                    <a:pt x="188" y="196"/>
                    <a:pt x="207" y="155"/>
                  </a:cubicBezTo>
                  <a:cubicBezTo>
                    <a:pt x="207" y="153"/>
                    <a:pt x="210" y="148"/>
                    <a:pt x="215" y="143"/>
                  </a:cubicBezTo>
                  <a:cubicBezTo>
                    <a:pt x="221" y="135"/>
                    <a:pt x="230" y="125"/>
                    <a:pt x="238" y="116"/>
                  </a:cubicBezTo>
                  <a:cubicBezTo>
                    <a:pt x="246" y="106"/>
                    <a:pt x="253" y="98"/>
                    <a:pt x="258" y="90"/>
                  </a:cubicBezTo>
                  <a:cubicBezTo>
                    <a:pt x="268" y="72"/>
                    <a:pt x="268" y="54"/>
                    <a:pt x="271" y="44"/>
                  </a:cubicBezTo>
                  <a:cubicBezTo>
                    <a:pt x="272" y="39"/>
                    <a:pt x="274" y="37"/>
                    <a:pt x="274" y="36"/>
                  </a:cubicBezTo>
                  <a:cubicBezTo>
                    <a:pt x="275" y="36"/>
                    <a:pt x="276" y="35"/>
                    <a:pt x="282" y="35"/>
                  </a:cubicBezTo>
                  <a:cubicBezTo>
                    <a:pt x="283" y="35"/>
                    <a:pt x="287" y="37"/>
                    <a:pt x="290" y="42"/>
                  </a:cubicBezTo>
                  <a:cubicBezTo>
                    <a:pt x="293" y="46"/>
                    <a:pt x="296" y="54"/>
                    <a:pt x="296" y="65"/>
                  </a:cubicBezTo>
                  <a:cubicBezTo>
                    <a:pt x="296" y="84"/>
                    <a:pt x="288" y="114"/>
                    <a:pt x="256" y="157"/>
                  </a:cubicBezTo>
                  <a:cubicBezTo>
                    <a:pt x="252" y="162"/>
                    <a:pt x="252" y="170"/>
                    <a:pt x="255" y="176"/>
                  </a:cubicBezTo>
                  <a:cubicBezTo>
                    <a:pt x="259" y="181"/>
                    <a:pt x="265" y="185"/>
                    <a:pt x="272" y="184"/>
                  </a:cubicBezTo>
                  <a:cubicBezTo>
                    <a:pt x="293" y="181"/>
                    <a:pt x="316" y="180"/>
                    <a:pt x="337" y="180"/>
                  </a:cubicBezTo>
                  <a:cubicBezTo>
                    <a:pt x="359" y="180"/>
                    <a:pt x="379" y="182"/>
                    <a:pt x="388" y="184"/>
                  </a:cubicBezTo>
                  <a:cubicBezTo>
                    <a:pt x="391" y="184"/>
                    <a:pt x="396" y="187"/>
                    <a:pt x="399" y="190"/>
                  </a:cubicBezTo>
                  <a:cubicBezTo>
                    <a:pt x="402" y="193"/>
                    <a:pt x="404" y="196"/>
                    <a:pt x="404" y="199"/>
                  </a:cubicBezTo>
                  <a:cubicBezTo>
                    <a:pt x="404" y="204"/>
                    <a:pt x="403" y="207"/>
                    <a:pt x="401" y="209"/>
                  </a:cubicBezTo>
                  <a:cubicBezTo>
                    <a:pt x="400" y="212"/>
                    <a:pt x="398" y="214"/>
                    <a:pt x="394" y="216"/>
                  </a:cubicBezTo>
                  <a:cubicBezTo>
                    <a:pt x="389" y="219"/>
                    <a:pt x="385" y="226"/>
                    <a:pt x="386" y="233"/>
                  </a:cubicBezTo>
                  <a:cubicBezTo>
                    <a:pt x="387" y="239"/>
                    <a:pt x="392" y="245"/>
                    <a:pt x="398" y="247"/>
                  </a:cubicBezTo>
                  <a:cubicBezTo>
                    <a:pt x="402" y="248"/>
                    <a:pt x="404" y="250"/>
                    <a:pt x="406" y="252"/>
                  </a:cubicBezTo>
                  <a:cubicBezTo>
                    <a:pt x="407" y="255"/>
                    <a:pt x="409" y="258"/>
                    <a:pt x="409" y="263"/>
                  </a:cubicBezTo>
                  <a:cubicBezTo>
                    <a:pt x="409" y="268"/>
                    <a:pt x="408" y="269"/>
                    <a:pt x="406" y="272"/>
                  </a:cubicBezTo>
                  <a:close/>
                </a:path>
              </a:pathLst>
            </a:custGeom>
            <a:solidFill>
              <a:srgbClr val="92D050"/>
            </a:solidFill>
            <a:ln w="9525">
              <a:solidFill>
                <a:srgbClr val="61CB6B"/>
              </a:solidFill>
              <a:round/>
              <a:headEnd/>
              <a:tailEnd/>
            </a:ln>
          </p:spPr>
          <p:txBody>
            <a:bodyPr vert="horz" wrap="square" lIns="91440" tIns="45720" rIns="91440" bIns="45720" numCol="1" anchor="t" anchorCtr="0" compatLnSpc="1">
              <a:prstTxWarp prst="textNoShape">
                <a:avLst/>
              </a:prstTxWarp>
            </a:bodyPr>
            <a:lstStyle/>
            <a:p>
              <a:endParaRPr lang="en-GB">
                <a:solidFill>
                  <a:srgbClr val="61CB6B"/>
                </a:solidFill>
              </a:endParaRPr>
            </a:p>
          </p:txBody>
        </p:sp>
        <p:sp>
          <p:nvSpPr>
            <p:cNvPr id="30" name="Freeform 20">
              <a:extLst>
                <a:ext uri="{FF2B5EF4-FFF2-40B4-BE49-F238E27FC236}">
                  <a16:creationId xmlns:a16="http://schemas.microsoft.com/office/drawing/2014/main" id="{0B15AF20-461C-4BEC-8FAB-B0B1D2B0AAF2}"/>
                </a:ext>
              </a:extLst>
            </p:cNvPr>
            <p:cNvSpPr>
              <a:spLocks noChangeAspect="1" noEditPoints="1"/>
            </p:cNvSpPr>
            <p:nvPr/>
          </p:nvSpPr>
          <p:spPr bwMode="auto">
            <a:xfrm>
              <a:off x="1143000" y="1792904"/>
              <a:ext cx="743747" cy="747522"/>
            </a:xfrm>
            <a:custGeom>
              <a:avLst/>
              <a:gdLst/>
              <a:ahLst/>
              <a:cxnLst>
                <a:cxn ang="0">
                  <a:pos x="427" y="66"/>
                </a:cxn>
                <a:cxn ang="0">
                  <a:pos x="404" y="21"/>
                </a:cxn>
                <a:cxn ang="0">
                  <a:pos x="314" y="0"/>
                </a:cxn>
                <a:cxn ang="0">
                  <a:pos x="145" y="26"/>
                </a:cxn>
                <a:cxn ang="0">
                  <a:pos x="26" y="0"/>
                </a:cxn>
                <a:cxn ang="0">
                  <a:pos x="0" y="27"/>
                </a:cxn>
                <a:cxn ang="0">
                  <a:pos x="26" y="270"/>
                </a:cxn>
                <a:cxn ang="0">
                  <a:pos x="141" y="257"/>
                </a:cxn>
                <a:cxn ang="0">
                  <a:pos x="195" y="335"/>
                </a:cxn>
                <a:cxn ang="0">
                  <a:pos x="228" y="373"/>
                </a:cxn>
                <a:cxn ang="0">
                  <a:pos x="239" y="418"/>
                </a:cxn>
                <a:cxn ang="0">
                  <a:pos x="282" y="447"/>
                </a:cxn>
                <a:cxn ang="0">
                  <a:pos x="315" y="429"/>
                </a:cxn>
                <a:cxn ang="0">
                  <a:pos x="304" y="300"/>
                </a:cxn>
                <a:cxn ang="0">
                  <a:pos x="395" y="297"/>
                </a:cxn>
                <a:cxn ang="0">
                  <a:pos x="438" y="248"/>
                </a:cxn>
                <a:cxn ang="0">
                  <a:pos x="431" y="219"/>
                </a:cxn>
                <a:cxn ang="0">
                  <a:pos x="443" y="183"/>
                </a:cxn>
                <a:cxn ang="0">
                  <a:pos x="430" y="150"/>
                </a:cxn>
                <a:cxn ang="0">
                  <a:pos x="422" y="84"/>
                </a:cxn>
                <a:cxn ang="0">
                  <a:pos x="34" y="235"/>
                </a:cxn>
                <a:cxn ang="0">
                  <a:pos x="110" y="35"/>
                </a:cxn>
                <a:cxn ang="0">
                  <a:pos x="409" y="183"/>
                </a:cxn>
                <a:cxn ang="0">
                  <a:pos x="398" y="199"/>
                </a:cxn>
                <a:cxn ang="0">
                  <a:pos x="394" y="231"/>
                </a:cxn>
                <a:cxn ang="0">
                  <a:pos x="404" y="248"/>
                </a:cxn>
                <a:cxn ang="0">
                  <a:pos x="388" y="263"/>
                </a:cxn>
                <a:cxn ang="0">
                  <a:pos x="272" y="263"/>
                </a:cxn>
                <a:cxn ang="0">
                  <a:pos x="256" y="290"/>
                </a:cxn>
                <a:cxn ang="0">
                  <a:pos x="290" y="405"/>
                </a:cxn>
                <a:cxn ang="0">
                  <a:pos x="274" y="410"/>
                </a:cxn>
                <a:cxn ang="0">
                  <a:pos x="258" y="356"/>
                </a:cxn>
                <a:cxn ang="0">
                  <a:pos x="215" y="304"/>
                </a:cxn>
                <a:cxn ang="0">
                  <a:pos x="145" y="216"/>
                </a:cxn>
                <a:cxn ang="0">
                  <a:pos x="275" y="36"/>
                </a:cxn>
                <a:cxn ang="0">
                  <a:pos x="358" y="39"/>
                </a:cxn>
                <a:cxn ang="0">
                  <a:pos x="390" y="55"/>
                </a:cxn>
                <a:cxn ang="0">
                  <a:pos x="391" y="68"/>
                </a:cxn>
                <a:cxn ang="0">
                  <a:pos x="375" y="91"/>
                </a:cxn>
                <a:cxn ang="0">
                  <a:pos x="405" y="120"/>
                </a:cxn>
                <a:cxn ang="0">
                  <a:pos x="394" y="137"/>
                </a:cxn>
                <a:cxn ang="0">
                  <a:pos x="395" y="168"/>
                </a:cxn>
                <a:cxn ang="0">
                  <a:pos x="409" y="183"/>
                </a:cxn>
              </a:cxnLst>
              <a:rect l="0" t="0" r="r" b="b"/>
              <a:pathLst>
                <a:path w="444" h="447">
                  <a:moveTo>
                    <a:pt x="422" y="84"/>
                  </a:moveTo>
                  <a:cubicBezTo>
                    <a:pt x="425" y="78"/>
                    <a:pt x="427" y="72"/>
                    <a:pt x="427" y="66"/>
                  </a:cubicBezTo>
                  <a:cubicBezTo>
                    <a:pt x="427" y="56"/>
                    <a:pt x="425" y="46"/>
                    <a:pt x="420" y="39"/>
                  </a:cubicBezTo>
                  <a:cubicBezTo>
                    <a:pt x="416" y="31"/>
                    <a:pt x="410" y="25"/>
                    <a:pt x="404" y="21"/>
                  </a:cubicBezTo>
                  <a:cubicBezTo>
                    <a:pt x="391" y="12"/>
                    <a:pt x="378" y="9"/>
                    <a:pt x="367" y="6"/>
                  </a:cubicBezTo>
                  <a:cubicBezTo>
                    <a:pt x="352" y="2"/>
                    <a:pt x="335" y="0"/>
                    <a:pt x="314" y="0"/>
                  </a:cubicBezTo>
                  <a:cubicBezTo>
                    <a:pt x="301" y="0"/>
                    <a:pt x="287" y="1"/>
                    <a:pt x="272" y="2"/>
                  </a:cubicBezTo>
                  <a:cubicBezTo>
                    <a:pt x="234" y="5"/>
                    <a:pt x="191" y="19"/>
                    <a:pt x="145" y="26"/>
                  </a:cubicBezTo>
                  <a:cubicBezTo>
                    <a:pt x="145" y="12"/>
                    <a:pt x="133" y="0"/>
                    <a:pt x="118" y="0"/>
                  </a:cubicBezTo>
                  <a:cubicBezTo>
                    <a:pt x="26" y="0"/>
                    <a:pt x="26" y="0"/>
                    <a:pt x="26" y="0"/>
                  </a:cubicBezTo>
                  <a:cubicBezTo>
                    <a:pt x="11" y="0"/>
                    <a:pt x="0" y="12"/>
                    <a:pt x="0" y="27"/>
                  </a:cubicBezTo>
                  <a:cubicBezTo>
                    <a:pt x="0" y="27"/>
                    <a:pt x="0" y="27"/>
                    <a:pt x="0" y="27"/>
                  </a:cubicBezTo>
                  <a:cubicBezTo>
                    <a:pt x="0" y="243"/>
                    <a:pt x="0" y="243"/>
                    <a:pt x="0" y="243"/>
                  </a:cubicBezTo>
                  <a:cubicBezTo>
                    <a:pt x="0" y="258"/>
                    <a:pt x="11" y="270"/>
                    <a:pt x="26" y="270"/>
                  </a:cubicBezTo>
                  <a:cubicBezTo>
                    <a:pt x="118" y="270"/>
                    <a:pt x="118" y="270"/>
                    <a:pt x="118" y="270"/>
                  </a:cubicBezTo>
                  <a:cubicBezTo>
                    <a:pt x="128" y="270"/>
                    <a:pt x="136" y="265"/>
                    <a:pt x="141" y="257"/>
                  </a:cubicBezTo>
                  <a:cubicBezTo>
                    <a:pt x="152" y="268"/>
                    <a:pt x="165" y="285"/>
                    <a:pt x="175" y="306"/>
                  </a:cubicBezTo>
                  <a:cubicBezTo>
                    <a:pt x="180" y="316"/>
                    <a:pt x="187" y="325"/>
                    <a:pt x="195" y="335"/>
                  </a:cubicBezTo>
                  <a:cubicBezTo>
                    <a:pt x="204" y="344"/>
                    <a:pt x="213" y="354"/>
                    <a:pt x="219" y="362"/>
                  </a:cubicBezTo>
                  <a:cubicBezTo>
                    <a:pt x="224" y="367"/>
                    <a:pt x="227" y="372"/>
                    <a:pt x="228" y="373"/>
                  </a:cubicBezTo>
                  <a:cubicBezTo>
                    <a:pt x="230" y="378"/>
                    <a:pt x="232" y="385"/>
                    <a:pt x="234" y="392"/>
                  </a:cubicBezTo>
                  <a:cubicBezTo>
                    <a:pt x="235" y="400"/>
                    <a:pt x="236" y="409"/>
                    <a:pt x="239" y="418"/>
                  </a:cubicBezTo>
                  <a:cubicBezTo>
                    <a:pt x="242" y="424"/>
                    <a:pt x="245" y="430"/>
                    <a:pt x="251" y="436"/>
                  </a:cubicBezTo>
                  <a:cubicBezTo>
                    <a:pt x="259" y="443"/>
                    <a:pt x="271" y="447"/>
                    <a:pt x="282" y="447"/>
                  </a:cubicBezTo>
                  <a:cubicBezTo>
                    <a:pt x="289" y="446"/>
                    <a:pt x="294" y="445"/>
                    <a:pt x="300" y="442"/>
                  </a:cubicBezTo>
                  <a:cubicBezTo>
                    <a:pt x="305" y="439"/>
                    <a:pt x="310" y="435"/>
                    <a:pt x="315" y="429"/>
                  </a:cubicBezTo>
                  <a:cubicBezTo>
                    <a:pt x="324" y="418"/>
                    <a:pt x="331" y="402"/>
                    <a:pt x="331" y="381"/>
                  </a:cubicBezTo>
                  <a:cubicBezTo>
                    <a:pt x="331" y="359"/>
                    <a:pt x="323" y="332"/>
                    <a:pt x="304" y="300"/>
                  </a:cubicBezTo>
                  <a:cubicBezTo>
                    <a:pt x="315" y="301"/>
                    <a:pt x="326" y="301"/>
                    <a:pt x="337" y="301"/>
                  </a:cubicBezTo>
                  <a:cubicBezTo>
                    <a:pt x="361" y="301"/>
                    <a:pt x="382" y="300"/>
                    <a:pt x="395" y="297"/>
                  </a:cubicBezTo>
                  <a:cubicBezTo>
                    <a:pt x="406" y="294"/>
                    <a:pt x="415" y="289"/>
                    <a:pt x="423" y="281"/>
                  </a:cubicBezTo>
                  <a:cubicBezTo>
                    <a:pt x="431" y="273"/>
                    <a:pt x="438" y="262"/>
                    <a:pt x="438" y="248"/>
                  </a:cubicBezTo>
                  <a:cubicBezTo>
                    <a:pt x="438" y="238"/>
                    <a:pt x="436" y="228"/>
                    <a:pt x="431" y="220"/>
                  </a:cubicBezTo>
                  <a:cubicBezTo>
                    <a:pt x="431" y="219"/>
                    <a:pt x="431" y="219"/>
                    <a:pt x="431" y="219"/>
                  </a:cubicBezTo>
                  <a:cubicBezTo>
                    <a:pt x="432" y="217"/>
                    <a:pt x="433" y="216"/>
                    <a:pt x="434" y="214"/>
                  </a:cubicBezTo>
                  <a:cubicBezTo>
                    <a:pt x="440" y="205"/>
                    <a:pt x="443" y="195"/>
                    <a:pt x="443" y="183"/>
                  </a:cubicBezTo>
                  <a:cubicBezTo>
                    <a:pt x="444" y="172"/>
                    <a:pt x="439" y="161"/>
                    <a:pt x="432" y="153"/>
                  </a:cubicBezTo>
                  <a:cubicBezTo>
                    <a:pt x="432" y="152"/>
                    <a:pt x="431" y="151"/>
                    <a:pt x="430" y="150"/>
                  </a:cubicBezTo>
                  <a:cubicBezTo>
                    <a:pt x="436" y="142"/>
                    <a:pt x="439" y="132"/>
                    <a:pt x="439" y="120"/>
                  </a:cubicBezTo>
                  <a:cubicBezTo>
                    <a:pt x="439" y="106"/>
                    <a:pt x="433" y="93"/>
                    <a:pt x="422" y="84"/>
                  </a:cubicBezTo>
                  <a:close/>
                  <a:moveTo>
                    <a:pt x="110" y="235"/>
                  </a:moveTo>
                  <a:cubicBezTo>
                    <a:pt x="34" y="235"/>
                    <a:pt x="34" y="235"/>
                    <a:pt x="34" y="235"/>
                  </a:cubicBezTo>
                  <a:cubicBezTo>
                    <a:pt x="34" y="35"/>
                    <a:pt x="34" y="35"/>
                    <a:pt x="34" y="35"/>
                  </a:cubicBezTo>
                  <a:cubicBezTo>
                    <a:pt x="110" y="35"/>
                    <a:pt x="110" y="35"/>
                    <a:pt x="110" y="35"/>
                  </a:cubicBezTo>
                  <a:lnTo>
                    <a:pt x="110" y="235"/>
                  </a:lnTo>
                  <a:close/>
                  <a:moveTo>
                    <a:pt x="409" y="183"/>
                  </a:moveTo>
                  <a:cubicBezTo>
                    <a:pt x="409" y="188"/>
                    <a:pt x="407" y="192"/>
                    <a:pt x="406" y="194"/>
                  </a:cubicBezTo>
                  <a:cubicBezTo>
                    <a:pt x="404" y="197"/>
                    <a:pt x="402" y="198"/>
                    <a:pt x="398" y="199"/>
                  </a:cubicBezTo>
                  <a:cubicBezTo>
                    <a:pt x="392" y="201"/>
                    <a:pt x="387" y="207"/>
                    <a:pt x="386" y="214"/>
                  </a:cubicBezTo>
                  <a:cubicBezTo>
                    <a:pt x="385" y="221"/>
                    <a:pt x="389" y="227"/>
                    <a:pt x="394" y="231"/>
                  </a:cubicBezTo>
                  <a:cubicBezTo>
                    <a:pt x="398" y="233"/>
                    <a:pt x="400" y="235"/>
                    <a:pt x="401" y="237"/>
                  </a:cubicBezTo>
                  <a:cubicBezTo>
                    <a:pt x="403" y="239"/>
                    <a:pt x="404" y="242"/>
                    <a:pt x="404" y="248"/>
                  </a:cubicBezTo>
                  <a:cubicBezTo>
                    <a:pt x="404" y="250"/>
                    <a:pt x="402" y="253"/>
                    <a:pt x="399" y="257"/>
                  </a:cubicBezTo>
                  <a:cubicBezTo>
                    <a:pt x="396" y="260"/>
                    <a:pt x="391" y="262"/>
                    <a:pt x="388" y="263"/>
                  </a:cubicBezTo>
                  <a:cubicBezTo>
                    <a:pt x="379" y="265"/>
                    <a:pt x="359" y="266"/>
                    <a:pt x="337" y="266"/>
                  </a:cubicBezTo>
                  <a:cubicBezTo>
                    <a:pt x="316" y="266"/>
                    <a:pt x="293" y="265"/>
                    <a:pt x="272" y="263"/>
                  </a:cubicBezTo>
                  <a:cubicBezTo>
                    <a:pt x="265" y="262"/>
                    <a:pt x="259" y="265"/>
                    <a:pt x="255" y="271"/>
                  </a:cubicBezTo>
                  <a:cubicBezTo>
                    <a:pt x="252" y="277"/>
                    <a:pt x="252" y="285"/>
                    <a:pt x="256" y="290"/>
                  </a:cubicBezTo>
                  <a:cubicBezTo>
                    <a:pt x="288" y="333"/>
                    <a:pt x="296" y="363"/>
                    <a:pt x="296" y="381"/>
                  </a:cubicBezTo>
                  <a:cubicBezTo>
                    <a:pt x="296" y="393"/>
                    <a:pt x="293" y="400"/>
                    <a:pt x="290" y="405"/>
                  </a:cubicBezTo>
                  <a:cubicBezTo>
                    <a:pt x="287" y="409"/>
                    <a:pt x="283" y="411"/>
                    <a:pt x="282" y="412"/>
                  </a:cubicBezTo>
                  <a:cubicBezTo>
                    <a:pt x="276" y="412"/>
                    <a:pt x="275" y="411"/>
                    <a:pt x="274" y="410"/>
                  </a:cubicBezTo>
                  <a:cubicBezTo>
                    <a:pt x="274" y="410"/>
                    <a:pt x="272" y="408"/>
                    <a:pt x="271" y="403"/>
                  </a:cubicBezTo>
                  <a:cubicBezTo>
                    <a:pt x="268" y="393"/>
                    <a:pt x="268" y="375"/>
                    <a:pt x="258" y="356"/>
                  </a:cubicBezTo>
                  <a:cubicBezTo>
                    <a:pt x="253" y="348"/>
                    <a:pt x="246" y="340"/>
                    <a:pt x="238" y="331"/>
                  </a:cubicBezTo>
                  <a:cubicBezTo>
                    <a:pt x="230" y="322"/>
                    <a:pt x="221" y="312"/>
                    <a:pt x="215" y="304"/>
                  </a:cubicBezTo>
                  <a:cubicBezTo>
                    <a:pt x="210" y="298"/>
                    <a:pt x="207" y="294"/>
                    <a:pt x="207" y="292"/>
                  </a:cubicBezTo>
                  <a:cubicBezTo>
                    <a:pt x="188" y="250"/>
                    <a:pt x="159" y="226"/>
                    <a:pt x="145" y="216"/>
                  </a:cubicBezTo>
                  <a:cubicBezTo>
                    <a:pt x="145" y="188"/>
                    <a:pt x="145" y="108"/>
                    <a:pt x="145" y="61"/>
                  </a:cubicBezTo>
                  <a:cubicBezTo>
                    <a:pt x="197" y="53"/>
                    <a:pt x="242" y="38"/>
                    <a:pt x="275" y="36"/>
                  </a:cubicBezTo>
                  <a:cubicBezTo>
                    <a:pt x="289" y="35"/>
                    <a:pt x="302" y="35"/>
                    <a:pt x="314" y="35"/>
                  </a:cubicBezTo>
                  <a:cubicBezTo>
                    <a:pt x="333" y="35"/>
                    <a:pt x="348" y="36"/>
                    <a:pt x="358" y="39"/>
                  </a:cubicBezTo>
                  <a:cubicBezTo>
                    <a:pt x="366" y="41"/>
                    <a:pt x="373" y="43"/>
                    <a:pt x="379" y="46"/>
                  </a:cubicBezTo>
                  <a:cubicBezTo>
                    <a:pt x="385" y="49"/>
                    <a:pt x="388" y="52"/>
                    <a:pt x="390" y="55"/>
                  </a:cubicBezTo>
                  <a:cubicBezTo>
                    <a:pt x="391" y="58"/>
                    <a:pt x="392" y="61"/>
                    <a:pt x="392" y="66"/>
                  </a:cubicBezTo>
                  <a:cubicBezTo>
                    <a:pt x="392" y="67"/>
                    <a:pt x="392" y="67"/>
                    <a:pt x="391" y="68"/>
                  </a:cubicBezTo>
                  <a:cubicBezTo>
                    <a:pt x="391" y="69"/>
                    <a:pt x="388" y="71"/>
                    <a:pt x="384" y="73"/>
                  </a:cubicBezTo>
                  <a:cubicBezTo>
                    <a:pt x="377" y="76"/>
                    <a:pt x="373" y="83"/>
                    <a:pt x="375" y="91"/>
                  </a:cubicBezTo>
                  <a:cubicBezTo>
                    <a:pt x="376" y="99"/>
                    <a:pt x="382" y="105"/>
                    <a:pt x="389" y="106"/>
                  </a:cubicBezTo>
                  <a:cubicBezTo>
                    <a:pt x="400" y="107"/>
                    <a:pt x="405" y="114"/>
                    <a:pt x="405" y="120"/>
                  </a:cubicBezTo>
                  <a:cubicBezTo>
                    <a:pt x="405" y="125"/>
                    <a:pt x="403" y="127"/>
                    <a:pt x="401" y="130"/>
                  </a:cubicBezTo>
                  <a:cubicBezTo>
                    <a:pt x="400" y="133"/>
                    <a:pt x="397" y="135"/>
                    <a:pt x="394" y="137"/>
                  </a:cubicBezTo>
                  <a:cubicBezTo>
                    <a:pt x="387" y="140"/>
                    <a:pt x="384" y="146"/>
                    <a:pt x="384" y="153"/>
                  </a:cubicBezTo>
                  <a:cubicBezTo>
                    <a:pt x="384" y="160"/>
                    <a:pt x="389" y="166"/>
                    <a:pt x="395" y="168"/>
                  </a:cubicBezTo>
                  <a:cubicBezTo>
                    <a:pt x="401" y="170"/>
                    <a:pt x="404" y="173"/>
                    <a:pt x="406" y="175"/>
                  </a:cubicBezTo>
                  <a:cubicBezTo>
                    <a:pt x="408" y="177"/>
                    <a:pt x="409" y="179"/>
                    <a:pt x="409" y="183"/>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31" name="Content Placeholder 3">
            <a:extLst>
              <a:ext uri="{FF2B5EF4-FFF2-40B4-BE49-F238E27FC236}">
                <a16:creationId xmlns:a16="http://schemas.microsoft.com/office/drawing/2014/main" id="{B1B8812E-CC40-45A1-8E5B-2EFA63320091}"/>
              </a:ext>
            </a:extLst>
          </p:cNvPr>
          <p:cNvGraphicFramePr>
            <a:graphicFrameLocks/>
          </p:cNvGraphicFramePr>
          <p:nvPr/>
        </p:nvGraphicFramePr>
        <p:xfrm>
          <a:off x="1003986" y="4200525"/>
          <a:ext cx="1637615" cy="1676920"/>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2AA49638-A065-4E6E-B2C4-5EC78FCAF5CA}"/>
              </a:ext>
            </a:extLst>
          </p:cNvPr>
          <p:cNvSpPr txBox="1"/>
          <p:nvPr/>
        </p:nvSpPr>
        <p:spPr>
          <a:xfrm>
            <a:off x="1394632" y="4748738"/>
            <a:ext cx="856325" cy="553998"/>
          </a:xfrm>
          <a:prstGeom prst="rect">
            <a:avLst/>
          </a:prstGeom>
          <a:noFill/>
        </p:spPr>
        <p:txBody>
          <a:bodyPr wrap="none" rtlCol="0" anchor="ctr">
            <a:spAutoFit/>
          </a:bodyPr>
          <a:lstStyle/>
          <a:p>
            <a:pPr algn="ctr"/>
            <a:r>
              <a:rPr lang="en-US" sz="3000" b="1">
                <a:solidFill>
                  <a:schemeClr val="tx2"/>
                </a:solidFill>
                <a:cs typeface="Poppins" pitchFamily="2" charset="77"/>
              </a:rPr>
              <a:t>71%</a:t>
            </a:r>
          </a:p>
        </p:txBody>
      </p:sp>
      <p:graphicFrame>
        <p:nvGraphicFramePr>
          <p:cNvPr id="33" name="Content Placeholder 3">
            <a:extLst>
              <a:ext uri="{FF2B5EF4-FFF2-40B4-BE49-F238E27FC236}">
                <a16:creationId xmlns:a16="http://schemas.microsoft.com/office/drawing/2014/main" id="{C3B8DFBE-9A34-4D69-9D9F-24F6A5F9FE50}"/>
              </a:ext>
            </a:extLst>
          </p:cNvPr>
          <p:cNvGraphicFramePr>
            <a:graphicFrameLocks/>
          </p:cNvGraphicFramePr>
          <p:nvPr/>
        </p:nvGraphicFramePr>
        <p:xfrm>
          <a:off x="2540001" y="4200525"/>
          <a:ext cx="1637615" cy="1676920"/>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a:extLst>
              <a:ext uri="{FF2B5EF4-FFF2-40B4-BE49-F238E27FC236}">
                <a16:creationId xmlns:a16="http://schemas.microsoft.com/office/drawing/2014/main" id="{6E84D9E0-E49A-435E-AF21-7CEF0DC993D4}"/>
              </a:ext>
            </a:extLst>
          </p:cNvPr>
          <p:cNvSpPr txBox="1"/>
          <p:nvPr/>
        </p:nvSpPr>
        <p:spPr>
          <a:xfrm>
            <a:off x="2930647" y="4748738"/>
            <a:ext cx="856325" cy="553998"/>
          </a:xfrm>
          <a:prstGeom prst="rect">
            <a:avLst/>
          </a:prstGeom>
          <a:noFill/>
        </p:spPr>
        <p:txBody>
          <a:bodyPr wrap="none" rtlCol="0" anchor="ctr">
            <a:spAutoFit/>
          </a:bodyPr>
          <a:lstStyle/>
          <a:p>
            <a:pPr algn="ctr"/>
            <a:r>
              <a:rPr lang="en-US" sz="3000" b="1">
                <a:solidFill>
                  <a:schemeClr val="tx2"/>
                </a:solidFill>
                <a:cs typeface="Poppins" pitchFamily="2" charset="77"/>
              </a:rPr>
              <a:t>15%</a:t>
            </a:r>
          </a:p>
        </p:txBody>
      </p:sp>
      <p:graphicFrame>
        <p:nvGraphicFramePr>
          <p:cNvPr id="35" name="Content Placeholder 3">
            <a:extLst>
              <a:ext uri="{FF2B5EF4-FFF2-40B4-BE49-F238E27FC236}">
                <a16:creationId xmlns:a16="http://schemas.microsoft.com/office/drawing/2014/main" id="{5E45C646-3053-4D05-B489-E7808AFB62A8}"/>
              </a:ext>
            </a:extLst>
          </p:cNvPr>
          <p:cNvGraphicFramePr>
            <a:graphicFrameLocks/>
          </p:cNvGraphicFramePr>
          <p:nvPr/>
        </p:nvGraphicFramePr>
        <p:xfrm>
          <a:off x="3962401" y="4200525"/>
          <a:ext cx="1637615" cy="1676920"/>
        </p:xfrm>
        <a:graphic>
          <a:graphicData uri="http://schemas.openxmlformats.org/drawingml/2006/chart">
            <c:chart xmlns:c="http://schemas.openxmlformats.org/drawingml/2006/chart" xmlns:r="http://schemas.openxmlformats.org/officeDocument/2006/relationships" r:id="rId5"/>
          </a:graphicData>
        </a:graphic>
      </p:graphicFrame>
      <p:sp>
        <p:nvSpPr>
          <p:cNvPr id="36" name="TextBox 35">
            <a:extLst>
              <a:ext uri="{FF2B5EF4-FFF2-40B4-BE49-F238E27FC236}">
                <a16:creationId xmlns:a16="http://schemas.microsoft.com/office/drawing/2014/main" id="{1D2B34B6-1EBA-4211-83D3-87D7D67B3E0D}"/>
              </a:ext>
            </a:extLst>
          </p:cNvPr>
          <p:cNvSpPr txBox="1"/>
          <p:nvPr/>
        </p:nvSpPr>
        <p:spPr>
          <a:xfrm>
            <a:off x="4353047" y="4748738"/>
            <a:ext cx="856325" cy="553998"/>
          </a:xfrm>
          <a:prstGeom prst="rect">
            <a:avLst/>
          </a:prstGeom>
          <a:noFill/>
        </p:spPr>
        <p:txBody>
          <a:bodyPr wrap="none" rtlCol="0" anchor="ctr">
            <a:spAutoFit/>
          </a:bodyPr>
          <a:lstStyle/>
          <a:p>
            <a:pPr algn="ctr"/>
            <a:r>
              <a:rPr lang="en-US" sz="3000" b="1">
                <a:solidFill>
                  <a:schemeClr val="tx2"/>
                </a:solidFill>
                <a:cs typeface="Poppins" pitchFamily="2" charset="77"/>
              </a:rPr>
              <a:t>10%</a:t>
            </a:r>
          </a:p>
        </p:txBody>
      </p:sp>
      <p:graphicFrame>
        <p:nvGraphicFramePr>
          <p:cNvPr id="37" name="Content Placeholder 3">
            <a:extLst>
              <a:ext uri="{FF2B5EF4-FFF2-40B4-BE49-F238E27FC236}">
                <a16:creationId xmlns:a16="http://schemas.microsoft.com/office/drawing/2014/main" id="{75226E4C-9B97-48D4-9407-50C37F990C2D}"/>
              </a:ext>
            </a:extLst>
          </p:cNvPr>
          <p:cNvGraphicFramePr>
            <a:graphicFrameLocks/>
          </p:cNvGraphicFramePr>
          <p:nvPr/>
        </p:nvGraphicFramePr>
        <p:xfrm>
          <a:off x="5372786" y="4200525"/>
          <a:ext cx="1637615" cy="1676920"/>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BA3E41A1-8C80-4954-B708-B48019D6C3C7}"/>
              </a:ext>
            </a:extLst>
          </p:cNvPr>
          <p:cNvSpPr txBox="1"/>
          <p:nvPr/>
        </p:nvSpPr>
        <p:spPr>
          <a:xfrm>
            <a:off x="5861215" y="4748738"/>
            <a:ext cx="660757" cy="553998"/>
          </a:xfrm>
          <a:prstGeom prst="rect">
            <a:avLst/>
          </a:prstGeom>
          <a:noFill/>
        </p:spPr>
        <p:txBody>
          <a:bodyPr wrap="none" rtlCol="0" anchor="ctr">
            <a:spAutoFit/>
          </a:bodyPr>
          <a:lstStyle/>
          <a:p>
            <a:pPr algn="ctr"/>
            <a:r>
              <a:rPr lang="en-US" sz="3000" b="1">
                <a:solidFill>
                  <a:schemeClr val="tx2"/>
                </a:solidFill>
                <a:cs typeface="Poppins" pitchFamily="2" charset="77"/>
              </a:rPr>
              <a:t>3%</a:t>
            </a:r>
          </a:p>
        </p:txBody>
      </p:sp>
      <p:sp>
        <p:nvSpPr>
          <p:cNvPr id="39" name="TextBox 38">
            <a:extLst>
              <a:ext uri="{FF2B5EF4-FFF2-40B4-BE49-F238E27FC236}">
                <a16:creationId xmlns:a16="http://schemas.microsoft.com/office/drawing/2014/main" id="{4CC94955-99E8-4F33-BDAE-28829FE89ED0}"/>
              </a:ext>
            </a:extLst>
          </p:cNvPr>
          <p:cNvSpPr txBox="1"/>
          <p:nvPr/>
        </p:nvSpPr>
        <p:spPr>
          <a:xfrm>
            <a:off x="1203024" y="5858985"/>
            <a:ext cx="1143262" cy="379656"/>
          </a:xfrm>
          <a:prstGeom prst="rect">
            <a:avLst/>
          </a:prstGeom>
          <a:noFill/>
        </p:spPr>
        <p:txBody>
          <a:bodyPr wrap="none" rtlCol="0" anchor="ctr">
            <a:spAutoFit/>
          </a:bodyPr>
          <a:lstStyle/>
          <a:p>
            <a:pPr algn="ctr"/>
            <a:r>
              <a:rPr lang="en-US" sz="1867" b="1">
                <a:solidFill>
                  <a:schemeClr val="tx2"/>
                </a:solidFill>
                <a:cs typeface="Poppins" pitchFamily="2" charset="77"/>
              </a:rPr>
              <a:t>Yesterday</a:t>
            </a:r>
          </a:p>
        </p:txBody>
      </p:sp>
      <p:sp>
        <p:nvSpPr>
          <p:cNvPr id="40" name="TextBox 39">
            <a:extLst>
              <a:ext uri="{FF2B5EF4-FFF2-40B4-BE49-F238E27FC236}">
                <a16:creationId xmlns:a16="http://schemas.microsoft.com/office/drawing/2014/main" id="{DD907901-80B9-4A2C-8C85-00690FBAF834}"/>
              </a:ext>
            </a:extLst>
          </p:cNvPr>
          <p:cNvSpPr txBox="1"/>
          <p:nvPr/>
        </p:nvSpPr>
        <p:spPr>
          <a:xfrm>
            <a:off x="2766869" y="5858985"/>
            <a:ext cx="1306383" cy="379656"/>
          </a:xfrm>
          <a:prstGeom prst="rect">
            <a:avLst/>
          </a:prstGeom>
          <a:noFill/>
        </p:spPr>
        <p:txBody>
          <a:bodyPr wrap="none" rtlCol="0" anchor="ctr">
            <a:spAutoFit/>
          </a:bodyPr>
          <a:lstStyle/>
          <a:p>
            <a:pPr algn="ctr"/>
            <a:r>
              <a:rPr lang="en-US" sz="1867" b="1">
                <a:solidFill>
                  <a:schemeClr val="tx2"/>
                </a:solidFill>
                <a:cs typeface="Poppins" pitchFamily="2" charset="77"/>
              </a:rPr>
              <a:t>Past 7 Days</a:t>
            </a:r>
          </a:p>
        </p:txBody>
      </p:sp>
      <p:sp>
        <p:nvSpPr>
          <p:cNvPr id="41" name="TextBox 40">
            <a:extLst>
              <a:ext uri="{FF2B5EF4-FFF2-40B4-BE49-F238E27FC236}">
                <a16:creationId xmlns:a16="http://schemas.microsoft.com/office/drawing/2014/main" id="{D68CC823-B19B-4CEF-A342-78C1D3149FC1}"/>
              </a:ext>
            </a:extLst>
          </p:cNvPr>
          <p:cNvSpPr txBox="1"/>
          <p:nvPr/>
        </p:nvSpPr>
        <p:spPr>
          <a:xfrm>
            <a:off x="4440573" y="5715325"/>
            <a:ext cx="901785" cy="666977"/>
          </a:xfrm>
          <a:prstGeom prst="rect">
            <a:avLst/>
          </a:prstGeom>
          <a:noFill/>
        </p:spPr>
        <p:txBody>
          <a:bodyPr wrap="none" rtlCol="0" anchor="ctr">
            <a:spAutoFit/>
          </a:bodyPr>
          <a:lstStyle/>
          <a:p>
            <a:pPr algn="ctr"/>
            <a:r>
              <a:rPr lang="en-US" sz="1867" b="1">
                <a:solidFill>
                  <a:schemeClr val="tx2"/>
                </a:solidFill>
                <a:cs typeface="Poppins" pitchFamily="2" charset="77"/>
              </a:rPr>
              <a:t>Past </a:t>
            </a:r>
          </a:p>
          <a:p>
            <a:pPr algn="ctr"/>
            <a:r>
              <a:rPr lang="en-US" sz="1867" b="1">
                <a:solidFill>
                  <a:schemeClr val="tx2"/>
                </a:solidFill>
                <a:cs typeface="Poppins" pitchFamily="2" charset="77"/>
              </a:rPr>
              <a:t>30Days</a:t>
            </a:r>
          </a:p>
        </p:txBody>
      </p:sp>
      <p:sp>
        <p:nvSpPr>
          <p:cNvPr id="42" name="TextBox 41">
            <a:extLst>
              <a:ext uri="{FF2B5EF4-FFF2-40B4-BE49-F238E27FC236}">
                <a16:creationId xmlns:a16="http://schemas.microsoft.com/office/drawing/2014/main" id="{6C750C93-8BCD-4297-A28E-C44F6142EC8B}"/>
              </a:ext>
            </a:extLst>
          </p:cNvPr>
          <p:cNvSpPr txBox="1"/>
          <p:nvPr/>
        </p:nvSpPr>
        <p:spPr>
          <a:xfrm>
            <a:off x="5725693" y="5715325"/>
            <a:ext cx="901785" cy="666977"/>
          </a:xfrm>
          <a:prstGeom prst="rect">
            <a:avLst/>
          </a:prstGeom>
          <a:noFill/>
        </p:spPr>
        <p:txBody>
          <a:bodyPr wrap="none" rtlCol="0" anchor="ctr">
            <a:spAutoFit/>
          </a:bodyPr>
          <a:lstStyle/>
          <a:p>
            <a:pPr algn="ctr"/>
            <a:r>
              <a:rPr lang="en-US" sz="1867" b="1">
                <a:solidFill>
                  <a:schemeClr val="tx2"/>
                </a:solidFill>
                <a:cs typeface="Poppins" pitchFamily="2" charset="77"/>
              </a:rPr>
              <a:t>Past </a:t>
            </a:r>
          </a:p>
          <a:p>
            <a:pPr algn="ctr"/>
            <a:r>
              <a:rPr lang="en-US" sz="1867" b="1">
                <a:solidFill>
                  <a:schemeClr val="tx2"/>
                </a:solidFill>
                <a:cs typeface="Poppins" pitchFamily="2" charset="77"/>
              </a:rPr>
              <a:t>90Days</a:t>
            </a:r>
          </a:p>
        </p:txBody>
      </p:sp>
      <p:sp>
        <p:nvSpPr>
          <p:cNvPr id="43" name="Rounded Rectangular Callout 46">
            <a:extLst>
              <a:ext uri="{FF2B5EF4-FFF2-40B4-BE49-F238E27FC236}">
                <a16:creationId xmlns:a16="http://schemas.microsoft.com/office/drawing/2014/main" id="{33DCF313-65C7-47EC-9BED-12CF198B32EC}"/>
              </a:ext>
            </a:extLst>
          </p:cNvPr>
          <p:cNvSpPr/>
          <p:nvPr/>
        </p:nvSpPr>
        <p:spPr>
          <a:xfrm>
            <a:off x="8128001" y="4714876"/>
            <a:ext cx="3248153" cy="1803903"/>
          </a:xfrm>
          <a:prstGeom prst="wedgeRoundRectCallout">
            <a:avLst>
              <a:gd name="adj1" fmla="val -84460"/>
              <a:gd name="adj2" fmla="val -41509"/>
              <a:gd name="adj3" fmla="val 16667"/>
            </a:avLst>
          </a:prstGeom>
          <a:solidFill>
            <a:srgbClr val="2157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Even though business is deeply impacted by the virus, they are still trading. </a:t>
            </a:r>
          </a:p>
          <a:p>
            <a:pPr algn="ctr"/>
            <a:r>
              <a:rPr lang="en-US" sz="1400">
                <a:solidFill>
                  <a:schemeClr val="bg1"/>
                </a:solidFill>
              </a:rPr>
              <a:t>The more reason why support is required not only to keep up with the business but to cater to their family needs.</a:t>
            </a:r>
          </a:p>
        </p:txBody>
      </p:sp>
      <p:sp>
        <p:nvSpPr>
          <p:cNvPr id="44" name="TextBox 43">
            <a:extLst>
              <a:ext uri="{FF2B5EF4-FFF2-40B4-BE49-F238E27FC236}">
                <a16:creationId xmlns:a16="http://schemas.microsoft.com/office/drawing/2014/main" id="{2EAFA462-B34B-48C8-8768-22EB439711AA}"/>
              </a:ext>
            </a:extLst>
          </p:cNvPr>
          <p:cNvSpPr txBox="1"/>
          <p:nvPr/>
        </p:nvSpPr>
        <p:spPr>
          <a:xfrm>
            <a:off x="85823" y="4012778"/>
            <a:ext cx="2786339" cy="318100"/>
          </a:xfrm>
          <a:prstGeom prst="rect">
            <a:avLst/>
          </a:prstGeom>
          <a:noFill/>
        </p:spPr>
        <p:txBody>
          <a:bodyPr wrap="none" rtlCol="0" anchor="ctr">
            <a:spAutoFit/>
          </a:bodyPr>
          <a:lstStyle/>
          <a:p>
            <a:pPr algn="ctr"/>
            <a:r>
              <a:rPr lang="en-US" sz="1467" b="1">
                <a:solidFill>
                  <a:schemeClr val="tx2"/>
                </a:solidFill>
                <a:cs typeface="Poppins" pitchFamily="2" charset="77"/>
              </a:rPr>
              <a:t>Last agent transaction performed</a:t>
            </a:r>
          </a:p>
        </p:txBody>
      </p:sp>
    </p:spTree>
    <p:extLst>
      <p:ext uri="{BB962C8B-B14F-4D97-AF65-F5344CB8AC3E}">
        <p14:creationId xmlns:p14="http://schemas.microsoft.com/office/powerpoint/2010/main" val="4246977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30E703-CF88-42DB-9E95-FED9A0092690}"/>
              </a:ext>
            </a:extLst>
          </p:cNvPr>
          <p:cNvSpPr>
            <a:spLocks noGrp="1"/>
          </p:cNvSpPr>
          <p:nvPr>
            <p:ph type="sldNum" sz="quarter" idx="11"/>
          </p:nvPr>
        </p:nvSpPr>
        <p:spPr/>
        <p:txBody>
          <a:bodyPr/>
          <a:lstStyle/>
          <a:p>
            <a:pPr>
              <a:defRPr/>
            </a:pPr>
            <a:fld id="{47794585-347E-4355-955C-F2766ACC4F25}" type="slidenum">
              <a:rPr lang="en-US" smtClean="0"/>
              <a:pPr>
                <a:defRPr/>
              </a:pPr>
              <a:t>12</a:t>
            </a:fld>
            <a:endParaRPr lang="en-US"/>
          </a:p>
        </p:txBody>
      </p:sp>
      <p:sp>
        <p:nvSpPr>
          <p:cNvPr id="5" name="Title 2">
            <a:extLst>
              <a:ext uri="{FF2B5EF4-FFF2-40B4-BE49-F238E27FC236}">
                <a16:creationId xmlns:a16="http://schemas.microsoft.com/office/drawing/2014/main" id="{2DF4AEC1-2C8D-4DE1-865C-C5BF344B732A}"/>
              </a:ext>
            </a:extLst>
          </p:cNvPr>
          <p:cNvSpPr txBox="1">
            <a:spLocks/>
          </p:cNvSpPr>
          <p:nvPr/>
        </p:nvSpPr>
        <p:spPr>
          <a:xfrm>
            <a:off x="2348277" y="381973"/>
            <a:ext cx="9395489" cy="472499"/>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defTabSz="457139"/>
            <a:r>
              <a:rPr lang="en-US" sz="1800">
                <a:solidFill>
                  <a:srgbClr val="000000"/>
                </a:solidFill>
                <a:latin typeface="+mn-lt"/>
              </a:rPr>
              <a:t>Limited hours of operation and low patronage have impacted monthly income of 89% of agents. Current monthly earning is less than previous earning by almost 50%.  </a:t>
            </a:r>
          </a:p>
        </p:txBody>
      </p:sp>
      <p:sp>
        <p:nvSpPr>
          <p:cNvPr id="7" name="Rectangle 6">
            <a:extLst>
              <a:ext uri="{FF2B5EF4-FFF2-40B4-BE49-F238E27FC236}">
                <a16:creationId xmlns:a16="http://schemas.microsoft.com/office/drawing/2014/main" id="{E246E1F3-F21C-407F-B6C1-69E40ED83314}"/>
              </a:ext>
            </a:extLst>
          </p:cNvPr>
          <p:cNvSpPr/>
          <p:nvPr/>
        </p:nvSpPr>
        <p:spPr>
          <a:xfrm>
            <a:off x="0" y="6203142"/>
            <a:ext cx="8518874" cy="807913"/>
          </a:xfrm>
          <a:prstGeom prst="rect">
            <a:avLst/>
          </a:prstGeom>
        </p:spPr>
        <p:txBody>
          <a:bodyPr wrap="square" lIns="68580" tIns="34290" rIns="68580" bIns="34290">
            <a:spAutoFit/>
          </a:bodyPr>
          <a:lstStyle/>
          <a:p>
            <a:pPr defTabSz="457139"/>
            <a:r>
              <a:rPr lang="en-US" sz="800">
                <a:solidFill>
                  <a:srgbClr val="000000"/>
                </a:solidFill>
                <a:latin typeface="Arial"/>
              </a:rPr>
              <a:t>Base: n=735</a:t>
            </a:r>
          </a:p>
          <a:p>
            <a:pPr defTabSz="457139"/>
            <a:r>
              <a:rPr lang="en-US" sz="800">
                <a:solidFill>
                  <a:srgbClr val="000000"/>
                </a:solidFill>
                <a:latin typeface="Arial"/>
              </a:rPr>
              <a:t>Q12 Could you tell us how much total income you make per typical month from your agent banking service?</a:t>
            </a:r>
          </a:p>
          <a:p>
            <a:pPr defTabSz="457139"/>
            <a:r>
              <a:rPr lang="en-US" sz="800">
                <a:solidFill>
                  <a:srgbClr val="000000"/>
                </a:solidFill>
                <a:latin typeface="Arial"/>
              </a:rPr>
              <a:t>Q13a. Has the monthly income changed since the pandemic (COVID 19/Corona virus) began? </a:t>
            </a:r>
          </a:p>
          <a:p>
            <a:pPr defTabSz="457139"/>
            <a:r>
              <a:rPr lang="en-US" sz="800">
                <a:solidFill>
                  <a:srgbClr val="000000"/>
                </a:solidFill>
                <a:latin typeface="Arial"/>
              </a:rPr>
              <a:t>Q13b. If YES? How much do you make now? (n=657) </a:t>
            </a:r>
          </a:p>
          <a:p>
            <a:pPr defTabSz="457139"/>
            <a:r>
              <a:rPr lang="en-US" sz="800"/>
              <a:t>Q15a. Has there been any change in the price you charge to customers? (Has it increased, decreased or remained the same)</a:t>
            </a:r>
          </a:p>
          <a:p>
            <a:pPr defTabSz="457139"/>
            <a:endParaRPr lang="en-US" sz="800">
              <a:solidFill>
                <a:srgbClr val="000000"/>
              </a:solidFill>
              <a:latin typeface="Arial"/>
            </a:endParaRPr>
          </a:p>
        </p:txBody>
      </p:sp>
      <p:graphicFrame>
        <p:nvGraphicFramePr>
          <p:cNvPr id="8" name="Content Placeholder 3">
            <a:extLst>
              <a:ext uri="{FF2B5EF4-FFF2-40B4-BE49-F238E27FC236}">
                <a16:creationId xmlns:a16="http://schemas.microsoft.com/office/drawing/2014/main" id="{E3F4EFA4-35C4-4055-B8EF-B40C718B4155}"/>
              </a:ext>
            </a:extLst>
          </p:cNvPr>
          <p:cNvGraphicFramePr>
            <a:graphicFrameLocks/>
          </p:cNvGraphicFramePr>
          <p:nvPr/>
        </p:nvGraphicFramePr>
        <p:xfrm>
          <a:off x="115869" y="1324499"/>
          <a:ext cx="2590800" cy="2061865"/>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A45EA331-6F1D-45C2-88A3-ED390DDE95E5}"/>
              </a:ext>
            </a:extLst>
          </p:cNvPr>
          <p:cNvSpPr txBox="1"/>
          <p:nvPr/>
        </p:nvSpPr>
        <p:spPr>
          <a:xfrm>
            <a:off x="866775" y="2063043"/>
            <a:ext cx="1088988" cy="584775"/>
          </a:xfrm>
          <a:prstGeom prst="rect">
            <a:avLst/>
          </a:prstGeom>
          <a:noFill/>
        </p:spPr>
        <p:txBody>
          <a:bodyPr wrap="square" rtlCol="0" anchor="ctr">
            <a:spAutoFit/>
          </a:bodyPr>
          <a:lstStyle/>
          <a:p>
            <a:pPr algn="ctr" defTabSz="457139"/>
            <a:r>
              <a:rPr lang="en-US" sz="3200" b="1">
                <a:solidFill>
                  <a:schemeClr val="accent6">
                    <a:lumMod val="50000"/>
                  </a:schemeClr>
                </a:solidFill>
                <a:latin typeface="Arial"/>
                <a:cs typeface="Poppins" pitchFamily="2" charset="77"/>
              </a:rPr>
              <a:t>89%</a:t>
            </a:r>
          </a:p>
        </p:txBody>
      </p:sp>
      <p:sp>
        <p:nvSpPr>
          <p:cNvPr id="10" name="TextBox 9">
            <a:extLst>
              <a:ext uri="{FF2B5EF4-FFF2-40B4-BE49-F238E27FC236}">
                <a16:creationId xmlns:a16="http://schemas.microsoft.com/office/drawing/2014/main" id="{E04979AA-3C98-43E4-9D35-C234E58C439C}"/>
              </a:ext>
            </a:extLst>
          </p:cNvPr>
          <p:cNvSpPr txBox="1"/>
          <p:nvPr/>
        </p:nvSpPr>
        <p:spPr>
          <a:xfrm>
            <a:off x="115869" y="3251882"/>
            <a:ext cx="2797445" cy="461665"/>
          </a:xfrm>
          <a:prstGeom prst="rect">
            <a:avLst/>
          </a:prstGeom>
          <a:noFill/>
        </p:spPr>
        <p:txBody>
          <a:bodyPr wrap="square" rtlCol="0" anchor="ctr">
            <a:spAutoFit/>
          </a:bodyPr>
          <a:lstStyle/>
          <a:p>
            <a:pPr algn="ctr" defTabSz="457139"/>
            <a:r>
              <a:rPr lang="en-US" sz="1200" b="1">
                <a:solidFill>
                  <a:srgbClr val="000000"/>
                </a:solidFill>
                <a:latin typeface="Arial"/>
                <a:cs typeface="Poppins" pitchFamily="2" charset="77"/>
              </a:rPr>
              <a:t>Monthly Income has changed since the pandemic</a:t>
            </a:r>
          </a:p>
        </p:txBody>
      </p:sp>
      <p:cxnSp>
        <p:nvCxnSpPr>
          <p:cNvPr id="11" name="Straight Connector 10">
            <a:extLst>
              <a:ext uri="{FF2B5EF4-FFF2-40B4-BE49-F238E27FC236}">
                <a16:creationId xmlns:a16="http://schemas.microsoft.com/office/drawing/2014/main" id="{97FF2CFD-AD1E-43E4-BFBF-D7BE42755F16}"/>
              </a:ext>
            </a:extLst>
          </p:cNvPr>
          <p:cNvCxnSpPr/>
          <p:nvPr/>
        </p:nvCxnSpPr>
        <p:spPr>
          <a:xfrm>
            <a:off x="3016703" y="1769830"/>
            <a:ext cx="0" cy="1980000"/>
          </a:xfrm>
          <a:prstGeom prst="line">
            <a:avLst/>
          </a:prstGeom>
          <a:noFill/>
          <a:ln w="12700" cap="flat" cmpd="sng" algn="ctr">
            <a:solidFill>
              <a:schemeClr val="accent6">
                <a:lumMod val="50000"/>
              </a:schemeClr>
            </a:solidFill>
            <a:prstDash val="dash"/>
          </a:ln>
          <a:effectLst/>
        </p:spPr>
      </p:cxnSp>
      <p:graphicFrame>
        <p:nvGraphicFramePr>
          <p:cNvPr id="12" name="Diagram 11">
            <a:extLst>
              <a:ext uri="{FF2B5EF4-FFF2-40B4-BE49-F238E27FC236}">
                <a16:creationId xmlns:a16="http://schemas.microsoft.com/office/drawing/2014/main" id="{9916CBAC-F6F2-45E1-A322-EF85BE0E7DBC}"/>
              </a:ext>
            </a:extLst>
          </p:cNvPr>
          <p:cNvGraphicFramePr/>
          <p:nvPr>
            <p:extLst>
              <p:ext uri="{D42A27DB-BD31-4B8C-83A1-F6EECF244321}">
                <p14:modId xmlns:p14="http://schemas.microsoft.com/office/powerpoint/2010/main" val="1728863443"/>
              </p:ext>
            </p:extLst>
          </p:nvPr>
        </p:nvGraphicFramePr>
        <p:xfrm>
          <a:off x="3549013" y="1697787"/>
          <a:ext cx="7606668" cy="1731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FF2B5EF4-FFF2-40B4-BE49-F238E27FC236}">
                <a16:creationId xmlns:a16="http://schemas.microsoft.com/office/drawing/2014/main" id="{B385C125-41C5-4145-A7BA-AA478204433D}"/>
              </a:ext>
            </a:extLst>
          </p:cNvPr>
          <p:cNvSpPr txBox="1"/>
          <p:nvPr/>
        </p:nvSpPr>
        <p:spPr>
          <a:xfrm>
            <a:off x="4462713" y="3405778"/>
            <a:ext cx="1905000" cy="246221"/>
          </a:xfrm>
          <a:prstGeom prst="rect">
            <a:avLst/>
          </a:prstGeom>
          <a:noFill/>
        </p:spPr>
        <p:txBody>
          <a:bodyPr wrap="square" rtlCol="0">
            <a:spAutoFit/>
          </a:bodyPr>
          <a:lstStyle/>
          <a:p>
            <a:pPr algn="ctr" defTabSz="457139"/>
            <a:r>
              <a:rPr lang="en-US" sz="1000" b="1">
                <a:solidFill>
                  <a:srgbClr val="000000"/>
                </a:solidFill>
                <a:latin typeface="Arial"/>
              </a:rPr>
              <a:t>Typical Income (Avg)</a:t>
            </a:r>
          </a:p>
        </p:txBody>
      </p:sp>
      <p:sp>
        <p:nvSpPr>
          <p:cNvPr id="14" name="TextBox 13">
            <a:extLst>
              <a:ext uri="{FF2B5EF4-FFF2-40B4-BE49-F238E27FC236}">
                <a16:creationId xmlns:a16="http://schemas.microsoft.com/office/drawing/2014/main" id="{620404CF-260E-4B30-9C22-A21DE1527EB5}"/>
              </a:ext>
            </a:extLst>
          </p:cNvPr>
          <p:cNvSpPr txBox="1"/>
          <p:nvPr/>
        </p:nvSpPr>
        <p:spPr>
          <a:xfrm>
            <a:off x="9285564" y="3464402"/>
            <a:ext cx="1676400" cy="400110"/>
          </a:xfrm>
          <a:prstGeom prst="rect">
            <a:avLst/>
          </a:prstGeom>
          <a:noFill/>
        </p:spPr>
        <p:txBody>
          <a:bodyPr wrap="square" rtlCol="0">
            <a:spAutoFit/>
          </a:bodyPr>
          <a:lstStyle/>
          <a:p>
            <a:pPr algn="ctr" defTabSz="457139"/>
            <a:r>
              <a:rPr lang="en-US" sz="1000" b="1">
                <a:solidFill>
                  <a:srgbClr val="000000"/>
                </a:solidFill>
                <a:latin typeface="Arial"/>
              </a:rPr>
              <a:t>Income Per Month </a:t>
            </a:r>
          </a:p>
          <a:p>
            <a:pPr algn="ctr" defTabSz="457139"/>
            <a:r>
              <a:rPr lang="en-US" sz="1000" b="1">
                <a:solidFill>
                  <a:srgbClr val="000000"/>
                </a:solidFill>
                <a:latin typeface="Arial"/>
              </a:rPr>
              <a:t>(</a:t>
            </a:r>
            <a:r>
              <a:rPr lang="en-US" sz="1000" b="1" err="1">
                <a:solidFill>
                  <a:srgbClr val="000000"/>
                </a:solidFill>
                <a:latin typeface="Arial"/>
              </a:rPr>
              <a:t>Avg</a:t>
            </a:r>
            <a:r>
              <a:rPr lang="en-US" sz="1000" b="1">
                <a:solidFill>
                  <a:srgbClr val="000000"/>
                </a:solidFill>
                <a:latin typeface="Arial"/>
              </a:rPr>
              <a:t>)</a:t>
            </a:r>
            <a:endParaRPr lang="en-US" sz="1050" b="1">
              <a:solidFill>
                <a:srgbClr val="000000"/>
              </a:solidFill>
              <a:latin typeface="Arial"/>
            </a:endParaRPr>
          </a:p>
        </p:txBody>
      </p:sp>
      <p:sp>
        <p:nvSpPr>
          <p:cNvPr id="15" name="Rectangle 14">
            <a:extLst>
              <a:ext uri="{FF2B5EF4-FFF2-40B4-BE49-F238E27FC236}">
                <a16:creationId xmlns:a16="http://schemas.microsoft.com/office/drawing/2014/main" id="{C080D68E-239B-48F5-B254-F5D027F752BD}"/>
              </a:ext>
            </a:extLst>
          </p:cNvPr>
          <p:cNvSpPr/>
          <p:nvPr/>
        </p:nvSpPr>
        <p:spPr>
          <a:xfrm>
            <a:off x="3891213" y="1276098"/>
            <a:ext cx="3048000" cy="276999"/>
          </a:xfrm>
          <a:prstGeom prst="rect">
            <a:avLst/>
          </a:prstGeom>
          <a:solidFill>
            <a:srgbClr val="006301"/>
          </a:solidFill>
        </p:spPr>
        <p:txBody>
          <a:bodyPr wrap="square" anchor="ctr">
            <a:spAutoFit/>
          </a:bodyPr>
          <a:lstStyle/>
          <a:p>
            <a:pPr algn="ctr" defTabSz="457139"/>
            <a:r>
              <a:rPr lang="en-US" sz="1200" b="1">
                <a:solidFill>
                  <a:srgbClr val="FFFFFF"/>
                </a:solidFill>
                <a:latin typeface="Arial"/>
              </a:rPr>
              <a:t>Monthly Income _ Pre-Pandemic Period</a:t>
            </a:r>
          </a:p>
        </p:txBody>
      </p:sp>
      <p:sp>
        <p:nvSpPr>
          <p:cNvPr id="16" name="Rectangle 15">
            <a:extLst>
              <a:ext uri="{FF2B5EF4-FFF2-40B4-BE49-F238E27FC236}">
                <a16:creationId xmlns:a16="http://schemas.microsoft.com/office/drawing/2014/main" id="{14F9CD34-A358-4E28-B2ED-6FD47F2D2432}"/>
              </a:ext>
            </a:extLst>
          </p:cNvPr>
          <p:cNvSpPr/>
          <p:nvPr/>
        </p:nvSpPr>
        <p:spPr>
          <a:xfrm>
            <a:off x="8589393" y="1279577"/>
            <a:ext cx="2886075" cy="276999"/>
          </a:xfrm>
          <a:prstGeom prst="rect">
            <a:avLst/>
          </a:prstGeom>
          <a:solidFill>
            <a:srgbClr val="006301"/>
          </a:solidFill>
        </p:spPr>
        <p:txBody>
          <a:bodyPr wrap="square" anchor="ctr">
            <a:spAutoFit/>
          </a:bodyPr>
          <a:lstStyle/>
          <a:p>
            <a:pPr algn="ctr" defTabSz="457139"/>
            <a:r>
              <a:rPr lang="en-US" sz="1200" b="1">
                <a:solidFill>
                  <a:srgbClr val="FFFFFF"/>
                </a:solidFill>
                <a:latin typeface="Arial"/>
              </a:rPr>
              <a:t>Monthly Income _ Pandemic Period</a:t>
            </a:r>
          </a:p>
        </p:txBody>
      </p:sp>
      <p:graphicFrame>
        <p:nvGraphicFramePr>
          <p:cNvPr id="19" name="P_Chart">
            <a:extLst>
              <a:ext uri="{FF2B5EF4-FFF2-40B4-BE49-F238E27FC236}">
                <a16:creationId xmlns:a16="http://schemas.microsoft.com/office/drawing/2014/main" id="{10AA29DB-4B12-443F-A542-CFC0070EB8AD}"/>
              </a:ext>
            </a:extLst>
          </p:cNvPr>
          <p:cNvGraphicFramePr/>
          <p:nvPr/>
        </p:nvGraphicFramePr>
        <p:xfrm>
          <a:off x="5513115" y="4357176"/>
          <a:ext cx="2247362" cy="2288897"/>
        </p:xfrm>
        <a:graphic>
          <a:graphicData uri="http://schemas.openxmlformats.org/drawingml/2006/chart">
            <c:chart xmlns:c="http://schemas.openxmlformats.org/drawingml/2006/chart" xmlns:r="http://schemas.openxmlformats.org/officeDocument/2006/relationships" r:id="rId8"/>
          </a:graphicData>
        </a:graphic>
      </p:graphicFrame>
      <p:sp>
        <p:nvSpPr>
          <p:cNvPr id="20" name="Rectangle 19">
            <a:extLst>
              <a:ext uri="{FF2B5EF4-FFF2-40B4-BE49-F238E27FC236}">
                <a16:creationId xmlns:a16="http://schemas.microsoft.com/office/drawing/2014/main" id="{2175347D-472D-4D3D-AB27-030A48F0C7F3}"/>
              </a:ext>
            </a:extLst>
          </p:cNvPr>
          <p:cNvSpPr/>
          <p:nvPr/>
        </p:nvSpPr>
        <p:spPr>
          <a:xfrm>
            <a:off x="3910187" y="4138046"/>
            <a:ext cx="3374798" cy="338554"/>
          </a:xfrm>
          <a:prstGeom prst="rect">
            <a:avLst/>
          </a:prstGeom>
          <a:solidFill>
            <a:srgbClr val="006301"/>
          </a:solidFill>
        </p:spPr>
        <p:txBody>
          <a:bodyPr wrap="square">
            <a:spAutoFit/>
          </a:bodyPr>
          <a:lstStyle/>
          <a:p>
            <a:pPr algn="ctr"/>
            <a:r>
              <a:rPr lang="en-US" sz="1600" b="1">
                <a:solidFill>
                  <a:schemeClr val="bg1"/>
                </a:solidFill>
              </a:rPr>
              <a:t>Price Charged to Customers</a:t>
            </a:r>
          </a:p>
        </p:txBody>
      </p:sp>
      <p:sp>
        <p:nvSpPr>
          <p:cNvPr id="21" name="Rounded Rectangular Callout 13">
            <a:extLst>
              <a:ext uri="{FF2B5EF4-FFF2-40B4-BE49-F238E27FC236}">
                <a16:creationId xmlns:a16="http://schemas.microsoft.com/office/drawing/2014/main" id="{99055865-683D-44FE-B0EA-040CADE14222}"/>
              </a:ext>
            </a:extLst>
          </p:cNvPr>
          <p:cNvSpPr/>
          <p:nvPr/>
        </p:nvSpPr>
        <p:spPr>
          <a:xfrm>
            <a:off x="0" y="4423153"/>
            <a:ext cx="3679523" cy="1294744"/>
          </a:xfrm>
          <a:prstGeom prst="wedgeRoundRectCallout">
            <a:avLst>
              <a:gd name="adj1" fmla="val 75313"/>
              <a:gd name="adj2" fmla="val -20607"/>
              <a:gd name="adj3" fmla="val 16667"/>
            </a:avLst>
          </a:prstGeom>
          <a:solidFill>
            <a:srgbClr val="2157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a:solidFill>
                  <a:schemeClr val="bg1"/>
                </a:solidFill>
              </a:rPr>
              <a:t>Those who have increased price are likely to be part of those who have gained more customers due to the restriction of movement. And those who wish to make more money during this period.</a:t>
            </a:r>
          </a:p>
          <a:p>
            <a:pPr algn="ctr"/>
            <a:r>
              <a:rPr lang="en-US" sz="1400">
                <a:solidFill>
                  <a:schemeClr val="bg1"/>
                </a:solidFill>
              </a:rPr>
              <a:t>.</a:t>
            </a:r>
          </a:p>
        </p:txBody>
      </p:sp>
      <p:sp>
        <p:nvSpPr>
          <p:cNvPr id="22" name="Rounded Rectangular Callout 14">
            <a:extLst>
              <a:ext uri="{FF2B5EF4-FFF2-40B4-BE49-F238E27FC236}">
                <a16:creationId xmlns:a16="http://schemas.microsoft.com/office/drawing/2014/main" id="{8759E8A0-3BAB-4320-B2E6-4C1E3D7843D6}"/>
              </a:ext>
            </a:extLst>
          </p:cNvPr>
          <p:cNvSpPr/>
          <p:nvPr/>
        </p:nvSpPr>
        <p:spPr>
          <a:xfrm>
            <a:off x="8107682" y="4801280"/>
            <a:ext cx="3849499" cy="1579976"/>
          </a:xfrm>
          <a:prstGeom prst="wedgeRoundRectCallout">
            <a:avLst>
              <a:gd name="adj1" fmla="val -59801"/>
              <a:gd name="adj2" fmla="val -14548"/>
              <a:gd name="adj3" fmla="val 16667"/>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a:solidFill>
                  <a:schemeClr val="tx1"/>
                </a:solidFill>
              </a:rPr>
              <a:t>Mainly as a result of customers complaints of high charges, inability to pay the price charged due to cases of low/no income during the pandemic. In order to accommodate the customers the agents tend to perform the transaction at a lower price or for free</a:t>
            </a:r>
          </a:p>
          <a:p>
            <a:pPr algn="ctr"/>
            <a:endParaRPr lang="en-US" sz="1400">
              <a:solidFill>
                <a:schemeClr val="tx1"/>
              </a:solidFill>
            </a:endParaRPr>
          </a:p>
        </p:txBody>
      </p:sp>
      <p:sp>
        <p:nvSpPr>
          <p:cNvPr id="23" name="Rectangle 22">
            <a:extLst>
              <a:ext uri="{FF2B5EF4-FFF2-40B4-BE49-F238E27FC236}">
                <a16:creationId xmlns:a16="http://schemas.microsoft.com/office/drawing/2014/main" id="{6C31EBF4-CDEB-46BC-86A0-865BAFFE3D3E}"/>
              </a:ext>
            </a:extLst>
          </p:cNvPr>
          <p:cNvSpPr/>
          <p:nvPr/>
        </p:nvSpPr>
        <p:spPr>
          <a:xfrm>
            <a:off x="2462100" y="4638511"/>
            <a:ext cx="902427" cy="325538"/>
          </a:xfrm>
          <a:prstGeom prst="rect">
            <a:avLst/>
          </a:prstGeom>
        </p:spPr>
        <p:txBody>
          <a:bodyPr wrap="none">
            <a:spAutoFit/>
          </a:bodyPr>
          <a:lstStyle/>
          <a:p>
            <a:pPr algn="r">
              <a:lnSpc>
                <a:spcPct val="115000"/>
              </a:lnSpc>
              <a:tabLst>
                <a:tab pos="6841490" algn="r"/>
              </a:tabLst>
            </a:pPr>
            <a:r>
              <a:rPr lang="en-GB" sz="1400" b="1"/>
              <a:t>Increased</a:t>
            </a:r>
            <a:endParaRPr lang="en-US" sz="1400" b="1">
              <a:ea typeface="Calibri"/>
              <a:cs typeface="Times New Roman"/>
            </a:endParaRPr>
          </a:p>
        </p:txBody>
      </p:sp>
      <p:sp>
        <p:nvSpPr>
          <p:cNvPr id="24" name="Rectangle 23">
            <a:extLst>
              <a:ext uri="{FF2B5EF4-FFF2-40B4-BE49-F238E27FC236}">
                <a16:creationId xmlns:a16="http://schemas.microsoft.com/office/drawing/2014/main" id="{6763EE92-A28E-431C-A303-6E04DA0EFB2C}"/>
              </a:ext>
            </a:extLst>
          </p:cNvPr>
          <p:cNvSpPr/>
          <p:nvPr/>
        </p:nvSpPr>
        <p:spPr>
          <a:xfrm>
            <a:off x="-594383" y="5352357"/>
            <a:ext cx="1658403" cy="325538"/>
          </a:xfrm>
          <a:prstGeom prst="rect">
            <a:avLst/>
          </a:prstGeom>
        </p:spPr>
        <p:txBody>
          <a:bodyPr wrap="none">
            <a:spAutoFit/>
          </a:bodyPr>
          <a:lstStyle/>
          <a:p>
            <a:pPr algn="r">
              <a:lnSpc>
                <a:spcPct val="115000"/>
              </a:lnSpc>
              <a:tabLst>
                <a:tab pos="6841490" algn="r"/>
              </a:tabLst>
            </a:pPr>
            <a:r>
              <a:rPr lang="en-GB" sz="1400" b="1"/>
              <a:t>Remained the same</a:t>
            </a:r>
            <a:endParaRPr lang="en-US" sz="1400" b="1">
              <a:ea typeface="Calibri"/>
              <a:cs typeface="Times New Roman"/>
            </a:endParaRPr>
          </a:p>
        </p:txBody>
      </p:sp>
      <p:sp>
        <p:nvSpPr>
          <p:cNvPr id="25" name="Rectangle 24">
            <a:extLst>
              <a:ext uri="{FF2B5EF4-FFF2-40B4-BE49-F238E27FC236}">
                <a16:creationId xmlns:a16="http://schemas.microsoft.com/office/drawing/2014/main" id="{E986775D-076C-4E08-B3F5-B51531CDEA82}"/>
              </a:ext>
            </a:extLst>
          </p:cNvPr>
          <p:cNvSpPr/>
          <p:nvPr/>
        </p:nvSpPr>
        <p:spPr>
          <a:xfrm>
            <a:off x="2225800" y="6103936"/>
            <a:ext cx="961737" cy="325538"/>
          </a:xfrm>
          <a:prstGeom prst="rect">
            <a:avLst/>
          </a:prstGeom>
        </p:spPr>
        <p:txBody>
          <a:bodyPr wrap="none">
            <a:spAutoFit/>
          </a:bodyPr>
          <a:lstStyle/>
          <a:p>
            <a:pPr algn="r">
              <a:lnSpc>
                <a:spcPct val="115000"/>
              </a:lnSpc>
              <a:tabLst>
                <a:tab pos="6841490" algn="r"/>
              </a:tabLst>
            </a:pPr>
            <a:r>
              <a:rPr lang="en-GB" sz="1400" b="1"/>
              <a:t>Decreased</a:t>
            </a:r>
            <a:endParaRPr lang="en-US" sz="1400" b="1">
              <a:ea typeface="Calibri"/>
              <a:cs typeface="Times New Roman"/>
            </a:endParaRPr>
          </a:p>
        </p:txBody>
      </p:sp>
      <p:cxnSp>
        <p:nvCxnSpPr>
          <p:cNvPr id="26" name="Straight Connector 25">
            <a:extLst>
              <a:ext uri="{FF2B5EF4-FFF2-40B4-BE49-F238E27FC236}">
                <a16:creationId xmlns:a16="http://schemas.microsoft.com/office/drawing/2014/main" id="{240E51FE-CA0D-4ADF-A5DC-FA6CBAECBC28}"/>
              </a:ext>
            </a:extLst>
          </p:cNvPr>
          <p:cNvCxnSpPr/>
          <p:nvPr/>
        </p:nvCxnSpPr>
        <p:spPr>
          <a:xfrm>
            <a:off x="394449" y="3991087"/>
            <a:ext cx="11349317" cy="0"/>
          </a:xfrm>
          <a:prstGeom prst="line">
            <a:avLst/>
          </a:prstGeom>
        </p:spPr>
        <p:style>
          <a:lnRef idx="2">
            <a:schemeClr val="dk1"/>
          </a:lnRef>
          <a:fillRef idx="0">
            <a:schemeClr val="dk1"/>
          </a:fillRef>
          <a:effectRef idx="1">
            <a:schemeClr val="dk1"/>
          </a:effectRef>
          <a:fontRef idx="minor">
            <a:schemeClr val="tx1"/>
          </a:fontRef>
        </p:style>
      </p:cxnSp>
      <p:sp>
        <p:nvSpPr>
          <p:cNvPr id="27" name="Rectangle 26">
            <a:extLst>
              <a:ext uri="{FF2B5EF4-FFF2-40B4-BE49-F238E27FC236}">
                <a16:creationId xmlns:a16="http://schemas.microsoft.com/office/drawing/2014/main" id="{B567EE70-F843-427E-AEED-8A1EDD3A9803}"/>
              </a:ext>
            </a:extLst>
          </p:cNvPr>
          <p:cNvSpPr/>
          <p:nvPr/>
        </p:nvSpPr>
        <p:spPr>
          <a:xfrm>
            <a:off x="6372225" y="1779033"/>
            <a:ext cx="1735453" cy="1401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60559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0D6406-3905-441E-80A2-FDA59CC941DE}"/>
              </a:ext>
            </a:extLst>
          </p:cNvPr>
          <p:cNvSpPr>
            <a:spLocks noGrp="1"/>
          </p:cNvSpPr>
          <p:nvPr>
            <p:ph type="sldNum" sz="quarter" idx="11"/>
          </p:nvPr>
        </p:nvSpPr>
        <p:spPr/>
        <p:txBody>
          <a:bodyPr/>
          <a:lstStyle/>
          <a:p>
            <a:pPr>
              <a:defRPr/>
            </a:pPr>
            <a:fld id="{47794585-347E-4355-955C-F2766ACC4F25}" type="slidenum">
              <a:rPr lang="en-US" smtClean="0"/>
              <a:pPr>
                <a:defRPr/>
              </a:pPr>
              <a:t>13</a:t>
            </a:fld>
            <a:endParaRPr lang="en-US"/>
          </a:p>
        </p:txBody>
      </p:sp>
      <p:sp>
        <p:nvSpPr>
          <p:cNvPr id="5" name="Title 2">
            <a:extLst>
              <a:ext uri="{FF2B5EF4-FFF2-40B4-BE49-F238E27FC236}">
                <a16:creationId xmlns:a16="http://schemas.microsoft.com/office/drawing/2014/main" id="{8A59037A-4F4A-4FC2-B9DA-CA99179644AE}"/>
              </a:ext>
            </a:extLst>
          </p:cNvPr>
          <p:cNvSpPr txBox="1">
            <a:spLocks/>
          </p:cNvSpPr>
          <p:nvPr/>
        </p:nvSpPr>
        <p:spPr>
          <a:xfrm>
            <a:off x="2386645" y="314958"/>
            <a:ext cx="9938483" cy="472499"/>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00" i="1">
                <a:latin typeface="+mn-lt"/>
              </a:rPr>
              <a:t>Banks, ATM &amp; money from own business remains the preferred methods of rebalancing at this time. Banks are generally perceived as being safe and reliable.  </a:t>
            </a:r>
          </a:p>
        </p:txBody>
      </p:sp>
      <p:sp>
        <p:nvSpPr>
          <p:cNvPr id="7" name="Rectangle 6">
            <a:extLst>
              <a:ext uri="{FF2B5EF4-FFF2-40B4-BE49-F238E27FC236}">
                <a16:creationId xmlns:a16="http://schemas.microsoft.com/office/drawing/2014/main" id="{7BD28F78-6605-4366-8B0F-4F0CA6FD4284}"/>
              </a:ext>
            </a:extLst>
          </p:cNvPr>
          <p:cNvSpPr/>
          <p:nvPr/>
        </p:nvSpPr>
        <p:spPr>
          <a:xfrm>
            <a:off x="85725" y="6306792"/>
            <a:ext cx="8518874" cy="530915"/>
          </a:xfrm>
          <a:prstGeom prst="rect">
            <a:avLst/>
          </a:prstGeom>
        </p:spPr>
        <p:txBody>
          <a:bodyPr wrap="square" lIns="68580" tIns="34290" rIns="68580" bIns="34290">
            <a:spAutoFit/>
          </a:bodyPr>
          <a:lstStyle/>
          <a:p>
            <a:pPr lvl="0"/>
            <a:r>
              <a:rPr lang="en-US" sz="1000"/>
              <a:t>Base: n=735 </a:t>
            </a:r>
          </a:p>
          <a:p>
            <a:pPr lvl="0"/>
            <a:r>
              <a:rPr lang="en-US" sz="1000"/>
              <a:t>Q14a. What methods do you use in managing your rebalancing of float since the pandemic started? (Multiple Response)</a:t>
            </a:r>
          </a:p>
          <a:p>
            <a:pPr lvl="0"/>
            <a:r>
              <a:rPr lang="en-US" sz="1000"/>
              <a:t>Q14b. What methods/options of rebalancing would you prefer? (Multiple Response)</a:t>
            </a:r>
          </a:p>
        </p:txBody>
      </p:sp>
      <p:pic>
        <p:nvPicPr>
          <p:cNvPr id="8" name="Picture 7">
            <a:extLst>
              <a:ext uri="{FF2B5EF4-FFF2-40B4-BE49-F238E27FC236}">
                <a16:creationId xmlns:a16="http://schemas.microsoft.com/office/drawing/2014/main" id="{D618A8C5-BEDD-4AE4-8C16-1601DB4D0E1A}"/>
              </a:ext>
            </a:extLst>
          </p:cNvPr>
          <p:cNvPicPr>
            <a:picLocks noChangeAspect="1"/>
          </p:cNvPicPr>
          <p:nvPr/>
        </p:nvPicPr>
        <p:blipFill rotWithShape="1">
          <a:blip r:embed="rId2"/>
          <a:srcRect l="18140" t="22325" r="5116" b="13644"/>
          <a:stretch/>
        </p:blipFill>
        <p:spPr>
          <a:xfrm>
            <a:off x="744944" y="1265274"/>
            <a:ext cx="10942315" cy="5041518"/>
          </a:xfrm>
          <a:prstGeom prst="rect">
            <a:avLst/>
          </a:prstGeom>
        </p:spPr>
      </p:pic>
    </p:spTree>
    <p:extLst>
      <p:ext uri="{BB962C8B-B14F-4D97-AF65-F5344CB8AC3E}">
        <p14:creationId xmlns:p14="http://schemas.microsoft.com/office/powerpoint/2010/main" val="2836630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2A7FD04-F1ED-45AD-980D-0AD74D2C9828}"/>
              </a:ext>
            </a:extLst>
          </p:cNvPr>
          <p:cNvSpPr>
            <a:spLocks noGrp="1"/>
          </p:cNvSpPr>
          <p:nvPr>
            <p:ph type="sldNum" sz="quarter" idx="11"/>
          </p:nvPr>
        </p:nvSpPr>
        <p:spPr/>
        <p:txBody>
          <a:bodyPr/>
          <a:lstStyle/>
          <a:p>
            <a:pPr>
              <a:defRPr/>
            </a:pPr>
            <a:fld id="{47794585-347E-4355-955C-F2766ACC4F25}" type="slidenum">
              <a:rPr lang="en-US" smtClean="0"/>
              <a:pPr>
                <a:defRPr/>
              </a:pPr>
              <a:t>14</a:t>
            </a:fld>
            <a:endParaRPr lang="en-US"/>
          </a:p>
        </p:txBody>
      </p:sp>
      <p:graphicFrame>
        <p:nvGraphicFramePr>
          <p:cNvPr id="5" name="Chart 4">
            <a:extLst>
              <a:ext uri="{FF2B5EF4-FFF2-40B4-BE49-F238E27FC236}">
                <a16:creationId xmlns:a16="http://schemas.microsoft.com/office/drawing/2014/main" id="{08AC25EE-AF4C-4B2D-A332-65A4F8F2BF56}"/>
              </a:ext>
            </a:extLst>
          </p:cNvPr>
          <p:cNvGraphicFramePr>
            <a:graphicFrameLocks/>
          </p:cNvGraphicFramePr>
          <p:nvPr/>
        </p:nvGraphicFramePr>
        <p:xfrm>
          <a:off x="571499" y="1148316"/>
          <a:ext cx="10206197" cy="5061098"/>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2">
            <a:extLst>
              <a:ext uri="{FF2B5EF4-FFF2-40B4-BE49-F238E27FC236}">
                <a16:creationId xmlns:a16="http://schemas.microsoft.com/office/drawing/2014/main" id="{D051385B-745F-49E9-826C-5DB2C4EBC073}"/>
              </a:ext>
            </a:extLst>
          </p:cNvPr>
          <p:cNvSpPr txBox="1">
            <a:spLocks/>
          </p:cNvSpPr>
          <p:nvPr/>
        </p:nvSpPr>
        <p:spPr>
          <a:xfrm>
            <a:off x="2063774" y="441040"/>
            <a:ext cx="9756751" cy="415091"/>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ctr"/>
            <a:r>
              <a:rPr lang="en-US" sz="1800" i="1">
                <a:latin typeface="+mn-lt"/>
              </a:rPr>
              <a:t>Personal savings and other sources of income have been instrumental to agent’s resilience to the pandemic</a:t>
            </a:r>
          </a:p>
        </p:txBody>
      </p:sp>
      <p:sp>
        <p:nvSpPr>
          <p:cNvPr id="7" name="Rounded Rectangle 7">
            <a:extLst>
              <a:ext uri="{FF2B5EF4-FFF2-40B4-BE49-F238E27FC236}">
                <a16:creationId xmlns:a16="http://schemas.microsoft.com/office/drawing/2014/main" id="{4A2E2244-4E57-4417-8232-F463EF2CA104}"/>
              </a:ext>
            </a:extLst>
          </p:cNvPr>
          <p:cNvSpPr/>
          <p:nvPr/>
        </p:nvSpPr>
        <p:spPr>
          <a:xfrm>
            <a:off x="7286673" y="4231392"/>
            <a:ext cx="3491023" cy="1478292"/>
          </a:xfrm>
          <a:prstGeom prst="roundRect">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solidFill>
                  <a:schemeClr val="bg1"/>
                </a:solidFill>
              </a:rPr>
              <a:t>Support from the government during this period has been poor likewise from the principals.</a:t>
            </a:r>
            <a:endParaRPr lang="en-US" sz="700" b="1">
              <a:solidFill>
                <a:schemeClr val="bg1"/>
              </a:solidFill>
            </a:endParaRPr>
          </a:p>
        </p:txBody>
      </p:sp>
      <p:sp>
        <p:nvSpPr>
          <p:cNvPr id="8" name="Rectangle 7">
            <a:extLst>
              <a:ext uri="{FF2B5EF4-FFF2-40B4-BE49-F238E27FC236}">
                <a16:creationId xmlns:a16="http://schemas.microsoft.com/office/drawing/2014/main" id="{17F1A907-EBC7-4F26-8B43-59B79779289A}"/>
              </a:ext>
            </a:extLst>
          </p:cNvPr>
          <p:cNvSpPr/>
          <p:nvPr/>
        </p:nvSpPr>
        <p:spPr>
          <a:xfrm>
            <a:off x="0" y="6446072"/>
            <a:ext cx="8518874" cy="377026"/>
          </a:xfrm>
          <a:prstGeom prst="rect">
            <a:avLst/>
          </a:prstGeom>
        </p:spPr>
        <p:txBody>
          <a:bodyPr wrap="square" lIns="68580" tIns="34290" rIns="68580" bIns="34290">
            <a:spAutoFit/>
          </a:bodyPr>
          <a:lstStyle/>
          <a:p>
            <a:r>
              <a:rPr lang="en-US" sz="1000">
                <a:solidFill>
                  <a:srgbClr val="FF0000"/>
                </a:solidFill>
              </a:rPr>
              <a:t>Base: n=63 </a:t>
            </a:r>
            <a:r>
              <a:rPr lang="en-US" sz="1000"/>
              <a:t>(Those whose price/charges have decreased). </a:t>
            </a:r>
            <a:r>
              <a:rPr lang="en-US" sz="1000">
                <a:solidFill>
                  <a:srgbClr val="FF0000"/>
                </a:solidFill>
              </a:rPr>
              <a:t>(caution based on small sample)</a:t>
            </a:r>
          </a:p>
          <a:p>
            <a:pPr lvl="0"/>
            <a:r>
              <a:rPr lang="en-US" sz="1000"/>
              <a:t>Q15b.How have you and your household been coping financially since the Corona virus / COVID-19 pandemic started? MA.</a:t>
            </a:r>
          </a:p>
        </p:txBody>
      </p:sp>
      <p:sp>
        <p:nvSpPr>
          <p:cNvPr id="9" name="TextBox 8">
            <a:extLst>
              <a:ext uri="{FF2B5EF4-FFF2-40B4-BE49-F238E27FC236}">
                <a16:creationId xmlns:a16="http://schemas.microsoft.com/office/drawing/2014/main" id="{CC571878-FDC5-4657-83C3-E2707895C592}"/>
              </a:ext>
            </a:extLst>
          </p:cNvPr>
          <p:cNvSpPr txBox="1"/>
          <p:nvPr/>
        </p:nvSpPr>
        <p:spPr>
          <a:xfrm>
            <a:off x="85725" y="3448032"/>
            <a:ext cx="3419475" cy="461665"/>
          </a:xfrm>
          <a:prstGeom prst="rect">
            <a:avLst/>
          </a:prstGeom>
          <a:noFill/>
        </p:spPr>
        <p:txBody>
          <a:bodyPr wrap="square" rtlCol="0">
            <a:spAutoFit/>
          </a:bodyPr>
          <a:lstStyle/>
          <a:p>
            <a:pPr defTabSz="457200"/>
            <a:r>
              <a:rPr lang="en-US" sz="2400" b="1">
                <a:solidFill>
                  <a:srgbClr val="21572B"/>
                </a:solidFill>
              </a:rPr>
              <a:t>COPING MECHANISM (%)</a:t>
            </a:r>
          </a:p>
        </p:txBody>
      </p:sp>
    </p:spTree>
    <p:extLst>
      <p:ext uri="{BB962C8B-B14F-4D97-AF65-F5344CB8AC3E}">
        <p14:creationId xmlns:p14="http://schemas.microsoft.com/office/powerpoint/2010/main" val="32059168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66AD118-2112-4239-BD60-C606F3E65471}"/>
              </a:ext>
            </a:extLst>
          </p:cNvPr>
          <p:cNvSpPr>
            <a:spLocks noGrp="1"/>
          </p:cNvSpPr>
          <p:nvPr>
            <p:ph type="sldNum" sz="quarter" idx="11"/>
          </p:nvPr>
        </p:nvSpPr>
        <p:spPr/>
        <p:txBody>
          <a:bodyPr/>
          <a:lstStyle/>
          <a:p>
            <a:pPr>
              <a:defRPr/>
            </a:pPr>
            <a:fld id="{47794585-347E-4355-955C-F2766ACC4F25}" type="slidenum">
              <a:rPr lang="en-US" smtClean="0"/>
              <a:pPr>
                <a:defRPr/>
              </a:pPr>
              <a:t>15</a:t>
            </a:fld>
            <a:endParaRPr lang="en-US"/>
          </a:p>
        </p:txBody>
      </p:sp>
      <p:graphicFrame>
        <p:nvGraphicFramePr>
          <p:cNvPr id="5" name="Chart 4">
            <a:extLst>
              <a:ext uri="{FF2B5EF4-FFF2-40B4-BE49-F238E27FC236}">
                <a16:creationId xmlns:a16="http://schemas.microsoft.com/office/drawing/2014/main" id="{201879AD-86D5-48FB-9A34-7DE2115AF90A}"/>
              </a:ext>
            </a:extLst>
          </p:cNvPr>
          <p:cNvGraphicFramePr>
            <a:graphicFrameLocks/>
          </p:cNvGraphicFramePr>
          <p:nvPr/>
        </p:nvGraphicFramePr>
        <p:xfrm>
          <a:off x="2555801" y="1394241"/>
          <a:ext cx="9579941" cy="5187316"/>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9C4C7BBE-50DD-43A0-80D7-2ED01AC4F6B5}"/>
              </a:ext>
            </a:extLst>
          </p:cNvPr>
          <p:cNvSpPr/>
          <p:nvPr/>
        </p:nvSpPr>
        <p:spPr>
          <a:xfrm>
            <a:off x="4437764" y="1055686"/>
            <a:ext cx="6751674" cy="338554"/>
          </a:xfrm>
          <a:prstGeom prst="rect">
            <a:avLst/>
          </a:prstGeom>
          <a:solidFill>
            <a:srgbClr val="21572B"/>
          </a:solidFill>
        </p:spPr>
        <p:txBody>
          <a:bodyPr wrap="square">
            <a:spAutoFit/>
          </a:bodyPr>
          <a:lstStyle/>
          <a:p>
            <a:pPr algn="ctr"/>
            <a:r>
              <a:rPr lang="en-US" sz="1600" b="1">
                <a:solidFill>
                  <a:schemeClr val="bg1"/>
                </a:solidFill>
              </a:rPr>
              <a:t>How Can You Support the fight against the Corona Virus?</a:t>
            </a:r>
          </a:p>
        </p:txBody>
      </p:sp>
      <p:sp>
        <p:nvSpPr>
          <p:cNvPr id="7" name="Rounded Rectangular Callout 11">
            <a:extLst>
              <a:ext uri="{FF2B5EF4-FFF2-40B4-BE49-F238E27FC236}">
                <a16:creationId xmlns:a16="http://schemas.microsoft.com/office/drawing/2014/main" id="{86F0B50B-8DAE-4723-979C-543CEDBB9B16}"/>
              </a:ext>
            </a:extLst>
          </p:cNvPr>
          <p:cNvSpPr/>
          <p:nvPr/>
        </p:nvSpPr>
        <p:spPr>
          <a:xfrm>
            <a:off x="8712051" y="3588746"/>
            <a:ext cx="3434317" cy="2287071"/>
          </a:xfrm>
          <a:prstGeom prst="wedgeRoundRectCallout">
            <a:avLst>
              <a:gd name="adj1" fmla="val 15264"/>
              <a:gd name="adj2" fmla="val -125250"/>
              <a:gd name="adj3" fmla="val 16667"/>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US" sz="1400" b="1">
                <a:solidFill>
                  <a:schemeClr val="bg1"/>
                </a:solidFill>
              </a:rPr>
              <a:t>The agents are already providing support by adhering to safety measures and also educating customers/community about the virus, they have done this as part of the measures taken since the pandemic started. </a:t>
            </a:r>
          </a:p>
          <a:p>
            <a:pPr algn="ctr"/>
            <a:endParaRPr lang="en-US" sz="1400" b="1">
              <a:solidFill>
                <a:schemeClr val="bg1"/>
              </a:solidFill>
            </a:endParaRPr>
          </a:p>
          <a:p>
            <a:pPr algn="ctr"/>
            <a:r>
              <a:rPr lang="en-US" sz="1400" b="1">
                <a:solidFill>
                  <a:schemeClr val="bg1"/>
                </a:solidFill>
              </a:rPr>
              <a:t>More can be done if only they receive the necessary support from their principals.</a:t>
            </a:r>
          </a:p>
        </p:txBody>
      </p:sp>
      <p:sp>
        <p:nvSpPr>
          <p:cNvPr id="8" name="Rectangle 7">
            <a:extLst>
              <a:ext uri="{FF2B5EF4-FFF2-40B4-BE49-F238E27FC236}">
                <a16:creationId xmlns:a16="http://schemas.microsoft.com/office/drawing/2014/main" id="{57A5A0E9-D033-40C9-B980-F8100E2745AC}"/>
              </a:ext>
            </a:extLst>
          </p:cNvPr>
          <p:cNvSpPr/>
          <p:nvPr/>
        </p:nvSpPr>
        <p:spPr>
          <a:xfrm>
            <a:off x="57150" y="6327085"/>
            <a:ext cx="8518874" cy="530915"/>
          </a:xfrm>
          <a:prstGeom prst="rect">
            <a:avLst/>
          </a:prstGeom>
        </p:spPr>
        <p:txBody>
          <a:bodyPr wrap="square" lIns="68580" tIns="34290" rIns="68580" bIns="34290">
            <a:spAutoFit/>
          </a:bodyPr>
          <a:lstStyle/>
          <a:p>
            <a:pPr lvl="0"/>
            <a:r>
              <a:rPr lang="en-US" sz="1000"/>
              <a:t>Base: n=735</a:t>
            </a:r>
          </a:p>
          <a:p>
            <a:pPr lvl="0"/>
            <a:r>
              <a:rPr lang="en-US" sz="1000"/>
              <a:t>Q18. Are you willing to be part of a support system in the fight against the Corona virus disease/ COVID-19 SA</a:t>
            </a:r>
          </a:p>
          <a:p>
            <a:pPr lvl="0"/>
            <a:r>
              <a:rPr lang="en-US" sz="1000"/>
              <a:t>Q19. In your opinion, how can you support the fight against the Corona virus disease/COVID-19?</a:t>
            </a:r>
          </a:p>
        </p:txBody>
      </p:sp>
      <p:sp>
        <p:nvSpPr>
          <p:cNvPr id="9" name="Title 2">
            <a:extLst>
              <a:ext uri="{FF2B5EF4-FFF2-40B4-BE49-F238E27FC236}">
                <a16:creationId xmlns:a16="http://schemas.microsoft.com/office/drawing/2014/main" id="{B7DA58F6-BE63-48DC-99F8-986B952E2173}"/>
              </a:ext>
            </a:extLst>
          </p:cNvPr>
          <p:cNvSpPr txBox="1">
            <a:spLocks/>
          </p:cNvSpPr>
          <p:nvPr/>
        </p:nvSpPr>
        <p:spPr>
          <a:xfrm>
            <a:off x="2343150" y="349946"/>
            <a:ext cx="9694497" cy="472499"/>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00" i="1">
                <a:latin typeface="+mn-lt"/>
              </a:rPr>
              <a:t>Despite bad business conditions and little or no support received from principals, the agent are still willing to render support hence should be activated to aid the fight against the spread.</a:t>
            </a:r>
          </a:p>
        </p:txBody>
      </p:sp>
      <p:graphicFrame>
        <p:nvGraphicFramePr>
          <p:cNvPr id="11" name="Content Placeholder 3">
            <a:extLst>
              <a:ext uri="{FF2B5EF4-FFF2-40B4-BE49-F238E27FC236}">
                <a16:creationId xmlns:a16="http://schemas.microsoft.com/office/drawing/2014/main" id="{D98914AA-2CE8-41E8-84B3-305FB34ACF29}"/>
              </a:ext>
            </a:extLst>
          </p:cNvPr>
          <p:cNvGraphicFramePr>
            <a:graphicFrameLocks/>
          </p:cNvGraphicFramePr>
          <p:nvPr/>
        </p:nvGraphicFramePr>
        <p:xfrm>
          <a:off x="361950" y="1504950"/>
          <a:ext cx="2927498" cy="2611582"/>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D3B62ACE-12EC-4708-99FE-E5362D0EAA0A}"/>
              </a:ext>
            </a:extLst>
          </p:cNvPr>
          <p:cNvSpPr txBox="1"/>
          <p:nvPr/>
        </p:nvSpPr>
        <p:spPr>
          <a:xfrm>
            <a:off x="512206" y="4250503"/>
            <a:ext cx="2626986" cy="646331"/>
          </a:xfrm>
          <a:prstGeom prst="rect">
            <a:avLst/>
          </a:prstGeom>
          <a:noFill/>
        </p:spPr>
        <p:txBody>
          <a:bodyPr wrap="square" rtlCol="0" anchor="ctr">
            <a:spAutoFit/>
          </a:bodyPr>
          <a:lstStyle/>
          <a:p>
            <a:pPr algn="just" defTabSz="457139"/>
            <a:r>
              <a:rPr lang="en-US" sz="1200" b="1">
                <a:solidFill>
                  <a:srgbClr val="000000"/>
                </a:solidFill>
                <a:latin typeface="Arial"/>
                <a:cs typeface="Poppins" pitchFamily="2" charset="77"/>
              </a:rPr>
              <a:t>Willing to be part of the support system in the fight against the Corona Virus disease</a:t>
            </a:r>
          </a:p>
        </p:txBody>
      </p:sp>
    </p:spTree>
    <p:extLst>
      <p:ext uri="{BB962C8B-B14F-4D97-AF65-F5344CB8AC3E}">
        <p14:creationId xmlns:p14="http://schemas.microsoft.com/office/powerpoint/2010/main" val="31741582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238B6C3-6631-48A8-995A-A0304B4DAA2A}"/>
              </a:ext>
            </a:extLst>
          </p:cNvPr>
          <p:cNvSpPr>
            <a:spLocks noGrp="1"/>
          </p:cNvSpPr>
          <p:nvPr>
            <p:ph type="sldNum" sz="quarter" idx="11"/>
          </p:nvPr>
        </p:nvSpPr>
        <p:spPr/>
        <p:txBody>
          <a:bodyPr/>
          <a:lstStyle/>
          <a:p>
            <a:pPr>
              <a:defRPr/>
            </a:pPr>
            <a:fld id="{47794585-347E-4355-955C-F2766ACC4F25}" type="slidenum">
              <a:rPr lang="en-US" smtClean="0"/>
              <a:pPr>
                <a:defRPr/>
              </a:pPr>
              <a:t>16</a:t>
            </a:fld>
            <a:endParaRPr lang="en-US"/>
          </a:p>
        </p:txBody>
      </p:sp>
      <p:grpSp>
        <p:nvGrpSpPr>
          <p:cNvPr id="5" name="Group 4">
            <a:extLst>
              <a:ext uri="{FF2B5EF4-FFF2-40B4-BE49-F238E27FC236}">
                <a16:creationId xmlns:a16="http://schemas.microsoft.com/office/drawing/2014/main" id="{383A04C2-A265-4ABD-8A06-CCD2979C183C}"/>
              </a:ext>
            </a:extLst>
          </p:cNvPr>
          <p:cNvGrpSpPr/>
          <p:nvPr/>
        </p:nvGrpSpPr>
        <p:grpSpPr>
          <a:xfrm>
            <a:off x="764825" y="1400396"/>
            <a:ext cx="10662349" cy="4213594"/>
            <a:chOff x="427409" y="1123950"/>
            <a:chExt cx="8259390" cy="3048000"/>
          </a:xfrm>
        </p:grpSpPr>
        <p:grpSp>
          <p:nvGrpSpPr>
            <p:cNvPr id="6" name="Group 5">
              <a:extLst>
                <a:ext uri="{FF2B5EF4-FFF2-40B4-BE49-F238E27FC236}">
                  <a16:creationId xmlns:a16="http://schemas.microsoft.com/office/drawing/2014/main" id="{FA712ED3-4F60-4E7D-BAC7-E4AE36C671D2}"/>
                </a:ext>
              </a:extLst>
            </p:cNvPr>
            <p:cNvGrpSpPr/>
            <p:nvPr/>
          </p:nvGrpSpPr>
          <p:grpSpPr>
            <a:xfrm>
              <a:off x="427413" y="1123950"/>
              <a:ext cx="7920373" cy="864722"/>
              <a:chOff x="427413" y="1200150"/>
              <a:chExt cx="7920373" cy="864722"/>
            </a:xfrm>
          </p:grpSpPr>
          <p:grpSp>
            <p:nvGrpSpPr>
              <p:cNvPr id="29" name="Group 719">
                <a:extLst>
                  <a:ext uri="{FF2B5EF4-FFF2-40B4-BE49-F238E27FC236}">
                    <a16:creationId xmlns:a16="http://schemas.microsoft.com/office/drawing/2014/main" id="{09D0EA26-933D-4621-89A9-8302C0BDB213}"/>
                  </a:ext>
                </a:extLst>
              </p:cNvPr>
              <p:cNvGrpSpPr/>
              <p:nvPr/>
            </p:nvGrpSpPr>
            <p:grpSpPr>
              <a:xfrm>
                <a:off x="427413" y="1200150"/>
                <a:ext cx="3747418" cy="864722"/>
                <a:chOff x="-1" y="-1"/>
                <a:chExt cx="4996556" cy="1152961"/>
              </a:xfrm>
            </p:grpSpPr>
            <p:sp>
              <p:nvSpPr>
                <p:cNvPr id="34" name="Shape 712">
                  <a:extLst>
                    <a:ext uri="{FF2B5EF4-FFF2-40B4-BE49-F238E27FC236}">
                      <a16:creationId xmlns:a16="http://schemas.microsoft.com/office/drawing/2014/main" id="{369BBCE5-FC85-4DF3-8224-F0E5A6EDD9D9}"/>
                    </a:ext>
                  </a:extLst>
                </p:cNvPr>
                <p:cNvSpPr/>
                <p:nvPr/>
              </p:nvSpPr>
              <p:spPr>
                <a:xfrm flipH="1">
                  <a:off x="-1" y="166678"/>
                  <a:ext cx="4191989" cy="818352"/>
                </a:xfrm>
                <a:prstGeom prst="rect">
                  <a:avLst/>
                </a:prstGeom>
                <a:solidFill>
                  <a:schemeClr val="bg1">
                    <a:lumMod val="95000"/>
                  </a:schemeClr>
                </a:solidFill>
                <a:ln w="12700" cap="flat">
                  <a:noFill/>
                  <a:miter lim="400000"/>
                </a:ln>
                <a:effectLst/>
              </p:spPr>
              <p:txBody>
                <a:bodyPr wrap="square" lIns="34289" tIns="34289" rIns="34289" bIns="34289" numCol="1" anchor="ctr">
                  <a:noAutofit/>
                </a:bodyPr>
                <a:lstStyle/>
                <a:p>
                  <a:pPr algn="ctr" defTabSz="685766">
                    <a:defRPr/>
                  </a:pPr>
                  <a:r>
                    <a:rPr lang="en-US" sz="2100" b="1" kern="0">
                      <a:solidFill>
                        <a:prstClr val="white"/>
                      </a:solidFill>
                      <a:cs typeface="Archivo Narrow" panose="020B0604020202020204" charset="0"/>
                    </a:rPr>
                    <a:t>Introduction</a:t>
                  </a:r>
                </a:p>
              </p:txBody>
            </p:sp>
            <p:grpSp>
              <p:nvGrpSpPr>
                <p:cNvPr id="35" name="Group 716">
                  <a:extLst>
                    <a:ext uri="{FF2B5EF4-FFF2-40B4-BE49-F238E27FC236}">
                      <a16:creationId xmlns:a16="http://schemas.microsoft.com/office/drawing/2014/main" id="{B8BCD6D8-D45F-494E-B131-3074B188910A}"/>
                    </a:ext>
                  </a:extLst>
                </p:cNvPr>
                <p:cNvGrpSpPr/>
                <p:nvPr/>
              </p:nvGrpSpPr>
              <p:grpSpPr>
                <a:xfrm>
                  <a:off x="4191985" y="-1"/>
                  <a:ext cx="804570" cy="1152961"/>
                  <a:chOff x="0" y="0"/>
                  <a:chExt cx="804566" cy="1152958"/>
                </a:xfrm>
              </p:grpSpPr>
              <p:sp>
                <p:nvSpPr>
                  <p:cNvPr id="36" name="Shape 713">
                    <a:extLst>
                      <a:ext uri="{FF2B5EF4-FFF2-40B4-BE49-F238E27FC236}">
                        <a16:creationId xmlns:a16="http://schemas.microsoft.com/office/drawing/2014/main" id="{A9716247-11F3-4CE5-91A4-B56FE9BB2E7A}"/>
                      </a:ext>
                    </a:extLst>
                  </p:cNvPr>
                  <p:cNvSpPr/>
                  <p:nvPr/>
                </p:nvSpPr>
                <p:spPr>
                  <a:xfrm flipH="1">
                    <a:off x="0" y="166677"/>
                    <a:ext cx="402284" cy="986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922"/>
                        </a:lnTo>
                        <a:lnTo>
                          <a:pt x="21600" y="0"/>
                        </a:lnTo>
                        <a:lnTo>
                          <a:pt x="0" y="3733"/>
                        </a:lnTo>
                        <a:lnTo>
                          <a:pt x="0" y="21600"/>
                        </a:lnTo>
                        <a:close/>
                      </a:path>
                    </a:pathLst>
                  </a:custGeom>
                  <a:solidFill>
                    <a:schemeClr val="bg1">
                      <a:lumMod val="95000"/>
                      <a:alpha val="90000"/>
                    </a:schemeClr>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37" name="Shape 714">
                    <a:extLst>
                      <a:ext uri="{FF2B5EF4-FFF2-40B4-BE49-F238E27FC236}">
                        <a16:creationId xmlns:a16="http://schemas.microsoft.com/office/drawing/2014/main" id="{DF857706-B717-4F7E-9DBF-D9557C09A05B}"/>
                      </a:ext>
                    </a:extLst>
                  </p:cNvPr>
                  <p:cNvSpPr/>
                  <p:nvPr/>
                </p:nvSpPr>
                <p:spPr>
                  <a:xfrm flipH="1">
                    <a:off x="402283" y="166677"/>
                    <a:ext cx="402284" cy="98628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922"/>
                        </a:lnTo>
                        <a:lnTo>
                          <a:pt x="0" y="0"/>
                        </a:lnTo>
                        <a:lnTo>
                          <a:pt x="21600" y="3733"/>
                        </a:lnTo>
                        <a:lnTo>
                          <a:pt x="21600" y="21600"/>
                        </a:lnTo>
                        <a:close/>
                      </a:path>
                    </a:pathLst>
                  </a:custGeom>
                  <a:solidFill>
                    <a:schemeClr val="bg1">
                      <a:lumMod val="95000"/>
                      <a:alpha val="80000"/>
                    </a:schemeClr>
                  </a:solidFill>
                  <a:ln w="12700" cap="flat">
                    <a:noFill/>
                    <a:miter lim="400000"/>
                  </a:ln>
                  <a:effectLst/>
                </p:spPr>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1</a:t>
                    </a:r>
                  </a:p>
                </p:txBody>
              </p:sp>
              <p:sp>
                <p:nvSpPr>
                  <p:cNvPr id="38" name="Shape 715">
                    <a:extLst>
                      <a:ext uri="{FF2B5EF4-FFF2-40B4-BE49-F238E27FC236}">
                        <a16:creationId xmlns:a16="http://schemas.microsoft.com/office/drawing/2014/main" id="{689F0308-1B35-4D09-8641-0D7F0B9989FC}"/>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chemeClr val="bg1">
                      <a:lumMod val="95000"/>
                    </a:schemeClr>
                  </a:solidFill>
                  <a:ln w="9525" cap="flat">
                    <a:noFill/>
                    <a:prstDash val="solid"/>
                    <a:bevel/>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30" name="Shape 744">
                <a:extLst>
                  <a:ext uri="{FF2B5EF4-FFF2-40B4-BE49-F238E27FC236}">
                    <a16:creationId xmlns:a16="http://schemas.microsoft.com/office/drawing/2014/main" id="{13491E9B-1971-42D8-8B33-F055593C7092}"/>
                  </a:ext>
                </a:extLst>
              </p:cNvPr>
              <p:cNvSpPr/>
              <p:nvPr/>
            </p:nvSpPr>
            <p:spPr>
              <a:xfrm>
                <a:off x="6549553" y="1463235"/>
                <a:ext cx="1798233" cy="33855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a:solidFill>
                      <a:schemeClr val="bg1">
                        <a:lumMod val="95000"/>
                      </a:schemeClr>
                    </a:solidFill>
                    <a:latin typeface="+mn-lt"/>
                    <a:cs typeface="Archivo Narrow" panose="020B0604020202020204" charset="0"/>
                  </a:rPr>
                  <a:t>Background &amp; Objectives</a:t>
                </a:r>
              </a:p>
              <a:p>
                <a:pPr marL="128588" indent="-128588" algn="just" defTabSz="685766">
                  <a:buFont typeface="Arial" panose="020B0604020202020204" pitchFamily="34" charset="0"/>
                  <a:buChar char="•"/>
                </a:pPr>
                <a:r>
                  <a:rPr lang="en-US">
                    <a:solidFill>
                      <a:schemeClr val="bg1">
                        <a:lumMod val="95000"/>
                      </a:schemeClr>
                    </a:solidFill>
                    <a:latin typeface="+mn-lt"/>
                    <a:cs typeface="Archivo Narrow" panose="020B0604020202020204" charset="0"/>
                  </a:rPr>
                  <a:t>Methodology</a:t>
                </a:r>
              </a:p>
            </p:txBody>
          </p:sp>
          <p:grpSp>
            <p:nvGrpSpPr>
              <p:cNvPr id="31" name="Group 759">
                <a:extLst>
                  <a:ext uri="{FF2B5EF4-FFF2-40B4-BE49-F238E27FC236}">
                    <a16:creationId xmlns:a16="http://schemas.microsoft.com/office/drawing/2014/main" id="{A326F3FB-64B7-4905-9678-2353C38D9C0E}"/>
                  </a:ext>
                </a:extLst>
              </p:cNvPr>
              <p:cNvGrpSpPr/>
              <p:nvPr/>
            </p:nvGrpSpPr>
            <p:grpSpPr>
              <a:xfrm>
                <a:off x="4365204" y="1462471"/>
                <a:ext cx="1944496" cy="340080"/>
                <a:chOff x="34099" y="0"/>
                <a:chExt cx="2592660" cy="453438"/>
              </a:xfrm>
            </p:grpSpPr>
            <p:sp>
              <p:nvSpPr>
                <p:cNvPr id="32" name="Shape 757">
                  <a:extLst>
                    <a:ext uri="{FF2B5EF4-FFF2-40B4-BE49-F238E27FC236}">
                      <a16:creationId xmlns:a16="http://schemas.microsoft.com/office/drawing/2014/main" id="{441061FD-7F91-4236-90EE-4C8326519F76}"/>
                    </a:ext>
                  </a:extLst>
                </p:cNvPr>
                <p:cNvSpPr/>
                <p:nvPr/>
              </p:nvSpPr>
              <p:spPr>
                <a:xfrm flipV="1">
                  <a:off x="2617228" y="0"/>
                  <a:ext cx="1" cy="453439"/>
                </a:xfrm>
                <a:prstGeom prst="line">
                  <a:avLst/>
                </a:prstGeom>
                <a:noFill/>
                <a:ln w="19050" cap="flat">
                  <a:solidFill>
                    <a:sysClr val="window" lastClr="FFFFFF">
                      <a:lumMod val="75000"/>
                    </a:sysClr>
                  </a:solidFill>
                  <a:prstDash val="solid"/>
                  <a:miter lim="400000"/>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33" name="Shape 758">
                  <a:extLst>
                    <a:ext uri="{FF2B5EF4-FFF2-40B4-BE49-F238E27FC236}">
                      <a16:creationId xmlns:a16="http://schemas.microsoft.com/office/drawing/2014/main" id="{12C9C9BB-0B9D-4AF3-BCB7-FC02D53284A4}"/>
                    </a:ext>
                  </a:extLst>
                </p:cNvPr>
                <p:cNvSpPr/>
                <p:nvPr/>
              </p:nvSpPr>
              <p:spPr>
                <a:xfrm flipH="1" flipV="1">
                  <a:off x="34099" y="233808"/>
                  <a:ext cx="2592661" cy="1"/>
                </a:xfrm>
                <a:prstGeom prst="line">
                  <a:avLst/>
                </a:prstGeom>
                <a:noFill/>
                <a:ln w="19050" cap="flat">
                  <a:solidFill>
                    <a:sysClr val="window" lastClr="FFFFFF">
                      <a:lumMod val="75000"/>
                    </a:sysClr>
                  </a:solidFill>
                  <a:prstDash val="sysDash"/>
                  <a:miter lim="400000"/>
                  <a:tailEnd type="oval" w="med" len="med"/>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nvGrpSpPr>
            <p:cNvPr id="7" name="Group 6">
              <a:extLst>
                <a:ext uri="{FF2B5EF4-FFF2-40B4-BE49-F238E27FC236}">
                  <a16:creationId xmlns:a16="http://schemas.microsoft.com/office/drawing/2014/main" id="{0482DF0B-1B74-42CF-BB26-85268A0D299D}"/>
                </a:ext>
              </a:extLst>
            </p:cNvPr>
            <p:cNvGrpSpPr/>
            <p:nvPr/>
          </p:nvGrpSpPr>
          <p:grpSpPr>
            <a:xfrm>
              <a:off x="427409" y="2238549"/>
              <a:ext cx="8259390" cy="866601"/>
              <a:chOff x="427409" y="2011761"/>
              <a:chExt cx="8259390" cy="866601"/>
            </a:xfrm>
          </p:grpSpPr>
          <p:grpSp>
            <p:nvGrpSpPr>
              <p:cNvPr id="19" name="Group 727">
                <a:extLst>
                  <a:ext uri="{FF2B5EF4-FFF2-40B4-BE49-F238E27FC236}">
                    <a16:creationId xmlns:a16="http://schemas.microsoft.com/office/drawing/2014/main" id="{210ABBFF-D7C7-4C72-BEB4-5B2FD59B59B7}"/>
                  </a:ext>
                </a:extLst>
              </p:cNvPr>
              <p:cNvGrpSpPr/>
              <p:nvPr/>
            </p:nvGrpSpPr>
            <p:grpSpPr>
              <a:xfrm>
                <a:off x="427409" y="2011761"/>
                <a:ext cx="4301520" cy="866601"/>
                <a:chOff x="-2" y="0"/>
                <a:chExt cx="5735360" cy="1155468"/>
              </a:xfrm>
              <a:solidFill>
                <a:srgbClr val="C0392B"/>
              </a:solidFill>
            </p:grpSpPr>
            <p:sp>
              <p:nvSpPr>
                <p:cNvPr id="24" name="Shape 720">
                  <a:extLst>
                    <a:ext uri="{FF2B5EF4-FFF2-40B4-BE49-F238E27FC236}">
                      <a16:creationId xmlns:a16="http://schemas.microsoft.com/office/drawing/2014/main" id="{AF65D345-43C0-4B61-B9B0-093270DA2245}"/>
                    </a:ext>
                  </a:extLst>
                </p:cNvPr>
                <p:cNvSpPr/>
                <p:nvPr/>
              </p:nvSpPr>
              <p:spPr>
                <a:xfrm flipH="1">
                  <a:off x="-2" y="171692"/>
                  <a:ext cx="4930787" cy="816710"/>
                </a:xfrm>
                <a:prstGeom prst="rect">
                  <a:avLst/>
                </a:prstGeom>
                <a:solidFill>
                  <a:schemeClr val="bg1">
                    <a:lumMod val="95000"/>
                  </a:schemeClr>
                </a:solidFill>
                <a:ln w="12700" cap="flat">
                  <a:noFill/>
                  <a:miter lim="400000"/>
                </a:ln>
                <a:effectLst/>
              </p:spPr>
              <p:txBody>
                <a:bodyPr wrap="square" lIns="34289" tIns="34289" rIns="34289" bIns="34289" numCol="1" anchor="ctr">
                  <a:noAutofit/>
                </a:bodyPr>
                <a:lstStyle/>
                <a:p>
                  <a:pPr algn="ctr" defTabSz="685766">
                    <a:defRPr/>
                  </a:pPr>
                  <a:r>
                    <a:rPr lang="en-US" sz="2100" b="1" kern="0">
                      <a:solidFill>
                        <a:prstClr val="white"/>
                      </a:solidFill>
                      <a:cs typeface="Archivo Narrow" panose="020B0604020202020204" charset="0"/>
                    </a:rPr>
                    <a:t>Detailed Findings</a:t>
                  </a:r>
                </a:p>
              </p:txBody>
            </p:sp>
            <p:grpSp>
              <p:nvGrpSpPr>
                <p:cNvPr id="25" name="Group 724">
                  <a:extLst>
                    <a:ext uri="{FF2B5EF4-FFF2-40B4-BE49-F238E27FC236}">
                      <a16:creationId xmlns:a16="http://schemas.microsoft.com/office/drawing/2014/main" id="{2F1892A6-4574-4F33-B11C-F599927DEEA9}"/>
                    </a:ext>
                  </a:extLst>
                </p:cNvPr>
                <p:cNvGrpSpPr/>
                <p:nvPr/>
              </p:nvGrpSpPr>
              <p:grpSpPr>
                <a:xfrm>
                  <a:off x="4930788" y="0"/>
                  <a:ext cx="804570" cy="1155468"/>
                  <a:chOff x="0" y="0"/>
                  <a:chExt cx="804566" cy="1155466"/>
                </a:xfrm>
                <a:grpFill/>
              </p:grpSpPr>
              <p:sp>
                <p:nvSpPr>
                  <p:cNvPr id="26" name="Shape 721">
                    <a:extLst>
                      <a:ext uri="{FF2B5EF4-FFF2-40B4-BE49-F238E27FC236}">
                        <a16:creationId xmlns:a16="http://schemas.microsoft.com/office/drawing/2014/main" id="{BD7002A3-D7E7-441C-AFC2-8E590BC5A1FD}"/>
                      </a:ext>
                    </a:extLst>
                  </p:cNvPr>
                  <p:cNvSpPr/>
                  <p:nvPr/>
                </p:nvSpPr>
                <p:spPr>
                  <a:xfrm flipH="1">
                    <a:off x="0" y="169186"/>
                    <a:ext cx="402284" cy="9862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922"/>
                        </a:lnTo>
                        <a:lnTo>
                          <a:pt x="21600" y="0"/>
                        </a:lnTo>
                        <a:lnTo>
                          <a:pt x="0" y="3678"/>
                        </a:lnTo>
                        <a:lnTo>
                          <a:pt x="0" y="21600"/>
                        </a:lnTo>
                        <a:close/>
                      </a:path>
                    </a:pathLst>
                  </a:custGeom>
                  <a:solidFill>
                    <a:schemeClr val="bg1">
                      <a:lumMod val="95000"/>
                    </a:schemeClr>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27" name="Shape 722">
                    <a:extLst>
                      <a:ext uri="{FF2B5EF4-FFF2-40B4-BE49-F238E27FC236}">
                        <a16:creationId xmlns:a16="http://schemas.microsoft.com/office/drawing/2014/main" id="{46DD11A8-9BC4-4AEF-AC87-A63D23B51D13}"/>
                      </a:ext>
                    </a:extLst>
                  </p:cNvPr>
                  <p:cNvSpPr/>
                  <p:nvPr/>
                </p:nvSpPr>
                <p:spPr>
                  <a:xfrm flipH="1">
                    <a:off x="402283" y="169186"/>
                    <a:ext cx="402284" cy="9862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922"/>
                        </a:lnTo>
                        <a:lnTo>
                          <a:pt x="0" y="0"/>
                        </a:lnTo>
                        <a:lnTo>
                          <a:pt x="21600" y="3678"/>
                        </a:lnTo>
                        <a:lnTo>
                          <a:pt x="21600" y="21600"/>
                        </a:lnTo>
                        <a:close/>
                      </a:path>
                    </a:pathLst>
                  </a:custGeom>
                  <a:solidFill>
                    <a:schemeClr val="bg1">
                      <a:lumMod val="95000"/>
                    </a:schemeClr>
                  </a:solidFill>
                  <a:ln w="12700" cap="flat">
                    <a:noFill/>
                    <a:miter lim="400000"/>
                  </a:ln>
                  <a:effectLst/>
                </p:spPr>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2</a:t>
                    </a:r>
                  </a:p>
                </p:txBody>
              </p:sp>
              <p:sp>
                <p:nvSpPr>
                  <p:cNvPr id="28" name="Shape 723">
                    <a:extLst>
                      <a:ext uri="{FF2B5EF4-FFF2-40B4-BE49-F238E27FC236}">
                        <a16:creationId xmlns:a16="http://schemas.microsoft.com/office/drawing/2014/main" id="{D7F5C453-FF0C-4FC8-8178-B4CF8633AD1B}"/>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chemeClr val="bg1">
                      <a:lumMod val="95000"/>
                    </a:schemeClr>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20" name="Shape 745">
                <a:extLst>
                  <a:ext uri="{FF2B5EF4-FFF2-40B4-BE49-F238E27FC236}">
                    <a16:creationId xmlns:a16="http://schemas.microsoft.com/office/drawing/2014/main" id="{FA11E4D9-8D9F-4C4D-B64D-529640D7F3A3}"/>
                  </a:ext>
                </a:extLst>
              </p:cNvPr>
              <p:cNvSpPr/>
              <p:nvPr/>
            </p:nvSpPr>
            <p:spPr>
              <a:xfrm>
                <a:off x="6549552" y="2386484"/>
                <a:ext cx="2137247" cy="12245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a:solidFill>
                      <a:schemeClr val="bg1">
                        <a:lumMod val="85000"/>
                      </a:schemeClr>
                    </a:solidFill>
                    <a:latin typeface="+mn-lt"/>
                    <a:cs typeface="Archivo Narrow" panose="020B0604020202020204" charset="0"/>
                  </a:rPr>
                  <a:t>Impact on agent’s business</a:t>
                </a:r>
              </a:p>
            </p:txBody>
          </p:sp>
          <p:grpSp>
            <p:nvGrpSpPr>
              <p:cNvPr id="21" name="Group 762">
                <a:extLst>
                  <a:ext uri="{FF2B5EF4-FFF2-40B4-BE49-F238E27FC236}">
                    <a16:creationId xmlns:a16="http://schemas.microsoft.com/office/drawing/2014/main" id="{EFE41251-BAF0-43CA-8E13-DA60FE680457}"/>
                  </a:ext>
                </a:extLst>
              </p:cNvPr>
              <p:cNvGrpSpPr/>
              <p:nvPr/>
            </p:nvGrpSpPr>
            <p:grpSpPr>
              <a:xfrm>
                <a:off x="4932489" y="2275022"/>
                <a:ext cx="1377209" cy="340080"/>
                <a:chOff x="34099" y="0"/>
                <a:chExt cx="1836278" cy="453438"/>
              </a:xfrm>
            </p:grpSpPr>
            <p:sp>
              <p:nvSpPr>
                <p:cNvPr id="22" name="Shape 760">
                  <a:extLst>
                    <a:ext uri="{FF2B5EF4-FFF2-40B4-BE49-F238E27FC236}">
                      <a16:creationId xmlns:a16="http://schemas.microsoft.com/office/drawing/2014/main" id="{51C3753E-0EE4-4C21-B558-6944BE1DE0F2}"/>
                    </a:ext>
                  </a:extLst>
                </p:cNvPr>
                <p:cNvSpPr/>
                <p:nvPr/>
              </p:nvSpPr>
              <p:spPr>
                <a:xfrm flipV="1">
                  <a:off x="1863616" y="0"/>
                  <a:ext cx="1" cy="453439"/>
                </a:xfrm>
                <a:prstGeom prst="line">
                  <a:avLst/>
                </a:prstGeom>
                <a:noFill/>
                <a:ln w="19050" cap="flat">
                  <a:solidFill>
                    <a:sysClr val="window" lastClr="FFFFFF">
                      <a:lumMod val="75000"/>
                    </a:sysClr>
                  </a:solidFill>
                  <a:prstDash val="solid"/>
                  <a:miter lim="400000"/>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23" name="Shape 761">
                  <a:extLst>
                    <a:ext uri="{FF2B5EF4-FFF2-40B4-BE49-F238E27FC236}">
                      <a16:creationId xmlns:a16="http://schemas.microsoft.com/office/drawing/2014/main" id="{3EEEFA25-9743-486E-916F-00D70584AC74}"/>
                    </a:ext>
                  </a:extLst>
                </p:cNvPr>
                <p:cNvSpPr/>
                <p:nvPr/>
              </p:nvSpPr>
              <p:spPr>
                <a:xfrm flipH="1" flipV="1">
                  <a:off x="34099" y="233808"/>
                  <a:ext cx="1836279" cy="1"/>
                </a:xfrm>
                <a:prstGeom prst="line">
                  <a:avLst/>
                </a:prstGeom>
                <a:noFill/>
                <a:ln w="19050" cap="flat">
                  <a:solidFill>
                    <a:sysClr val="window" lastClr="FFFFFF">
                      <a:lumMod val="75000"/>
                    </a:sysClr>
                  </a:solidFill>
                  <a:prstDash val="sysDash"/>
                  <a:miter lim="400000"/>
                  <a:tailEnd type="oval" w="med" len="med"/>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nvGrpSpPr>
            <p:cNvPr id="8" name="Group 7">
              <a:extLst>
                <a:ext uri="{FF2B5EF4-FFF2-40B4-BE49-F238E27FC236}">
                  <a16:creationId xmlns:a16="http://schemas.microsoft.com/office/drawing/2014/main" id="{84F8090C-FCD6-4D9C-8224-73F6398FA38A}"/>
                </a:ext>
              </a:extLst>
            </p:cNvPr>
            <p:cNvGrpSpPr/>
            <p:nvPr/>
          </p:nvGrpSpPr>
          <p:grpSpPr>
            <a:xfrm>
              <a:off x="427411" y="3316513"/>
              <a:ext cx="7920374" cy="855437"/>
              <a:chOff x="427411" y="2825252"/>
              <a:chExt cx="7920374" cy="855437"/>
            </a:xfrm>
          </p:grpSpPr>
          <p:grpSp>
            <p:nvGrpSpPr>
              <p:cNvPr id="9" name="Group 735">
                <a:extLst>
                  <a:ext uri="{FF2B5EF4-FFF2-40B4-BE49-F238E27FC236}">
                    <a16:creationId xmlns:a16="http://schemas.microsoft.com/office/drawing/2014/main" id="{12073DA3-1F7B-469C-9EE7-5707B6E37BAD}"/>
                  </a:ext>
                </a:extLst>
              </p:cNvPr>
              <p:cNvGrpSpPr/>
              <p:nvPr/>
            </p:nvGrpSpPr>
            <p:grpSpPr>
              <a:xfrm>
                <a:off x="427411" y="2825252"/>
                <a:ext cx="4787228" cy="855437"/>
                <a:chOff x="-1" y="0"/>
                <a:chExt cx="6382969" cy="1140582"/>
              </a:xfrm>
              <a:solidFill>
                <a:srgbClr val="F39C12"/>
              </a:solidFill>
            </p:grpSpPr>
            <p:sp>
              <p:nvSpPr>
                <p:cNvPr id="14" name="Shape 728">
                  <a:extLst>
                    <a:ext uri="{FF2B5EF4-FFF2-40B4-BE49-F238E27FC236}">
                      <a16:creationId xmlns:a16="http://schemas.microsoft.com/office/drawing/2014/main" id="{7CAE9FB4-5469-406F-A182-459943201332}"/>
                    </a:ext>
                  </a:extLst>
                </p:cNvPr>
                <p:cNvSpPr/>
                <p:nvPr/>
              </p:nvSpPr>
              <p:spPr>
                <a:xfrm flipH="1">
                  <a:off x="-1" y="170587"/>
                  <a:ext cx="5574028" cy="799404"/>
                </a:xfrm>
                <a:prstGeom prst="rect">
                  <a:avLst/>
                </a:pr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sz="2100" b="1" kern="0">
                      <a:solidFill>
                        <a:prstClr val="white"/>
                      </a:solidFill>
                      <a:cs typeface="Archivo Narrow" panose="020B0604020202020204" charset="0"/>
                    </a:rPr>
                    <a:t>Summary &amp; Recommendations </a:t>
                  </a:r>
                </a:p>
              </p:txBody>
            </p:sp>
            <p:grpSp>
              <p:nvGrpSpPr>
                <p:cNvPr id="15" name="Group 732">
                  <a:extLst>
                    <a:ext uri="{FF2B5EF4-FFF2-40B4-BE49-F238E27FC236}">
                      <a16:creationId xmlns:a16="http://schemas.microsoft.com/office/drawing/2014/main" id="{1916F17A-1B64-4052-B9A8-0B5C77045852}"/>
                    </a:ext>
                  </a:extLst>
                </p:cNvPr>
                <p:cNvGrpSpPr/>
                <p:nvPr/>
              </p:nvGrpSpPr>
              <p:grpSpPr>
                <a:xfrm>
                  <a:off x="5578397" y="0"/>
                  <a:ext cx="804571" cy="1140582"/>
                  <a:chOff x="0" y="0"/>
                  <a:chExt cx="804567" cy="1140580"/>
                </a:xfrm>
                <a:grpFill/>
              </p:grpSpPr>
              <p:sp>
                <p:nvSpPr>
                  <p:cNvPr id="16" name="Shape 729">
                    <a:extLst>
                      <a:ext uri="{FF2B5EF4-FFF2-40B4-BE49-F238E27FC236}">
                        <a16:creationId xmlns:a16="http://schemas.microsoft.com/office/drawing/2014/main" id="{05E4B202-C4BF-4EA3-8EC1-A092A8067835}"/>
                      </a:ext>
                    </a:extLst>
                  </p:cNvPr>
                  <p:cNvSpPr/>
                  <p:nvPr/>
                </p:nvSpPr>
                <p:spPr>
                  <a:xfrm flipH="1">
                    <a:off x="0" y="168081"/>
                    <a:ext cx="402284" cy="9724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870"/>
                        </a:lnTo>
                        <a:lnTo>
                          <a:pt x="21600" y="0"/>
                        </a:lnTo>
                        <a:lnTo>
                          <a:pt x="0" y="3786"/>
                        </a:lnTo>
                        <a:lnTo>
                          <a:pt x="0" y="21600"/>
                        </a:lnTo>
                        <a:close/>
                      </a:path>
                    </a:pathLst>
                  </a:custGeom>
                  <a:solidFill>
                    <a:srgbClr val="006301"/>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17" name="Shape 730">
                    <a:extLst>
                      <a:ext uri="{FF2B5EF4-FFF2-40B4-BE49-F238E27FC236}">
                        <a16:creationId xmlns:a16="http://schemas.microsoft.com/office/drawing/2014/main" id="{BE1C6502-4F3E-47DF-B7DB-CDD94011C847}"/>
                      </a:ext>
                    </a:extLst>
                  </p:cNvPr>
                  <p:cNvSpPr/>
                  <p:nvPr/>
                </p:nvSpPr>
                <p:spPr>
                  <a:xfrm flipH="1">
                    <a:off x="402283" y="168081"/>
                    <a:ext cx="402284" cy="97249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870"/>
                        </a:lnTo>
                        <a:lnTo>
                          <a:pt x="0" y="0"/>
                        </a:lnTo>
                        <a:lnTo>
                          <a:pt x="21600" y="3786"/>
                        </a:lnTo>
                        <a:lnTo>
                          <a:pt x="21600" y="21600"/>
                        </a:lnTo>
                        <a:close/>
                      </a:path>
                    </a:pathLst>
                  </a:cu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3</a:t>
                    </a:r>
                    <a:endParaRPr kern="0">
                      <a:solidFill>
                        <a:srgbClr val="95A5A6"/>
                      </a:solidFill>
                      <a:cs typeface="Archivo Narrow" panose="020B0604020202020204" charset="0"/>
                    </a:endParaRPr>
                  </a:p>
                </p:txBody>
              </p:sp>
              <p:sp>
                <p:nvSpPr>
                  <p:cNvPr id="18" name="Shape 731">
                    <a:extLst>
                      <a:ext uri="{FF2B5EF4-FFF2-40B4-BE49-F238E27FC236}">
                        <a16:creationId xmlns:a16="http://schemas.microsoft.com/office/drawing/2014/main" id="{2D8A7758-B190-4BC4-BC76-200FF879DF73}"/>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rgbClr val="006301"/>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10" name="Shape 746">
                <a:extLst>
                  <a:ext uri="{FF2B5EF4-FFF2-40B4-BE49-F238E27FC236}">
                    <a16:creationId xmlns:a16="http://schemas.microsoft.com/office/drawing/2014/main" id="{66B90B2C-0522-443A-8144-DD38344C63B9}"/>
                  </a:ext>
                </a:extLst>
              </p:cNvPr>
              <p:cNvSpPr/>
              <p:nvPr/>
            </p:nvSpPr>
            <p:spPr>
              <a:xfrm>
                <a:off x="6549554" y="3139819"/>
                <a:ext cx="1798231" cy="13358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a:solidFill>
                      <a:schemeClr val="tx1"/>
                    </a:solidFill>
                    <a:latin typeface="+mn-lt"/>
                    <a:cs typeface="Archivo Narrow" panose="020B0604020202020204" charset="0"/>
                  </a:rPr>
                  <a:t> Summary and Recommendations</a:t>
                </a:r>
              </a:p>
            </p:txBody>
          </p:sp>
          <p:grpSp>
            <p:nvGrpSpPr>
              <p:cNvPr id="11" name="Group 765">
                <a:extLst>
                  <a:ext uri="{FF2B5EF4-FFF2-40B4-BE49-F238E27FC236}">
                    <a16:creationId xmlns:a16="http://schemas.microsoft.com/office/drawing/2014/main" id="{B42EFE14-BD90-4232-A27C-38E67DB4CA9F}"/>
                  </a:ext>
                </a:extLst>
              </p:cNvPr>
              <p:cNvGrpSpPr/>
              <p:nvPr/>
            </p:nvGrpSpPr>
            <p:grpSpPr>
              <a:xfrm>
                <a:off x="5422014" y="3082930"/>
                <a:ext cx="887685" cy="340080"/>
                <a:chOff x="34099" y="0"/>
                <a:chExt cx="1183579" cy="453438"/>
              </a:xfrm>
            </p:grpSpPr>
            <p:sp>
              <p:nvSpPr>
                <p:cNvPr id="12" name="Shape 763">
                  <a:extLst>
                    <a:ext uri="{FF2B5EF4-FFF2-40B4-BE49-F238E27FC236}">
                      <a16:creationId xmlns:a16="http://schemas.microsoft.com/office/drawing/2014/main" id="{758608CB-60D8-4412-A7CC-CFA67E3B12A6}"/>
                    </a:ext>
                  </a:extLst>
                </p:cNvPr>
                <p:cNvSpPr/>
                <p:nvPr/>
              </p:nvSpPr>
              <p:spPr>
                <a:xfrm flipV="1">
                  <a:off x="1213308" y="0"/>
                  <a:ext cx="1" cy="453439"/>
                </a:xfrm>
                <a:prstGeom prst="line">
                  <a:avLst/>
                </a:prstGeom>
                <a:noFill/>
                <a:ln w="19050" cap="flat">
                  <a:solidFill>
                    <a:sysClr val="window" lastClr="FFFFFF">
                      <a:lumMod val="75000"/>
                    </a:sysClr>
                  </a:solidFill>
                  <a:prstDash val="solid"/>
                  <a:miter lim="400000"/>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13" name="Shape 764">
                  <a:extLst>
                    <a:ext uri="{FF2B5EF4-FFF2-40B4-BE49-F238E27FC236}">
                      <a16:creationId xmlns:a16="http://schemas.microsoft.com/office/drawing/2014/main" id="{2F65B6E3-85CE-4570-9B53-9A6775A1A7B7}"/>
                    </a:ext>
                  </a:extLst>
                </p:cNvPr>
                <p:cNvSpPr/>
                <p:nvPr/>
              </p:nvSpPr>
              <p:spPr>
                <a:xfrm flipH="1" flipV="1">
                  <a:off x="34099" y="233808"/>
                  <a:ext cx="1183580" cy="1"/>
                </a:xfrm>
                <a:prstGeom prst="line">
                  <a:avLst/>
                </a:prstGeom>
                <a:noFill/>
                <a:ln w="19050" cap="flat">
                  <a:solidFill>
                    <a:sysClr val="window" lastClr="FFFFFF">
                      <a:lumMod val="75000"/>
                    </a:sysClr>
                  </a:solidFill>
                  <a:prstDash val="sysDash"/>
                  <a:miter lim="400000"/>
                  <a:tailEnd type="oval" w="med" len="med"/>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spTree>
    <p:extLst>
      <p:ext uri="{BB962C8B-B14F-4D97-AF65-F5344CB8AC3E}">
        <p14:creationId xmlns:p14="http://schemas.microsoft.com/office/powerpoint/2010/main" val="2488459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group of people sitting at a table&#10;&#10;Description automatically generated">
            <a:extLst>
              <a:ext uri="{FF2B5EF4-FFF2-40B4-BE49-F238E27FC236}">
                <a16:creationId xmlns:a16="http://schemas.microsoft.com/office/drawing/2014/main" id="{1F9C5975-93F8-41BC-8317-D3503FAD19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r="-2" b="16261"/>
          <a:stretch/>
        </p:blipFill>
        <p:spPr>
          <a:xfrm>
            <a:off x="6872405" y="-140324"/>
            <a:ext cx="5560229" cy="3492000"/>
          </a:xfrm>
          <a:prstGeom prst="rect">
            <a:avLst/>
          </a:prstGeom>
          <a:effectLst>
            <a:softEdge rad="533400"/>
          </a:effectLst>
        </p:spPr>
      </p:pic>
      <p:pic>
        <p:nvPicPr>
          <p:cNvPr id="13" name="Picture 12" descr="A person standing in front of a store&#10;&#10;Description automatically generated">
            <a:extLst>
              <a:ext uri="{FF2B5EF4-FFF2-40B4-BE49-F238E27FC236}">
                <a16:creationId xmlns:a16="http://schemas.microsoft.com/office/drawing/2014/main" id="{C3241F09-2DBE-47DB-A3A6-5A8D25E0533C}"/>
              </a:ext>
            </a:extLst>
          </p:cNvPr>
          <p:cNvPicPr>
            <a:picLocks noChangeAspect="1"/>
          </p:cNvPicPr>
          <p:nvPr/>
        </p:nvPicPr>
        <p:blipFill rotWithShape="1">
          <a:blip r:embed="rId3">
            <a:extLst>
              <a:ext uri="{28A0092B-C50C-407E-A947-70E740481C1C}">
                <a14:useLocalDpi xmlns:a14="http://schemas.microsoft.com/office/drawing/2010/main" val="0"/>
              </a:ext>
            </a:extLst>
          </a:blip>
          <a:srcRect r="-1" b="10267"/>
          <a:stretch/>
        </p:blipFill>
        <p:spPr>
          <a:xfrm>
            <a:off x="6789700" y="2789689"/>
            <a:ext cx="5937660" cy="3996000"/>
          </a:xfrm>
          <a:prstGeom prst="rect">
            <a:avLst/>
          </a:prstGeom>
          <a:effectLst>
            <a:softEdge rad="533400"/>
          </a:effectLst>
        </p:spPr>
      </p:pic>
      <p:sp>
        <p:nvSpPr>
          <p:cNvPr id="11" name="TextBox 10">
            <a:extLst>
              <a:ext uri="{FF2B5EF4-FFF2-40B4-BE49-F238E27FC236}">
                <a16:creationId xmlns:a16="http://schemas.microsoft.com/office/drawing/2014/main" id="{EA77C7EB-AB30-40FC-856E-CC99C8349F84}"/>
              </a:ext>
            </a:extLst>
          </p:cNvPr>
          <p:cNvSpPr txBox="1"/>
          <p:nvPr/>
        </p:nvSpPr>
        <p:spPr>
          <a:xfrm>
            <a:off x="1724207" y="40757"/>
            <a:ext cx="4803636" cy="676671"/>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000" b="1" kern="1200">
                <a:solidFill>
                  <a:srgbClr val="00B050"/>
                </a:solidFill>
                <a:latin typeface="+mj-lt"/>
                <a:ea typeface="+mj-ea"/>
                <a:cs typeface="+mj-cs"/>
              </a:rPr>
              <a:t>RECOMMENDATIONS </a:t>
            </a:r>
          </a:p>
        </p:txBody>
      </p:sp>
      <p:sp>
        <p:nvSpPr>
          <p:cNvPr id="14" name="Rectangle 13">
            <a:extLst>
              <a:ext uri="{FF2B5EF4-FFF2-40B4-BE49-F238E27FC236}">
                <a16:creationId xmlns:a16="http://schemas.microsoft.com/office/drawing/2014/main" id="{F23DD538-4CA7-4673-B9B1-4D86035CADCF}"/>
              </a:ext>
            </a:extLst>
          </p:cNvPr>
          <p:cNvSpPr/>
          <p:nvPr/>
        </p:nvSpPr>
        <p:spPr>
          <a:xfrm>
            <a:off x="230348" y="1395953"/>
            <a:ext cx="6776941" cy="3100633"/>
          </a:xfrm>
          <a:prstGeom prst="rect">
            <a:avLst/>
          </a:prstGeom>
        </p:spPr>
        <p:txBody>
          <a:bodyPr vert="horz" lIns="91440" tIns="45720" rIns="91440" bIns="45720" rtlCol="0" anchor="ctr">
            <a:noAutofit/>
          </a:bodyPr>
          <a:lstStyle/>
          <a:p>
            <a:pPr marL="342900" indent="-285750">
              <a:lnSpc>
                <a:spcPct val="90000"/>
              </a:lnSpc>
              <a:spcAft>
                <a:spcPts val="600"/>
              </a:spcAft>
              <a:buFont typeface="Wingdings" panose="05000000000000000000" pitchFamily="2" charset="2"/>
              <a:buChar char="q"/>
            </a:pPr>
            <a:r>
              <a:rPr lang="en-US" sz="1300">
                <a:solidFill>
                  <a:srgbClr val="000000"/>
                </a:solidFill>
              </a:rPr>
              <a:t>Majority of agents are concerned for their safety and that of their clients. There needs to be more support in terms of empowering agents with the knowledge to protect themselves and their clients, as well as the provision of PPEs to ensure agents can provide financial services safely </a:t>
            </a:r>
          </a:p>
          <a:p>
            <a:pPr marL="342900" indent="-285750">
              <a:lnSpc>
                <a:spcPct val="90000"/>
              </a:lnSpc>
              <a:spcAft>
                <a:spcPts val="600"/>
              </a:spcAft>
              <a:buFont typeface="Wingdings" panose="05000000000000000000" pitchFamily="2" charset="2"/>
              <a:buChar char="q"/>
            </a:pPr>
            <a:r>
              <a:rPr lang="en-US" sz="1300">
                <a:ea typeface="+mn-lt"/>
                <a:cs typeface="+mn-lt"/>
              </a:rPr>
              <a:t>There is a need for standardisation of safety messages amongst agents to avoid communication of wrong messages to clients</a:t>
            </a:r>
            <a:endParaRPr lang="en-US" sz="1300">
              <a:solidFill>
                <a:srgbClr val="000000"/>
              </a:solidFill>
            </a:endParaRPr>
          </a:p>
          <a:p>
            <a:pPr marL="342900" indent="-285750">
              <a:lnSpc>
                <a:spcPct val="90000"/>
              </a:lnSpc>
              <a:spcAft>
                <a:spcPts val="600"/>
              </a:spcAft>
              <a:buFont typeface="Wingdings" panose="05000000000000000000" pitchFamily="2" charset="2"/>
              <a:buChar char="q"/>
            </a:pPr>
            <a:r>
              <a:rPr lang="en-US" sz="1300">
                <a:solidFill>
                  <a:srgbClr val="000000"/>
                </a:solidFill>
              </a:rPr>
              <a:t>With about 50%  decline in average incomes for agents and about 80% of agents reporting some form of negative impact on the agency business, financial support for agents, particularly towards float management/financing have also become imperative for agents</a:t>
            </a:r>
          </a:p>
          <a:p>
            <a:pPr marL="285750" indent="-228600">
              <a:lnSpc>
                <a:spcPct val="90000"/>
              </a:lnSpc>
              <a:spcAft>
                <a:spcPts val="600"/>
              </a:spcAft>
              <a:buFont typeface="Wingdings" panose="05000000000000000000" pitchFamily="2" charset="2"/>
              <a:buChar char="q"/>
            </a:pPr>
            <a:r>
              <a:rPr lang="en-US" sz="1300">
                <a:solidFill>
                  <a:srgbClr val="000000"/>
                </a:solidFill>
              </a:rPr>
              <a:t>There are several unmet needs which agents have shown capacity to deliver. Financial service providers(FSPs)/stakeholders should consider exploiting the agents’ capacity to extend more financial/non-financial services to users. These non CICO transactions and distribution of CCTs are particularly relevant to profitability in rural areas</a:t>
            </a:r>
          </a:p>
          <a:p>
            <a:pPr marL="285750" indent="-228600">
              <a:lnSpc>
                <a:spcPct val="90000"/>
              </a:lnSpc>
              <a:spcAft>
                <a:spcPts val="600"/>
              </a:spcAft>
              <a:buFont typeface="Wingdings" panose="05000000000000000000" pitchFamily="2" charset="2"/>
              <a:buChar char="q"/>
            </a:pPr>
            <a:endParaRPr lang="en-US" sz="1300">
              <a:solidFill>
                <a:srgbClr val="000000"/>
              </a:solidFill>
            </a:endParaRPr>
          </a:p>
        </p:txBody>
      </p:sp>
      <p:sp>
        <p:nvSpPr>
          <p:cNvPr id="4" name="Slide Number Placeholder 3">
            <a:extLst>
              <a:ext uri="{FF2B5EF4-FFF2-40B4-BE49-F238E27FC236}">
                <a16:creationId xmlns:a16="http://schemas.microsoft.com/office/drawing/2014/main" id="{1A7FCEB6-FE9A-4A5E-916F-2A5082F7EC93}"/>
              </a:ext>
            </a:extLst>
          </p:cNvPr>
          <p:cNvSpPr>
            <a:spLocks noGrp="1"/>
          </p:cNvSpPr>
          <p:nvPr>
            <p:ph type="sldNum" sz="quarter" idx="12"/>
          </p:nvPr>
        </p:nvSpPr>
        <p:spPr>
          <a:xfrm>
            <a:off x="10825930" y="6223702"/>
            <a:ext cx="570728" cy="314067"/>
          </a:xfrm>
        </p:spPr>
        <p:txBody>
          <a:bodyPr vert="horz" lIns="91440" tIns="45720" rIns="91440" bIns="45720" rtlCol="0" anchor="ctr">
            <a:normAutofit/>
          </a:bodyPr>
          <a:lstStyle/>
          <a:p>
            <a:pPr>
              <a:spcAft>
                <a:spcPts val="600"/>
              </a:spcAft>
            </a:pPr>
            <a:fld id="{E46E2C3B-4F37-420A-99E8-2482C2787464}" type="slidenum">
              <a:rPr lang="en-US" sz="1100">
                <a:solidFill>
                  <a:srgbClr val="898989"/>
                </a:solidFill>
              </a:rPr>
              <a:pPr>
                <a:spcAft>
                  <a:spcPts val="600"/>
                </a:spcAft>
              </a:pPr>
              <a:t>17</a:t>
            </a:fld>
            <a:endParaRPr lang="en-US" sz="1100">
              <a:solidFill>
                <a:srgbClr val="898989"/>
              </a:solidFill>
            </a:endParaRPr>
          </a:p>
        </p:txBody>
      </p:sp>
      <p:pic>
        <p:nvPicPr>
          <p:cNvPr id="9" name="Picture 8" descr="A screenshot of a cell phone&#10;&#10;Description automatically generated">
            <a:extLst>
              <a:ext uri="{FF2B5EF4-FFF2-40B4-BE49-F238E27FC236}">
                <a16:creationId xmlns:a16="http://schemas.microsoft.com/office/drawing/2014/main" id="{A0BAF0EE-62D0-4F6C-BC89-46D620546EE0}"/>
              </a:ext>
            </a:extLst>
          </p:cNvPr>
          <p:cNvPicPr>
            <a:picLocks noChangeAspect="1"/>
          </p:cNvPicPr>
          <p:nvPr/>
        </p:nvPicPr>
        <p:blipFill rotWithShape="1">
          <a:blip r:embed="rId4"/>
          <a:srcRect l="10332" t="29214" r="69547" b="57335"/>
          <a:stretch/>
        </p:blipFill>
        <p:spPr>
          <a:xfrm>
            <a:off x="230348" y="156225"/>
            <a:ext cx="1149297" cy="480186"/>
          </a:xfrm>
          <a:prstGeom prst="rect">
            <a:avLst/>
          </a:prstGeom>
        </p:spPr>
      </p:pic>
    </p:spTree>
    <p:extLst>
      <p:ext uri="{BB962C8B-B14F-4D97-AF65-F5344CB8AC3E}">
        <p14:creationId xmlns:p14="http://schemas.microsoft.com/office/powerpoint/2010/main" val="28943563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
            <a:extLst>
              <a:ext uri="{FF2B5EF4-FFF2-40B4-BE49-F238E27FC236}">
                <a16:creationId xmlns:a16="http://schemas.microsoft.com/office/drawing/2014/main" id="{990DB75E-239A-46D1-9DEE-4EB86CC7E1B4}"/>
              </a:ext>
            </a:extLst>
          </p:cNvPr>
          <p:cNvSpPr>
            <a:spLocks noChangeArrowheads="1"/>
          </p:cNvSpPr>
          <p:nvPr/>
        </p:nvSpPr>
        <p:spPr bwMode="auto">
          <a:xfrm>
            <a:off x="2201800" y="4689725"/>
            <a:ext cx="8383442" cy="584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8" tIns="45709" rIns="91418" bIns="4570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32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Arial" panose="020B0604020202020204" pitchFamily="34" charset="0"/>
              </a:rPr>
              <a:t>Thank You</a:t>
            </a:r>
          </a:p>
        </p:txBody>
      </p:sp>
      <p:pic>
        <p:nvPicPr>
          <p:cNvPr id="18" name="Picture 17" descr="A screenshot of a cell phone&#10;&#10;Description automatically generated">
            <a:extLst>
              <a:ext uri="{FF2B5EF4-FFF2-40B4-BE49-F238E27FC236}">
                <a16:creationId xmlns:a16="http://schemas.microsoft.com/office/drawing/2014/main" id="{27133FAE-B6D2-477B-9590-D6A9EAF2791B}"/>
              </a:ext>
            </a:extLst>
          </p:cNvPr>
          <p:cNvPicPr>
            <a:picLocks noChangeAspect="1"/>
          </p:cNvPicPr>
          <p:nvPr/>
        </p:nvPicPr>
        <p:blipFill rotWithShape="1">
          <a:blip r:embed="rId2"/>
          <a:srcRect l="21485" t="17501" r="16975" b="51971"/>
          <a:stretch/>
        </p:blipFill>
        <p:spPr>
          <a:xfrm>
            <a:off x="1791513" y="1810410"/>
            <a:ext cx="8170821" cy="2533285"/>
          </a:xfrm>
          <a:prstGeom prst="rect">
            <a:avLst/>
          </a:prstGeom>
        </p:spPr>
      </p:pic>
    </p:spTree>
    <p:extLst>
      <p:ext uri="{BB962C8B-B14F-4D97-AF65-F5344CB8AC3E}">
        <p14:creationId xmlns:p14="http://schemas.microsoft.com/office/powerpoint/2010/main" val="42713170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FA33D3-73DA-4CA0-A6C3-B6A6D732C75F}"/>
              </a:ext>
            </a:extLst>
          </p:cNvPr>
          <p:cNvSpPr>
            <a:spLocks noGrp="1"/>
          </p:cNvSpPr>
          <p:nvPr>
            <p:ph type="sldNum" sz="quarter" idx="12"/>
          </p:nvPr>
        </p:nvSpPr>
        <p:spPr/>
        <p:txBody>
          <a:bodyPr/>
          <a:lstStyle/>
          <a:p>
            <a:fld id="{E46E2C3B-4F37-420A-99E8-2482C2787464}" type="slidenum">
              <a:rPr lang="en-GB" smtClean="0"/>
              <a:t>2</a:t>
            </a:fld>
            <a:endParaRPr lang="en-GB"/>
          </a:p>
        </p:txBody>
      </p:sp>
      <p:pic>
        <p:nvPicPr>
          <p:cNvPr id="25602" name="Picture 2" descr="Unsung Foot Soldiers Of Nigerian Fintech Hauling Financial ...">
            <a:extLst>
              <a:ext uri="{FF2B5EF4-FFF2-40B4-BE49-F238E27FC236}">
                <a16:creationId xmlns:a16="http://schemas.microsoft.com/office/drawing/2014/main" id="{915257A7-C741-4D81-9EA2-DE457AC874D5}"/>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r="11111"/>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A4449EE-50A8-47A7-8E00-2592E8EC4597}"/>
              </a:ext>
            </a:extLst>
          </p:cNvPr>
          <p:cNvSpPr/>
          <p:nvPr/>
        </p:nvSpPr>
        <p:spPr>
          <a:xfrm>
            <a:off x="1927758" y="274340"/>
            <a:ext cx="4670178" cy="6309320"/>
          </a:xfrm>
          <a:prstGeom prst="rect">
            <a:avLst/>
          </a:prstGeom>
          <a:solidFill>
            <a:srgbClr val="00610F">
              <a:alpha val="85000"/>
            </a:srgbClr>
          </a:solidFill>
          <a:ln>
            <a:solidFill>
              <a:srgbClr val="0F610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15" name="Content Placeholder 2">
            <a:extLst>
              <a:ext uri="{FF2B5EF4-FFF2-40B4-BE49-F238E27FC236}">
                <a16:creationId xmlns:a16="http://schemas.microsoft.com/office/drawing/2014/main" id="{D1429614-E8DA-4A75-ADC8-8D272BF9D66C}"/>
              </a:ext>
            </a:extLst>
          </p:cNvPr>
          <p:cNvSpPr>
            <a:spLocks noGrp="1"/>
          </p:cNvSpPr>
          <p:nvPr>
            <p:ph idx="1"/>
          </p:nvPr>
        </p:nvSpPr>
        <p:spPr>
          <a:xfrm>
            <a:off x="2210619" y="1245521"/>
            <a:ext cx="4104456" cy="1468759"/>
          </a:xfrm>
        </p:spPr>
        <p:txBody>
          <a:bodyPr>
            <a:normAutofit/>
          </a:bodyPr>
          <a:lstStyle/>
          <a:p>
            <a:pPr marL="0" indent="0" algn="just">
              <a:buNone/>
            </a:pPr>
            <a:r>
              <a:rPr lang="en-GB" sz="1400">
                <a:solidFill>
                  <a:schemeClr val="bg1"/>
                </a:solidFill>
                <a:cs typeface="Arial" panose="020B0604020202020204" pitchFamily="34" charset="0"/>
              </a:rPr>
              <a:t>Enhancing Financial Innovation &amp; Access (EFInA) is a financial sector development organisation that promotes financial inclusion in Nigeria. Established in late 2007, our mission is to make the Nigerian financial system work better, especially for the poor. EFInA works through four pillars:</a:t>
            </a:r>
          </a:p>
        </p:txBody>
      </p:sp>
      <p:sp>
        <p:nvSpPr>
          <p:cNvPr id="16" name="Title 1">
            <a:extLst>
              <a:ext uri="{FF2B5EF4-FFF2-40B4-BE49-F238E27FC236}">
                <a16:creationId xmlns:a16="http://schemas.microsoft.com/office/drawing/2014/main" id="{F5C3B2E1-F48A-47AD-A70D-BBA0ECCAA01F}"/>
              </a:ext>
            </a:extLst>
          </p:cNvPr>
          <p:cNvSpPr>
            <a:spLocks noGrp="1"/>
          </p:cNvSpPr>
          <p:nvPr>
            <p:ph type="title"/>
          </p:nvPr>
        </p:nvSpPr>
        <p:spPr>
          <a:xfrm>
            <a:off x="2470076" y="105197"/>
            <a:ext cx="3394720" cy="936104"/>
          </a:xfrm>
        </p:spPr>
        <p:txBody>
          <a:bodyPr>
            <a:normAutofit/>
          </a:bodyPr>
          <a:lstStyle/>
          <a:p>
            <a:pPr algn="ctr"/>
            <a:r>
              <a:rPr lang="en-GB" sz="2600">
                <a:solidFill>
                  <a:schemeClr val="bg1"/>
                </a:solidFill>
                <a:latin typeface="+mn-lt"/>
              </a:rPr>
              <a:t>About EFInA</a:t>
            </a:r>
          </a:p>
        </p:txBody>
      </p:sp>
      <p:sp>
        <p:nvSpPr>
          <p:cNvPr id="17" name="Content Placeholder 2">
            <a:extLst>
              <a:ext uri="{FF2B5EF4-FFF2-40B4-BE49-F238E27FC236}">
                <a16:creationId xmlns:a16="http://schemas.microsoft.com/office/drawing/2014/main" id="{04B3A70B-0F12-4970-B8E8-ABAE01F7560F}"/>
              </a:ext>
            </a:extLst>
          </p:cNvPr>
          <p:cNvSpPr txBox="1">
            <a:spLocks/>
          </p:cNvSpPr>
          <p:nvPr/>
        </p:nvSpPr>
        <p:spPr>
          <a:xfrm>
            <a:off x="2142604" y="5793460"/>
            <a:ext cx="4032448" cy="864095"/>
          </a:xfrm>
          <a:prstGeom prst="rect">
            <a:avLst/>
          </a:prstGeom>
        </p:spPr>
        <p:txBody>
          <a:bodyPr vert="horz" lIns="91440" tIns="45720" rIns="91440" bIns="45720" rtlCol="0">
            <a:normAutofit/>
          </a:bodyPr>
          <a:lstStyle/>
          <a:p>
            <a:pPr lvl="0" algn="just">
              <a:spcBef>
                <a:spcPct val="20000"/>
              </a:spcBef>
            </a:pPr>
            <a:r>
              <a:rPr lang="en-GB" sz="1400">
                <a:solidFill>
                  <a:schemeClr val="bg1"/>
                </a:solidFill>
              </a:rPr>
              <a:t>EFInA is funded by UK Government’s Department for International Development (DFID) and the Bill &amp; Melinda Gates Foundation.</a:t>
            </a:r>
          </a:p>
        </p:txBody>
      </p:sp>
      <p:graphicFrame>
        <p:nvGraphicFramePr>
          <p:cNvPr id="18" name="Diagram 17">
            <a:extLst>
              <a:ext uri="{FF2B5EF4-FFF2-40B4-BE49-F238E27FC236}">
                <a16:creationId xmlns:a16="http://schemas.microsoft.com/office/drawing/2014/main" id="{8F48D169-48F5-4EE4-A091-BF1570C446F6}"/>
              </a:ext>
            </a:extLst>
          </p:cNvPr>
          <p:cNvGraphicFramePr/>
          <p:nvPr/>
        </p:nvGraphicFramePr>
        <p:xfrm>
          <a:off x="2564558" y="2810643"/>
          <a:ext cx="3179019" cy="27442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9F9DF89-51B0-4584-85DB-9265E2CF2592}"/>
              </a:ext>
            </a:extLst>
          </p:cNvPr>
          <p:cNvSpPr/>
          <p:nvPr/>
        </p:nvSpPr>
        <p:spPr>
          <a:xfrm>
            <a:off x="6372225" y="6299690"/>
            <a:ext cx="3905250" cy="5461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solidFill>
                <a:schemeClr val="tx1"/>
              </a:solidFill>
              <a:cs typeface="Arial" pitchFamily="34" charset="0"/>
            </a:endParaRPr>
          </a:p>
        </p:txBody>
      </p:sp>
      <p:graphicFrame>
        <p:nvGraphicFramePr>
          <p:cNvPr id="4" name="Object 3" hidden="1"/>
          <p:cNvGraphicFramePr>
            <a:graphicFrameLocks noChangeAspect="1"/>
          </p:cNvGraphicFramePr>
          <p:nvPr>
            <p:custDataLst>
              <p:tags r:id="rId2"/>
            </p:custDataLst>
          </p:nvPr>
        </p:nvGraphicFramePr>
        <p:xfrm>
          <a:off x="1144591" y="1593"/>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144591" y="1593"/>
                        <a:ext cx="1587" cy="1587"/>
                      </a:xfrm>
                      <a:prstGeom prst="rect">
                        <a:avLst/>
                      </a:prstGeom>
                    </p:spPr>
                  </p:pic>
                </p:oleObj>
              </mc:Fallback>
            </mc:AlternateContent>
          </a:graphicData>
        </a:graphic>
      </p:graphicFrame>
      <p:sp>
        <p:nvSpPr>
          <p:cNvPr id="10" name="Slide Number Placeholder 9"/>
          <p:cNvSpPr>
            <a:spLocks noGrp="1"/>
          </p:cNvSpPr>
          <p:nvPr>
            <p:ph type="sldNum" sz="quarter" idx="11"/>
          </p:nvPr>
        </p:nvSpPr>
        <p:spPr/>
        <p:txBody>
          <a:bodyPr/>
          <a:lstStyle/>
          <a:p>
            <a:pPr>
              <a:defRPr/>
            </a:pPr>
            <a:fld id="{47794585-347E-4355-955C-F2766ACC4F25}" type="slidenum">
              <a:rPr lang="en-US" smtClean="0"/>
              <a:pPr>
                <a:defRPr/>
              </a:pPr>
              <a:t>3</a:t>
            </a:fld>
            <a:endParaRPr lang="en-US"/>
          </a:p>
        </p:txBody>
      </p:sp>
      <p:grpSp>
        <p:nvGrpSpPr>
          <p:cNvPr id="118" name="Group 117">
            <a:extLst>
              <a:ext uri="{FF2B5EF4-FFF2-40B4-BE49-F238E27FC236}">
                <a16:creationId xmlns:a16="http://schemas.microsoft.com/office/drawing/2014/main" id="{E3F9D3DE-1F28-4194-ACE7-EF2B25074454}"/>
              </a:ext>
            </a:extLst>
          </p:cNvPr>
          <p:cNvGrpSpPr/>
          <p:nvPr/>
        </p:nvGrpSpPr>
        <p:grpSpPr>
          <a:xfrm>
            <a:off x="609880" y="526906"/>
            <a:ext cx="11458295" cy="5375828"/>
            <a:chOff x="427409" y="210751"/>
            <a:chExt cx="9651890" cy="3961199"/>
          </a:xfrm>
        </p:grpSpPr>
        <p:sp>
          <p:nvSpPr>
            <p:cNvPr id="119" name="Title 8">
              <a:extLst>
                <a:ext uri="{FF2B5EF4-FFF2-40B4-BE49-F238E27FC236}">
                  <a16:creationId xmlns:a16="http://schemas.microsoft.com/office/drawing/2014/main" id="{1A667E69-BF68-42DF-9E97-3333F9B58ABE}"/>
                </a:ext>
              </a:extLst>
            </p:cNvPr>
            <p:cNvSpPr txBox="1">
              <a:spLocks/>
            </p:cNvSpPr>
            <p:nvPr/>
          </p:nvSpPr>
          <p:spPr>
            <a:xfrm>
              <a:off x="1913706" y="210751"/>
              <a:ext cx="8165593" cy="428625"/>
            </a:xfrm>
            <a:prstGeom prst="rect">
              <a:avLst/>
            </a:prstGeom>
          </p:spPr>
          <p:txBody>
            <a:bodyPr/>
            <a:lstStyle>
              <a:lvl1pPr algn="l" defTabSz="457200" rtl="0" eaLnBrk="1" latinLnBrk="0" hangingPunct="1">
                <a:spcBef>
                  <a:spcPct val="0"/>
                </a:spcBef>
                <a:buNone/>
                <a:defRPr sz="3000" kern="1200" cap="all" baseline="0">
                  <a:solidFill>
                    <a:schemeClr val="tx2"/>
                  </a:solidFill>
                  <a:latin typeface="+mj-lt"/>
                  <a:ea typeface="+mj-ea"/>
                  <a:cs typeface="+mj-cs"/>
                </a:defRPr>
              </a:lvl1pPr>
            </a:lstStyle>
            <a:p>
              <a:r>
                <a:rPr lang="en-US" sz="2400" b="1" cap="none">
                  <a:solidFill>
                    <a:srgbClr val="006301"/>
                  </a:solidFill>
                  <a:latin typeface="Arial"/>
                  <a:ea typeface="Arial"/>
                  <a:cs typeface="Arial"/>
                </a:rPr>
                <a:t>CONTENT</a:t>
              </a:r>
            </a:p>
          </p:txBody>
        </p:sp>
        <p:grpSp>
          <p:nvGrpSpPr>
            <p:cNvPr id="120" name="Group 119">
              <a:extLst>
                <a:ext uri="{FF2B5EF4-FFF2-40B4-BE49-F238E27FC236}">
                  <a16:creationId xmlns:a16="http://schemas.microsoft.com/office/drawing/2014/main" id="{CFE2FB56-3C73-4A37-8EBB-E70ED7B48BD6}"/>
                </a:ext>
              </a:extLst>
            </p:cNvPr>
            <p:cNvGrpSpPr/>
            <p:nvPr/>
          </p:nvGrpSpPr>
          <p:grpSpPr>
            <a:xfrm>
              <a:off x="427409" y="1123950"/>
              <a:ext cx="8504547" cy="3048000"/>
              <a:chOff x="427409" y="1123950"/>
              <a:chExt cx="8504547" cy="3048000"/>
            </a:xfrm>
          </p:grpSpPr>
          <p:grpSp>
            <p:nvGrpSpPr>
              <p:cNvPr id="121" name="Group 120">
                <a:extLst>
                  <a:ext uri="{FF2B5EF4-FFF2-40B4-BE49-F238E27FC236}">
                    <a16:creationId xmlns:a16="http://schemas.microsoft.com/office/drawing/2014/main" id="{D89439F5-4D9F-409B-8776-601CF3E92FB8}"/>
                  </a:ext>
                </a:extLst>
              </p:cNvPr>
              <p:cNvGrpSpPr/>
              <p:nvPr/>
            </p:nvGrpSpPr>
            <p:grpSpPr>
              <a:xfrm>
                <a:off x="427413" y="1123950"/>
                <a:ext cx="7920373" cy="864722"/>
                <a:chOff x="427413" y="1200150"/>
                <a:chExt cx="7920373" cy="864722"/>
              </a:xfrm>
            </p:grpSpPr>
            <p:grpSp>
              <p:nvGrpSpPr>
                <p:cNvPr id="144" name="Group 719">
                  <a:extLst>
                    <a:ext uri="{FF2B5EF4-FFF2-40B4-BE49-F238E27FC236}">
                      <a16:creationId xmlns:a16="http://schemas.microsoft.com/office/drawing/2014/main" id="{274A0DA5-1979-4E66-8B7D-54A421C678A2}"/>
                    </a:ext>
                  </a:extLst>
                </p:cNvPr>
                <p:cNvGrpSpPr/>
                <p:nvPr/>
              </p:nvGrpSpPr>
              <p:grpSpPr>
                <a:xfrm>
                  <a:off x="427413" y="1200150"/>
                  <a:ext cx="3747418" cy="864722"/>
                  <a:chOff x="-1" y="-1"/>
                  <a:chExt cx="4996556" cy="1152961"/>
                </a:xfrm>
              </p:grpSpPr>
              <p:sp>
                <p:nvSpPr>
                  <p:cNvPr id="149" name="Shape 712">
                    <a:extLst>
                      <a:ext uri="{FF2B5EF4-FFF2-40B4-BE49-F238E27FC236}">
                        <a16:creationId xmlns:a16="http://schemas.microsoft.com/office/drawing/2014/main" id="{A86CB547-8D2D-4191-90F1-F47A07B5EF41}"/>
                      </a:ext>
                    </a:extLst>
                  </p:cNvPr>
                  <p:cNvSpPr/>
                  <p:nvPr/>
                </p:nvSpPr>
                <p:spPr>
                  <a:xfrm flipH="1">
                    <a:off x="-1" y="166678"/>
                    <a:ext cx="4191989" cy="818352"/>
                  </a:xfrm>
                  <a:prstGeom prst="rect">
                    <a:avLst/>
                  </a:pr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sz="2100" b="1" kern="0">
                        <a:solidFill>
                          <a:prstClr val="white"/>
                        </a:solidFill>
                        <a:cs typeface="Archivo Narrow" panose="020B0604020202020204" charset="0"/>
                      </a:rPr>
                      <a:t>Introduction</a:t>
                    </a:r>
                  </a:p>
                </p:txBody>
              </p:sp>
              <p:grpSp>
                <p:nvGrpSpPr>
                  <p:cNvPr id="150" name="Group 716">
                    <a:extLst>
                      <a:ext uri="{FF2B5EF4-FFF2-40B4-BE49-F238E27FC236}">
                        <a16:creationId xmlns:a16="http://schemas.microsoft.com/office/drawing/2014/main" id="{335222CC-BB6B-426C-991C-7E49993B57A7}"/>
                      </a:ext>
                    </a:extLst>
                  </p:cNvPr>
                  <p:cNvGrpSpPr/>
                  <p:nvPr/>
                </p:nvGrpSpPr>
                <p:grpSpPr>
                  <a:xfrm>
                    <a:off x="4191985" y="-1"/>
                    <a:ext cx="804570" cy="1152961"/>
                    <a:chOff x="0" y="0"/>
                    <a:chExt cx="804566" cy="1152958"/>
                  </a:xfrm>
                </p:grpSpPr>
                <p:sp>
                  <p:nvSpPr>
                    <p:cNvPr id="151" name="Shape 713">
                      <a:extLst>
                        <a:ext uri="{FF2B5EF4-FFF2-40B4-BE49-F238E27FC236}">
                          <a16:creationId xmlns:a16="http://schemas.microsoft.com/office/drawing/2014/main" id="{43721447-B90A-4727-BDE6-5EF7960C6E49}"/>
                        </a:ext>
                      </a:extLst>
                    </p:cNvPr>
                    <p:cNvSpPr/>
                    <p:nvPr/>
                  </p:nvSpPr>
                  <p:spPr>
                    <a:xfrm flipH="1">
                      <a:off x="0" y="166677"/>
                      <a:ext cx="402284" cy="986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922"/>
                          </a:lnTo>
                          <a:lnTo>
                            <a:pt x="21600" y="0"/>
                          </a:lnTo>
                          <a:lnTo>
                            <a:pt x="0" y="3733"/>
                          </a:lnTo>
                          <a:lnTo>
                            <a:pt x="0" y="21600"/>
                          </a:lnTo>
                          <a:close/>
                        </a:path>
                      </a:pathLst>
                    </a:custGeom>
                    <a:solidFill>
                      <a:srgbClr val="006301">
                        <a:alpha val="90000"/>
                      </a:srgbClr>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152" name="Shape 714">
                      <a:extLst>
                        <a:ext uri="{FF2B5EF4-FFF2-40B4-BE49-F238E27FC236}">
                          <a16:creationId xmlns:a16="http://schemas.microsoft.com/office/drawing/2014/main" id="{83C4FFD3-A117-498A-B06F-D34F65C32B09}"/>
                        </a:ext>
                      </a:extLst>
                    </p:cNvPr>
                    <p:cNvSpPr/>
                    <p:nvPr/>
                  </p:nvSpPr>
                  <p:spPr>
                    <a:xfrm flipH="1">
                      <a:off x="402283" y="166677"/>
                      <a:ext cx="402284" cy="98628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922"/>
                          </a:lnTo>
                          <a:lnTo>
                            <a:pt x="0" y="0"/>
                          </a:lnTo>
                          <a:lnTo>
                            <a:pt x="21600" y="3733"/>
                          </a:lnTo>
                          <a:lnTo>
                            <a:pt x="21600" y="21600"/>
                          </a:lnTo>
                          <a:close/>
                        </a:path>
                      </a:pathLst>
                    </a:custGeom>
                    <a:solidFill>
                      <a:srgbClr val="006301">
                        <a:alpha val="80000"/>
                      </a:srgbClr>
                    </a:solidFill>
                    <a:ln w="12700" cap="flat">
                      <a:noFill/>
                      <a:miter lim="400000"/>
                    </a:ln>
                    <a:effectLst/>
                  </p:spPr>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1</a:t>
                      </a:r>
                    </a:p>
                  </p:txBody>
                </p:sp>
                <p:sp>
                  <p:nvSpPr>
                    <p:cNvPr id="153" name="Shape 715">
                      <a:extLst>
                        <a:ext uri="{FF2B5EF4-FFF2-40B4-BE49-F238E27FC236}">
                          <a16:creationId xmlns:a16="http://schemas.microsoft.com/office/drawing/2014/main" id="{922648E7-A16E-4431-830E-DDB30B8785DA}"/>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rgbClr val="006301"/>
                    </a:solidFill>
                    <a:ln w="9525" cap="flat">
                      <a:noFill/>
                      <a:prstDash val="solid"/>
                      <a:bevel/>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145" name="Shape 744">
                  <a:extLst>
                    <a:ext uri="{FF2B5EF4-FFF2-40B4-BE49-F238E27FC236}">
                      <a16:creationId xmlns:a16="http://schemas.microsoft.com/office/drawing/2014/main" id="{F015B145-FA2B-4277-B878-EFAD520B7C0E}"/>
                    </a:ext>
                  </a:extLst>
                </p:cNvPr>
                <p:cNvSpPr/>
                <p:nvPr/>
              </p:nvSpPr>
              <p:spPr>
                <a:xfrm>
                  <a:off x="6549553" y="1496440"/>
                  <a:ext cx="1798233" cy="27214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Background &amp; Objectives</a:t>
                  </a:r>
                </a:p>
                <a:p>
                  <a:pPr marL="128588" indent="-128588" algn="just" defTabSz="685766">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Methodology</a:t>
                  </a:r>
                </a:p>
              </p:txBody>
            </p:sp>
            <p:grpSp>
              <p:nvGrpSpPr>
                <p:cNvPr id="146" name="Group 759">
                  <a:extLst>
                    <a:ext uri="{FF2B5EF4-FFF2-40B4-BE49-F238E27FC236}">
                      <a16:creationId xmlns:a16="http://schemas.microsoft.com/office/drawing/2014/main" id="{1C0B7974-74DB-4E13-A670-DE614C18C0FA}"/>
                    </a:ext>
                  </a:extLst>
                </p:cNvPr>
                <p:cNvGrpSpPr/>
                <p:nvPr/>
              </p:nvGrpSpPr>
              <p:grpSpPr>
                <a:xfrm>
                  <a:off x="4365204" y="1462471"/>
                  <a:ext cx="1944496" cy="340080"/>
                  <a:chOff x="34099" y="0"/>
                  <a:chExt cx="2592660" cy="453438"/>
                </a:xfrm>
              </p:grpSpPr>
              <p:sp>
                <p:nvSpPr>
                  <p:cNvPr id="147" name="Shape 757">
                    <a:extLst>
                      <a:ext uri="{FF2B5EF4-FFF2-40B4-BE49-F238E27FC236}">
                        <a16:creationId xmlns:a16="http://schemas.microsoft.com/office/drawing/2014/main" id="{97E4459C-793F-4C42-9A15-4FFEFBAA2B65}"/>
                      </a:ext>
                    </a:extLst>
                  </p:cNvPr>
                  <p:cNvSpPr/>
                  <p:nvPr/>
                </p:nvSpPr>
                <p:spPr>
                  <a:xfrm flipV="1">
                    <a:off x="2617228" y="0"/>
                    <a:ext cx="1" cy="453439"/>
                  </a:xfrm>
                  <a:prstGeom prst="line">
                    <a:avLst/>
                  </a:prstGeom>
                  <a:noFill/>
                  <a:ln w="19050" cap="flat">
                    <a:solidFill>
                      <a:sysClr val="window" lastClr="FFFFFF">
                        <a:lumMod val="75000"/>
                      </a:sysClr>
                    </a:solidFill>
                    <a:prstDash val="solid"/>
                    <a:miter lim="400000"/>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148" name="Shape 758">
                    <a:extLst>
                      <a:ext uri="{FF2B5EF4-FFF2-40B4-BE49-F238E27FC236}">
                        <a16:creationId xmlns:a16="http://schemas.microsoft.com/office/drawing/2014/main" id="{E9A35578-7E08-4EE5-AFA7-0466525983A6}"/>
                      </a:ext>
                    </a:extLst>
                  </p:cNvPr>
                  <p:cNvSpPr/>
                  <p:nvPr/>
                </p:nvSpPr>
                <p:spPr>
                  <a:xfrm flipH="1" flipV="1">
                    <a:off x="34099" y="233808"/>
                    <a:ext cx="2592661" cy="1"/>
                  </a:xfrm>
                  <a:prstGeom prst="line">
                    <a:avLst/>
                  </a:prstGeom>
                  <a:noFill/>
                  <a:ln w="19050" cap="flat">
                    <a:solidFill>
                      <a:sysClr val="window" lastClr="FFFFFF">
                        <a:lumMod val="75000"/>
                      </a:sysClr>
                    </a:solidFill>
                    <a:prstDash val="sysDash"/>
                    <a:miter lim="400000"/>
                    <a:tailEnd type="oval" w="med" len="med"/>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nvGrpSpPr>
              <p:cNvPr id="122" name="Group 121">
                <a:extLst>
                  <a:ext uri="{FF2B5EF4-FFF2-40B4-BE49-F238E27FC236}">
                    <a16:creationId xmlns:a16="http://schemas.microsoft.com/office/drawing/2014/main" id="{42715FAC-E7AE-499F-B598-CFB05DAB92F7}"/>
                  </a:ext>
                </a:extLst>
              </p:cNvPr>
              <p:cNvGrpSpPr/>
              <p:nvPr/>
            </p:nvGrpSpPr>
            <p:grpSpPr>
              <a:xfrm>
                <a:off x="427409" y="2238549"/>
                <a:ext cx="8504547" cy="866601"/>
                <a:chOff x="427409" y="2011761"/>
                <a:chExt cx="8504547" cy="866601"/>
              </a:xfrm>
            </p:grpSpPr>
            <p:grpSp>
              <p:nvGrpSpPr>
                <p:cNvPr id="134" name="Group 727">
                  <a:extLst>
                    <a:ext uri="{FF2B5EF4-FFF2-40B4-BE49-F238E27FC236}">
                      <a16:creationId xmlns:a16="http://schemas.microsoft.com/office/drawing/2014/main" id="{336CBD4E-EC77-49CE-B0E2-FC030E06F571}"/>
                    </a:ext>
                  </a:extLst>
                </p:cNvPr>
                <p:cNvGrpSpPr/>
                <p:nvPr/>
              </p:nvGrpSpPr>
              <p:grpSpPr>
                <a:xfrm>
                  <a:off x="427409" y="2011761"/>
                  <a:ext cx="4301520" cy="866601"/>
                  <a:chOff x="-2" y="0"/>
                  <a:chExt cx="5735360" cy="1155468"/>
                </a:xfrm>
                <a:solidFill>
                  <a:srgbClr val="C0392B"/>
                </a:solidFill>
              </p:grpSpPr>
              <p:sp>
                <p:nvSpPr>
                  <p:cNvPr id="139" name="Shape 720">
                    <a:extLst>
                      <a:ext uri="{FF2B5EF4-FFF2-40B4-BE49-F238E27FC236}">
                        <a16:creationId xmlns:a16="http://schemas.microsoft.com/office/drawing/2014/main" id="{B7545055-74C2-4F44-8D67-5D3AF8BAFE86}"/>
                      </a:ext>
                    </a:extLst>
                  </p:cNvPr>
                  <p:cNvSpPr/>
                  <p:nvPr/>
                </p:nvSpPr>
                <p:spPr>
                  <a:xfrm flipH="1">
                    <a:off x="-2" y="171692"/>
                    <a:ext cx="4930787" cy="816710"/>
                  </a:xfrm>
                  <a:prstGeom prst="rect">
                    <a:avLst/>
                  </a:pr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sz="2100" b="1" kern="0">
                        <a:solidFill>
                          <a:prstClr val="white"/>
                        </a:solidFill>
                        <a:cs typeface="Archivo Narrow" panose="020B0604020202020204" charset="0"/>
                      </a:rPr>
                      <a:t>Detailed Findings</a:t>
                    </a:r>
                  </a:p>
                </p:txBody>
              </p:sp>
              <p:grpSp>
                <p:nvGrpSpPr>
                  <p:cNvPr id="140" name="Group 724">
                    <a:extLst>
                      <a:ext uri="{FF2B5EF4-FFF2-40B4-BE49-F238E27FC236}">
                        <a16:creationId xmlns:a16="http://schemas.microsoft.com/office/drawing/2014/main" id="{6A40694A-0794-480F-A080-315CA11C5081}"/>
                      </a:ext>
                    </a:extLst>
                  </p:cNvPr>
                  <p:cNvGrpSpPr/>
                  <p:nvPr/>
                </p:nvGrpSpPr>
                <p:grpSpPr>
                  <a:xfrm>
                    <a:off x="4930788" y="0"/>
                    <a:ext cx="804570" cy="1155468"/>
                    <a:chOff x="0" y="0"/>
                    <a:chExt cx="804566" cy="1155466"/>
                  </a:xfrm>
                  <a:grpFill/>
                </p:grpSpPr>
                <p:sp>
                  <p:nvSpPr>
                    <p:cNvPr id="141" name="Shape 721">
                      <a:extLst>
                        <a:ext uri="{FF2B5EF4-FFF2-40B4-BE49-F238E27FC236}">
                          <a16:creationId xmlns:a16="http://schemas.microsoft.com/office/drawing/2014/main" id="{39BB2251-63F9-42FC-A030-C8C91E3C774A}"/>
                        </a:ext>
                      </a:extLst>
                    </p:cNvPr>
                    <p:cNvSpPr/>
                    <p:nvPr/>
                  </p:nvSpPr>
                  <p:spPr>
                    <a:xfrm flipH="1">
                      <a:off x="0" y="169186"/>
                      <a:ext cx="402284" cy="9862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922"/>
                          </a:lnTo>
                          <a:lnTo>
                            <a:pt x="21600" y="0"/>
                          </a:lnTo>
                          <a:lnTo>
                            <a:pt x="0" y="3678"/>
                          </a:lnTo>
                          <a:lnTo>
                            <a:pt x="0" y="21600"/>
                          </a:lnTo>
                          <a:close/>
                        </a:path>
                      </a:pathLst>
                    </a:custGeom>
                    <a:solidFill>
                      <a:srgbClr val="006301"/>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142" name="Shape 722">
                      <a:extLst>
                        <a:ext uri="{FF2B5EF4-FFF2-40B4-BE49-F238E27FC236}">
                          <a16:creationId xmlns:a16="http://schemas.microsoft.com/office/drawing/2014/main" id="{E1518BD4-4773-4A8D-856F-D5AE45D1A574}"/>
                        </a:ext>
                      </a:extLst>
                    </p:cNvPr>
                    <p:cNvSpPr/>
                    <p:nvPr/>
                  </p:nvSpPr>
                  <p:spPr>
                    <a:xfrm flipH="1">
                      <a:off x="402283" y="169186"/>
                      <a:ext cx="402284" cy="9862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922"/>
                          </a:lnTo>
                          <a:lnTo>
                            <a:pt x="0" y="0"/>
                          </a:lnTo>
                          <a:lnTo>
                            <a:pt x="21600" y="3678"/>
                          </a:lnTo>
                          <a:lnTo>
                            <a:pt x="21600" y="21600"/>
                          </a:lnTo>
                          <a:close/>
                        </a:path>
                      </a:pathLst>
                    </a:cu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2</a:t>
                      </a:r>
                    </a:p>
                  </p:txBody>
                </p:sp>
                <p:sp>
                  <p:nvSpPr>
                    <p:cNvPr id="143" name="Shape 723">
                      <a:extLst>
                        <a:ext uri="{FF2B5EF4-FFF2-40B4-BE49-F238E27FC236}">
                          <a16:creationId xmlns:a16="http://schemas.microsoft.com/office/drawing/2014/main" id="{7B21F24A-2F43-4586-B3E0-8FDA7596A748}"/>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rgbClr val="006301"/>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135" name="Shape 745">
                  <a:extLst>
                    <a:ext uri="{FF2B5EF4-FFF2-40B4-BE49-F238E27FC236}">
                      <a16:creationId xmlns:a16="http://schemas.microsoft.com/office/drawing/2014/main" id="{18791338-B69B-41E7-ACF2-CA74FD98F52D}"/>
                    </a:ext>
                  </a:extLst>
                </p:cNvPr>
                <p:cNvSpPr/>
                <p:nvPr/>
              </p:nvSpPr>
              <p:spPr>
                <a:xfrm>
                  <a:off x="6549552" y="2379674"/>
                  <a:ext cx="2382404" cy="13607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a:solidFill>
                        <a:schemeClr val="bg1">
                          <a:lumMod val="75000"/>
                        </a:schemeClr>
                      </a:solidFill>
                      <a:latin typeface="Arial" panose="020B0604020202020204" pitchFamily="34" charset="0"/>
                      <a:cs typeface="Arial" panose="020B0604020202020204" pitchFamily="34" charset="0"/>
                    </a:rPr>
                    <a:t>Impact of Covid-19 on Agents’ operation</a:t>
                  </a:r>
                </a:p>
              </p:txBody>
            </p:sp>
            <p:grpSp>
              <p:nvGrpSpPr>
                <p:cNvPr id="136" name="Group 762">
                  <a:extLst>
                    <a:ext uri="{FF2B5EF4-FFF2-40B4-BE49-F238E27FC236}">
                      <a16:creationId xmlns:a16="http://schemas.microsoft.com/office/drawing/2014/main" id="{E8E3C0F9-43FF-4D59-A721-D5F5386BE73F}"/>
                    </a:ext>
                  </a:extLst>
                </p:cNvPr>
                <p:cNvGrpSpPr/>
                <p:nvPr/>
              </p:nvGrpSpPr>
              <p:grpSpPr>
                <a:xfrm>
                  <a:off x="4932489" y="2275022"/>
                  <a:ext cx="1377209" cy="340080"/>
                  <a:chOff x="34099" y="0"/>
                  <a:chExt cx="1836278" cy="453438"/>
                </a:xfrm>
              </p:grpSpPr>
              <p:sp>
                <p:nvSpPr>
                  <p:cNvPr id="137" name="Shape 760">
                    <a:extLst>
                      <a:ext uri="{FF2B5EF4-FFF2-40B4-BE49-F238E27FC236}">
                        <a16:creationId xmlns:a16="http://schemas.microsoft.com/office/drawing/2014/main" id="{22747B58-74B3-4CBF-B6A1-2034E1D5B8F9}"/>
                      </a:ext>
                    </a:extLst>
                  </p:cNvPr>
                  <p:cNvSpPr/>
                  <p:nvPr/>
                </p:nvSpPr>
                <p:spPr>
                  <a:xfrm flipV="1">
                    <a:off x="1863616" y="0"/>
                    <a:ext cx="1" cy="453439"/>
                  </a:xfrm>
                  <a:prstGeom prst="line">
                    <a:avLst/>
                  </a:prstGeom>
                  <a:noFill/>
                  <a:ln w="19050" cap="flat">
                    <a:solidFill>
                      <a:sysClr val="window" lastClr="FFFFFF">
                        <a:lumMod val="75000"/>
                      </a:sysClr>
                    </a:solidFill>
                    <a:prstDash val="solid"/>
                    <a:miter lim="400000"/>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138" name="Shape 761">
                    <a:extLst>
                      <a:ext uri="{FF2B5EF4-FFF2-40B4-BE49-F238E27FC236}">
                        <a16:creationId xmlns:a16="http://schemas.microsoft.com/office/drawing/2014/main" id="{0F26F63B-9F0A-403A-9BD5-0CA428343EE0}"/>
                      </a:ext>
                    </a:extLst>
                  </p:cNvPr>
                  <p:cNvSpPr/>
                  <p:nvPr/>
                </p:nvSpPr>
                <p:spPr>
                  <a:xfrm flipH="1" flipV="1">
                    <a:off x="34099" y="233808"/>
                    <a:ext cx="1836279" cy="1"/>
                  </a:xfrm>
                  <a:prstGeom prst="line">
                    <a:avLst/>
                  </a:prstGeom>
                  <a:noFill/>
                  <a:ln w="19050" cap="flat">
                    <a:solidFill>
                      <a:sysClr val="window" lastClr="FFFFFF">
                        <a:lumMod val="75000"/>
                      </a:sysClr>
                    </a:solidFill>
                    <a:prstDash val="sysDash"/>
                    <a:miter lim="400000"/>
                    <a:tailEnd type="oval" w="med" len="med"/>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nvGrpSpPr>
              <p:cNvPr id="123" name="Group 122">
                <a:extLst>
                  <a:ext uri="{FF2B5EF4-FFF2-40B4-BE49-F238E27FC236}">
                    <a16:creationId xmlns:a16="http://schemas.microsoft.com/office/drawing/2014/main" id="{8AAC4212-9408-4FE6-9CB4-DE6F9ECDC087}"/>
                  </a:ext>
                </a:extLst>
              </p:cNvPr>
              <p:cNvGrpSpPr/>
              <p:nvPr/>
            </p:nvGrpSpPr>
            <p:grpSpPr>
              <a:xfrm>
                <a:off x="427411" y="3316513"/>
                <a:ext cx="7920374" cy="855437"/>
                <a:chOff x="427411" y="2825252"/>
                <a:chExt cx="7920374" cy="855437"/>
              </a:xfrm>
            </p:grpSpPr>
            <p:grpSp>
              <p:nvGrpSpPr>
                <p:cNvPr id="124" name="Group 735">
                  <a:extLst>
                    <a:ext uri="{FF2B5EF4-FFF2-40B4-BE49-F238E27FC236}">
                      <a16:creationId xmlns:a16="http://schemas.microsoft.com/office/drawing/2014/main" id="{FE097647-1AC3-43D4-AF73-BA8B6EBE8869}"/>
                    </a:ext>
                  </a:extLst>
                </p:cNvPr>
                <p:cNvGrpSpPr/>
                <p:nvPr/>
              </p:nvGrpSpPr>
              <p:grpSpPr>
                <a:xfrm>
                  <a:off x="427411" y="2825252"/>
                  <a:ext cx="4787228" cy="855437"/>
                  <a:chOff x="-1" y="0"/>
                  <a:chExt cx="6382969" cy="1140582"/>
                </a:xfrm>
                <a:solidFill>
                  <a:srgbClr val="F39C12"/>
                </a:solidFill>
              </p:grpSpPr>
              <p:sp>
                <p:nvSpPr>
                  <p:cNvPr id="129" name="Shape 728">
                    <a:extLst>
                      <a:ext uri="{FF2B5EF4-FFF2-40B4-BE49-F238E27FC236}">
                        <a16:creationId xmlns:a16="http://schemas.microsoft.com/office/drawing/2014/main" id="{FAC05A92-8D81-4FC5-9C11-FE9952E0962D}"/>
                      </a:ext>
                    </a:extLst>
                  </p:cNvPr>
                  <p:cNvSpPr/>
                  <p:nvPr/>
                </p:nvSpPr>
                <p:spPr>
                  <a:xfrm flipH="1">
                    <a:off x="-1" y="170587"/>
                    <a:ext cx="5574028" cy="799404"/>
                  </a:xfrm>
                  <a:prstGeom prst="rect">
                    <a:avLst/>
                  </a:pr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sz="2100" b="1" kern="0">
                        <a:solidFill>
                          <a:prstClr val="white"/>
                        </a:solidFill>
                        <a:cs typeface="Archivo Narrow" panose="020B0604020202020204" charset="0"/>
                      </a:rPr>
                      <a:t>Summary &amp; Recommendations </a:t>
                    </a:r>
                  </a:p>
                </p:txBody>
              </p:sp>
              <p:grpSp>
                <p:nvGrpSpPr>
                  <p:cNvPr id="130" name="Group 732">
                    <a:extLst>
                      <a:ext uri="{FF2B5EF4-FFF2-40B4-BE49-F238E27FC236}">
                        <a16:creationId xmlns:a16="http://schemas.microsoft.com/office/drawing/2014/main" id="{D3787EA3-C137-4BEC-89FD-EB09173CE5D3}"/>
                      </a:ext>
                    </a:extLst>
                  </p:cNvPr>
                  <p:cNvGrpSpPr/>
                  <p:nvPr/>
                </p:nvGrpSpPr>
                <p:grpSpPr>
                  <a:xfrm>
                    <a:off x="5578397" y="0"/>
                    <a:ext cx="804571" cy="1140582"/>
                    <a:chOff x="0" y="0"/>
                    <a:chExt cx="804567" cy="1140580"/>
                  </a:xfrm>
                  <a:grpFill/>
                </p:grpSpPr>
                <p:sp>
                  <p:nvSpPr>
                    <p:cNvPr id="131" name="Shape 729">
                      <a:extLst>
                        <a:ext uri="{FF2B5EF4-FFF2-40B4-BE49-F238E27FC236}">
                          <a16:creationId xmlns:a16="http://schemas.microsoft.com/office/drawing/2014/main" id="{51F263E3-5A29-4B8F-85EC-45EB181B2ADE}"/>
                        </a:ext>
                      </a:extLst>
                    </p:cNvPr>
                    <p:cNvSpPr/>
                    <p:nvPr/>
                  </p:nvSpPr>
                  <p:spPr>
                    <a:xfrm flipH="1">
                      <a:off x="0" y="168081"/>
                      <a:ext cx="402284" cy="9724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870"/>
                          </a:lnTo>
                          <a:lnTo>
                            <a:pt x="21600" y="0"/>
                          </a:lnTo>
                          <a:lnTo>
                            <a:pt x="0" y="3786"/>
                          </a:lnTo>
                          <a:lnTo>
                            <a:pt x="0" y="21600"/>
                          </a:lnTo>
                          <a:close/>
                        </a:path>
                      </a:pathLst>
                    </a:custGeom>
                    <a:solidFill>
                      <a:srgbClr val="006301"/>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132" name="Shape 730">
                      <a:extLst>
                        <a:ext uri="{FF2B5EF4-FFF2-40B4-BE49-F238E27FC236}">
                          <a16:creationId xmlns:a16="http://schemas.microsoft.com/office/drawing/2014/main" id="{06FD0466-5CDB-4D6E-AAA1-95F25F584FD9}"/>
                        </a:ext>
                      </a:extLst>
                    </p:cNvPr>
                    <p:cNvSpPr/>
                    <p:nvPr/>
                  </p:nvSpPr>
                  <p:spPr>
                    <a:xfrm flipH="1">
                      <a:off x="402283" y="168081"/>
                      <a:ext cx="402284" cy="97249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870"/>
                          </a:lnTo>
                          <a:lnTo>
                            <a:pt x="0" y="0"/>
                          </a:lnTo>
                          <a:lnTo>
                            <a:pt x="21600" y="3786"/>
                          </a:lnTo>
                          <a:lnTo>
                            <a:pt x="21600" y="21600"/>
                          </a:lnTo>
                          <a:close/>
                        </a:path>
                      </a:pathLst>
                    </a:custGeom>
                    <a:solidFill>
                      <a:srgbClr val="006301"/>
                    </a:solidFill>
                    <a:ln w="12700" cap="flat">
                      <a:noFill/>
                      <a:miter lim="400000"/>
                    </a:ln>
                    <a:effectLst/>
                  </p:spPr>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3</a:t>
                      </a:r>
                      <a:endParaRPr kern="0">
                        <a:solidFill>
                          <a:srgbClr val="95A5A6"/>
                        </a:solidFill>
                        <a:cs typeface="Archivo Narrow" panose="020B0604020202020204" charset="0"/>
                      </a:endParaRPr>
                    </a:p>
                  </p:txBody>
                </p:sp>
                <p:sp>
                  <p:nvSpPr>
                    <p:cNvPr id="133" name="Shape 731">
                      <a:extLst>
                        <a:ext uri="{FF2B5EF4-FFF2-40B4-BE49-F238E27FC236}">
                          <a16:creationId xmlns:a16="http://schemas.microsoft.com/office/drawing/2014/main" id="{1D486A3C-D721-4A6A-928B-5FE1BA30F9EE}"/>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rgbClr val="006301"/>
                    </a:solidFill>
                    <a:ln w="12700" cap="flat">
                      <a:noFill/>
                      <a:miter lim="400000"/>
                    </a:ln>
                    <a:effectLst/>
                  </p:spPr>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125" name="Shape 746">
                  <a:extLst>
                    <a:ext uri="{FF2B5EF4-FFF2-40B4-BE49-F238E27FC236}">
                      <a16:creationId xmlns:a16="http://schemas.microsoft.com/office/drawing/2014/main" id="{5CBB7582-2FF6-4130-B7D7-C0F6B298CEFB}"/>
                    </a:ext>
                  </a:extLst>
                </p:cNvPr>
                <p:cNvSpPr/>
                <p:nvPr/>
              </p:nvSpPr>
              <p:spPr>
                <a:xfrm>
                  <a:off x="6549554" y="3138576"/>
                  <a:ext cx="1798231" cy="13607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a:solidFill>
                        <a:schemeClr val="bg1">
                          <a:lumMod val="75000"/>
                        </a:schemeClr>
                      </a:solidFill>
                      <a:latin typeface="Arial" panose="020B0604020202020204" pitchFamily="34" charset="0"/>
                      <a:cs typeface="Arial" panose="020B0604020202020204" pitchFamily="34" charset="0"/>
                    </a:rPr>
                    <a:t>Recommendations</a:t>
                  </a:r>
                </a:p>
              </p:txBody>
            </p:sp>
            <p:grpSp>
              <p:nvGrpSpPr>
                <p:cNvPr id="126" name="Group 765">
                  <a:extLst>
                    <a:ext uri="{FF2B5EF4-FFF2-40B4-BE49-F238E27FC236}">
                      <a16:creationId xmlns:a16="http://schemas.microsoft.com/office/drawing/2014/main" id="{6F4617BE-FFED-4D0B-A12A-94059F3310E7}"/>
                    </a:ext>
                  </a:extLst>
                </p:cNvPr>
                <p:cNvGrpSpPr/>
                <p:nvPr/>
              </p:nvGrpSpPr>
              <p:grpSpPr>
                <a:xfrm>
                  <a:off x="5422014" y="3082930"/>
                  <a:ext cx="887685" cy="340080"/>
                  <a:chOff x="34099" y="0"/>
                  <a:chExt cx="1183579" cy="453438"/>
                </a:xfrm>
              </p:grpSpPr>
              <p:sp>
                <p:nvSpPr>
                  <p:cNvPr id="127" name="Shape 763">
                    <a:extLst>
                      <a:ext uri="{FF2B5EF4-FFF2-40B4-BE49-F238E27FC236}">
                        <a16:creationId xmlns:a16="http://schemas.microsoft.com/office/drawing/2014/main" id="{90EC3E42-2252-4E28-8AF8-E65B266D35ED}"/>
                      </a:ext>
                    </a:extLst>
                  </p:cNvPr>
                  <p:cNvSpPr/>
                  <p:nvPr/>
                </p:nvSpPr>
                <p:spPr>
                  <a:xfrm flipV="1">
                    <a:off x="1213308" y="0"/>
                    <a:ext cx="1" cy="453439"/>
                  </a:xfrm>
                  <a:prstGeom prst="line">
                    <a:avLst/>
                  </a:prstGeom>
                  <a:noFill/>
                  <a:ln w="19050" cap="flat">
                    <a:solidFill>
                      <a:sysClr val="window" lastClr="FFFFFF">
                        <a:lumMod val="75000"/>
                      </a:sysClr>
                    </a:solidFill>
                    <a:prstDash val="solid"/>
                    <a:miter lim="400000"/>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128" name="Shape 764">
                    <a:extLst>
                      <a:ext uri="{FF2B5EF4-FFF2-40B4-BE49-F238E27FC236}">
                        <a16:creationId xmlns:a16="http://schemas.microsoft.com/office/drawing/2014/main" id="{E6CD912D-4373-4769-B6EA-0E939926ACB4}"/>
                      </a:ext>
                    </a:extLst>
                  </p:cNvPr>
                  <p:cNvSpPr/>
                  <p:nvPr/>
                </p:nvSpPr>
                <p:spPr>
                  <a:xfrm flipH="1" flipV="1">
                    <a:off x="34099" y="233808"/>
                    <a:ext cx="1183580" cy="1"/>
                  </a:xfrm>
                  <a:prstGeom prst="line">
                    <a:avLst/>
                  </a:prstGeom>
                  <a:noFill/>
                  <a:ln w="19050" cap="flat">
                    <a:solidFill>
                      <a:sysClr val="window" lastClr="FFFFFF">
                        <a:lumMod val="75000"/>
                      </a:sysClr>
                    </a:solidFill>
                    <a:prstDash val="sysDash"/>
                    <a:miter lim="400000"/>
                    <a:tailEnd type="oval" w="med" len="med"/>
                  </a:ln>
                  <a:effectLst/>
                </p:spPr>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grpSp>
    </p:spTree>
    <p:extLst>
      <p:ext uri="{BB962C8B-B14F-4D97-AF65-F5344CB8AC3E}">
        <p14:creationId xmlns:p14="http://schemas.microsoft.com/office/powerpoint/2010/main" val="55820476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5B1FCBA1-8658-4305-B1F0-BAE293CA2326}"/>
              </a:ext>
            </a:extLst>
          </p:cNvPr>
          <p:cNvSpPr/>
          <p:nvPr/>
        </p:nvSpPr>
        <p:spPr>
          <a:xfrm>
            <a:off x="154355" y="3973912"/>
            <a:ext cx="11713478" cy="2862711"/>
          </a:xfrm>
          <a:prstGeom prst="rect">
            <a:avLst/>
          </a:prstGeom>
          <a:solidFill>
            <a:schemeClr val="accent2">
              <a:lumMod val="20000"/>
              <a:lumOff val="8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sp>
        <p:nvSpPr>
          <p:cNvPr id="2" name="Rectangle 1">
            <a:extLst>
              <a:ext uri="{FF2B5EF4-FFF2-40B4-BE49-F238E27FC236}">
                <a16:creationId xmlns:a16="http://schemas.microsoft.com/office/drawing/2014/main" id="{14F9A0FD-0669-4272-97A9-80E174D8FF2F}"/>
              </a:ext>
            </a:extLst>
          </p:cNvPr>
          <p:cNvSpPr/>
          <p:nvPr/>
        </p:nvSpPr>
        <p:spPr>
          <a:xfrm>
            <a:off x="154354" y="1060603"/>
            <a:ext cx="11753042" cy="2672583"/>
          </a:xfrm>
          <a:prstGeom prst="rect">
            <a:avLst/>
          </a:prstGeom>
          <a:solidFill>
            <a:schemeClr val="accent6">
              <a:lumMod val="40000"/>
              <a:lumOff val="60000"/>
            </a:schemeClr>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a:p>
        </p:txBody>
      </p:sp>
      <p:graphicFrame>
        <p:nvGraphicFramePr>
          <p:cNvPr id="4" name="Object 3" hidden="1"/>
          <p:cNvGraphicFramePr>
            <a:graphicFrameLocks noChangeAspect="1"/>
          </p:cNvGraphicFramePr>
          <p:nvPr>
            <p:custDataLst>
              <p:tags r:id="rId2"/>
            </p:custDataLst>
          </p:nvPr>
        </p:nvGraphicFramePr>
        <p:xfrm>
          <a:off x="1144591" y="1593"/>
          <a:ext cx="1587" cy="1587"/>
        </p:xfrm>
        <a:graphic>
          <a:graphicData uri="http://schemas.openxmlformats.org/presentationml/2006/ole">
            <mc:AlternateContent xmlns:mc="http://schemas.openxmlformats.org/markup-compatibility/2006">
              <mc:Choice xmlns:v="urn:schemas-microsoft-com:vml" Requires="v">
                <p:oleObj spid="_x0000_s20481"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144591" y="1593"/>
                        <a:ext cx="1587" cy="1587"/>
                      </a:xfrm>
                      <a:prstGeom prst="rect">
                        <a:avLst/>
                      </a:prstGeom>
                    </p:spPr>
                  </p:pic>
                </p:oleObj>
              </mc:Fallback>
            </mc:AlternateContent>
          </a:graphicData>
        </a:graphic>
      </p:graphicFrame>
      <p:sp>
        <p:nvSpPr>
          <p:cNvPr id="10" name="Slide Number Placeholder 9"/>
          <p:cNvSpPr>
            <a:spLocks noGrp="1"/>
          </p:cNvSpPr>
          <p:nvPr>
            <p:ph type="sldNum" sz="quarter" idx="11"/>
          </p:nvPr>
        </p:nvSpPr>
        <p:spPr/>
        <p:txBody>
          <a:bodyPr/>
          <a:lstStyle/>
          <a:p>
            <a:pPr>
              <a:defRPr/>
            </a:pPr>
            <a:fld id="{47794585-347E-4355-955C-F2766ACC4F25}" type="slidenum">
              <a:rPr lang="en-US" smtClean="0"/>
              <a:pPr>
                <a:defRPr/>
              </a:pPr>
              <a:t>4</a:t>
            </a:fld>
            <a:endParaRPr lang="en-US"/>
          </a:p>
        </p:txBody>
      </p:sp>
      <p:sp>
        <p:nvSpPr>
          <p:cNvPr id="9" name="Slide Number Placeholder 3">
            <a:extLst>
              <a:ext uri="{FF2B5EF4-FFF2-40B4-BE49-F238E27FC236}">
                <a16:creationId xmlns:a16="http://schemas.microsoft.com/office/drawing/2014/main" id="{1B15A506-5F36-412F-BD20-1F744F9DB377}"/>
              </a:ext>
            </a:extLst>
          </p:cNvPr>
          <p:cNvSpPr txBox="1">
            <a:spLocks/>
          </p:cNvSpPr>
          <p:nvPr/>
        </p:nvSpPr>
        <p:spPr>
          <a:xfrm>
            <a:off x="10923588" y="6991042"/>
            <a:ext cx="119062" cy="30778"/>
          </a:xfrm>
          <a:prstGeom prst="rect">
            <a:avLst/>
          </a:prstGeom>
        </p:spPr>
        <p:txBody>
          <a:bodyPr vert="horz" wrap="square" lIns="0" tIns="0" rIns="0" bIns="0" numCol="1" anchor="ctr" anchorCtr="0" compatLnSpc="1">
            <a:prstTxWarp prst="textNoShape">
              <a:avLst/>
            </a:prstTxWarp>
            <a:spAutoFit/>
          </a:bodyPr>
          <a:lstStyle>
            <a:defPPr>
              <a:defRPr lang="de-DE"/>
            </a:defPPr>
            <a:lvl1pPr algn="r" rtl="0" fontAlgn="base">
              <a:spcBef>
                <a:spcPct val="0"/>
              </a:spcBef>
              <a:spcAft>
                <a:spcPct val="0"/>
              </a:spcAft>
              <a:defRPr sz="200" b="0" kern="1200">
                <a:solidFill>
                  <a:srgbClr val="FFFFFF"/>
                </a:solidFill>
                <a:latin typeface="Arial" charset="0"/>
                <a:ea typeface="MS PGothic" pitchFamily="34" charset="-128"/>
                <a:cs typeface="Arial" charset="0"/>
              </a:defRPr>
            </a:lvl1pPr>
            <a:lvl2pPr marL="457200" algn="l" rtl="0" fontAlgn="base">
              <a:spcBef>
                <a:spcPct val="0"/>
              </a:spcBef>
              <a:spcAft>
                <a:spcPct val="0"/>
              </a:spcAft>
              <a:defRPr sz="13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3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3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300" b="1" kern="1200">
                <a:solidFill>
                  <a:schemeClr val="tx1"/>
                </a:solidFill>
                <a:latin typeface="Arial" pitchFamily="34" charset="0"/>
                <a:ea typeface="+mn-ea"/>
                <a:cs typeface="Arial" pitchFamily="34" charset="0"/>
              </a:defRPr>
            </a:lvl5pPr>
            <a:lvl6pPr marL="2286000" algn="l" defTabSz="914400" rtl="0" eaLnBrk="1" latinLnBrk="0" hangingPunct="1">
              <a:defRPr sz="1300" b="1" kern="1200">
                <a:solidFill>
                  <a:schemeClr val="tx1"/>
                </a:solidFill>
                <a:latin typeface="Arial" pitchFamily="34" charset="0"/>
                <a:ea typeface="+mn-ea"/>
                <a:cs typeface="Arial" pitchFamily="34" charset="0"/>
              </a:defRPr>
            </a:lvl6pPr>
            <a:lvl7pPr marL="2743200" algn="l" defTabSz="914400" rtl="0" eaLnBrk="1" latinLnBrk="0" hangingPunct="1">
              <a:defRPr sz="1300" b="1" kern="1200">
                <a:solidFill>
                  <a:schemeClr val="tx1"/>
                </a:solidFill>
                <a:latin typeface="Arial" pitchFamily="34" charset="0"/>
                <a:ea typeface="+mn-ea"/>
                <a:cs typeface="Arial" pitchFamily="34" charset="0"/>
              </a:defRPr>
            </a:lvl7pPr>
            <a:lvl8pPr marL="3200400" algn="l" defTabSz="914400" rtl="0" eaLnBrk="1" latinLnBrk="0" hangingPunct="1">
              <a:defRPr sz="1300" b="1" kern="1200">
                <a:solidFill>
                  <a:schemeClr val="tx1"/>
                </a:solidFill>
                <a:latin typeface="Arial" pitchFamily="34" charset="0"/>
                <a:ea typeface="+mn-ea"/>
                <a:cs typeface="Arial" pitchFamily="34" charset="0"/>
              </a:defRPr>
            </a:lvl8pPr>
            <a:lvl9pPr marL="3657600" algn="l" defTabSz="914400" rtl="0" eaLnBrk="1" latinLnBrk="0" hangingPunct="1">
              <a:defRPr sz="1300" b="1" kern="1200">
                <a:solidFill>
                  <a:schemeClr val="tx1"/>
                </a:solidFill>
                <a:latin typeface="Arial" pitchFamily="34" charset="0"/>
                <a:ea typeface="+mn-ea"/>
                <a:cs typeface="Arial" pitchFamily="34" charset="0"/>
              </a:defRPr>
            </a:lvl9pPr>
          </a:lstStyle>
          <a:p>
            <a:pPr>
              <a:defRPr/>
            </a:pPr>
            <a:fld id="{47794585-347E-4355-955C-F2766ACC4F25}" type="slidenum">
              <a:rPr lang="en-US"/>
              <a:pPr>
                <a:defRPr/>
              </a:pPr>
              <a:t>4</a:t>
            </a:fld>
            <a:endParaRPr lang="en-US"/>
          </a:p>
        </p:txBody>
      </p:sp>
      <p:sp>
        <p:nvSpPr>
          <p:cNvPr id="11" name="Title 8">
            <a:extLst>
              <a:ext uri="{FF2B5EF4-FFF2-40B4-BE49-F238E27FC236}">
                <a16:creationId xmlns:a16="http://schemas.microsoft.com/office/drawing/2014/main" id="{6641B0CE-86AA-449B-9855-81EF0B903FF8}"/>
              </a:ext>
            </a:extLst>
          </p:cNvPr>
          <p:cNvSpPr txBox="1">
            <a:spLocks/>
          </p:cNvSpPr>
          <p:nvPr/>
        </p:nvSpPr>
        <p:spPr>
          <a:xfrm>
            <a:off x="2423792" y="319638"/>
            <a:ext cx="9617519" cy="389630"/>
          </a:xfrm>
          <a:prstGeom prst="rect">
            <a:avLst/>
          </a:prstGeom>
        </p:spPr>
        <p:txBody>
          <a:bodyPr/>
          <a:lstStyle>
            <a:lvl1pPr algn="l" defTabSz="457200" rtl="0" eaLnBrk="1" latinLnBrk="0" hangingPunct="1">
              <a:spcBef>
                <a:spcPct val="0"/>
              </a:spcBef>
              <a:buNone/>
              <a:defRPr sz="3000" kern="1200" cap="all" baseline="0">
                <a:solidFill>
                  <a:schemeClr val="tx2"/>
                </a:solidFill>
                <a:latin typeface="+mj-lt"/>
                <a:ea typeface="+mj-ea"/>
                <a:cs typeface="+mj-cs"/>
              </a:defRPr>
            </a:lvl1pPr>
          </a:lstStyle>
          <a:p>
            <a:r>
              <a:rPr lang="en-US" sz="2400" b="1" cap="none">
                <a:solidFill>
                  <a:srgbClr val="006301"/>
                </a:solidFill>
                <a:latin typeface="Arial"/>
                <a:ea typeface="Arial"/>
                <a:cs typeface="Arial"/>
              </a:rPr>
              <a:t>BACKGROUND &amp; METHODOLOGY</a:t>
            </a:r>
          </a:p>
        </p:txBody>
      </p:sp>
      <p:grpSp>
        <p:nvGrpSpPr>
          <p:cNvPr id="13" name="Group 12">
            <a:extLst>
              <a:ext uri="{FF2B5EF4-FFF2-40B4-BE49-F238E27FC236}">
                <a16:creationId xmlns:a16="http://schemas.microsoft.com/office/drawing/2014/main" id="{DA75AF11-2BCB-4462-9EE8-F1FBB5B16965}"/>
              </a:ext>
            </a:extLst>
          </p:cNvPr>
          <p:cNvGrpSpPr/>
          <p:nvPr/>
        </p:nvGrpSpPr>
        <p:grpSpPr>
          <a:xfrm>
            <a:off x="284604" y="1133079"/>
            <a:ext cx="11583229" cy="2554545"/>
            <a:chOff x="230288" y="1042100"/>
            <a:chExt cx="9452381" cy="2810212"/>
          </a:xfrm>
        </p:grpSpPr>
        <p:sp>
          <p:nvSpPr>
            <p:cNvPr id="22" name="TextBox 21">
              <a:extLst>
                <a:ext uri="{FF2B5EF4-FFF2-40B4-BE49-F238E27FC236}">
                  <a16:creationId xmlns:a16="http://schemas.microsoft.com/office/drawing/2014/main" id="{0EC3E19A-01C6-455A-8C5F-9670201524A2}"/>
                </a:ext>
              </a:extLst>
            </p:cNvPr>
            <p:cNvSpPr txBox="1"/>
            <p:nvPr/>
          </p:nvSpPr>
          <p:spPr>
            <a:xfrm>
              <a:off x="2415903" y="1042100"/>
              <a:ext cx="7266766" cy="2810212"/>
            </a:xfrm>
            <a:prstGeom prst="rect">
              <a:avLst/>
            </a:prstGeom>
            <a:noFill/>
          </p:spPr>
          <p:txBody>
            <a:bodyPr wrap="square" lIns="0" rIns="0" rtlCol="0" anchor="t">
              <a:spAutoFit/>
            </a:bodyPr>
            <a:lstStyle/>
            <a:p>
              <a:pPr marL="285750" indent="-285750">
                <a:lnSpc>
                  <a:spcPct val="150000"/>
                </a:lnSpc>
                <a:buFont typeface="Wingdings" panose="05000000000000000000" pitchFamily="2" charset="2"/>
                <a:buChar char="q"/>
              </a:pPr>
              <a:r>
                <a:rPr lang="en-US" sz="1600">
                  <a:solidFill>
                    <a:prstClr val="black"/>
                  </a:solidFill>
                  <a:ea typeface="ＭＳ Ｐゴシック" panose="020B0600070205080204" pitchFamily="34" charset="-128"/>
                </a:rPr>
                <a:t>Understand the impact of the COVID-19 pandemic on financial services agent's business</a:t>
              </a:r>
            </a:p>
            <a:p>
              <a:pPr marL="285750" indent="-285750">
                <a:lnSpc>
                  <a:spcPct val="150000"/>
                </a:lnSpc>
                <a:buFont typeface="Wingdings" panose="05000000000000000000" pitchFamily="2" charset="2"/>
                <a:buChar char="q"/>
              </a:pPr>
              <a:endParaRPr lang="en-US" sz="1600">
                <a:solidFill>
                  <a:prstClr val="black"/>
                </a:solidFill>
                <a:ea typeface="ＭＳ Ｐゴシック" panose="020B0600070205080204" pitchFamily="34" charset="-128"/>
              </a:endParaRPr>
            </a:p>
            <a:p>
              <a:pPr marL="285750" indent="-285750">
                <a:lnSpc>
                  <a:spcPct val="150000"/>
                </a:lnSpc>
                <a:buFont typeface="Wingdings" panose="05000000000000000000" pitchFamily="2" charset="2"/>
                <a:buChar char="q"/>
              </a:pPr>
              <a:r>
                <a:rPr lang="en-US" sz="1600">
                  <a:solidFill>
                    <a:prstClr val="black"/>
                  </a:solidFill>
                  <a:ea typeface="ＭＳ Ｐゴシック" panose="020B0600070205080204" pitchFamily="34" charset="-128"/>
                </a:rPr>
                <a:t>Understand how financial service agents are managing their businesses in this period </a:t>
              </a:r>
            </a:p>
            <a:p>
              <a:pPr marL="285750" indent="-285750">
                <a:lnSpc>
                  <a:spcPct val="150000"/>
                </a:lnSpc>
                <a:buFont typeface="Wingdings" panose="05000000000000000000" pitchFamily="2" charset="2"/>
                <a:buChar char="q"/>
              </a:pPr>
              <a:endParaRPr lang="en-US" sz="1600">
                <a:solidFill>
                  <a:prstClr val="black"/>
                </a:solidFill>
                <a:ea typeface="ＭＳ Ｐゴシック" panose="020B0600070205080204" pitchFamily="34" charset="-128"/>
              </a:endParaRPr>
            </a:p>
            <a:p>
              <a:pPr marL="171450" indent="-171450" algn="just" defTabSz="685772">
                <a:buClr>
                  <a:srgbClr val="006301"/>
                </a:buClr>
                <a:buFont typeface="Wingdings" panose="05000000000000000000" pitchFamily="2" charset="2"/>
                <a:buChar char="q"/>
              </a:pPr>
              <a:r>
                <a:rPr lang="en-US" sz="1600"/>
                <a:t>  Are agents receiving the required support from their principals? If yes, how useful is the support currently provided? </a:t>
              </a:r>
            </a:p>
            <a:p>
              <a:pPr marL="171450" indent="-171450" algn="just" defTabSz="685772">
                <a:buClr>
                  <a:srgbClr val="006301"/>
                </a:buClr>
                <a:buFont typeface="Wingdings" panose="05000000000000000000" pitchFamily="2" charset="2"/>
                <a:buChar char="q"/>
              </a:pPr>
              <a:endParaRPr lang="en-US" sz="1600"/>
            </a:p>
            <a:p>
              <a:pPr marL="171450" indent="-171450" algn="just" defTabSz="685772">
                <a:buClr>
                  <a:srgbClr val="006301"/>
                </a:buClr>
                <a:buFont typeface="Wingdings" panose="05000000000000000000" pitchFamily="2" charset="2"/>
                <a:buChar char="q"/>
              </a:pPr>
              <a:r>
                <a:rPr lang="en-US" sz="1600">
                  <a:solidFill>
                    <a:prstClr val="black"/>
                  </a:solidFill>
                  <a:ea typeface="ＭＳ Ｐゴシック" panose="020B0600070205080204" pitchFamily="34" charset="-128"/>
                </a:rPr>
                <a:t>  Understand the potential for agents to support the fight against COVID-19</a:t>
              </a:r>
            </a:p>
          </p:txBody>
        </p:sp>
        <p:grpSp>
          <p:nvGrpSpPr>
            <p:cNvPr id="17" name="Group 16">
              <a:extLst>
                <a:ext uri="{FF2B5EF4-FFF2-40B4-BE49-F238E27FC236}">
                  <a16:creationId xmlns:a16="http://schemas.microsoft.com/office/drawing/2014/main" id="{72D322F6-55F3-4E10-8D76-CB6B108DCAF8}"/>
                </a:ext>
              </a:extLst>
            </p:cNvPr>
            <p:cNvGrpSpPr/>
            <p:nvPr/>
          </p:nvGrpSpPr>
          <p:grpSpPr>
            <a:xfrm>
              <a:off x="230288" y="1124282"/>
              <a:ext cx="2324190" cy="2487231"/>
              <a:chOff x="309369" y="1043062"/>
              <a:chExt cx="2324190" cy="2487231"/>
            </a:xfrm>
          </p:grpSpPr>
          <p:grpSp>
            <p:nvGrpSpPr>
              <p:cNvPr id="18" name="Group 17">
                <a:extLst>
                  <a:ext uri="{FF2B5EF4-FFF2-40B4-BE49-F238E27FC236}">
                    <a16:creationId xmlns:a16="http://schemas.microsoft.com/office/drawing/2014/main" id="{E1CFE3B2-150D-44D1-AF3F-1B8A13D9EACD}"/>
                  </a:ext>
                </a:extLst>
              </p:cNvPr>
              <p:cNvGrpSpPr/>
              <p:nvPr/>
            </p:nvGrpSpPr>
            <p:grpSpPr>
              <a:xfrm>
                <a:off x="584327" y="1677214"/>
                <a:ext cx="1599746" cy="1853079"/>
                <a:chOff x="360568" y="1677214"/>
                <a:chExt cx="1599746" cy="1853079"/>
              </a:xfrm>
            </p:grpSpPr>
            <p:sp>
              <p:nvSpPr>
                <p:cNvPr id="20" name="Freeform 6">
                  <a:extLst>
                    <a:ext uri="{FF2B5EF4-FFF2-40B4-BE49-F238E27FC236}">
                      <a16:creationId xmlns:a16="http://schemas.microsoft.com/office/drawing/2014/main" id="{9BF1C53C-FF30-4ED1-83E2-3A9E59A55D0C}"/>
                    </a:ext>
                  </a:extLst>
                </p:cNvPr>
                <p:cNvSpPr>
                  <a:spLocks noChangeAspect="1"/>
                </p:cNvSpPr>
                <p:nvPr/>
              </p:nvSpPr>
              <p:spPr bwMode="auto">
                <a:xfrm>
                  <a:off x="720875" y="2111788"/>
                  <a:ext cx="881063" cy="881062"/>
                </a:xfrm>
                <a:custGeom>
                  <a:avLst/>
                  <a:gdLst/>
                  <a:ahLst/>
                  <a:cxnLst>
                    <a:cxn ang="0">
                      <a:pos x="134" y="129"/>
                    </a:cxn>
                    <a:cxn ang="0">
                      <a:pos x="119" y="133"/>
                    </a:cxn>
                    <a:cxn ang="0">
                      <a:pos x="106" y="132"/>
                    </a:cxn>
                    <a:cxn ang="0">
                      <a:pos x="193" y="52"/>
                    </a:cxn>
                    <a:cxn ang="0">
                      <a:pos x="217" y="51"/>
                    </a:cxn>
                    <a:cxn ang="0">
                      <a:pos x="238" y="28"/>
                    </a:cxn>
                    <a:cxn ang="0">
                      <a:pos x="218" y="27"/>
                    </a:cxn>
                    <a:cxn ang="0">
                      <a:pos x="219" y="19"/>
                    </a:cxn>
                    <a:cxn ang="0">
                      <a:pos x="211" y="20"/>
                    </a:cxn>
                    <a:cxn ang="0">
                      <a:pos x="210" y="0"/>
                    </a:cxn>
                    <a:cxn ang="0">
                      <a:pos x="187" y="21"/>
                    </a:cxn>
                    <a:cxn ang="0">
                      <a:pos x="186" y="45"/>
                    </a:cxn>
                    <a:cxn ang="0">
                      <a:pos x="109" y="19"/>
                    </a:cxn>
                    <a:cxn ang="0">
                      <a:pos x="0" y="129"/>
                    </a:cxn>
                    <a:cxn ang="0">
                      <a:pos x="109" y="238"/>
                    </a:cxn>
                    <a:cxn ang="0">
                      <a:pos x="219" y="129"/>
                    </a:cxn>
                    <a:cxn ang="0">
                      <a:pos x="178" y="75"/>
                    </a:cxn>
                    <a:cxn ang="0">
                      <a:pos x="171" y="190"/>
                    </a:cxn>
                    <a:cxn ang="0">
                      <a:pos x="48" y="190"/>
                    </a:cxn>
                    <a:cxn ang="0">
                      <a:pos x="48" y="67"/>
                    </a:cxn>
                    <a:cxn ang="0">
                      <a:pos x="167" y="64"/>
                    </a:cxn>
                    <a:cxn ang="0">
                      <a:pos x="109" y="61"/>
                    </a:cxn>
                    <a:cxn ang="0">
                      <a:pos x="42" y="129"/>
                    </a:cxn>
                    <a:cxn ang="0">
                      <a:pos x="109" y="196"/>
                    </a:cxn>
                    <a:cxn ang="0">
                      <a:pos x="177" y="129"/>
                    </a:cxn>
                    <a:cxn ang="0">
                      <a:pos x="147" y="105"/>
                    </a:cxn>
                    <a:cxn ang="0">
                      <a:pos x="141" y="161"/>
                    </a:cxn>
                    <a:cxn ang="0">
                      <a:pos x="77" y="161"/>
                    </a:cxn>
                    <a:cxn ang="0">
                      <a:pos x="77" y="97"/>
                    </a:cxn>
                    <a:cxn ang="0">
                      <a:pos x="138" y="94"/>
                    </a:cxn>
                    <a:cxn ang="0">
                      <a:pos x="109" y="104"/>
                    </a:cxn>
                    <a:cxn ang="0">
                      <a:pos x="109" y="154"/>
                    </a:cxn>
                  </a:cxnLst>
                  <a:rect l="0" t="0" r="r" b="b"/>
                  <a:pathLst>
                    <a:path w="238" h="238">
                      <a:moveTo>
                        <a:pt x="109" y="154"/>
                      </a:moveTo>
                      <a:cubicBezTo>
                        <a:pt x="123" y="154"/>
                        <a:pt x="134" y="143"/>
                        <a:pt x="134" y="129"/>
                      </a:cubicBezTo>
                      <a:cubicBezTo>
                        <a:pt x="134" y="126"/>
                        <a:pt x="134" y="122"/>
                        <a:pt x="133" y="120"/>
                      </a:cubicBezTo>
                      <a:cubicBezTo>
                        <a:pt x="119" y="133"/>
                        <a:pt x="119" y="133"/>
                        <a:pt x="119" y="133"/>
                      </a:cubicBezTo>
                      <a:cubicBezTo>
                        <a:pt x="115" y="137"/>
                        <a:pt x="108" y="136"/>
                        <a:pt x="106" y="132"/>
                      </a:cubicBezTo>
                      <a:cubicBezTo>
                        <a:pt x="106" y="132"/>
                        <a:pt x="106" y="132"/>
                        <a:pt x="106" y="132"/>
                      </a:cubicBezTo>
                      <a:cubicBezTo>
                        <a:pt x="108" y="134"/>
                        <a:pt x="111" y="134"/>
                        <a:pt x="113" y="132"/>
                      </a:cubicBezTo>
                      <a:cubicBezTo>
                        <a:pt x="193" y="52"/>
                        <a:pt x="193" y="52"/>
                        <a:pt x="193" y="52"/>
                      </a:cubicBezTo>
                      <a:cubicBezTo>
                        <a:pt x="215" y="52"/>
                        <a:pt x="215" y="52"/>
                        <a:pt x="215" y="52"/>
                      </a:cubicBezTo>
                      <a:cubicBezTo>
                        <a:pt x="216" y="52"/>
                        <a:pt x="217" y="51"/>
                        <a:pt x="217" y="51"/>
                      </a:cubicBezTo>
                      <a:cubicBezTo>
                        <a:pt x="237" y="31"/>
                        <a:pt x="237" y="31"/>
                        <a:pt x="237" y="31"/>
                      </a:cubicBezTo>
                      <a:cubicBezTo>
                        <a:pt x="238" y="30"/>
                        <a:pt x="238" y="29"/>
                        <a:pt x="238" y="28"/>
                      </a:cubicBezTo>
                      <a:cubicBezTo>
                        <a:pt x="237" y="27"/>
                        <a:pt x="237" y="27"/>
                        <a:pt x="236" y="27"/>
                      </a:cubicBezTo>
                      <a:cubicBezTo>
                        <a:pt x="218" y="27"/>
                        <a:pt x="218" y="27"/>
                        <a:pt x="218" y="27"/>
                      </a:cubicBezTo>
                      <a:cubicBezTo>
                        <a:pt x="219" y="26"/>
                        <a:pt x="219" y="26"/>
                        <a:pt x="219" y="26"/>
                      </a:cubicBezTo>
                      <a:cubicBezTo>
                        <a:pt x="221" y="24"/>
                        <a:pt x="221" y="21"/>
                        <a:pt x="219" y="19"/>
                      </a:cubicBezTo>
                      <a:cubicBezTo>
                        <a:pt x="217" y="17"/>
                        <a:pt x="214" y="17"/>
                        <a:pt x="212" y="19"/>
                      </a:cubicBezTo>
                      <a:cubicBezTo>
                        <a:pt x="211" y="20"/>
                        <a:pt x="211" y="20"/>
                        <a:pt x="211" y="20"/>
                      </a:cubicBezTo>
                      <a:cubicBezTo>
                        <a:pt x="211" y="2"/>
                        <a:pt x="211" y="2"/>
                        <a:pt x="211" y="2"/>
                      </a:cubicBezTo>
                      <a:cubicBezTo>
                        <a:pt x="211" y="1"/>
                        <a:pt x="211" y="1"/>
                        <a:pt x="210" y="0"/>
                      </a:cubicBezTo>
                      <a:cubicBezTo>
                        <a:pt x="209" y="0"/>
                        <a:pt x="208" y="0"/>
                        <a:pt x="207" y="1"/>
                      </a:cubicBezTo>
                      <a:cubicBezTo>
                        <a:pt x="187" y="21"/>
                        <a:pt x="187" y="21"/>
                        <a:pt x="187" y="21"/>
                      </a:cubicBezTo>
                      <a:cubicBezTo>
                        <a:pt x="187" y="21"/>
                        <a:pt x="186" y="22"/>
                        <a:pt x="186" y="23"/>
                      </a:cubicBezTo>
                      <a:cubicBezTo>
                        <a:pt x="186" y="45"/>
                        <a:pt x="186" y="45"/>
                        <a:pt x="186" y="45"/>
                      </a:cubicBezTo>
                      <a:cubicBezTo>
                        <a:pt x="183" y="48"/>
                        <a:pt x="183" y="48"/>
                        <a:pt x="183" y="48"/>
                      </a:cubicBezTo>
                      <a:cubicBezTo>
                        <a:pt x="164" y="30"/>
                        <a:pt x="138" y="19"/>
                        <a:pt x="109" y="19"/>
                      </a:cubicBezTo>
                      <a:cubicBezTo>
                        <a:pt x="79" y="19"/>
                        <a:pt x="52" y="32"/>
                        <a:pt x="32" y="51"/>
                      </a:cubicBezTo>
                      <a:cubicBezTo>
                        <a:pt x="12" y="71"/>
                        <a:pt x="0" y="99"/>
                        <a:pt x="0" y="129"/>
                      </a:cubicBezTo>
                      <a:cubicBezTo>
                        <a:pt x="0" y="159"/>
                        <a:pt x="12" y="186"/>
                        <a:pt x="32" y="206"/>
                      </a:cubicBezTo>
                      <a:cubicBezTo>
                        <a:pt x="52" y="226"/>
                        <a:pt x="79" y="238"/>
                        <a:pt x="109" y="238"/>
                      </a:cubicBezTo>
                      <a:cubicBezTo>
                        <a:pt x="139" y="238"/>
                        <a:pt x="167" y="226"/>
                        <a:pt x="187" y="206"/>
                      </a:cubicBezTo>
                      <a:cubicBezTo>
                        <a:pt x="206" y="186"/>
                        <a:pt x="219" y="159"/>
                        <a:pt x="219" y="129"/>
                      </a:cubicBezTo>
                      <a:cubicBezTo>
                        <a:pt x="219" y="102"/>
                        <a:pt x="209" y="78"/>
                        <a:pt x="194" y="59"/>
                      </a:cubicBezTo>
                      <a:cubicBezTo>
                        <a:pt x="178" y="75"/>
                        <a:pt x="178" y="75"/>
                        <a:pt x="178" y="75"/>
                      </a:cubicBezTo>
                      <a:cubicBezTo>
                        <a:pt x="189" y="90"/>
                        <a:pt x="196" y="108"/>
                        <a:pt x="196" y="129"/>
                      </a:cubicBezTo>
                      <a:cubicBezTo>
                        <a:pt x="196" y="153"/>
                        <a:pt x="186" y="175"/>
                        <a:pt x="171" y="190"/>
                      </a:cubicBezTo>
                      <a:cubicBezTo>
                        <a:pt x="155" y="206"/>
                        <a:pt x="133" y="216"/>
                        <a:pt x="109" y="216"/>
                      </a:cubicBezTo>
                      <a:cubicBezTo>
                        <a:pt x="85" y="216"/>
                        <a:pt x="63" y="206"/>
                        <a:pt x="48" y="190"/>
                      </a:cubicBezTo>
                      <a:cubicBezTo>
                        <a:pt x="32" y="175"/>
                        <a:pt x="22" y="153"/>
                        <a:pt x="22" y="129"/>
                      </a:cubicBezTo>
                      <a:cubicBezTo>
                        <a:pt x="22" y="105"/>
                        <a:pt x="32" y="83"/>
                        <a:pt x="48" y="67"/>
                      </a:cubicBezTo>
                      <a:cubicBezTo>
                        <a:pt x="63" y="51"/>
                        <a:pt x="85" y="42"/>
                        <a:pt x="109" y="42"/>
                      </a:cubicBezTo>
                      <a:cubicBezTo>
                        <a:pt x="132" y="42"/>
                        <a:pt x="152" y="50"/>
                        <a:pt x="167" y="64"/>
                      </a:cubicBezTo>
                      <a:cubicBezTo>
                        <a:pt x="153" y="78"/>
                        <a:pt x="153" y="78"/>
                        <a:pt x="153" y="78"/>
                      </a:cubicBezTo>
                      <a:cubicBezTo>
                        <a:pt x="142" y="67"/>
                        <a:pt x="126" y="61"/>
                        <a:pt x="109" y="61"/>
                      </a:cubicBezTo>
                      <a:cubicBezTo>
                        <a:pt x="91" y="61"/>
                        <a:pt x="74" y="69"/>
                        <a:pt x="61" y="81"/>
                      </a:cubicBezTo>
                      <a:cubicBezTo>
                        <a:pt x="49" y="93"/>
                        <a:pt x="42" y="110"/>
                        <a:pt x="42" y="129"/>
                      </a:cubicBezTo>
                      <a:cubicBezTo>
                        <a:pt x="42" y="147"/>
                        <a:pt x="49" y="164"/>
                        <a:pt x="61" y="177"/>
                      </a:cubicBezTo>
                      <a:cubicBezTo>
                        <a:pt x="74" y="189"/>
                        <a:pt x="91" y="196"/>
                        <a:pt x="109" y="196"/>
                      </a:cubicBezTo>
                      <a:cubicBezTo>
                        <a:pt x="128" y="196"/>
                        <a:pt x="145" y="189"/>
                        <a:pt x="157" y="177"/>
                      </a:cubicBezTo>
                      <a:cubicBezTo>
                        <a:pt x="169" y="164"/>
                        <a:pt x="177" y="147"/>
                        <a:pt x="177" y="129"/>
                      </a:cubicBezTo>
                      <a:cubicBezTo>
                        <a:pt x="177" y="114"/>
                        <a:pt x="172" y="100"/>
                        <a:pt x="164" y="89"/>
                      </a:cubicBezTo>
                      <a:cubicBezTo>
                        <a:pt x="147" y="105"/>
                        <a:pt x="147" y="105"/>
                        <a:pt x="147" y="105"/>
                      </a:cubicBezTo>
                      <a:cubicBezTo>
                        <a:pt x="152" y="112"/>
                        <a:pt x="154" y="120"/>
                        <a:pt x="154" y="129"/>
                      </a:cubicBezTo>
                      <a:cubicBezTo>
                        <a:pt x="154" y="141"/>
                        <a:pt x="149" y="152"/>
                        <a:pt x="141" y="161"/>
                      </a:cubicBezTo>
                      <a:cubicBezTo>
                        <a:pt x="133" y="169"/>
                        <a:pt x="122" y="174"/>
                        <a:pt x="109" y="174"/>
                      </a:cubicBezTo>
                      <a:cubicBezTo>
                        <a:pt x="97" y="174"/>
                        <a:pt x="85" y="169"/>
                        <a:pt x="77" y="161"/>
                      </a:cubicBezTo>
                      <a:cubicBezTo>
                        <a:pt x="69" y="152"/>
                        <a:pt x="64" y="141"/>
                        <a:pt x="64" y="129"/>
                      </a:cubicBezTo>
                      <a:cubicBezTo>
                        <a:pt x="64" y="116"/>
                        <a:pt x="69" y="105"/>
                        <a:pt x="77" y="97"/>
                      </a:cubicBezTo>
                      <a:cubicBezTo>
                        <a:pt x="85" y="89"/>
                        <a:pt x="97" y="84"/>
                        <a:pt x="109" y="84"/>
                      </a:cubicBezTo>
                      <a:cubicBezTo>
                        <a:pt x="120" y="84"/>
                        <a:pt x="130" y="87"/>
                        <a:pt x="138" y="94"/>
                      </a:cubicBezTo>
                      <a:cubicBezTo>
                        <a:pt x="123" y="108"/>
                        <a:pt x="123" y="108"/>
                        <a:pt x="123" y="108"/>
                      </a:cubicBezTo>
                      <a:cubicBezTo>
                        <a:pt x="119" y="105"/>
                        <a:pt x="114" y="104"/>
                        <a:pt x="109" y="104"/>
                      </a:cubicBezTo>
                      <a:cubicBezTo>
                        <a:pt x="95" y="104"/>
                        <a:pt x="84" y="115"/>
                        <a:pt x="84" y="129"/>
                      </a:cubicBezTo>
                      <a:cubicBezTo>
                        <a:pt x="84" y="143"/>
                        <a:pt x="95" y="154"/>
                        <a:pt x="109" y="154"/>
                      </a:cubicBezTo>
                      <a:close/>
                    </a:path>
                  </a:pathLst>
                </a:custGeom>
                <a:solidFill>
                  <a:srgbClr val="006301"/>
                </a:solidFill>
                <a:ln w="9525">
                  <a:noFill/>
                  <a:round/>
                  <a:headEnd/>
                  <a:tailEnd/>
                </a:ln>
              </p:spPr>
              <p:txBody>
                <a:bodyPr vert="horz" wrap="square" lIns="57150" tIns="28575" rIns="57150" bIns="28575" numCol="1" anchor="t" anchorCtr="0" compatLnSpc="1">
                  <a:prstTxWarp prst="textNoShape">
                    <a:avLst/>
                  </a:prstTxWarp>
                </a:bodyPr>
                <a:lstStyle/>
                <a:p>
                  <a:pPr defTabSz="456388" eaLnBrk="0" fontAlgn="base" hangingPunct="0">
                    <a:spcBef>
                      <a:spcPct val="0"/>
                    </a:spcBef>
                    <a:spcAft>
                      <a:spcPct val="0"/>
                    </a:spcAft>
                  </a:pPr>
                  <a:endParaRPr lang="en-GB" sz="1813">
                    <a:solidFill>
                      <a:prstClr val="black"/>
                    </a:solidFill>
                    <a:latin typeface="Arial"/>
                    <a:ea typeface="ＭＳ Ｐゴシック" panose="020B0600070205080204" pitchFamily="34" charset="-128"/>
                  </a:endParaRPr>
                </a:p>
              </p:txBody>
            </p:sp>
            <p:sp>
              <p:nvSpPr>
                <p:cNvPr id="21" name="Hexagon 20">
                  <a:extLst>
                    <a:ext uri="{FF2B5EF4-FFF2-40B4-BE49-F238E27FC236}">
                      <a16:creationId xmlns:a16="http://schemas.microsoft.com/office/drawing/2014/main" id="{74FD5EC0-8B91-45F3-AD67-88DED2384CB7}"/>
                    </a:ext>
                  </a:extLst>
                </p:cNvPr>
                <p:cNvSpPr/>
                <p:nvPr/>
              </p:nvSpPr>
              <p:spPr>
                <a:xfrm>
                  <a:off x="360568" y="1677214"/>
                  <a:ext cx="1599746" cy="1853079"/>
                </a:xfrm>
                <a:prstGeom prst="hexagon">
                  <a:avLst>
                    <a:gd name="adj" fmla="val 29511"/>
                    <a:gd name="vf" fmla="val 115470"/>
                  </a:avLst>
                </a:prstGeom>
                <a:noFill/>
                <a:ln w="152400" cap="flat" cmpd="sng" algn="ctr">
                  <a:solidFill>
                    <a:srgbClr val="006301"/>
                  </a:solidFill>
                  <a:prstDash val="solid"/>
                  <a:miter lim="800000"/>
                </a:ln>
                <a:effectLst/>
              </p:spPr>
              <p:txBody>
                <a:bodyPr rtlCol="0" anchor="ctr"/>
                <a:lstStyle/>
                <a:p>
                  <a:pPr algn="ctr" defTabSz="685772">
                    <a:defRPr/>
                  </a:pPr>
                  <a:endParaRPr lang="en-US" sz="1350" kern="0">
                    <a:solidFill>
                      <a:prstClr val="white"/>
                    </a:solidFill>
                    <a:latin typeface="Arial"/>
                    <a:ea typeface="ＭＳ Ｐゴシック" panose="020B0600070205080204" pitchFamily="34" charset="-128"/>
                  </a:endParaRPr>
                </a:p>
              </p:txBody>
            </p:sp>
          </p:grpSp>
          <p:sp>
            <p:nvSpPr>
              <p:cNvPr id="19" name="TextBox 18">
                <a:extLst>
                  <a:ext uri="{FF2B5EF4-FFF2-40B4-BE49-F238E27FC236}">
                    <a16:creationId xmlns:a16="http://schemas.microsoft.com/office/drawing/2014/main" id="{0D200851-4C58-410A-B092-1E918745CE12}"/>
                  </a:ext>
                </a:extLst>
              </p:cNvPr>
              <p:cNvSpPr txBox="1"/>
              <p:nvPr/>
            </p:nvSpPr>
            <p:spPr>
              <a:xfrm>
                <a:off x="309369" y="1043062"/>
                <a:ext cx="2324190" cy="369333"/>
              </a:xfrm>
              <a:prstGeom prst="rect">
                <a:avLst/>
              </a:prstGeom>
              <a:noFill/>
            </p:spPr>
            <p:txBody>
              <a:bodyPr wrap="square" lIns="0" rIns="0" rtlCol="0" anchor="b">
                <a:spAutoFit/>
              </a:bodyPr>
              <a:lstStyle/>
              <a:p>
                <a:pPr algn="ctr" defTabSz="685772"/>
                <a:r>
                  <a:rPr lang="en-US" b="1">
                    <a:solidFill>
                      <a:prstClr val="black"/>
                    </a:solidFill>
                    <a:latin typeface="Arial"/>
                    <a:ea typeface="ＭＳ Ｐゴシック" panose="020B0600070205080204" pitchFamily="34" charset="-128"/>
                  </a:rPr>
                  <a:t>Research Objectives</a:t>
                </a:r>
              </a:p>
            </p:txBody>
          </p:sp>
        </p:grpSp>
      </p:grpSp>
      <p:grpSp>
        <p:nvGrpSpPr>
          <p:cNvPr id="32" name="Group 31">
            <a:extLst>
              <a:ext uri="{FF2B5EF4-FFF2-40B4-BE49-F238E27FC236}">
                <a16:creationId xmlns:a16="http://schemas.microsoft.com/office/drawing/2014/main" id="{60F0B6B0-2313-42C4-A55D-7A453A5E563B}"/>
              </a:ext>
            </a:extLst>
          </p:cNvPr>
          <p:cNvGrpSpPr>
            <a:grpSpLocks noChangeAspect="1"/>
          </p:cNvGrpSpPr>
          <p:nvPr/>
        </p:nvGrpSpPr>
        <p:grpSpPr>
          <a:xfrm>
            <a:off x="568244" y="4644573"/>
            <a:ext cx="2066980" cy="2011286"/>
            <a:chOff x="271463" y="1127126"/>
            <a:chExt cx="606425" cy="608013"/>
          </a:xfrm>
        </p:grpSpPr>
        <p:sp>
          <p:nvSpPr>
            <p:cNvPr id="34" name="Freeform 29">
              <a:extLst>
                <a:ext uri="{FF2B5EF4-FFF2-40B4-BE49-F238E27FC236}">
                  <a16:creationId xmlns:a16="http://schemas.microsoft.com/office/drawing/2014/main" id="{87CBA278-8575-4047-AAD6-4AC2D7BC12DA}"/>
                </a:ext>
              </a:extLst>
            </p:cNvPr>
            <p:cNvSpPr>
              <a:spLocks/>
            </p:cNvSpPr>
            <p:nvPr/>
          </p:nvSpPr>
          <p:spPr bwMode="auto">
            <a:xfrm>
              <a:off x="271463" y="1127126"/>
              <a:ext cx="606425" cy="608013"/>
            </a:xfrm>
            <a:custGeom>
              <a:avLst/>
              <a:gdLst/>
              <a:ahLst/>
              <a:cxnLst>
                <a:cxn ang="0">
                  <a:pos x="453" y="432"/>
                </a:cxn>
                <a:cxn ang="0">
                  <a:pos x="431" y="454"/>
                </a:cxn>
                <a:cxn ang="0">
                  <a:pos x="21" y="454"/>
                </a:cxn>
                <a:cxn ang="0">
                  <a:pos x="0" y="432"/>
                </a:cxn>
                <a:cxn ang="0">
                  <a:pos x="0" y="22"/>
                </a:cxn>
                <a:cxn ang="0">
                  <a:pos x="21" y="0"/>
                </a:cxn>
                <a:cxn ang="0">
                  <a:pos x="431" y="0"/>
                </a:cxn>
                <a:cxn ang="0">
                  <a:pos x="453" y="22"/>
                </a:cxn>
                <a:cxn ang="0">
                  <a:pos x="453" y="432"/>
                </a:cxn>
              </a:cxnLst>
              <a:rect l="0" t="0" r="r" b="b"/>
              <a:pathLst>
                <a:path w="453" h="454">
                  <a:moveTo>
                    <a:pt x="453" y="432"/>
                  </a:moveTo>
                  <a:cubicBezTo>
                    <a:pt x="453" y="444"/>
                    <a:pt x="443" y="454"/>
                    <a:pt x="431" y="454"/>
                  </a:cubicBezTo>
                  <a:cubicBezTo>
                    <a:pt x="21" y="454"/>
                    <a:pt x="21" y="454"/>
                    <a:pt x="21" y="454"/>
                  </a:cubicBezTo>
                  <a:cubicBezTo>
                    <a:pt x="9" y="454"/>
                    <a:pt x="0" y="444"/>
                    <a:pt x="0" y="432"/>
                  </a:cubicBezTo>
                  <a:cubicBezTo>
                    <a:pt x="0" y="22"/>
                    <a:pt x="0" y="22"/>
                    <a:pt x="0" y="22"/>
                  </a:cubicBezTo>
                  <a:cubicBezTo>
                    <a:pt x="0" y="10"/>
                    <a:pt x="9" y="0"/>
                    <a:pt x="21" y="0"/>
                  </a:cubicBezTo>
                  <a:cubicBezTo>
                    <a:pt x="431" y="0"/>
                    <a:pt x="431" y="0"/>
                    <a:pt x="431" y="0"/>
                  </a:cubicBezTo>
                  <a:cubicBezTo>
                    <a:pt x="443" y="0"/>
                    <a:pt x="453" y="10"/>
                    <a:pt x="453" y="22"/>
                  </a:cubicBezTo>
                  <a:lnTo>
                    <a:pt x="453" y="432"/>
                  </a:lnTo>
                  <a:close/>
                </a:path>
              </a:pathLst>
            </a:custGeom>
            <a:solidFill>
              <a:srgbClr val="006301"/>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35" name="Freeform 30">
              <a:extLst>
                <a:ext uri="{FF2B5EF4-FFF2-40B4-BE49-F238E27FC236}">
                  <a16:creationId xmlns:a16="http://schemas.microsoft.com/office/drawing/2014/main" id="{2A639452-D915-4AB7-8693-DF1CC281CB90}"/>
                </a:ext>
              </a:extLst>
            </p:cNvPr>
            <p:cNvSpPr>
              <a:spLocks/>
            </p:cNvSpPr>
            <p:nvPr/>
          </p:nvSpPr>
          <p:spPr bwMode="auto">
            <a:xfrm>
              <a:off x="681038" y="1366839"/>
              <a:ext cx="160338" cy="106363"/>
            </a:xfrm>
            <a:custGeom>
              <a:avLst/>
              <a:gdLst/>
              <a:ahLst/>
              <a:cxnLst>
                <a:cxn ang="0">
                  <a:pos x="118" y="31"/>
                </a:cxn>
                <a:cxn ang="0">
                  <a:pos x="114" y="63"/>
                </a:cxn>
                <a:cxn ang="0">
                  <a:pos x="114" y="63"/>
                </a:cxn>
                <a:cxn ang="0">
                  <a:pos x="60" y="79"/>
                </a:cxn>
                <a:cxn ang="0">
                  <a:pos x="59" y="79"/>
                </a:cxn>
                <a:cxn ang="0">
                  <a:pos x="0" y="79"/>
                </a:cxn>
                <a:cxn ang="0">
                  <a:pos x="0" y="56"/>
                </a:cxn>
                <a:cxn ang="0">
                  <a:pos x="59" y="56"/>
                </a:cxn>
                <a:cxn ang="0">
                  <a:pos x="87" y="0"/>
                </a:cxn>
                <a:cxn ang="0">
                  <a:pos x="118" y="31"/>
                </a:cxn>
              </a:cxnLst>
              <a:rect l="0" t="0" r="r" b="b"/>
              <a:pathLst>
                <a:path w="119" h="79">
                  <a:moveTo>
                    <a:pt x="118" y="31"/>
                  </a:moveTo>
                  <a:cubicBezTo>
                    <a:pt x="118" y="44"/>
                    <a:pt x="119" y="55"/>
                    <a:pt x="114" y="63"/>
                  </a:cubicBezTo>
                  <a:cubicBezTo>
                    <a:pt x="114" y="63"/>
                    <a:pt x="114" y="63"/>
                    <a:pt x="114" y="63"/>
                  </a:cubicBezTo>
                  <a:cubicBezTo>
                    <a:pt x="107" y="73"/>
                    <a:pt x="93" y="79"/>
                    <a:pt x="60" y="79"/>
                  </a:cubicBezTo>
                  <a:cubicBezTo>
                    <a:pt x="60" y="79"/>
                    <a:pt x="60" y="79"/>
                    <a:pt x="59" y="79"/>
                  </a:cubicBezTo>
                  <a:cubicBezTo>
                    <a:pt x="0" y="79"/>
                    <a:pt x="0" y="79"/>
                    <a:pt x="0" y="79"/>
                  </a:cubicBezTo>
                  <a:cubicBezTo>
                    <a:pt x="0" y="56"/>
                    <a:pt x="0" y="56"/>
                    <a:pt x="0" y="56"/>
                  </a:cubicBezTo>
                  <a:cubicBezTo>
                    <a:pt x="59" y="56"/>
                    <a:pt x="59" y="56"/>
                    <a:pt x="59" y="56"/>
                  </a:cubicBezTo>
                  <a:cubicBezTo>
                    <a:pt x="59" y="56"/>
                    <a:pt x="44" y="0"/>
                    <a:pt x="87" y="0"/>
                  </a:cubicBezTo>
                  <a:cubicBezTo>
                    <a:pt x="87" y="0"/>
                    <a:pt x="118" y="3"/>
                    <a:pt x="118" y="31"/>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36" name="Freeform 31">
              <a:extLst>
                <a:ext uri="{FF2B5EF4-FFF2-40B4-BE49-F238E27FC236}">
                  <a16:creationId xmlns:a16="http://schemas.microsoft.com/office/drawing/2014/main" id="{503A4A66-76CD-42A0-B0A8-BCC538E6A2DD}"/>
                </a:ext>
              </a:extLst>
            </p:cNvPr>
            <p:cNvSpPr>
              <a:spLocks/>
            </p:cNvSpPr>
            <p:nvPr/>
          </p:nvSpPr>
          <p:spPr bwMode="auto">
            <a:xfrm>
              <a:off x="749301" y="1560514"/>
              <a:ext cx="85725" cy="109538"/>
            </a:xfrm>
            <a:custGeom>
              <a:avLst/>
              <a:gdLst/>
              <a:ahLst/>
              <a:cxnLst>
                <a:cxn ang="0">
                  <a:pos x="63" y="10"/>
                </a:cxn>
                <a:cxn ang="0">
                  <a:pos x="63" y="72"/>
                </a:cxn>
                <a:cxn ang="0">
                  <a:pos x="53" y="81"/>
                </a:cxn>
                <a:cxn ang="0">
                  <a:pos x="9" y="81"/>
                </a:cxn>
                <a:cxn ang="0">
                  <a:pos x="0" y="72"/>
                </a:cxn>
                <a:cxn ang="0">
                  <a:pos x="0" y="10"/>
                </a:cxn>
                <a:cxn ang="0">
                  <a:pos x="9" y="0"/>
                </a:cxn>
                <a:cxn ang="0">
                  <a:pos x="53" y="0"/>
                </a:cxn>
                <a:cxn ang="0">
                  <a:pos x="63" y="10"/>
                </a:cxn>
              </a:cxnLst>
              <a:rect l="0" t="0" r="r" b="b"/>
              <a:pathLst>
                <a:path w="63" h="81">
                  <a:moveTo>
                    <a:pt x="63" y="10"/>
                  </a:moveTo>
                  <a:cubicBezTo>
                    <a:pt x="63" y="72"/>
                    <a:pt x="63" y="72"/>
                    <a:pt x="63" y="72"/>
                  </a:cubicBezTo>
                  <a:cubicBezTo>
                    <a:pt x="63" y="77"/>
                    <a:pt x="58" y="81"/>
                    <a:pt x="53" y="81"/>
                  </a:cubicBezTo>
                  <a:cubicBezTo>
                    <a:pt x="9" y="81"/>
                    <a:pt x="9" y="81"/>
                    <a:pt x="9" y="81"/>
                  </a:cubicBezTo>
                  <a:cubicBezTo>
                    <a:pt x="4" y="81"/>
                    <a:pt x="0" y="77"/>
                    <a:pt x="0" y="72"/>
                  </a:cubicBezTo>
                  <a:cubicBezTo>
                    <a:pt x="0" y="10"/>
                    <a:pt x="0" y="10"/>
                    <a:pt x="0" y="10"/>
                  </a:cubicBezTo>
                  <a:cubicBezTo>
                    <a:pt x="0" y="4"/>
                    <a:pt x="4" y="0"/>
                    <a:pt x="9" y="0"/>
                  </a:cubicBezTo>
                  <a:cubicBezTo>
                    <a:pt x="53" y="0"/>
                    <a:pt x="53" y="0"/>
                    <a:pt x="53" y="0"/>
                  </a:cubicBezTo>
                  <a:cubicBezTo>
                    <a:pt x="58" y="0"/>
                    <a:pt x="63" y="4"/>
                    <a:pt x="63" y="1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37" name="Freeform 32">
              <a:extLst>
                <a:ext uri="{FF2B5EF4-FFF2-40B4-BE49-F238E27FC236}">
                  <a16:creationId xmlns:a16="http://schemas.microsoft.com/office/drawing/2014/main" id="{F7991FD0-B968-4586-9416-3E0CED5C093E}"/>
                </a:ext>
              </a:extLst>
            </p:cNvPr>
            <p:cNvSpPr>
              <a:spLocks/>
            </p:cNvSpPr>
            <p:nvPr/>
          </p:nvSpPr>
          <p:spPr bwMode="auto">
            <a:xfrm>
              <a:off x="676276" y="1473201"/>
              <a:ext cx="158750" cy="196850"/>
            </a:xfrm>
            <a:custGeom>
              <a:avLst/>
              <a:gdLst/>
              <a:ahLst/>
              <a:cxnLst>
                <a:cxn ang="0">
                  <a:pos x="118" y="0"/>
                </a:cxn>
                <a:cxn ang="0">
                  <a:pos x="118" y="43"/>
                </a:cxn>
                <a:cxn ang="0">
                  <a:pos x="74" y="64"/>
                </a:cxn>
                <a:cxn ang="0">
                  <a:pos x="32" y="64"/>
                </a:cxn>
                <a:cxn ang="0">
                  <a:pos x="32" y="119"/>
                </a:cxn>
                <a:cxn ang="0">
                  <a:pos x="32" y="147"/>
                </a:cxn>
                <a:cxn ang="0">
                  <a:pos x="4" y="147"/>
                </a:cxn>
                <a:cxn ang="0">
                  <a:pos x="4" y="53"/>
                </a:cxn>
                <a:cxn ang="0">
                  <a:pos x="25" y="34"/>
                </a:cxn>
                <a:cxn ang="0">
                  <a:pos x="63" y="34"/>
                </a:cxn>
                <a:cxn ang="0">
                  <a:pos x="63" y="7"/>
                </a:cxn>
                <a:cxn ang="0">
                  <a:pos x="118" y="0"/>
                </a:cxn>
              </a:cxnLst>
              <a:rect l="0" t="0" r="r" b="b"/>
              <a:pathLst>
                <a:path w="118" h="147">
                  <a:moveTo>
                    <a:pt x="118" y="0"/>
                  </a:moveTo>
                  <a:cubicBezTo>
                    <a:pt x="118" y="43"/>
                    <a:pt x="118" y="43"/>
                    <a:pt x="118" y="43"/>
                  </a:cubicBezTo>
                  <a:cubicBezTo>
                    <a:pt x="118" y="43"/>
                    <a:pt x="106" y="64"/>
                    <a:pt x="74" y="64"/>
                  </a:cubicBezTo>
                  <a:cubicBezTo>
                    <a:pt x="41" y="64"/>
                    <a:pt x="32" y="64"/>
                    <a:pt x="32" y="64"/>
                  </a:cubicBezTo>
                  <a:cubicBezTo>
                    <a:pt x="32" y="119"/>
                    <a:pt x="32" y="119"/>
                    <a:pt x="32" y="119"/>
                  </a:cubicBezTo>
                  <a:cubicBezTo>
                    <a:pt x="32" y="147"/>
                    <a:pt x="32" y="147"/>
                    <a:pt x="32" y="147"/>
                  </a:cubicBezTo>
                  <a:cubicBezTo>
                    <a:pt x="4" y="147"/>
                    <a:pt x="4" y="147"/>
                    <a:pt x="4" y="147"/>
                  </a:cubicBezTo>
                  <a:cubicBezTo>
                    <a:pt x="4" y="53"/>
                    <a:pt x="4" y="53"/>
                    <a:pt x="4" y="53"/>
                  </a:cubicBezTo>
                  <a:cubicBezTo>
                    <a:pt x="4" y="53"/>
                    <a:pt x="0" y="34"/>
                    <a:pt x="25" y="34"/>
                  </a:cubicBezTo>
                  <a:cubicBezTo>
                    <a:pt x="51" y="34"/>
                    <a:pt x="63" y="34"/>
                    <a:pt x="63" y="34"/>
                  </a:cubicBezTo>
                  <a:cubicBezTo>
                    <a:pt x="63" y="7"/>
                    <a:pt x="63" y="7"/>
                    <a:pt x="63" y="7"/>
                  </a:cubicBezTo>
                  <a:cubicBezTo>
                    <a:pt x="83" y="14"/>
                    <a:pt x="118" y="0"/>
                    <a:pt x="118" y="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38" name="Oval 33">
              <a:extLst>
                <a:ext uri="{FF2B5EF4-FFF2-40B4-BE49-F238E27FC236}">
                  <a16:creationId xmlns:a16="http://schemas.microsoft.com/office/drawing/2014/main" id="{9EDCE6DE-32A8-4B01-B607-4DEF5A5519BD}"/>
                </a:ext>
              </a:extLst>
            </p:cNvPr>
            <p:cNvSpPr>
              <a:spLocks noChangeArrowheads="1"/>
            </p:cNvSpPr>
            <p:nvPr/>
          </p:nvSpPr>
          <p:spPr bwMode="auto">
            <a:xfrm>
              <a:off x="749301" y="1255714"/>
              <a:ext cx="96838"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39" name="Freeform 34">
              <a:extLst>
                <a:ext uri="{FF2B5EF4-FFF2-40B4-BE49-F238E27FC236}">
                  <a16:creationId xmlns:a16="http://schemas.microsoft.com/office/drawing/2014/main" id="{8FD93BDB-5C82-4903-BA12-D690401BCC48}"/>
                </a:ext>
              </a:extLst>
            </p:cNvPr>
            <p:cNvSpPr>
              <a:spLocks/>
            </p:cNvSpPr>
            <p:nvPr/>
          </p:nvSpPr>
          <p:spPr bwMode="auto">
            <a:xfrm>
              <a:off x="482601" y="1439864"/>
              <a:ext cx="184150" cy="39688"/>
            </a:xfrm>
            <a:custGeom>
              <a:avLst/>
              <a:gdLst/>
              <a:ahLst/>
              <a:cxnLst>
                <a:cxn ang="0">
                  <a:pos x="137" y="10"/>
                </a:cxn>
                <a:cxn ang="0">
                  <a:pos x="137" y="20"/>
                </a:cxn>
                <a:cxn ang="0">
                  <a:pos x="127" y="30"/>
                </a:cxn>
                <a:cxn ang="0">
                  <a:pos x="113" y="30"/>
                </a:cxn>
                <a:cxn ang="0">
                  <a:pos x="21" y="30"/>
                </a:cxn>
                <a:cxn ang="0">
                  <a:pos x="10" y="30"/>
                </a:cxn>
                <a:cxn ang="0">
                  <a:pos x="0" y="20"/>
                </a:cxn>
                <a:cxn ang="0">
                  <a:pos x="0" y="10"/>
                </a:cxn>
                <a:cxn ang="0">
                  <a:pos x="10" y="0"/>
                </a:cxn>
                <a:cxn ang="0">
                  <a:pos x="127" y="0"/>
                </a:cxn>
                <a:cxn ang="0">
                  <a:pos x="137" y="10"/>
                </a:cxn>
              </a:cxnLst>
              <a:rect l="0" t="0" r="r" b="b"/>
              <a:pathLst>
                <a:path w="137" h="30">
                  <a:moveTo>
                    <a:pt x="137" y="10"/>
                  </a:moveTo>
                  <a:cubicBezTo>
                    <a:pt x="137" y="20"/>
                    <a:pt x="137" y="20"/>
                    <a:pt x="137" y="20"/>
                  </a:cubicBezTo>
                  <a:cubicBezTo>
                    <a:pt x="137" y="25"/>
                    <a:pt x="132" y="30"/>
                    <a:pt x="127" y="30"/>
                  </a:cubicBezTo>
                  <a:cubicBezTo>
                    <a:pt x="113" y="30"/>
                    <a:pt x="113" y="30"/>
                    <a:pt x="113" y="30"/>
                  </a:cubicBezTo>
                  <a:cubicBezTo>
                    <a:pt x="21" y="30"/>
                    <a:pt x="21" y="30"/>
                    <a:pt x="21" y="30"/>
                  </a:cubicBezTo>
                  <a:cubicBezTo>
                    <a:pt x="10" y="30"/>
                    <a:pt x="10" y="30"/>
                    <a:pt x="10" y="30"/>
                  </a:cubicBezTo>
                  <a:cubicBezTo>
                    <a:pt x="4" y="30"/>
                    <a:pt x="0" y="25"/>
                    <a:pt x="0" y="20"/>
                  </a:cubicBezTo>
                  <a:cubicBezTo>
                    <a:pt x="0" y="10"/>
                    <a:pt x="0" y="10"/>
                    <a:pt x="0" y="10"/>
                  </a:cubicBezTo>
                  <a:cubicBezTo>
                    <a:pt x="0" y="4"/>
                    <a:pt x="4" y="0"/>
                    <a:pt x="10" y="0"/>
                  </a:cubicBezTo>
                  <a:cubicBezTo>
                    <a:pt x="127" y="0"/>
                    <a:pt x="127" y="0"/>
                    <a:pt x="127" y="0"/>
                  </a:cubicBezTo>
                  <a:cubicBezTo>
                    <a:pt x="132" y="0"/>
                    <a:pt x="137" y="4"/>
                    <a:pt x="137" y="1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0" name="Rectangle 35">
              <a:extLst>
                <a:ext uri="{FF2B5EF4-FFF2-40B4-BE49-F238E27FC236}">
                  <a16:creationId xmlns:a16="http://schemas.microsoft.com/office/drawing/2014/main" id="{A1FC94C2-357A-474B-89A2-4A858D51907A}"/>
                </a:ext>
              </a:extLst>
            </p:cNvPr>
            <p:cNvSpPr>
              <a:spLocks noChangeArrowheads="1"/>
            </p:cNvSpPr>
            <p:nvPr/>
          </p:nvSpPr>
          <p:spPr bwMode="auto">
            <a:xfrm>
              <a:off x="511176" y="1479551"/>
              <a:ext cx="123825" cy="1873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1" name="Freeform 36">
              <a:extLst>
                <a:ext uri="{FF2B5EF4-FFF2-40B4-BE49-F238E27FC236}">
                  <a16:creationId xmlns:a16="http://schemas.microsoft.com/office/drawing/2014/main" id="{8754723D-AE55-4D48-BAD3-A27D234C0D39}"/>
                </a:ext>
              </a:extLst>
            </p:cNvPr>
            <p:cNvSpPr>
              <a:spLocks/>
            </p:cNvSpPr>
            <p:nvPr/>
          </p:nvSpPr>
          <p:spPr bwMode="auto">
            <a:xfrm>
              <a:off x="315913" y="1470026"/>
              <a:ext cx="158750" cy="196850"/>
            </a:xfrm>
            <a:custGeom>
              <a:avLst/>
              <a:gdLst/>
              <a:ahLst/>
              <a:cxnLst>
                <a:cxn ang="0">
                  <a:pos x="93" y="34"/>
                </a:cxn>
                <a:cxn ang="0">
                  <a:pos x="113" y="53"/>
                </a:cxn>
                <a:cxn ang="0">
                  <a:pos x="113" y="147"/>
                </a:cxn>
                <a:cxn ang="0">
                  <a:pos x="86" y="147"/>
                </a:cxn>
                <a:cxn ang="0">
                  <a:pos x="86" y="119"/>
                </a:cxn>
                <a:cxn ang="0">
                  <a:pos x="86" y="64"/>
                </a:cxn>
                <a:cxn ang="0">
                  <a:pos x="44" y="64"/>
                </a:cxn>
                <a:cxn ang="0">
                  <a:pos x="0" y="43"/>
                </a:cxn>
                <a:cxn ang="0">
                  <a:pos x="0" y="0"/>
                </a:cxn>
                <a:cxn ang="0">
                  <a:pos x="54" y="7"/>
                </a:cxn>
                <a:cxn ang="0">
                  <a:pos x="54" y="34"/>
                </a:cxn>
                <a:cxn ang="0">
                  <a:pos x="93" y="34"/>
                </a:cxn>
              </a:cxnLst>
              <a:rect l="0" t="0" r="r" b="b"/>
              <a:pathLst>
                <a:path w="118" h="147">
                  <a:moveTo>
                    <a:pt x="93" y="34"/>
                  </a:moveTo>
                  <a:cubicBezTo>
                    <a:pt x="118" y="34"/>
                    <a:pt x="113" y="53"/>
                    <a:pt x="113" y="53"/>
                  </a:cubicBezTo>
                  <a:cubicBezTo>
                    <a:pt x="113" y="147"/>
                    <a:pt x="113" y="147"/>
                    <a:pt x="113" y="147"/>
                  </a:cubicBezTo>
                  <a:cubicBezTo>
                    <a:pt x="86" y="147"/>
                    <a:pt x="86" y="147"/>
                    <a:pt x="86" y="147"/>
                  </a:cubicBezTo>
                  <a:cubicBezTo>
                    <a:pt x="86" y="119"/>
                    <a:pt x="86" y="119"/>
                    <a:pt x="86" y="119"/>
                  </a:cubicBezTo>
                  <a:cubicBezTo>
                    <a:pt x="86" y="64"/>
                    <a:pt x="86" y="64"/>
                    <a:pt x="86" y="64"/>
                  </a:cubicBezTo>
                  <a:cubicBezTo>
                    <a:pt x="86" y="64"/>
                    <a:pt x="76" y="64"/>
                    <a:pt x="44" y="64"/>
                  </a:cubicBezTo>
                  <a:cubicBezTo>
                    <a:pt x="12" y="64"/>
                    <a:pt x="0" y="43"/>
                    <a:pt x="0" y="43"/>
                  </a:cubicBezTo>
                  <a:cubicBezTo>
                    <a:pt x="0" y="0"/>
                    <a:pt x="0" y="0"/>
                    <a:pt x="0" y="0"/>
                  </a:cubicBezTo>
                  <a:cubicBezTo>
                    <a:pt x="0" y="0"/>
                    <a:pt x="35" y="14"/>
                    <a:pt x="54" y="7"/>
                  </a:cubicBezTo>
                  <a:cubicBezTo>
                    <a:pt x="54" y="34"/>
                    <a:pt x="54" y="34"/>
                    <a:pt x="54" y="34"/>
                  </a:cubicBezTo>
                  <a:cubicBezTo>
                    <a:pt x="54" y="34"/>
                    <a:pt x="67" y="34"/>
                    <a:pt x="93" y="34"/>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2" name="Freeform 37">
              <a:extLst>
                <a:ext uri="{FF2B5EF4-FFF2-40B4-BE49-F238E27FC236}">
                  <a16:creationId xmlns:a16="http://schemas.microsoft.com/office/drawing/2014/main" id="{F13C7DD2-2F83-499E-B142-8FC07B2F4AA4}"/>
                </a:ext>
              </a:extLst>
            </p:cNvPr>
            <p:cNvSpPr>
              <a:spLocks/>
            </p:cNvSpPr>
            <p:nvPr/>
          </p:nvSpPr>
          <p:spPr bwMode="auto">
            <a:xfrm>
              <a:off x="309563" y="1363664"/>
              <a:ext cx="157163" cy="106363"/>
            </a:xfrm>
            <a:custGeom>
              <a:avLst/>
              <a:gdLst/>
              <a:ahLst/>
              <a:cxnLst>
                <a:cxn ang="0">
                  <a:pos x="118" y="56"/>
                </a:cxn>
                <a:cxn ang="0">
                  <a:pos x="118" y="79"/>
                </a:cxn>
                <a:cxn ang="0">
                  <a:pos x="59" y="79"/>
                </a:cxn>
                <a:cxn ang="0">
                  <a:pos x="58" y="79"/>
                </a:cxn>
                <a:cxn ang="0">
                  <a:pos x="5" y="63"/>
                </a:cxn>
                <a:cxn ang="0">
                  <a:pos x="0" y="31"/>
                </a:cxn>
                <a:cxn ang="0">
                  <a:pos x="32" y="0"/>
                </a:cxn>
                <a:cxn ang="0">
                  <a:pos x="59" y="56"/>
                </a:cxn>
                <a:cxn ang="0">
                  <a:pos x="118" y="56"/>
                </a:cxn>
              </a:cxnLst>
              <a:rect l="0" t="0" r="r" b="b"/>
              <a:pathLst>
                <a:path w="118" h="79">
                  <a:moveTo>
                    <a:pt x="118" y="56"/>
                  </a:moveTo>
                  <a:cubicBezTo>
                    <a:pt x="118" y="79"/>
                    <a:pt x="118" y="79"/>
                    <a:pt x="118" y="79"/>
                  </a:cubicBezTo>
                  <a:cubicBezTo>
                    <a:pt x="118" y="79"/>
                    <a:pt x="118" y="79"/>
                    <a:pt x="59" y="79"/>
                  </a:cubicBezTo>
                  <a:cubicBezTo>
                    <a:pt x="59" y="79"/>
                    <a:pt x="59" y="79"/>
                    <a:pt x="58" y="79"/>
                  </a:cubicBezTo>
                  <a:cubicBezTo>
                    <a:pt x="26" y="79"/>
                    <a:pt x="11" y="73"/>
                    <a:pt x="5" y="63"/>
                  </a:cubicBezTo>
                  <a:cubicBezTo>
                    <a:pt x="0" y="55"/>
                    <a:pt x="0" y="44"/>
                    <a:pt x="0" y="31"/>
                  </a:cubicBezTo>
                  <a:cubicBezTo>
                    <a:pt x="0" y="3"/>
                    <a:pt x="32" y="0"/>
                    <a:pt x="32" y="0"/>
                  </a:cubicBezTo>
                  <a:cubicBezTo>
                    <a:pt x="75" y="0"/>
                    <a:pt x="59" y="56"/>
                    <a:pt x="59" y="56"/>
                  </a:cubicBezTo>
                  <a:lnTo>
                    <a:pt x="118" y="5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3" name="Freeform 38">
              <a:extLst>
                <a:ext uri="{FF2B5EF4-FFF2-40B4-BE49-F238E27FC236}">
                  <a16:creationId xmlns:a16="http://schemas.microsoft.com/office/drawing/2014/main" id="{662BB2C7-F92C-4684-85DB-9951C3ED6D2B}"/>
                </a:ext>
              </a:extLst>
            </p:cNvPr>
            <p:cNvSpPr>
              <a:spLocks/>
            </p:cNvSpPr>
            <p:nvPr/>
          </p:nvSpPr>
          <p:spPr bwMode="auto">
            <a:xfrm>
              <a:off x="315913" y="1558926"/>
              <a:ext cx="84138" cy="107950"/>
            </a:xfrm>
            <a:custGeom>
              <a:avLst/>
              <a:gdLst/>
              <a:ahLst/>
              <a:cxnLst>
                <a:cxn ang="0">
                  <a:pos x="63" y="10"/>
                </a:cxn>
                <a:cxn ang="0">
                  <a:pos x="63" y="71"/>
                </a:cxn>
                <a:cxn ang="0">
                  <a:pos x="53" y="81"/>
                </a:cxn>
                <a:cxn ang="0">
                  <a:pos x="10" y="81"/>
                </a:cxn>
                <a:cxn ang="0">
                  <a:pos x="0" y="71"/>
                </a:cxn>
                <a:cxn ang="0">
                  <a:pos x="0" y="10"/>
                </a:cxn>
                <a:cxn ang="0">
                  <a:pos x="10" y="0"/>
                </a:cxn>
                <a:cxn ang="0">
                  <a:pos x="53" y="0"/>
                </a:cxn>
                <a:cxn ang="0">
                  <a:pos x="63" y="10"/>
                </a:cxn>
              </a:cxnLst>
              <a:rect l="0" t="0" r="r" b="b"/>
              <a:pathLst>
                <a:path w="63" h="81">
                  <a:moveTo>
                    <a:pt x="63" y="10"/>
                  </a:moveTo>
                  <a:cubicBezTo>
                    <a:pt x="63" y="71"/>
                    <a:pt x="63" y="71"/>
                    <a:pt x="63" y="71"/>
                  </a:cubicBezTo>
                  <a:cubicBezTo>
                    <a:pt x="63" y="77"/>
                    <a:pt x="59" y="81"/>
                    <a:pt x="53" y="81"/>
                  </a:cubicBezTo>
                  <a:cubicBezTo>
                    <a:pt x="10" y="81"/>
                    <a:pt x="10" y="81"/>
                    <a:pt x="10" y="81"/>
                  </a:cubicBezTo>
                  <a:cubicBezTo>
                    <a:pt x="4" y="81"/>
                    <a:pt x="0" y="77"/>
                    <a:pt x="0" y="71"/>
                  </a:cubicBezTo>
                  <a:cubicBezTo>
                    <a:pt x="0" y="10"/>
                    <a:pt x="0" y="10"/>
                    <a:pt x="0" y="10"/>
                  </a:cubicBezTo>
                  <a:cubicBezTo>
                    <a:pt x="0" y="4"/>
                    <a:pt x="4" y="0"/>
                    <a:pt x="10" y="0"/>
                  </a:cubicBezTo>
                  <a:cubicBezTo>
                    <a:pt x="53" y="0"/>
                    <a:pt x="53" y="0"/>
                    <a:pt x="53" y="0"/>
                  </a:cubicBezTo>
                  <a:cubicBezTo>
                    <a:pt x="59" y="0"/>
                    <a:pt x="63" y="4"/>
                    <a:pt x="63" y="1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4" name="Oval 39">
              <a:extLst>
                <a:ext uri="{FF2B5EF4-FFF2-40B4-BE49-F238E27FC236}">
                  <a16:creationId xmlns:a16="http://schemas.microsoft.com/office/drawing/2014/main" id="{66B725A2-2CDF-4096-BCCD-0BE28A6D4F78}"/>
                </a:ext>
              </a:extLst>
            </p:cNvPr>
            <p:cNvSpPr>
              <a:spLocks noChangeArrowheads="1"/>
            </p:cNvSpPr>
            <p:nvPr/>
          </p:nvSpPr>
          <p:spPr bwMode="auto">
            <a:xfrm>
              <a:off x="303213" y="1252539"/>
              <a:ext cx="96838" cy="96838"/>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5" name="Freeform 40">
              <a:extLst>
                <a:ext uri="{FF2B5EF4-FFF2-40B4-BE49-F238E27FC236}">
                  <a16:creationId xmlns:a16="http://schemas.microsoft.com/office/drawing/2014/main" id="{58EED903-2B10-4736-AD1B-422BBE2F4473}"/>
                </a:ext>
              </a:extLst>
            </p:cNvPr>
            <p:cNvSpPr>
              <a:spLocks/>
            </p:cNvSpPr>
            <p:nvPr/>
          </p:nvSpPr>
          <p:spPr bwMode="auto">
            <a:xfrm>
              <a:off x="423863" y="1187451"/>
              <a:ext cx="169863" cy="107950"/>
            </a:xfrm>
            <a:custGeom>
              <a:avLst/>
              <a:gdLst/>
              <a:ahLst/>
              <a:cxnLst>
                <a:cxn ang="0">
                  <a:pos x="62" y="65"/>
                </a:cxn>
                <a:cxn ang="0">
                  <a:pos x="106" y="65"/>
                </a:cxn>
                <a:cxn ang="0">
                  <a:pos x="125" y="46"/>
                </a:cxn>
                <a:cxn ang="0">
                  <a:pos x="125" y="23"/>
                </a:cxn>
                <a:cxn ang="0">
                  <a:pos x="106" y="4"/>
                </a:cxn>
                <a:cxn ang="0">
                  <a:pos x="57" y="4"/>
                </a:cxn>
                <a:cxn ang="0">
                  <a:pos x="36" y="36"/>
                </a:cxn>
                <a:cxn ang="0">
                  <a:pos x="0" y="81"/>
                </a:cxn>
                <a:cxn ang="0">
                  <a:pos x="36" y="65"/>
                </a:cxn>
                <a:cxn ang="0">
                  <a:pos x="62" y="65"/>
                </a:cxn>
              </a:cxnLst>
              <a:rect l="0" t="0" r="r" b="b"/>
              <a:pathLst>
                <a:path w="126" h="81">
                  <a:moveTo>
                    <a:pt x="62" y="65"/>
                  </a:moveTo>
                  <a:cubicBezTo>
                    <a:pt x="62" y="65"/>
                    <a:pt x="85" y="65"/>
                    <a:pt x="106" y="65"/>
                  </a:cubicBezTo>
                  <a:cubicBezTo>
                    <a:pt x="126" y="65"/>
                    <a:pt x="125" y="46"/>
                    <a:pt x="125" y="46"/>
                  </a:cubicBezTo>
                  <a:cubicBezTo>
                    <a:pt x="125" y="46"/>
                    <a:pt x="125" y="46"/>
                    <a:pt x="125" y="23"/>
                  </a:cubicBezTo>
                  <a:cubicBezTo>
                    <a:pt x="125" y="0"/>
                    <a:pt x="106" y="4"/>
                    <a:pt x="106" y="4"/>
                  </a:cubicBezTo>
                  <a:cubicBezTo>
                    <a:pt x="106" y="4"/>
                    <a:pt x="87" y="4"/>
                    <a:pt x="57" y="4"/>
                  </a:cubicBezTo>
                  <a:cubicBezTo>
                    <a:pt x="28" y="4"/>
                    <a:pt x="36" y="36"/>
                    <a:pt x="36" y="36"/>
                  </a:cubicBezTo>
                  <a:cubicBezTo>
                    <a:pt x="0" y="81"/>
                    <a:pt x="0" y="81"/>
                    <a:pt x="0" y="81"/>
                  </a:cubicBezTo>
                  <a:cubicBezTo>
                    <a:pt x="36" y="65"/>
                    <a:pt x="36" y="65"/>
                    <a:pt x="36" y="65"/>
                  </a:cubicBezTo>
                  <a:lnTo>
                    <a:pt x="62" y="6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sp>
          <p:nvSpPr>
            <p:cNvPr id="46" name="Freeform 41">
              <a:extLst>
                <a:ext uri="{FF2B5EF4-FFF2-40B4-BE49-F238E27FC236}">
                  <a16:creationId xmlns:a16="http://schemas.microsoft.com/office/drawing/2014/main" id="{7D631EB0-E922-4D08-BA33-30103A70492C}"/>
                </a:ext>
              </a:extLst>
            </p:cNvPr>
            <p:cNvSpPr>
              <a:spLocks/>
            </p:cNvSpPr>
            <p:nvPr/>
          </p:nvSpPr>
          <p:spPr bwMode="auto">
            <a:xfrm>
              <a:off x="604838" y="1243014"/>
              <a:ext cx="120650" cy="76200"/>
            </a:xfrm>
            <a:custGeom>
              <a:avLst/>
              <a:gdLst/>
              <a:ahLst/>
              <a:cxnLst>
                <a:cxn ang="0">
                  <a:pos x="46" y="46"/>
                </a:cxn>
                <a:cxn ang="0">
                  <a:pos x="15" y="46"/>
                </a:cxn>
                <a:cxn ang="0">
                  <a:pos x="2" y="32"/>
                </a:cxn>
                <a:cxn ang="0">
                  <a:pos x="2" y="16"/>
                </a:cxn>
                <a:cxn ang="0">
                  <a:pos x="15" y="2"/>
                </a:cxn>
                <a:cxn ang="0">
                  <a:pos x="49" y="2"/>
                </a:cxn>
                <a:cxn ang="0">
                  <a:pos x="64" y="25"/>
                </a:cxn>
                <a:cxn ang="0">
                  <a:pos x="90" y="57"/>
                </a:cxn>
                <a:cxn ang="0">
                  <a:pos x="64" y="46"/>
                </a:cxn>
                <a:cxn ang="0">
                  <a:pos x="46" y="46"/>
                </a:cxn>
              </a:cxnLst>
              <a:rect l="0" t="0" r="r" b="b"/>
              <a:pathLst>
                <a:path w="90" h="57">
                  <a:moveTo>
                    <a:pt x="46" y="46"/>
                  </a:moveTo>
                  <a:cubicBezTo>
                    <a:pt x="46" y="46"/>
                    <a:pt x="30" y="46"/>
                    <a:pt x="15" y="46"/>
                  </a:cubicBezTo>
                  <a:cubicBezTo>
                    <a:pt x="0" y="46"/>
                    <a:pt x="2" y="32"/>
                    <a:pt x="2" y="32"/>
                  </a:cubicBezTo>
                  <a:cubicBezTo>
                    <a:pt x="2" y="32"/>
                    <a:pt x="2" y="32"/>
                    <a:pt x="2" y="16"/>
                  </a:cubicBezTo>
                  <a:cubicBezTo>
                    <a:pt x="2" y="0"/>
                    <a:pt x="15" y="2"/>
                    <a:pt x="15" y="2"/>
                  </a:cubicBezTo>
                  <a:cubicBezTo>
                    <a:pt x="15" y="2"/>
                    <a:pt x="28" y="2"/>
                    <a:pt x="49" y="2"/>
                  </a:cubicBezTo>
                  <a:cubicBezTo>
                    <a:pt x="70" y="2"/>
                    <a:pt x="64" y="25"/>
                    <a:pt x="64" y="25"/>
                  </a:cubicBezTo>
                  <a:cubicBezTo>
                    <a:pt x="90" y="57"/>
                    <a:pt x="90" y="57"/>
                    <a:pt x="90" y="57"/>
                  </a:cubicBezTo>
                  <a:cubicBezTo>
                    <a:pt x="64" y="46"/>
                    <a:pt x="64" y="46"/>
                    <a:pt x="64" y="46"/>
                  </a:cubicBezTo>
                  <a:lnTo>
                    <a:pt x="46" y="4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457139"/>
              <a:endParaRPr lang="en-GB">
                <a:solidFill>
                  <a:srgbClr val="000000"/>
                </a:solidFill>
                <a:latin typeface="Arial"/>
              </a:endParaRPr>
            </a:p>
          </p:txBody>
        </p:sp>
      </p:grpSp>
      <p:sp>
        <p:nvSpPr>
          <p:cNvPr id="33" name="TextBox 32">
            <a:extLst>
              <a:ext uri="{FF2B5EF4-FFF2-40B4-BE49-F238E27FC236}">
                <a16:creationId xmlns:a16="http://schemas.microsoft.com/office/drawing/2014/main" id="{160B97C8-AD1F-47F7-900C-D860271BD586}"/>
              </a:ext>
            </a:extLst>
          </p:cNvPr>
          <p:cNvSpPr txBox="1"/>
          <p:nvPr/>
        </p:nvSpPr>
        <p:spPr>
          <a:xfrm>
            <a:off x="2948215" y="4566514"/>
            <a:ext cx="8875781" cy="2270109"/>
          </a:xfrm>
          <a:prstGeom prst="rect">
            <a:avLst/>
          </a:prstGeom>
          <a:noFill/>
        </p:spPr>
        <p:txBody>
          <a:bodyPr wrap="square" lIns="0" rIns="0" rtlCol="0" anchor="t">
            <a:spAutoFit/>
          </a:bodyPr>
          <a:lstStyle/>
          <a:p>
            <a:pPr marL="285750" indent="-285750" algn="just" defTabSz="685772">
              <a:lnSpc>
                <a:spcPct val="150000"/>
              </a:lnSpc>
              <a:buClr>
                <a:srgbClr val="006301"/>
              </a:buClr>
              <a:buFont typeface="Wingdings" panose="05000000000000000000" pitchFamily="2" charset="2"/>
              <a:buChar char="q"/>
            </a:pPr>
            <a:r>
              <a:rPr lang="en-US" sz="1600"/>
              <a:t>The COVID-19 impact survey covers a sample of 735 agents from the Financial Services Agents 2020  survey who indicated willingness to participate in subsequent surveys </a:t>
            </a:r>
          </a:p>
          <a:p>
            <a:pPr marL="285750" indent="-285750" algn="just" defTabSz="685772">
              <a:lnSpc>
                <a:spcPct val="150000"/>
              </a:lnSpc>
              <a:buClr>
                <a:srgbClr val="006301"/>
              </a:buClr>
              <a:buFont typeface="Wingdings" panose="05000000000000000000" pitchFamily="2" charset="2"/>
              <a:buChar char="q"/>
            </a:pPr>
            <a:r>
              <a:rPr lang="en-US" sz="1600"/>
              <a:t>Data collection was done in May 2020</a:t>
            </a:r>
            <a:r>
              <a:rPr lang="en-US" sz="1600">
                <a:solidFill>
                  <a:schemeClr val="accent3">
                    <a:lumMod val="50000"/>
                  </a:schemeClr>
                </a:solidFill>
              </a:rPr>
              <a:t> </a:t>
            </a:r>
            <a:r>
              <a:rPr lang="en-US" sz="1600"/>
              <a:t>using Computer Assisted Telephone Interviews</a:t>
            </a:r>
          </a:p>
          <a:p>
            <a:pPr marL="285750" indent="-285750" algn="just" defTabSz="685772">
              <a:buClr>
                <a:srgbClr val="006301"/>
              </a:buClr>
              <a:buFont typeface="Wingdings" panose="05000000000000000000" pitchFamily="2" charset="2"/>
              <a:buChar char="q"/>
            </a:pPr>
            <a:endParaRPr lang="en-US" sz="1600"/>
          </a:p>
          <a:p>
            <a:pPr marL="285750" indent="-285750" algn="just" defTabSz="685772">
              <a:buClr>
                <a:srgbClr val="006301"/>
              </a:buClr>
              <a:buFont typeface="Wingdings" panose="05000000000000000000" pitchFamily="2" charset="2"/>
              <a:buChar char="q"/>
            </a:pPr>
            <a:r>
              <a:rPr lang="en-US" sz="1600"/>
              <a:t>This methodology involved the use of the respondent’s contact phone number. </a:t>
            </a:r>
          </a:p>
          <a:p>
            <a:pPr marL="285750" indent="-285750" algn="just" defTabSz="685772">
              <a:buClr>
                <a:srgbClr val="006301"/>
              </a:buClr>
              <a:buFont typeface="Wingdings" panose="05000000000000000000" pitchFamily="2" charset="2"/>
              <a:buChar char="q"/>
            </a:pPr>
            <a:endParaRPr lang="en-US" sz="1600"/>
          </a:p>
          <a:p>
            <a:pPr algn="just" defTabSz="685772">
              <a:lnSpc>
                <a:spcPct val="150000"/>
              </a:lnSpc>
              <a:buClr>
                <a:srgbClr val="006301"/>
              </a:buClr>
            </a:pPr>
            <a:endParaRPr lang="en-US" sz="1600"/>
          </a:p>
        </p:txBody>
      </p:sp>
      <p:sp>
        <p:nvSpPr>
          <p:cNvPr id="30" name="TextBox 29">
            <a:extLst>
              <a:ext uri="{FF2B5EF4-FFF2-40B4-BE49-F238E27FC236}">
                <a16:creationId xmlns:a16="http://schemas.microsoft.com/office/drawing/2014/main" id="{B2BC672D-05E4-4DE2-A91B-D2DA932D31F8}"/>
              </a:ext>
            </a:extLst>
          </p:cNvPr>
          <p:cNvSpPr txBox="1"/>
          <p:nvPr/>
        </p:nvSpPr>
        <p:spPr>
          <a:xfrm>
            <a:off x="227597" y="4177222"/>
            <a:ext cx="2737456" cy="369332"/>
          </a:xfrm>
          <a:prstGeom prst="rect">
            <a:avLst/>
          </a:prstGeom>
          <a:noFill/>
        </p:spPr>
        <p:txBody>
          <a:bodyPr wrap="square" lIns="0" rIns="0" rtlCol="0" anchor="b">
            <a:spAutoFit/>
          </a:bodyPr>
          <a:lstStyle/>
          <a:p>
            <a:pPr algn="ctr" defTabSz="685772"/>
            <a:r>
              <a:rPr lang="en-US" b="1">
                <a:solidFill>
                  <a:prstClr val="black"/>
                </a:solidFill>
                <a:latin typeface="Arial"/>
                <a:ea typeface="ＭＳ Ｐゴシック" panose="020B0600070205080204" pitchFamily="34" charset="-128"/>
              </a:rPr>
              <a:t>Research Methodology</a:t>
            </a:r>
          </a:p>
        </p:txBody>
      </p:sp>
    </p:spTree>
    <p:extLst>
      <p:ext uri="{BB962C8B-B14F-4D97-AF65-F5344CB8AC3E}">
        <p14:creationId xmlns:p14="http://schemas.microsoft.com/office/powerpoint/2010/main" val="241357704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591" y="1593"/>
          <a:ext cx="1587" cy="1587"/>
        </p:xfrm>
        <a:graphic>
          <a:graphicData uri="http://schemas.openxmlformats.org/presentationml/2006/ole">
            <mc:AlternateContent xmlns:mc="http://schemas.openxmlformats.org/markup-compatibility/2006">
              <mc:Choice xmlns:v="urn:schemas-microsoft-com:vml" Requires="v">
                <p:oleObj spid="_x0000_s22529" name="think-cell Slide" r:id="rId54" imgW="216" imgH="216" progId="TCLayout.ActiveDocument.1">
                  <p:embed/>
                </p:oleObj>
              </mc:Choice>
              <mc:Fallback>
                <p:oleObj name="think-cell Slide" r:id="rId54" imgW="216" imgH="216" progId="TCLayout.ActiveDocument.1">
                  <p:embed/>
                  <p:pic>
                    <p:nvPicPr>
                      <p:cNvPr id="4" name="Object 3" hidden="1"/>
                      <p:cNvPicPr/>
                      <p:nvPr/>
                    </p:nvPicPr>
                    <p:blipFill>
                      <a:blip r:embed="rId55"/>
                      <a:stretch>
                        <a:fillRect/>
                      </a:stretch>
                    </p:blipFill>
                    <p:spPr>
                      <a:xfrm>
                        <a:off x="1144591" y="1593"/>
                        <a:ext cx="1587" cy="1587"/>
                      </a:xfrm>
                      <a:prstGeom prst="rect">
                        <a:avLst/>
                      </a:prstGeom>
                    </p:spPr>
                  </p:pic>
                </p:oleObj>
              </mc:Fallback>
            </mc:AlternateContent>
          </a:graphicData>
        </a:graphic>
      </p:graphicFrame>
      <p:pic>
        <p:nvPicPr>
          <p:cNvPr id="8202" name="Picture 10">
            <a:extLst>
              <a:ext uri="{FF2B5EF4-FFF2-40B4-BE49-F238E27FC236}">
                <a16:creationId xmlns:a16="http://schemas.microsoft.com/office/drawing/2014/main" id="{04D3DD90-3B35-465F-94BB-5521AF7D6368}"/>
              </a:ext>
            </a:extLst>
          </p:cNvPr>
          <p:cNvPicPr>
            <a:picLocks noChangeAspect="1" noChangeArrowheads="1"/>
          </p:cNvPicPr>
          <p:nvPr/>
        </p:nvPicPr>
        <p:blipFill rotWithShape="1">
          <a:blip r:embed="rId56">
            <a:alphaModFix amt="20000"/>
            <a:extLst>
              <a:ext uri="{28A0092B-C50C-407E-A947-70E740481C1C}">
                <a14:useLocalDpi xmlns:a14="http://schemas.microsoft.com/office/drawing/2010/main" val="0"/>
              </a:ext>
            </a:extLst>
          </a:blip>
          <a:srcRect b="24732"/>
          <a:stretch/>
        </p:blipFill>
        <p:spPr bwMode="auto">
          <a:xfrm>
            <a:off x="7815" y="112656"/>
            <a:ext cx="12202395" cy="6888376"/>
          </a:xfrm>
          <a:prstGeom prst="rect">
            <a:avLst/>
          </a:prstGeom>
          <a:noFill/>
          <a:extLst>
            <a:ext uri="{909E8E84-426E-40DD-AFC4-6F175D3DCCD1}">
              <a14:hiddenFill xmlns:a14="http://schemas.microsoft.com/office/drawing/2010/main">
                <a:solidFill>
                  <a:srgbClr val="FFFFFF"/>
                </a:solidFill>
              </a14:hiddenFill>
            </a:ext>
          </a:extLst>
        </p:spPr>
      </p:pic>
      <p:sp>
        <p:nvSpPr>
          <p:cNvPr id="95" name="Slide Number Placeholder 9">
            <a:extLst>
              <a:ext uri="{FF2B5EF4-FFF2-40B4-BE49-F238E27FC236}">
                <a16:creationId xmlns:a16="http://schemas.microsoft.com/office/drawing/2014/main" id="{733E5B09-3661-41A7-98C0-14A3D9678961}"/>
              </a:ext>
            </a:extLst>
          </p:cNvPr>
          <p:cNvSpPr>
            <a:spLocks noGrp="1"/>
          </p:cNvSpPr>
          <p:nvPr>
            <p:ph type="sldNum" sz="quarter" idx="11"/>
          </p:nvPr>
        </p:nvSpPr>
        <p:spPr>
          <a:xfrm>
            <a:off x="12037647" y="6867217"/>
            <a:ext cx="146538" cy="30778"/>
          </a:xfrm>
        </p:spPr>
        <p:txBody>
          <a:bodyPr/>
          <a:lstStyle/>
          <a:p>
            <a:pPr>
              <a:defRPr/>
            </a:pPr>
            <a:fld id="{47794585-347E-4355-955C-F2766ACC4F25}" type="slidenum">
              <a:rPr lang="en-US" smtClean="0"/>
              <a:pPr>
                <a:defRPr/>
              </a:pPr>
              <a:t>5</a:t>
            </a:fld>
            <a:endParaRPr lang="en-US"/>
          </a:p>
        </p:txBody>
      </p:sp>
      <p:sp>
        <p:nvSpPr>
          <p:cNvPr id="96" name="Slide Number Placeholder 3">
            <a:extLst>
              <a:ext uri="{FF2B5EF4-FFF2-40B4-BE49-F238E27FC236}">
                <a16:creationId xmlns:a16="http://schemas.microsoft.com/office/drawing/2014/main" id="{562074FD-C5CF-41A1-9A6E-F4D22397B768}"/>
              </a:ext>
            </a:extLst>
          </p:cNvPr>
          <p:cNvSpPr txBox="1">
            <a:spLocks/>
          </p:cNvSpPr>
          <p:nvPr/>
        </p:nvSpPr>
        <p:spPr>
          <a:xfrm>
            <a:off x="10923588" y="6991042"/>
            <a:ext cx="119062" cy="30778"/>
          </a:xfrm>
          <a:prstGeom prst="rect">
            <a:avLst/>
          </a:prstGeom>
        </p:spPr>
        <p:txBody>
          <a:bodyPr vert="horz" wrap="square" lIns="0" tIns="0" rIns="0" bIns="0" numCol="1" anchor="ctr" anchorCtr="0" compatLnSpc="1">
            <a:prstTxWarp prst="textNoShape">
              <a:avLst/>
            </a:prstTxWarp>
            <a:spAutoFit/>
          </a:bodyPr>
          <a:lstStyle>
            <a:defPPr>
              <a:defRPr lang="de-DE"/>
            </a:defPPr>
            <a:lvl1pPr algn="r" rtl="0" fontAlgn="base">
              <a:spcBef>
                <a:spcPct val="0"/>
              </a:spcBef>
              <a:spcAft>
                <a:spcPct val="0"/>
              </a:spcAft>
              <a:defRPr sz="200" b="0" kern="1200">
                <a:solidFill>
                  <a:srgbClr val="FFFFFF"/>
                </a:solidFill>
                <a:latin typeface="Arial" charset="0"/>
                <a:ea typeface="MS PGothic" pitchFamily="34" charset="-128"/>
                <a:cs typeface="Arial" charset="0"/>
              </a:defRPr>
            </a:lvl1pPr>
            <a:lvl2pPr marL="457200" algn="l" rtl="0" fontAlgn="base">
              <a:spcBef>
                <a:spcPct val="0"/>
              </a:spcBef>
              <a:spcAft>
                <a:spcPct val="0"/>
              </a:spcAft>
              <a:defRPr sz="13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3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3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300" b="1" kern="1200">
                <a:solidFill>
                  <a:schemeClr val="tx1"/>
                </a:solidFill>
                <a:latin typeface="Arial" pitchFamily="34" charset="0"/>
                <a:ea typeface="+mn-ea"/>
                <a:cs typeface="Arial" pitchFamily="34" charset="0"/>
              </a:defRPr>
            </a:lvl5pPr>
            <a:lvl6pPr marL="2286000" algn="l" defTabSz="914400" rtl="0" eaLnBrk="1" latinLnBrk="0" hangingPunct="1">
              <a:defRPr sz="1300" b="1" kern="1200">
                <a:solidFill>
                  <a:schemeClr val="tx1"/>
                </a:solidFill>
                <a:latin typeface="Arial" pitchFamily="34" charset="0"/>
                <a:ea typeface="+mn-ea"/>
                <a:cs typeface="Arial" pitchFamily="34" charset="0"/>
              </a:defRPr>
            </a:lvl6pPr>
            <a:lvl7pPr marL="2743200" algn="l" defTabSz="914400" rtl="0" eaLnBrk="1" latinLnBrk="0" hangingPunct="1">
              <a:defRPr sz="1300" b="1" kern="1200">
                <a:solidFill>
                  <a:schemeClr val="tx1"/>
                </a:solidFill>
                <a:latin typeface="Arial" pitchFamily="34" charset="0"/>
                <a:ea typeface="+mn-ea"/>
                <a:cs typeface="Arial" pitchFamily="34" charset="0"/>
              </a:defRPr>
            </a:lvl7pPr>
            <a:lvl8pPr marL="3200400" algn="l" defTabSz="914400" rtl="0" eaLnBrk="1" latinLnBrk="0" hangingPunct="1">
              <a:defRPr sz="1300" b="1" kern="1200">
                <a:solidFill>
                  <a:schemeClr val="tx1"/>
                </a:solidFill>
                <a:latin typeface="Arial" pitchFamily="34" charset="0"/>
                <a:ea typeface="+mn-ea"/>
                <a:cs typeface="Arial" pitchFamily="34" charset="0"/>
              </a:defRPr>
            </a:lvl8pPr>
            <a:lvl9pPr marL="3657600" algn="l" defTabSz="914400" rtl="0" eaLnBrk="1" latinLnBrk="0" hangingPunct="1">
              <a:defRPr sz="1300" b="1" kern="1200">
                <a:solidFill>
                  <a:schemeClr val="tx1"/>
                </a:solidFill>
                <a:latin typeface="Arial" pitchFamily="34" charset="0"/>
                <a:ea typeface="+mn-ea"/>
                <a:cs typeface="Arial" pitchFamily="34" charset="0"/>
              </a:defRPr>
            </a:lvl9pPr>
          </a:lstStyle>
          <a:p>
            <a:pPr>
              <a:defRPr/>
            </a:pPr>
            <a:fld id="{47794585-347E-4355-955C-F2766ACC4F25}" type="slidenum">
              <a:rPr lang="en-US"/>
              <a:pPr>
                <a:defRPr/>
              </a:pPr>
              <a:t>5</a:t>
            </a:fld>
            <a:endParaRPr lang="en-US"/>
          </a:p>
        </p:txBody>
      </p:sp>
      <p:sp>
        <p:nvSpPr>
          <p:cNvPr id="97" name="Title 2">
            <a:extLst>
              <a:ext uri="{FF2B5EF4-FFF2-40B4-BE49-F238E27FC236}">
                <a16:creationId xmlns:a16="http://schemas.microsoft.com/office/drawing/2014/main" id="{BE9579D2-1336-4F63-B616-C7DDEB06CD21}"/>
              </a:ext>
            </a:extLst>
          </p:cNvPr>
          <p:cNvSpPr txBox="1">
            <a:spLocks/>
          </p:cNvSpPr>
          <p:nvPr/>
        </p:nvSpPr>
        <p:spPr>
          <a:xfrm>
            <a:off x="2331327" y="372952"/>
            <a:ext cx="8427859" cy="472499"/>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00" i="1">
                <a:latin typeface="+mn-lt"/>
              </a:rPr>
              <a:t>Spread across the regions but mostly found in the urban regions.</a:t>
            </a:r>
          </a:p>
        </p:txBody>
      </p:sp>
      <p:cxnSp>
        <p:nvCxnSpPr>
          <p:cNvPr id="98" name="Straight Connector 97">
            <a:extLst>
              <a:ext uri="{FF2B5EF4-FFF2-40B4-BE49-F238E27FC236}">
                <a16:creationId xmlns:a16="http://schemas.microsoft.com/office/drawing/2014/main" id="{0780A0B0-C249-442D-A608-ACA5B058B7FC}"/>
              </a:ext>
            </a:extLst>
          </p:cNvPr>
          <p:cNvCxnSpPr/>
          <p:nvPr/>
        </p:nvCxnSpPr>
        <p:spPr>
          <a:xfrm flipV="1">
            <a:off x="533400" y="1768718"/>
            <a:ext cx="2560320" cy="1"/>
          </a:xfrm>
          <a:prstGeom prst="line">
            <a:avLst/>
          </a:prstGeom>
          <a:noFill/>
          <a:ln w="9525" cap="flat" cmpd="sng" algn="ctr">
            <a:solidFill>
              <a:srgbClr val="75787A"/>
            </a:solidFill>
            <a:prstDash val="solid"/>
          </a:ln>
          <a:effectLst/>
        </p:spPr>
      </p:cxnSp>
      <p:graphicFrame>
        <p:nvGraphicFramePr>
          <p:cNvPr id="99" name="Chart 98">
            <a:extLst>
              <a:ext uri="{FF2B5EF4-FFF2-40B4-BE49-F238E27FC236}">
                <a16:creationId xmlns:a16="http://schemas.microsoft.com/office/drawing/2014/main" id="{6FBB80EA-BA30-4D7D-94B1-14F49742C986}"/>
              </a:ext>
            </a:extLst>
          </p:cNvPr>
          <p:cNvGraphicFramePr/>
          <p:nvPr>
            <p:extLst>
              <p:ext uri="{D42A27DB-BD31-4B8C-83A1-F6EECF244321}">
                <p14:modId xmlns:p14="http://schemas.microsoft.com/office/powerpoint/2010/main" val="1893123801"/>
              </p:ext>
            </p:extLst>
          </p:nvPr>
        </p:nvGraphicFramePr>
        <p:xfrm>
          <a:off x="869420" y="1745626"/>
          <a:ext cx="2996762" cy="2758390"/>
        </p:xfrm>
        <a:graphic>
          <a:graphicData uri="http://schemas.openxmlformats.org/drawingml/2006/chart">
            <c:chart xmlns:c="http://schemas.openxmlformats.org/drawingml/2006/chart" xmlns:r="http://schemas.openxmlformats.org/officeDocument/2006/relationships" r:id="rId57"/>
          </a:graphicData>
        </a:graphic>
      </p:graphicFrame>
      <p:grpSp>
        <p:nvGrpSpPr>
          <p:cNvPr id="161" name="Group 160">
            <a:extLst>
              <a:ext uri="{FF2B5EF4-FFF2-40B4-BE49-F238E27FC236}">
                <a16:creationId xmlns:a16="http://schemas.microsoft.com/office/drawing/2014/main" id="{AB17249E-88FC-4F98-8165-2896A5967EBB}"/>
              </a:ext>
            </a:extLst>
          </p:cNvPr>
          <p:cNvGrpSpPr/>
          <p:nvPr/>
        </p:nvGrpSpPr>
        <p:grpSpPr>
          <a:xfrm>
            <a:off x="80428" y="1399993"/>
            <a:ext cx="3888461" cy="368725"/>
            <a:chOff x="543370" y="1123543"/>
            <a:chExt cx="2678057" cy="368725"/>
          </a:xfrm>
        </p:grpSpPr>
        <p:sp>
          <p:nvSpPr>
            <p:cNvPr id="162" name="Title 3">
              <a:extLst>
                <a:ext uri="{FF2B5EF4-FFF2-40B4-BE49-F238E27FC236}">
                  <a16:creationId xmlns:a16="http://schemas.microsoft.com/office/drawing/2014/main" id="{1E8EB5A1-4F16-4DBD-BE5C-9503BACF5D37}"/>
                </a:ext>
              </a:extLst>
            </p:cNvPr>
            <p:cNvSpPr txBox="1">
              <a:spLocks/>
            </p:cNvSpPr>
            <p:nvPr/>
          </p:nvSpPr>
          <p:spPr>
            <a:xfrm>
              <a:off x="1933490" y="1123543"/>
              <a:ext cx="1287937" cy="335637"/>
            </a:xfrm>
            <a:prstGeom prst="rect">
              <a:avLst/>
            </a:prstGeom>
          </p:spPr>
          <p:txBody>
            <a:bodyPr vert="horz" lIns="71579" tIns="35790" rIns="71579" bIns="35790" rtlCol="0" anchor="ctr" anchorCtr="0">
              <a:noAutofit/>
            </a:bodyPr>
            <a:lstStyle>
              <a:lvl1pPr algn="l" defTabSz="357188" rtl="0" eaLnBrk="1" fontAlgn="base" hangingPunct="1">
                <a:spcBef>
                  <a:spcPct val="0"/>
                </a:spcBef>
                <a:spcAft>
                  <a:spcPct val="0"/>
                </a:spcAft>
                <a:defRPr sz="3000" kern="1200">
                  <a:solidFill>
                    <a:schemeClr val="tx1"/>
                  </a:solidFill>
                  <a:latin typeface="+mj-lt"/>
                  <a:ea typeface="ＭＳ Ｐゴシック" charset="0"/>
                  <a:cs typeface="Arial"/>
                </a:defRPr>
              </a:lvl1pPr>
              <a:lvl2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2pPr>
              <a:lvl3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3pPr>
              <a:lvl4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4pPr>
              <a:lvl5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5pPr>
              <a:lvl6pPr marL="457200" algn="l" defTabSz="357188" rtl="0" eaLnBrk="1" fontAlgn="base" hangingPunct="1">
                <a:spcBef>
                  <a:spcPct val="0"/>
                </a:spcBef>
                <a:spcAft>
                  <a:spcPct val="0"/>
                </a:spcAft>
                <a:defRPr sz="3000">
                  <a:solidFill>
                    <a:schemeClr val="bg1"/>
                  </a:solidFill>
                  <a:latin typeface="Franklin Gothic Book" charset="0"/>
                  <a:ea typeface="ＭＳ Ｐゴシック" charset="0"/>
                </a:defRPr>
              </a:lvl6pPr>
              <a:lvl7pPr marL="914400" algn="l" defTabSz="357188" rtl="0" eaLnBrk="1" fontAlgn="base" hangingPunct="1">
                <a:spcBef>
                  <a:spcPct val="0"/>
                </a:spcBef>
                <a:spcAft>
                  <a:spcPct val="0"/>
                </a:spcAft>
                <a:defRPr sz="3000">
                  <a:solidFill>
                    <a:schemeClr val="bg1"/>
                  </a:solidFill>
                  <a:latin typeface="Franklin Gothic Book" charset="0"/>
                  <a:ea typeface="ＭＳ Ｐゴシック" charset="0"/>
                </a:defRPr>
              </a:lvl7pPr>
              <a:lvl8pPr marL="1371600" algn="l" defTabSz="357188" rtl="0" eaLnBrk="1" fontAlgn="base" hangingPunct="1">
                <a:spcBef>
                  <a:spcPct val="0"/>
                </a:spcBef>
                <a:spcAft>
                  <a:spcPct val="0"/>
                </a:spcAft>
                <a:defRPr sz="3000">
                  <a:solidFill>
                    <a:schemeClr val="bg1"/>
                  </a:solidFill>
                  <a:latin typeface="Franklin Gothic Book" charset="0"/>
                  <a:ea typeface="ＭＳ Ｐゴシック" charset="0"/>
                </a:defRPr>
              </a:lvl8pPr>
              <a:lvl9pPr marL="1828800" algn="l" defTabSz="357188" rtl="0" eaLnBrk="1" fontAlgn="base" hangingPunct="1">
                <a:spcBef>
                  <a:spcPct val="0"/>
                </a:spcBef>
                <a:spcAft>
                  <a:spcPct val="0"/>
                </a:spcAft>
                <a:defRPr sz="3000">
                  <a:solidFill>
                    <a:schemeClr val="bg1"/>
                  </a:solidFill>
                  <a:latin typeface="Franklin Gothic Book" charset="0"/>
                  <a:ea typeface="ＭＳ Ｐゴシック" charset="0"/>
                </a:defRPr>
              </a:lvl9pPr>
            </a:lstStyle>
            <a:p>
              <a:pPr algn="ctr" defTabSz="357179"/>
              <a:r>
                <a:rPr lang="en-US" sz="1600" b="1">
                  <a:solidFill>
                    <a:prstClr val="black"/>
                  </a:solidFill>
                  <a:latin typeface="+mn-lt"/>
                </a:rPr>
                <a:t>Location Classification (FSAS)</a:t>
              </a:r>
            </a:p>
          </p:txBody>
        </p:sp>
        <p:grpSp>
          <p:nvGrpSpPr>
            <p:cNvPr id="163" name="Group 162">
              <a:extLst>
                <a:ext uri="{FF2B5EF4-FFF2-40B4-BE49-F238E27FC236}">
                  <a16:creationId xmlns:a16="http://schemas.microsoft.com/office/drawing/2014/main" id="{13DC0DAB-4926-4F8B-9FB0-5C4C8FB8FA2D}"/>
                </a:ext>
              </a:extLst>
            </p:cNvPr>
            <p:cNvGrpSpPr>
              <a:grpSpLocks noChangeAspect="1"/>
            </p:cNvGrpSpPr>
            <p:nvPr/>
          </p:nvGrpSpPr>
          <p:grpSpPr>
            <a:xfrm>
              <a:off x="543370" y="1278336"/>
              <a:ext cx="1407777" cy="213932"/>
              <a:chOff x="4684975" y="2002913"/>
              <a:chExt cx="1779304" cy="270391"/>
            </a:xfrm>
            <a:solidFill>
              <a:srgbClr val="006301"/>
            </a:solidFill>
          </p:grpSpPr>
          <p:sp>
            <p:nvSpPr>
              <p:cNvPr id="164" name="Freeform 75">
                <a:extLst>
                  <a:ext uri="{FF2B5EF4-FFF2-40B4-BE49-F238E27FC236}">
                    <a16:creationId xmlns:a16="http://schemas.microsoft.com/office/drawing/2014/main" id="{8F7FD10A-11DC-49DB-81A6-712BFDC3211C}"/>
                  </a:ext>
                </a:extLst>
              </p:cNvPr>
              <p:cNvSpPr>
                <a:spLocks/>
              </p:cNvSpPr>
              <p:nvPr/>
            </p:nvSpPr>
            <p:spPr bwMode="auto">
              <a:xfrm>
                <a:off x="4684975" y="2216323"/>
                <a:ext cx="1779304" cy="56981"/>
              </a:xfrm>
              <a:custGeom>
                <a:avLst/>
                <a:gdLst/>
                <a:ahLst/>
                <a:cxnLst>
                  <a:cxn ang="0">
                    <a:pos x="1401" y="19"/>
                  </a:cxn>
                  <a:cxn ang="0">
                    <a:pos x="1316" y="20"/>
                  </a:cxn>
                  <a:cxn ang="0">
                    <a:pos x="1185" y="24"/>
                  </a:cxn>
                  <a:cxn ang="0">
                    <a:pos x="1074" y="23"/>
                  </a:cxn>
                  <a:cxn ang="0">
                    <a:pos x="977" y="18"/>
                  </a:cxn>
                  <a:cxn ang="0">
                    <a:pos x="922" y="19"/>
                  </a:cxn>
                  <a:cxn ang="0">
                    <a:pos x="840" y="18"/>
                  </a:cxn>
                  <a:cxn ang="0">
                    <a:pos x="758" y="23"/>
                  </a:cxn>
                  <a:cxn ang="0">
                    <a:pos x="708" y="14"/>
                  </a:cxn>
                  <a:cxn ang="0">
                    <a:pos x="648" y="12"/>
                  </a:cxn>
                  <a:cxn ang="0">
                    <a:pos x="585" y="11"/>
                  </a:cxn>
                  <a:cxn ang="0">
                    <a:pos x="508" y="14"/>
                  </a:cxn>
                  <a:cxn ang="0">
                    <a:pos x="430" y="15"/>
                  </a:cxn>
                  <a:cxn ang="0">
                    <a:pos x="354" y="15"/>
                  </a:cxn>
                  <a:cxn ang="0">
                    <a:pos x="291" y="14"/>
                  </a:cxn>
                  <a:cxn ang="0">
                    <a:pos x="210" y="14"/>
                  </a:cxn>
                  <a:cxn ang="0">
                    <a:pos x="90" y="15"/>
                  </a:cxn>
                  <a:cxn ang="0">
                    <a:pos x="0" y="17"/>
                  </a:cxn>
                  <a:cxn ang="0">
                    <a:pos x="0" y="45"/>
                  </a:cxn>
                  <a:cxn ang="0">
                    <a:pos x="1401" y="45"/>
                  </a:cxn>
                  <a:cxn ang="0">
                    <a:pos x="1401" y="19"/>
                  </a:cxn>
                  <a:cxn ang="0">
                    <a:pos x="1401" y="19"/>
                  </a:cxn>
                </a:cxnLst>
                <a:rect l="0" t="0" r="r" b="b"/>
                <a:pathLst>
                  <a:path w="1401" h="45">
                    <a:moveTo>
                      <a:pt x="1401" y="19"/>
                    </a:moveTo>
                    <a:cubicBezTo>
                      <a:pt x="1355" y="31"/>
                      <a:pt x="1327" y="21"/>
                      <a:pt x="1316" y="20"/>
                    </a:cubicBezTo>
                    <a:cubicBezTo>
                      <a:pt x="1273" y="16"/>
                      <a:pt x="1207" y="35"/>
                      <a:pt x="1185" y="24"/>
                    </a:cubicBezTo>
                    <a:cubicBezTo>
                      <a:pt x="1129" y="10"/>
                      <a:pt x="1107" y="25"/>
                      <a:pt x="1074" y="23"/>
                    </a:cubicBezTo>
                    <a:cubicBezTo>
                      <a:pt x="1040" y="22"/>
                      <a:pt x="1005" y="16"/>
                      <a:pt x="977" y="18"/>
                    </a:cubicBezTo>
                    <a:cubicBezTo>
                      <a:pt x="957" y="19"/>
                      <a:pt x="941" y="22"/>
                      <a:pt x="922" y="19"/>
                    </a:cubicBezTo>
                    <a:cubicBezTo>
                      <a:pt x="881" y="12"/>
                      <a:pt x="855" y="18"/>
                      <a:pt x="840" y="18"/>
                    </a:cubicBezTo>
                    <a:cubicBezTo>
                      <a:pt x="795" y="17"/>
                      <a:pt x="787" y="17"/>
                      <a:pt x="758" y="23"/>
                    </a:cubicBezTo>
                    <a:cubicBezTo>
                      <a:pt x="738" y="27"/>
                      <a:pt x="724" y="20"/>
                      <a:pt x="708" y="14"/>
                    </a:cubicBezTo>
                    <a:cubicBezTo>
                      <a:pt x="685" y="3"/>
                      <a:pt x="669" y="14"/>
                      <a:pt x="648" y="12"/>
                    </a:cubicBezTo>
                    <a:cubicBezTo>
                      <a:pt x="619" y="3"/>
                      <a:pt x="614" y="11"/>
                      <a:pt x="585" y="11"/>
                    </a:cubicBezTo>
                    <a:cubicBezTo>
                      <a:pt x="553" y="11"/>
                      <a:pt x="537" y="23"/>
                      <a:pt x="508" y="14"/>
                    </a:cubicBezTo>
                    <a:cubicBezTo>
                      <a:pt x="467" y="0"/>
                      <a:pt x="473" y="11"/>
                      <a:pt x="430" y="15"/>
                    </a:cubicBezTo>
                    <a:cubicBezTo>
                      <a:pt x="394" y="12"/>
                      <a:pt x="376" y="15"/>
                      <a:pt x="354" y="15"/>
                    </a:cubicBezTo>
                    <a:cubicBezTo>
                      <a:pt x="329" y="13"/>
                      <a:pt x="324" y="16"/>
                      <a:pt x="291" y="14"/>
                    </a:cubicBezTo>
                    <a:cubicBezTo>
                      <a:pt x="244" y="10"/>
                      <a:pt x="235" y="8"/>
                      <a:pt x="210" y="14"/>
                    </a:cubicBezTo>
                    <a:cubicBezTo>
                      <a:pt x="147" y="20"/>
                      <a:pt x="147" y="5"/>
                      <a:pt x="90" y="15"/>
                    </a:cubicBezTo>
                    <a:cubicBezTo>
                      <a:pt x="56" y="21"/>
                      <a:pt x="37" y="14"/>
                      <a:pt x="0" y="17"/>
                    </a:cubicBezTo>
                    <a:cubicBezTo>
                      <a:pt x="0" y="45"/>
                      <a:pt x="0" y="45"/>
                      <a:pt x="0" y="45"/>
                    </a:cubicBezTo>
                    <a:cubicBezTo>
                      <a:pt x="1401" y="45"/>
                      <a:pt x="1401" y="45"/>
                      <a:pt x="1401" y="45"/>
                    </a:cubicBezTo>
                    <a:cubicBezTo>
                      <a:pt x="1401" y="19"/>
                      <a:pt x="1401" y="19"/>
                      <a:pt x="1401" y="19"/>
                    </a:cubicBezTo>
                    <a:cubicBezTo>
                      <a:pt x="1401" y="19"/>
                      <a:pt x="1401" y="19"/>
                      <a:pt x="1401"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76">
                <a:extLst>
                  <a:ext uri="{FF2B5EF4-FFF2-40B4-BE49-F238E27FC236}">
                    <a16:creationId xmlns:a16="http://schemas.microsoft.com/office/drawing/2014/main" id="{99E98276-4E6C-4DB4-997F-99B8EA7B19BE}"/>
                  </a:ext>
                </a:extLst>
              </p:cNvPr>
              <p:cNvSpPr>
                <a:spLocks noEditPoints="1"/>
              </p:cNvSpPr>
              <p:nvPr/>
            </p:nvSpPr>
            <p:spPr bwMode="auto">
              <a:xfrm>
                <a:off x="4779047" y="2096986"/>
                <a:ext cx="105361" cy="147290"/>
              </a:xfrm>
              <a:custGeom>
                <a:avLst/>
                <a:gdLst/>
                <a:ahLst/>
                <a:cxnLst>
                  <a:cxn ang="0">
                    <a:pos x="36" y="26"/>
                  </a:cxn>
                  <a:cxn ang="0">
                    <a:pos x="25" y="30"/>
                  </a:cxn>
                  <a:cxn ang="0">
                    <a:pos x="17" y="38"/>
                  </a:cxn>
                  <a:cxn ang="0">
                    <a:pos x="23" y="57"/>
                  </a:cxn>
                  <a:cxn ang="0">
                    <a:pos x="15" y="69"/>
                  </a:cxn>
                  <a:cxn ang="0">
                    <a:pos x="24" y="79"/>
                  </a:cxn>
                  <a:cxn ang="0">
                    <a:pos x="37" y="89"/>
                  </a:cxn>
                  <a:cxn ang="0">
                    <a:pos x="61" y="90"/>
                  </a:cxn>
                  <a:cxn ang="0">
                    <a:pos x="67" y="84"/>
                  </a:cxn>
                  <a:cxn ang="0">
                    <a:pos x="49" y="74"/>
                  </a:cxn>
                  <a:cxn ang="0">
                    <a:pos x="72" y="62"/>
                  </a:cxn>
                  <a:cxn ang="0">
                    <a:pos x="69" y="41"/>
                  </a:cxn>
                  <a:cxn ang="0">
                    <a:pos x="58" y="33"/>
                  </a:cxn>
                  <a:cxn ang="0">
                    <a:pos x="52" y="21"/>
                  </a:cxn>
                  <a:cxn ang="0">
                    <a:pos x="30" y="11"/>
                  </a:cxn>
                  <a:cxn ang="0">
                    <a:pos x="49" y="22"/>
                  </a:cxn>
                  <a:cxn ang="0">
                    <a:pos x="36" y="26"/>
                  </a:cxn>
                  <a:cxn ang="0">
                    <a:pos x="58" y="28"/>
                  </a:cxn>
                  <a:cxn ang="0">
                    <a:pos x="26" y="30"/>
                  </a:cxn>
                  <a:cxn ang="0">
                    <a:pos x="52" y="31"/>
                  </a:cxn>
                  <a:cxn ang="0">
                    <a:pos x="41" y="32"/>
                  </a:cxn>
                  <a:cxn ang="0">
                    <a:pos x="48" y="33"/>
                  </a:cxn>
                  <a:cxn ang="0">
                    <a:pos x="39" y="34"/>
                  </a:cxn>
                  <a:cxn ang="0">
                    <a:pos x="64" y="37"/>
                  </a:cxn>
                  <a:cxn ang="0">
                    <a:pos x="54" y="39"/>
                  </a:cxn>
                  <a:cxn ang="0">
                    <a:pos x="54" y="40"/>
                  </a:cxn>
                  <a:cxn ang="0">
                    <a:pos x="49" y="45"/>
                  </a:cxn>
                  <a:cxn ang="0">
                    <a:pos x="55" y="55"/>
                  </a:cxn>
                  <a:cxn ang="0">
                    <a:pos x="22" y="44"/>
                  </a:cxn>
                  <a:cxn ang="0">
                    <a:pos x="49" y="47"/>
                  </a:cxn>
                  <a:cxn ang="0">
                    <a:pos x="65" y="50"/>
                  </a:cxn>
                  <a:cxn ang="0">
                    <a:pos x="52" y="49"/>
                  </a:cxn>
                  <a:cxn ang="0">
                    <a:pos x="25" y="53"/>
                  </a:cxn>
                  <a:cxn ang="0">
                    <a:pos x="25" y="54"/>
                  </a:cxn>
                  <a:cxn ang="0">
                    <a:pos x="62" y="61"/>
                  </a:cxn>
                  <a:cxn ang="0">
                    <a:pos x="33" y="60"/>
                  </a:cxn>
                  <a:cxn ang="0">
                    <a:pos x="50" y="56"/>
                  </a:cxn>
                  <a:cxn ang="0">
                    <a:pos x="44" y="57"/>
                  </a:cxn>
                  <a:cxn ang="0">
                    <a:pos x="29" y="58"/>
                  </a:cxn>
                  <a:cxn ang="0">
                    <a:pos x="47" y="60"/>
                  </a:cxn>
                  <a:cxn ang="0">
                    <a:pos x="36" y="63"/>
                  </a:cxn>
                  <a:cxn ang="0">
                    <a:pos x="47" y="69"/>
                  </a:cxn>
                  <a:cxn ang="0">
                    <a:pos x="38" y="65"/>
                  </a:cxn>
                  <a:cxn ang="0">
                    <a:pos x="32" y="64"/>
                  </a:cxn>
                  <a:cxn ang="0">
                    <a:pos x="41" y="66"/>
                  </a:cxn>
                  <a:cxn ang="0">
                    <a:pos x="21" y="71"/>
                  </a:cxn>
                  <a:cxn ang="0">
                    <a:pos x="47" y="70"/>
                  </a:cxn>
                  <a:cxn ang="0">
                    <a:pos x="46" y="71"/>
                  </a:cxn>
                  <a:cxn ang="0">
                    <a:pos x="47" y="72"/>
                  </a:cxn>
                  <a:cxn ang="0">
                    <a:pos x="48" y="74"/>
                  </a:cxn>
                  <a:cxn ang="0">
                    <a:pos x="44" y="75"/>
                  </a:cxn>
                  <a:cxn ang="0">
                    <a:pos x="43" y="77"/>
                  </a:cxn>
                  <a:cxn ang="0">
                    <a:pos x="39" y="78"/>
                  </a:cxn>
                  <a:cxn ang="0">
                    <a:pos x="24" y="79"/>
                  </a:cxn>
                  <a:cxn ang="0">
                    <a:pos x="33" y="81"/>
                  </a:cxn>
                  <a:cxn ang="0">
                    <a:pos x="26" y="88"/>
                  </a:cxn>
                  <a:cxn ang="0">
                    <a:pos x="57" y="85"/>
                  </a:cxn>
                  <a:cxn ang="0">
                    <a:pos x="44" y="84"/>
                  </a:cxn>
                  <a:cxn ang="0">
                    <a:pos x="39" y="85"/>
                  </a:cxn>
                  <a:cxn ang="0">
                    <a:pos x="58" y="86"/>
                  </a:cxn>
                  <a:cxn ang="0">
                    <a:pos x="34" y="88"/>
                  </a:cxn>
                  <a:cxn ang="0">
                    <a:pos x="20" y="89"/>
                  </a:cxn>
                  <a:cxn ang="0">
                    <a:pos x="67" y="89"/>
                  </a:cxn>
                </a:cxnLst>
                <a:rect l="0" t="0" r="r" b="b"/>
                <a:pathLst>
                  <a:path w="83" h="116">
                    <a:moveTo>
                      <a:pt x="45" y="1"/>
                    </a:moveTo>
                    <a:cubicBezTo>
                      <a:pt x="45" y="1"/>
                      <a:pt x="45" y="2"/>
                      <a:pt x="45" y="2"/>
                    </a:cubicBezTo>
                    <a:cubicBezTo>
                      <a:pt x="45" y="2"/>
                      <a:pt x="45" y="2"/>
                      <a:pt x="45" y="2"/>
                    </a:cubicBezTo>
                    <a:cubicBezTo>
                      <a:pt x="44" y="3"/>
                      <a:pt x="44" y="4"/>
                      <a:pt x="44" y="4"/>
                    </a:cubicBezTo>
                    <a:cubicBezTo>
                      <a:pt x="44" y="4"/>
                      <a:pt x="43" y="2"/>
                      <a:pt x="43" y="2"/>
                    </a:cubicBezTo>
                    <a:cubicBezTo>
                      <a:pt x="44" y="5"/>
                      <a:pt x="44" y="5"/>
                      <a:pt x="44" y="7"/>
                    </a:cubicBezTo>
                    <a:cubicBezTo>
                      <a:pt x="44" y="6"/>
                      <a:pt x="44" y="6"/>
                      <a:pt x="43" y="5"/>
                    </a:cubicBezTo>
                    <a:cubicBezTo>
                      <a:pt x="43" y="5"/>
                      <a:pt x="43" y="5"/>
                      <a:pt x="43" y="5"/>
                    </a:cubicBezTo>
                    <a:cubicBezTo>
                      <a:pt x="43" y="4"/>
                      <a:pt x="43" y="4"/>
                      <a:pt x="43" y="4"/>
                    </a:cubicBezTo>
                    <a:cubicBezTo>
                      <a:pt x="43" y="4"/>
                      <a:pt x="42" y="4"/>
                      <a:pt x="42" y="4"/>
                    </a:cubicBezTo>
                    <a:cubicBezTo>
                      <a:pt x="44" y="7"/>
                      <a:pt x="44" y="8"/>
                      <a:pt x="44" y="11"/>
                    </a:cubicBezTo>
                    <a:cubicBezTo>
                      <a:pt x="44" y="14"/>
                      <a:pt x="44" y="16"/>
                      <a:pt x="43" y="18"/>
                    </a:cubicBezTo>
                    <a:cubicBezTo>
                      <a:pt x="42" y="15"/>
                      <a:pt x="40" y="13"/>
                      <a:pt x="38" y="11"/>
                    </a:cubicBezTo>
                    <a:cubicBezTo>
                      <a:pt x="41" y="13"/>
                      <a:pt x="42" y="16"/>
                      <a:pt x="43" y="18"/>
                    </a:cubicBezTo>
                    <a:cubicBezTo>
                      <a:pt x="43" y="19"/>
                      <a:pt x="43" y="20"/>
                      <a:pt x="43" y="21"/>
                    </a:cubicBezTo>
                    <a:cubicBezTo>
                      <a:pt x="42" y="19"/>
                      <a:pt x="41" y="17"/>
                      <a:pt x="40" y="15"/>
                    </a:cubicBezTo>
                    <a:cubicBezTo>
                      <a:pt x="37" y="12"/>
                      <a:pt x="37" y="12"/>
                      <a:pt x="40" y="15"/>
                    </a:cubicBezTo>
                    <a:cubicBezTo>
                      <a:pt x="38" y="18"/>
                      <a:pt x="37" y="20"/>
                      <a:pt x="36" y="22"/>
                    </a:cubicBezTo>
                    <a:cubicBezTo>
                      <a:pt x="34" y="19"/>
                      <a:pt x="35" y="22"/>
                      <a:pt x="35" y="19"/>
                    </a:cubicBezTo>
                    <a:cubicBezTo>
                      <a:pt x="35" y="18"/>
                      <a:pt x="35" y="18"/>
                      <a:pt x="35" y="18"/>
                    </a:cubicBezTo>
                    <a:cubicBezTo>
                      <a:pt x="35" y="18"/>
                      <a:pt x="35" y="18"/>
                      <a:pt x="34" y="18"/>
                    </a:cubicBezTo>
                    <a:cubicBezTo>
                      <a:pt x="35" y="19"/>
                      <a:pt x="35" y="19"/>
                      <a:pt x="35" y="20"/>
                    </a:cubicBezTo>
                    <a:cubicBezTo>
                      <a:pt x="34" y="19"/>
                      <a:pt x="32" y="15"/>
                      <a:pt x="31" y="14"/>
                    </a:cubicBezTo>
                    <a:cubicBezTo>
                      <a:pt x="30" y="11"/>
                      <a:pt x="30" y="11"/>
                      <a:pt x="30" y="11"/>
                    </a:cubicBezTo>
                    <a:cubicBezTo>
                      <a:pt x="30" y="10"/>
                      <a:pt x="31" y="9"/>
                      <a:pt x="31" y="8"/>
                    </a:cubicBezTo>
                    <a:cubicBezTo>
                      <a:pt x="31" y="9"/>
                      <a:pt x="31" y="10"/>
                      <a:pt x="30" y="11"/>
                    </a:cubicBezTo>
                    <a:cubicBezTo>
                      <a:pt x="30" y="10"/>
                      <a:pt x="29" y="10"/>
                      <a:pt x="29" y="8"/>
                    </a:cubicBezTo>
                    <a:cubicBezTo>
                      <a:pt x="29" y="9"/>
                      <a:pt x="29" y="9"/>
                      <a:pt x="29" y="9"/>
                    </a:cubicBezTo>
                    <a:cubicBezTo>
                      <a:pt x="29" y="9"/>
                      <a:pt x="29" y="9"/>
                      <a:pt x="29" y="9"/>
                    </a:cubicBezTo>
                    <a:cubicBezTo>
                      <a:pt x="29" y="9"/>
                      <a:pt x="29" y="9"/>
                      <a:pt x="29" y="9"/>
                    </a:cubicBezTo>
                    <a:cubicBezTo>
                      <a:pt x="29" y="10"/>
                      <a:pt x="32" y="15"/>
                      <a:pt x="32" y="16"/>
                    </a:cubicBezTo>
                    <a:cubicBezTo>
                      <a:pt x="32" y="16"/>
                      <a:pt x="26" y="12"/>
                      <a:pt x="26" y="13"/>
                    </a:cubicBezTo>
                    <a:cubicBezTo>
                      <a:pt x="27" y="13"/>
                      <a:pt x="31" y="15"/>
                      <a:pt x="32" y="16"/>
                    </a:cubicBezTo>
                    <a:cubicBezTo>
                      <a:pt x="33" y="17"/>
                      <a:pt x="33" y="18"/>
                      <a:pt x="33" y="18"/>
                    </a:cubicBezTo>
                    <a:cubicBezTo>
                      <a:pt x="31" y="16"/>
                      <a:pt x="31" y="16"/>
                      <a:pt x="31" y="16"/>
                    </a:cubicBezTo>
                    <a:cubicBezTo>
                      <a:pt x="31" y="16"/>
                      <a:pt x="30" y="16"/>
                      <a:pt x="30" y="16"/>
                    </a:cubicBezTo>
                    <a:cubicBezTo>
                      <a:pt x="31" y="17"/>
                      <a:pt x="32" y="17"/>
                      <a:pt x="33" y="18"/>
                    </a:cubicBezTo>
                    <a:cubicBezTo>
                      <a:pt x="30" y="17"/>
                      <a:pt x="28" y="16"/>
                      <a:pt x="28" y="16"/>
                    </a:cubicBezTo>
                    <a:cubicBezTo>
                      <a:pt x="36" y="20"/>
                      <a:pt x="32" y="18"/>
                      <a:pt x="39" y="26"/>
                    </a:cubicBezTo>
                    <a:cubicBezTo>
                      <a:pt x="37" y="26"/>
                      <a:pt x="37" y="26"/>
                      <a:pt x="36" y="25"/>
                    </a:cubicBezTo>
                    <a:cubicBezTo>
                      <a:pt x="36" y="25"/>
                      <a:pt x="36" y="25"/>
                      <a:pt x="36" y="26"/>
                    </a:cubicBezTo>
                    <a:cubicBezTo>
                      <a:pt x="35" y="25"/>
                      <a:pt x="34" y="25"/>
                      <a:pt x="33" y="25"/>
                    </a:cubicBezTo>
                    <a:cubicBezTo>
                      <a:pt x="34" y="24"/>
                      <a:pt x="34" y="24"/>
                      <a:pt x="35" y="23"/>
                    </a:cubicBezTo>
                    <a:cubicBezTo>
                      <a:pt x="33" y="25"/>
                      <a:pt x="33" y="25"/>
                      <a:pt x="33" y="25"/>
                    </a:cubicBezTo>
                    <a:cubicBezTo>
                      <a:pt x="33" y="25"/>
                      <a:pt x="32" y="25"/>
                      <a:pt x="31" y="25"/>
                    </a:cubicBezTo>
                    <a:cubicBezTo>
                      <a:pt x="31" y="24"/>
                      <a:pt x="31" y="24"/>
                      <a:pt x="31" y="24"/>
                    </a:cubicBezTo>
                    <a:cubicBezTo>
                      <a:pt x="31" y="24"/>
                      <a:pt x="31" y="24"/>
                      <a:pt x="31" y="24"/>
                    </a:cubicBezTo>
                    <a:cubicBezTo>
                      <a:pt x="31" y="24"/>
                      <a:pt x="31" y="24"/>
                      <a:pt x="30" y="24"/>
                    </a:cubicBezTo>
                    <a:cubicBezTo>
                      <a:pt x="30" y="24"/>
                      <a:pt x="30" y="24"/>
                      <a:pt x="30" y="24"/>
                    </a:cubicBezTo>
                    <a:cubicBezTo>
                      <a:pt x="30" y="24"/>
                      <a:pt x="30" y="24"/>
                      <a:pt x="30" y="24"/>
                    </a:cubicBezTo>
                    <a:cubicBezTo>
                      <a:pt x="30" y="24"/>
                      <a:pt x="30" y="24"/>
                      <a:pt x="30" y="24"/>
                    </a:cubicBezTo>
                    <a:cubicBezTo>
                      <a:pt x="29" y="24"/>
                      <a:pt x="29" y="24"/>
                      <a:pt x="28" y="24"/>
                    </a:cubicBezTo>
                    <a:cubicBezTo>
                      <a:pt x="29" y="24"/>
                      <a:pt x="29" y="24"/>
                      <a:pt x="30" y="24"/>
                    </a:cubicBezTo>
                    <a:cubicBezTo>
                      <a:pt x="30" y="25"/>
                      <a:pt x="31" y="26"/>
                      <a:pt x="31" y="27"/>
                    </a:cubicBezTo>
                    <a:cubicBezTo>
                      <a:pt x="30" y="25"/>
                      <a:pt x="29" y="24"/>
                      <a:pt x="28" y="24"/>
                    </a:cubicBezTo>
                    <a:cubicBezTo>
                      <a:pt x="31" y="27"/>
                      <a:pt x="32" y="29"/>
                      <a:pt x="33" y="32"/>
                    </a:cubicBezTo>
                    <a:cubicBezTo>
                      <a:pt x="32" y="31"/>
                      <a:pt x="32" y="31"/>
                      <a:pt x="31" y="29"/>
                    </a:cubicBezTo>
                    <a:cubicBezTo>
                      <a:pt x="30" y="28"/>
                      <a:pt x="29" y="28"/>
                      <a:pt x="29" y="27"/>
                    </a:cubicBezTo>
                    <a:cubicBezTo>
                      <a:pt x="28" y="25"/>
                      <a:pt x="27" y="25"/>
                      <a:pt x="27" y="25"/>
                    </a:cubicBezTo>
                    <a:cubicBezTo>
                      <a:pt x="28" y="26"/>
                      <a:pt x="30" y="29"/>
                      <a:pt x="31" y="31"/>
                    </a:cubicBezTo>
                    <a:cubicBezTo>
                      <a:pt x="30" y="31"/>
                      <a:pt x="29" y="31"/>
                      <a:pt x="29" y="30"/>
                    </a:cubicBezTo>
                    <a:cubicBezTo>
                      <a:pt x="28" y="30"/>
                      <a:pt x="27" y="29"/>
                      <a:pt x="27" y="28"/>
                    </a:cubicBezTo>
                    <a:cubicBezTo>
                      <a:pt x="26" y="27"/>
                      <a:pt x="25" y="26"/>
                      <a:pt x="24" y="25"/>
                    </a:cubicBezTo>
                    <a:cubicBezTo>
                      <a:pt x="23" y="24"/>
                      <a:pt x="23" y="21"/>
                      <a:pt x="23" y="20"/>
                    </a:cubicBezTo>
                    <a:cubicBezTo>
                      <a:pt x="23" y="21"/>
                      <a:pt x="23" y="23"/>
                      <a:pt x="23" y="25"/>
                    </a:cubicBezTo>
                    <a:cubicBezTo>
                      <a:pt x="21" y="21"/>
                      <a:pt x="22" y="23"/>
                      <a:pt x="21" y="20"/>
                    </a:cubicBezTo>
                    <a:cubicBezTo>
                      <a:pt x="21" y="21"/>
                      <a:pt x="21" y="21"/>
                      <a:pt x="21" y="22"/>
                    </a:cubicBezTo>
                    <a:cubicBezTo>
                      <a:pt x="21" y="22"/>
                      <a:pt x="20" y="21"/>
                      <a:pt x="20" y="20"/>
                    </a:cubicBezTo>
                    <a:cubicBezTo>
                      <a:pt x="20" y="20"/>
                      <a:pt x="20" y="20"/>
                      <a:pt x="20" y="20"/>
                    </a:cubicBezTo>
                    <a:cubicBezTo>
                      <a:pt x="20" y="20"/>
                      <a:pt x="19" y="20"/>
                      <a:pt x="19" y="20"/>
                    </a:cubicBezTo>
                    <a:cubicBezTo>
                      <a:pt x="19" y="20"/>
                      <a:pt x="20" y="20"/>
                      <a:pt x="20" y="20"/>
                    </a:cubicBezTo>
                    <a:cubicBezTo>
                      <a:pt x="20" y="21"/>
                      <a:pt x="20" y="21"/>
                      <a:pt x="20" y="21"/>
                    </a:cubicBezTo>
                    <a:cubicBezTo>
                      <a:pt x="21" y="22"/>
                      <a:pt x="22" y="24"/>
                      <a:pt x="24" y="26"/>
                    </a:cubicBezTo>
                    <a:cubicBezTo>
                      <a:pt x="22" y="25"/>
                      <a:pt x="22" y="24"/>
                      <a:pt x="21" y="24"/>
                    </a:cubicBezTo>
                    <a:cubicBezTo>
                      <a:pt x="24" y="26"/>
                      <a:pt x="25" y="27"/>
                      <a:pt x="27" y="29"/>
                    </a:cubicBezTo>
                    <a:cubicBezTo>
                      <a:pt x="26" y="29"/>
                      <a:pt x="26" y="29"/>
                      <a:pt x="25" y="29"/>
                    </a:cubicBezTo>
                    <a:cubicBezTo>
                      <a:pt x="26" y="29"/>
                      <a:pt x="26" y="29"/>
                      <a:pt x="26" y="29"/>
                    </a:cubicBezTo>
                    <a:cubicBezTo>
                      <a:pt x="25" y="29"/>
                      <a:pt x="24" y="29"/>
                      <a:pt x="23" y="29"/>
                    </a:cubicBezTo>
                    <a:cubicBezTo>
                      <a:pt x="22" y="28"/>
                      <a:pt x="22" y="28"/>
                      <a:pt x="21" y="28"/>
                    </a:cubicBezTo>
                    <a:cubicBezTo>
                      <a:pt x="22" y="28"/>
                      <a:pt x="24" y="29"/>
                      <a:pt x="25" y="29"/>
                    </a:cubicBezTo>
                    <a:cubicBezTo>
                      <a:pt x="23" y="29"/>
                      <a:pt x="20" y="29"/>
                      <a:pt x="18" y="29"/>
                    </a:cubicBezTo>
                    <a:cubicBezTo>
                      <a:pt x="20" y="29"/>
                      <a:pt x="23" y="29"/>
                      <a:pt x="25" y="30"/>
                    </a:cubicBezTo>
                    <a:cubicBezTo>
                      <a:pt x="26" y="30"/>
                      <a:pt x="27" y="31"/>
                      <a:pt x="29" y="31"/>
                    </a:cubicBezTo>
                    <a:cubicBezTo>
                      <a:pt x="31" y="34"/>
                      <a:pt x="31" y="34"/>
                      <a:pt x="31" y="34"/>
                    </a:cubicBezTo>
                    <a:cubicBezTo>
                      <a:pt x="31" y="34"/>
                      <a:pt x="30" y="34"/>
                      <a:pt x="29" y="34"/>
                    </a:cubicBezTo>
                    <a:cubicBezTo>
                      <a:pt x="33" y="34"/>
                      <a:pt x="31" y="34"/>
                      <a:pt x="35" y="36"/>
                    </a:cubicBezTo>
                    <a:cubicBezTo>
                      <a:pt x="33" y="36"/>
                      <a:pt x="31" y="36"/>
                      <a:pt x="29" y="35"/>
                    </a:cubicBezTo>
                    <a:cubicBezTo>
                      <a:pt x="29" y="35"/>
                      <a:pt x="29" y="35"/>
                      <a:pt x="29" y="35"/>
                    </a:cubicBezTo>
                    <a:cubicBezTo>
                      <a:pt x="31" y="36"/>
                      <a:pt x="35" y="36"/>
                      <a:pt x="37" y="37"/>
                    </a:cubicBezTo>
                    <a:cubicBezTo>
                      <a:pt x="37" y="38"/>
                      <a:pt x="37" y="38"/>
                      <a:pt x="37" y="38"/>
                    </a:cubicBezTo>
                    <a:cubicBezTo>
                      <a:pt x="37" y="39"/>
                      <a:pt x="36" y="39"/>
                      <a:pt x="35" y="39"/>
                    </a:cubicBezTo>
                    <a:cubicBezTo>
                      <a:pt x="33" y="38"/>
                      <a:pt x="32" y="37"/>
                      <a:pt x="32" y="37"/>
                    </a:cubicBezTo>
                    <a:cubicBezTo>
                      <a:pt x="33" y="37"/>
                      <a:pt x="34" y="38"/>
                      <a:pt x="35" y="39"/>
                    </a:cubicBezTo>
                    <a:cubicBezTo>
                      <a:pt x="34" y="40"/>
                      <a:pt x="29" y="39"/>
                      <a:pt x="28" y="39"/>
                    </a:cubicBezTo>
                    <a:cubicBezTo>
                      <a:pt x="30" y="39"/>
                      <a:pt x="32" y="39"/>
                      <a:pt x="34" y="39"/>
                    </a:cubicBezTo>
                    <a:cubicBezTo>
                      <a:pt x="32" y="40"/>
                      <a:pt x="30" y="41"/>
                      <a:pt x="28" y="41"/>
                    </a:cubicBezTo>
                    <a:cubicBezTo>
                      <a:pt x="36" y="40"/>
                      <a:pt x="34" y="38"/>
                      <a:pt x="39" y="42"/>
                    </a:cubicBezTo>
                    <a:cubicBezTo>
                      <a:pt x="39" y="43"/>
                      <a:pt x="38" y="43"/>
                      <a:pt x="38" y="43"/>
                    </a:cubicBezTo>
                    <a:cubicBezTo>
                      <a:pt x="36" y="43"/>
                      <a:pt x="34" y="42"/>
                      <a:pt x="33" y="42"/>
                    </a:cubicBezTo>
                    <a:cubicBezTo>
                      <a:pt x="34" y="43"/>
                      <a:pt x="36" y="43"/>
                      <a:pt x="38" y="43"/>
                    </a:cubicBezTo>
                    <a:cubicBezTo>
                      <a:pt x="37" y="44"/>
                      <a:pt x="36" y="45"/>
                      <a:pt x="35" y="45"/>
                    </a:cubicBezTo>
                    <a:cubicBezTo>
                      <a:pt x="35" y="45"/>
                      <a:pt x="36" y="44"/>
                      <a:pt x="38" y="43"/>
                    </a:cubicBezTo>
                    <a:cubicBezTo>
                      <a:pt x="39" y="43"/>
                      <a:pt x="40" y="43"/>
                      <a:pt x="40" y="44"/>
                    </a:cubicBezTo>
                    <a:cubicBezTo>
                      <a:pt x="40" y="44"/>
                      <a:pt x="40" y="45"/>
                      <a:pt x="40" y="45"/>
                    </a:cubicBezTo>
                    <a:cubicBezTo>
                      <a:pt x="41" y="48"/>
                      <a:pt x="41" y="46"/>
                      <a:pt x="41" y="50"/>
                    </a:cubicBezTo>
                    <a:cubicBezTo>
                      <a:pt x="37" y="51"/>
                      <a:pt x="37" y="51"/>
                      <a:pt x="34" y="50"/>
                    </a:cubicBezTo>
                    <a:cubicBezTo>
                      <a:pt x="32" y="47"/>
                      <a:pt x="30" y="44"/>
                      <a:pt x="27" y="43"/>
                    </a:cubicBezTo>
                    <a:cubicBezTo>
                      <a:pt x="30" y="45"/>
                      <a:pt x="31" y="47"/>
                      <a:pt x="34" y="50"/>
                    </a:cubicBezTo>
                    <a:cubicBezTo>
                      <a:pt x="33" y="50"/>
                      <a:pt x="32" y="50"/>
                      <a:pt x="31" y="49"/>
                    </a:cubicBezTo>
                    <a:cubicBezTo>
                      <a:pt x="31" y="49"/>
                      <a:pt x="30" y="48"/>
                      <a:pt x="30" y="48"/>
                    </a:cubicBezTo>
                    <a:cubicBezTo>
                      <a:pt x="28" y="46"/>
                      <a:pt x="25" y="44"/>
                      <a:pt x="22" y="43"/>
                    </a:cubicBezTo>
                    <a:cubicBezTo>
                      <a:pt x="22" y="40"/>
                      <a:pt x="21" y="38"/>
                      <a:pt x="21" y="37"/>
                    </a:cubicBezTo>
                    <a:cubicBezTo>
                      <a:pt x="22" y="39"/>
                      <a:pt x="22" y="41"/>
                      <a:pt x="22" y="43"/>
                    </a:cubicBezTo>
                    <a:cubicBezTo>
                      <a:pt x="20" y="42"/>
                      <a:pt x="19" y="40"/>
                      <a:pt x="17" y="38"/>
                    </a:cubicBezTo>
                    <a:cubicBezTo>
                      <a:pt x="17" y="38"/>
                      <a:pt x="17" y="38"/>
                      <a:pt x="17" y="38"/>
                    </a:cubicBezTo>
                    <a:cubicBezTo>
                      <a:pt x="17" y="38"/>
                      <a:pt x="16" y="38"/>
                      <a:pt x="16" y="37"/>
                    </a:cubicBezTo>
                    <a:cubicBezTo>
                      <a:pt x="16" y="37"/>
                      <a:pt x="16" y="38"/>
                      <a:pt x="16" y="38"/>
                    </a:cubicBezTo>
                    <a:cubicBezTo>
                      <a:pt x="16" y="38"/>
                      <a:pt x="15" y="37"/>
                      <a:pt x="15" y="37"/>
                    </a:cubicBezTo>
                    <a:cubicBezTo>
                      <a:pt x="15" y="37"/>
                      <a:pt x="16" y="38"/>
                      <a:pt x="17" y="38"/>
                    </a:cubicBezTo>
                    <a:cubicBezTo>
                      <a:pt x="17" y="38"/>
                      <a:pt x="17" y="38"/>
                      <a:pt x="17" y="38"/>
                    </a:cubicBezTo>
                    <a:cubicBezTo>
                      <a:pt x="17" y="38"/>
                      <a:pt x="17" y="38"/>
                      <a:pt x="17" y="38"/>
                    </a:cubicBezTo>
                    <a:cubicBezTo>
                      <a:pt x="17" y="38"/>
                      <a:pt x="17" y="38"/>
                      <a:pt x="17" y="38"/>
                    </a:cubicBezTo>
                    <a:cubicBezTo>
                      <a:pt x="17" y="38"/>
                      <a:pt x="17" y="38"/>
                      <a:pt x="17" y="38"/>
                    </a:cubicBezTo>
                    <a:cubicBezTo>
                      <a:pt x="17" y="38"/>
                      <a:pt x="18" y="39"/>
                      <a:pt x="18" y="40"/>
                    </a:cubicBezTo>
                    <a:cubicBezTo>
                      <a:pt x="15" y="39"/>
                      <a:pt x="14" y="38"/>
                      <a:pt x="13" y="38"/>
                    </a:cubicBezTo>
                    <a:cubicBezTo>
                      <a:pt x="15" y="39"/>
                      <a:pt x="18" y="39"/>
                      <a:pt x="18" y="40"/>
                    </a:cubicBezTo>
                    <a:cubicBezTo>
                      <a:pt x="19" y="41"/>
                      <a:pt x="19" y="41"/>
                      <a:pt x="20" y="42"/>
                    </a:cubicBezTo>
                    <a:cubicBezTo>
                      <a:pt x="22" y="44"/>
                      <a:pt x="24" y="46"/>
                      <a:pt x="26" y="47"/>
                    </a:cubicBezTo>
                    <a:cubicBezTo>
                      <a:pt x="21" y="48"/>
                      <a:pt x="21" y="48"/>
                      <a:pt x="21" y="48"/>
                    </a:cubicBezTo>
                    <a:cubicBezTo>
                      <a:pt x="20" y="47"/>
                      <a:pt x="19" y="44"/>
                      <a:pt x="18" y="44"/>
                    </a:cubicBezTo>
                    <a:cubicBezTo>
                      <a:pt x="19" y="45"/>
                      <a:pt x="20" y="46"/>
                      <a:pt x="20" y="47"/>
                    </a:cubicBezTo>
                    <a:cubicBezTo>
                      <a:pt x="19" y="46"/>
                      <a:pt x="17" y="45"/>
                      <a:pt x="15" y="44"/>
                    </a:cubicBezTo>
                    <a:cubicBezTo>
                      <a:pt x="15" y="44"/>
                      <a:pt x="20" y="47"/>
                      <a:pt x="20" y="48"/>
                    </a:cubicBezTo>
                    <a:cubicBezTo>
                      <a:pt x="20" y="48"/>
                      <a:pt x="20" y="48"/>
                      <a:pt x="20" y="48"/>
                    </a:cubicBezTo>
                    <a:cubicBezTo>
                      <a:pt x="19" y="48"/>
                      <a:pt x="19" y="48"/>
                      <a:pt x="17" y="46"/>
                    </a:cubicBezTo>
                    <a:cubicBezTo>
                      <a:pt x="17" y="46"/>
                      <a:pt x="17" y="46"/>
                      <a:pt x="17" y="46"/>
                    </a:cubicBezTo>
                    <a:cubicBezTo>
                      <a:pt x="17" y="46"/>
                      <a:pt x="17" y="46"/>
                      <a:pt x="18" y="47"/>
                    </a:cubicBezTo>
                    <a:cubicBezTo>
                      <a:pt x="17" y="46"/>
                      <a:pt x="16" y="46"/>
                      <a:pt x="15" y="45"/>
                    </a:cubicBezTo>
                    <a:cubicBezTo>
                      <a:pt x="15" y="45"/>
                      <a:pt x="13" y="44"/>
                      <a:pt x="12" y="44"/>
                    </a:cubicBezTo>
                    <a:cubicBezTo>
                      <a:pt x="13" y="44"/>
                      <a:pt x="14" y="45"/>
                      <a:pt x="15" y="45"/>
                    </a:cubicBezTo>
                    <a:cubicBezTo>
                      <a:pt x="15" y="45"/>
                      <a:pt x="16" y="46"/>
                      <a:pt x="17" y="46"/>
                    </a:cubicBezTo>
                    <a:cubicBezTo>
                      <a:pt x="16" y="46"/>
                      <a:pt x="14" y="46"/>
                      <a:pt x="13" y="46"/>
                    </a:cubicBezTo>
                    <a:cubicBezTo>
                      <a:pt x="17" y="46"/>
                      <a:pt x="16" y="46"/>
                      <a:pt x="19" y="48"/>
                    </a:cubicBezTo>
                    <a:cubicBezTo>
                      <a:pt x="18" y="48"/>
                      <a:pt x="18" y="48"/>
                      <a:pt x="18" y="48"/>
                    </a:cubicBezTo>
                    <a:cubicBezTo>
                      <a:pt x="19" y="48"/>
                      <a:pt x="19" y="48"/>
                      <a:pt x="19" y="49"/>
                    </a:cubicBezTo>
                    <a:cubicBezTo>
                      <a:pt x="18" y="49"/>
                      <a:pt x="17" y="49"/>
                      <a:pt x="16" y="49"/>
                    </a:cubicBezTo>
                    <a:cubicBezTo>
                      <a:pt x="17" y="49"/>
                      <a:pt x="18" y="49"/>
                      <a:pt x="20" y="49"/>
                    </a:cubicBezTo>
                    <a:cubicBezTo>
                      <a:pt x="20" y="49"/>
                      <a:pt x="23" y="51"/>
                      <a:pt x="24" y="51"/>
                    </a:cubicBezTo>
                    <a:cubicBezTo>
                      <a:pt x="18" y="51"/>
                      <a:pt x="15" y="50"/>
                      <a:pt x="14" y="50"/>
                    </a:cubicBezTo>
                    <a:cubicBezTo>
                      <a:pt x="17" y="51"/>
                      <a:pt x="21" y="51"/>
                      <a:pt x="24" y="51"/>
                    </a:cubicBezTo>
                    <a:cubicBezTo>
                      <a:pt x="25" y="53"/>
                      <a:pt x="25" y="53"/>
                      <a:pt x="25" y="53"/>
                    </a:cubicBezTo>
                    <a:cubicBezTo>
                      <a:pt x="24" y="53"/>
                      <a:pt x="23" y="53"/>
                      <a:pt x="23" y="53"/>
                    </a:cubicBezTo>
                    <a:cubicBezTo>
                      <a:pt x="22" y="52"/>
                      <a:pt x="21" y="52"/>
                      <a:pt x="20" y="52"/>
                    </a:cubicBezTo>
                    <a:cubicBezTo>
                      <a:pt x="22" y="52"/>
                      <a:pt x="22" y="53"/>
                      <a:pt x="24" y="54"/>
                    </a:cubicBezTo>
                    <a:cubicBezTo>
                      <a:pt x="23" y="53"/>
                      <a:pt x="23" y="53"/>
                      <a:pt x="22" y="53"/>
                    </a:cubicBezTo>
                    <a:cubicBezTo>
                      <a:pt x="23" y="53"/>
                      <a:pt x="24" y="53"/>
                      <a:pt x="24" y="53"/>
                    </a:cubicBezTo>
                    <a:cubicBezTo>
                      <a:pt x="22" y="54"/>
                      <a:pt x="20" y="54"/>
                      <a:pt x="17" y="55"/>
                    </a:cubicBezTo>
                    <a:cubicBezTo>
                      <a:pt x="19" y="55"/>
                      <a:pt x="22" y="54"/>
                      <a:pt x="24" y="54"/>
                    </a:cubicBezTo>
                    <a:cubicBezTo>
                      <a:pt x="26" y="56"/>
                      <a:pt x="26" y="56"/>
                      <a:pt x="26" y="56"/>
                    </a:cubicBezTo>
                    <a:cubicBezTo>
                      <a:pt x="25" y="55"/>
                      <a:pt x="24" y="55"/>
                      <a:pt x="23" y="55"/>
                    </a:cubicBezTo>
                    <a:cubicBezTo>
                      <a:pt x="24" y="55"/>
                      <a:pt x="26" y="55"/>
                      <a:pt x="26" y="56"/>
                    </a:cubicBezTo>
                    <a:cubicBezTo>
                      <a:pt x="26" y="56"/>
                      <a:pt x="27" y="56"/>
                      <a:pt x="27" y="57"/>
                    </a:cubicBezTo>
                    <a:cubicBezTo>
                      <a:pt x="25" y="57"/>
                      <a:pt x="24" y="57"/>
                      <a:pt x="23" y="57"/>
                    </a:cubicBezTo>
                    <a:cubicBezTo>
                      <a:pt x="23" y="57"/>
                      <a:pt x="23" y="57"/>
                      <a:pt x="23" y="57"/>
                    </a:cubicBezTo>
                    <a:cubicBezTo>
                      <a:pt x="24" y="57"/>
                      <a:pt x="26" y="57"/>
                      <a:pt x="27" y="57"/>
                    </a:cubicBezTo>
                    <a:cubicBezTo>
                      <a:pt x="29" y="59"/>
                      <a:pt x="29" y="60"/>
                      <a:pt x="31" y="62"/>
                    </a:cubicBezTo>
                    <a:cubicBezTo>
                      <a:pt x="26" y="62"/>
                      <a:pt x="28" y="62"/>
                      <a:pt x="24" y="60"/>
                    </a:cubicBezTo>
                    <a:cubicBezTo>
                      <a:pt x="23" y="60"/>
                      <a:pt x="19" y="58"/>
                      <a:pt x="18" y="58"/>
                    </a:cubicBezTo>
                    <a:cubicBezTo>
                      <a:pt x="16" y="57"/>
                      <a:pt x="13" y="53"/>
                      <a:pt x="12" y="53"/>
                    </a:cubicBezTo>
                    <a:cubicBezTo>
                      <a:pt x="14" y="54"/>
                      <a:pt x="15" y="55"/>
                      <a:pt x="16" y="56"/>
                    </a:cubicBezTo>
                    <a:cubicBezTo>
                      <a:pt x="15" y="56"/>
                      <a:pt x="14" y="55"/>
                      <a:pt x="14" y="55"/>
                    </a:cubicBezTo>
                    <a:cubicBezTo>
                      <a:pt x="14" y="55"/>
                      <a:pt x="14" y="55"/>
                      <a:pt x="14" y="55"/>
                    </a:cubicBezTo>
                    <a:cubicBezTo>
                      <a:pt x="15" y="56"/>
                      <a:pt x="16" y="56"/>
                      <a:pt x="17" y="58"/>
                    </a:cubicBezTo>
                    <a:cubicBezTo>
                      <a:pt x="17" y="58"/>
                      <a:pt x="17" y="58"/>
                      <a:pt x="17" y="58"/>
                    </a:cubicBezTo>
                    <a:cubicBezTo>
                      <a:pt x="17" y="58"/>
                      <a:pt x="17" y="58"/>
                      <a:pt x="17" y="58"/>
                    </a:cubicBezTo>
                    <a:cubicBezTo>
                      <a:pt x="17" y="58"/>
                      <a:pt x="17" y="58"/>
                      <a:pt x="17" y="58"/>
                    </a:cubicBezTo>
                    <a:cubicBezTo>
                      <a:pt x="17" y="58"/>
                      <a:pt x="18" y="59"/>
                      <a:pt x="18" y="59"/>
                    </a:cubicBezTo>
                    <a:cubicBezTo>
                      <a:pt x="14" y="57"/>
                      <a:pt x="13" y="56"/>
                      <a:pt x="10" y="54"/>
                    </a:cubicBezTo>
                    <a:cubicBezTo>
                      <a:pt x="10" y="54"/>
                      <a:pt x="10" y="54"/>
                      <a:pt x="10" y="54"/>
                    </a:cubicBezTo>
                    <a:cubicBezTo>
                      <a:pt x="10" y="53"/>
                      <a:pt x="9" y="52"/>
                      <a:pt x="9" y="51"/>
                    </a:cubicBezTo>
                    <a:cubicBezTo>
                      <a:pt x="9" y="52"/>
                      <a:pt x="9" y="53"/>
                      <a:pt x="10" y="54"/>
                    </a:cubicBezTo>
                    <a:cubicBezTo>
                      <a:pt x="10" y="54"/>
                      <a:pt x="10" y="54"/>
                      <a:pt x="10" y="54"/>
                    </a:cubicBezTo>
                    <a:cubicBezTo>
                      <a:pt x="10" y="54"/>
                      <a:pt x="10" y="54"/>
                      <a:pt x="10" y="54"/>
                    </a:cubicBezTo>
                    <a:cubicBezTo>
                      <a:pt x="10" y="54"/>
                      <a:pt x="10" y="54"/>
                      <a:pt x="9" y="54"/>
                    </a:cubicBezTo>
                    <a:cubicBezTo>
                      <a:pt x="11" y="55"/>
                      <a:pt x="12" y="56"/>
                      <a:pt x="14" y="57"/>
                    </a:cubicBezTo>
                    <a:cubicBezTo>
                      <a:pt x="11" y="57"/>
                      <a:pt x="11" y="57"/>
                      <a:pt x="8" y="56"/>
                    </a:cubicBezTo>
                    <a:cubicBezTo>
                      <a:pt x="9" y="57"/>
                      <a:pt x="10" y="57"/>
                      <a:pt x="11" y="57"/>
                    </a:cubicBezTo>
                    <a:cubicBezTo>
                      <a:pt x="9" y="57"/>
                      <a:pt x="8" y="57"/>
                      <a:pt x="7" y="57"/>
                    </a:cubicBezTo>
                    <a:cubicBezTo>
                      <a:pt x="10" y="57"/>
                      <a:pt x="11" y="57"/>
                      <a:pt x="13" y="58"/>
                    </a:cubicBezTo>
                    <a:cubicBezTo>
                      <a:pt x="16" y="58"/>
                      <a:pt x="17" y="59"/>
                      <a:pt x="19" y="61"/>
                    </a:cubicBezTo>
                    <a:cubicBezTo>
                      <a:pt x="17" y="60"/>
                      <a:pt x="16" y="60"/>
                      <a:pt x="16" y="60"/>
                    </a:cubicBezTo>
                    <a:cubicBezTo>
                      <a:pt x="18" y="61"/>
                      <a:pt x="19" y="61"/>
                      <a:pt x="21" y="62"/>
                    </a:cubicBezTo>
                    <a:cubicBezTo>
                      <a:pt x="21" y="62"/>
                      <a:pt x="20" y="62"/>
                      <a:pt x="19" y="62"/>
                    </a:cubicBezTo>
                    <a:cubicBezTo>
                      <a:pt x="23" y="62"/>
                      <a:pt x="21" y="62"/>
                      <a:pt x="25" y="63"/>
                    </a:cubicBezTo>
                    <a:cubicBezTo>
                      <a:pt x="25" y="64"/>
                      <a:pt x="24" y="64"/>
                      <a:pt x="24" y="64"/>
                    </a:cubicBezTo>
                    <a:cubicBezTo>
                      <a:pt x="19" y="65"/>
                      <a:pt x="16" y="65"/>
                      <a:pt x="15" y="66"/>
                    </a:cubicBezTo>
                    <a:cubicBezTo>
                      <a:pt x="18" y="65"/>
                      <a:pt x="21" y="65"/>
                      <a:pt x="24" y="64"/>
                    </a:cubicBezTo>
                    <a:cubicBezTo>
                      <a:pt x="22" y="65"/>
                      <a:pt x="21" y="66"/>
                      <a:pt x="19" y="67"/>
                    </a:cubicBezTo>
                    <a:cubicBezTo>
                      <a:pt x="19" y="67"/>
                      <a:pt x="19" y="66"/>
                      <a:pt x="19" y="65"/>
                    </a:cubicBezTo>
                    <a:cubicBezTo>
                      <a:pt x="19" y="65"/>
                      <a:pt x="19" y="65"/>
                      <a:pt x="19" y="65"/>
                    </a:cubicBezTo>
                    <a:cubicBezTo>
                      <a:pt x="19" y="66"/>
                      <a:pt x="19" y="67"/>
                      <a:pt x="19" y="67"/>
                    </a:cubicBezTo>
                    <a:cubicBezTo>
                      <a:pt x="19" y="67"/>
                      <a:pt x="19" y="67"/>
                      <a:pt x="18" y="67"/>
                    </a:cubicBezTo>
                    <a:cubicBezTo>
                      <a:pt x="18" y="67"/>
                      <a:pt x="18" y="67"/>
                      <a:pt x="17" y="66"/>
                    </a:cubicBezTo>
                    <a:cubicBezTo>
                      <a:pt x="18" y="67"/>
                      <a:pt x="18" y="67"/>
                      <a:pt x="18" y="67"/>
                    </a:cubicBezTo>
                    <a:cubicBezTo>
                      <a:pt x="18" y="68"/>
                      <a:pt x="15" y="69"/>
                      <a:pt x="15" y="69"/>
                    </a:cubicBezTo>
                    <a:cubicBezTo>
                      <a:pt x="15" y="69"/>
                      <a:pt x="14" y="69"/>
                      <a:pt x="14" y="69"/>
                    </a:cubicBezTo>
                    <a:cubicBezTo>
                      <a:pt x="14" y="69"/>
                      <a:pt x="15" y="69"/>
                      <a:pt x="15" y="69"/>
                    </a:cubicBezTo>
                    <a:cubicBezTo>
                      <a:pt x="15" y="69"/>
                      <a:pt x="15" y="69"/>
                      <a:pt x="14" y="69"/>
                    </a:cubicBezTo>
                    <a:cubicBezTo>
                      <a:pt x="15" y="69"/>
                      <a:pt x="17" y="70"/>
                      <a:pt x="18" y="70"/>
                    </a:cubicBezTo>
                    <a:cubicBezTo>
                      <a:pt x="18" y="70"/>
                      <a:pt x="21" y="71"/>
                      <a:pt x="21" y="72"/>
                    </a:cubicBezTo>
                    <a:cubicBezTo>
                      <a:pt x="20" y="71"/>
                      <a:pt x="20" y="71"/>
                      <a:pt x="20" y="71"/>
                    </a:cubicBezTo>
                    <a:cubicBezTo>
                      <a:pt x="22" y="72"/>
                      <a:pt x="21" y="72"/>
                      <a:pt x="22" y="73"/>
                    </a:cubicBezTo>
                    <a:cubicBezTo>
                      <a:pt x="20" y="74"/>
                      <a:pt x="19" y="74"/>
                      <a:pt x="17" y="74"/>
                    </a:cubicBezTo>
                    <a:cubicBezTo>
                      <a:pt x="19" y="74"/>
                      <a:pt x="21" y="74"/>
                      <a:pt x="23" y="73"/>
                    </a:cubicBezTo>
                    <a:cubicBezTo>
                      <a:pt x="23" y="74"/>
                      <a:pt x="24" y="75"/>
                      <a:pt x="25" y="75"/>
                    </a:cubicBezTo>
                    <a:cubicBezTo>
                      <a:pt x="22" y="75"/>
                      <a:pt x="20" y="74"/>
                      <a:pt x="20" y="74"/>
                    </a:cubicBezTo>
                    <a:cubicBezTo>
                      <a:pt x="26" y="76"/>
                      <a:pt x="23" y="75"/>
                      <a:pt x="28" y="77"/>
                    </a:cubicBezTo>
                    <a:cubicBezTo>
                      <a:pt x="25" y="77"/>
                      <a:pt x="22" y="76"/>
                      <a:pt x="19" y="75"/>
                    </a:cubicBezTo>
                    <a:cubicBezTo>
                      <a:pt x="16" y="74"/>
                      <a:pt x="17" y="75"/>
                      <a:pt x="15" y="73"/>
                    </a:cubicBezTo>
                    <a:cubicBezTo>
                      <a:pt x="14" y="72"/>
                      <a:pt x="13" y="71"/>
                      <a:pt x="12" y="70"/>
                    </a:cubicBezTo>
                    <a:cubicBezTo>
                      <a:pt x="13" y="71"/>
                      <a:pt x="15" y="73"/>
                      <a:pt x="16" y="74"/>
                    </a:cubicBezTo>
                    <a:cubicBezTo>
                      <a:pt x="16" y="74"/>
                      <a:pt x="14" y="74"/>
                      <a:pt x="14" y="74"/>
                    </a:cubicBezTo>
                    <a:cubicBezTo>
                      <a:pt x="16" y="75"/>
                      <a:pt x="16" y="74"/>
                      <a:pt x="17" y="76"/>
                    </a:cubicBezTo>
                    <a:cubicBezTo>
                      <a:pt x="16" y="76"/>
                      <a:pt x="15" y="76"/>
                      <a:pt x="14" y="76"/>
                    </a:cubicBezTo>
                    <a:cubicBezTo>
                      <a:pt x="15" y="76"/>
                      <a:pt x="16" y="76"/>
                      <a:pt x="17" y="76"/>
                    </a:cubicBezTo>
                    <a:cubicBezTo>
                      <a:pt x="18" y="77"/>
                      <a:pt x="18" y="77"/>
                      <a:pt x="18" y="78"/>
                    </a:cubicBezTo>
                    <a:cubicBezTo>
                      <a:pt x="13" y="78"/>
                      <a:pt x="17" y="78"/>
                      <a:pt x="10" y="75"/>
                    </a:cubicBezTo>
                    <a:cubicBezTo>
                      <a:pt x="10" y="75"/>
                      <a:pt x="5" y="73"/>
                      <a:pt x="5" y="73"/>
                    </a:cubicBezTo>
                    <a:cubicBezTo>
                      <a:pt x="8" y="74"/>
                      <a:pt x="12" y="75"/>
                      <a:pt x="15" y="78"/>
                    </a:cubicBezTo>
                    <a:cubicBezTo>
                      <a:pt x="11" y="77"/>
                      <a:pt x="10" y="77"/>
                      <a:pt x="6" y="75"/>
                    </a:cubicBezTo>
                    <a:cubicBezTo>
                      <a:pt x="4" y="74"/>
                      <a:pt x="6" y="75"/>
                      <a:pt x="4" y="73"/>
                    </a:cubicBezTo>
                    <a:cubicBezTo>
                      <a:pt x="3" y="73"/>
                      <a:pt x="3" y="72"/>
                      <a:pt x="2" y="72"/>
                    </a:cubicBezTo>
                    <a:cubicBezTo>
                      <a:pt x="2" y="72"/>
                      <a:pt x="4" y="73"/>
                      <a:pt x="4" y="73"/>
                    </a:cubicBezTo>
                    <a:cubicBezTo>
                      <a:pt x="4" y="74"/>
                      <a:pt x="5" y="74"/>
                      <a:pt x="5" y="74"/>
                    </a:cubicBezTo>
                    <a:cubicBezTo>
                      <a:pt x="4" y="74"/>
                      <a:pt x="4" y="74"/>
                      <a:pt x="3" y="74"/>
                    </a:cubicBezTo>
                    <a:cubicBezTo>
                      <a:pt x="3" y="74"/>
                      <a:pt x="3" y="74"/>
                      <a:pt x="3" y="74"/>
                    </a:cubicBezTo>
                    <a:cubicBezTo>
                      <a:pt x="3" y="73"/>
                      <a:pt x="0" y="72"/>
                      <a:pt x="0" y="72"/>
                    </a:cubicBezTo>
                    <a:cubicBezTo>
                      <a:pt x="1" y="72"/>
                      <a:pt x="2" y="73"/>
                      <a:pt x="3" y="74"/>
                    </a:cubicBezTo>
                    <a:cubicBezTo>
                      <a:pt x="3" y="74"/>
                      <a:pt x="9" y="77"/>
                      <a:pt x="10" y="77"/>
                    </a:cubicBezTo>
                    <a:cubicBezTo>
                      <a:pt x="7" y="77"/>
                      <a:pt x="4" y="78"/>
                      <a:pt x="2" y="78"/>
                    </a:cubicBezTo>
                    <a:cubicBezTo>
                      <a:pt x="4" y="78"/>
                      <a:pt x="11" y="77"/>
                      <a:pt x="12" y="78"/>
                    </a:cubicBezTo>
                    <a:cubicBezTo>
                      <a:pt x="13" y="78"/>
                      <a:pt x="14" y="78"/>
                      <a:pt x="15" y="79"/>
                    </a:cubicBezTo>
                    <a:cubicBezTo>
                      <a:pt x="16" y="79"/>
                      <a:pt x="17" y="79"/>
                      <a:pt x="18" y="79"/>
                    </a:cubicBezTo>
                    <a:cubicBezTo>
                      <a:pt x="16" y="79"/>
                      <a:pt x="14" y="79"/>
                      <a:pt x="12" y="79"/>
                    </a:cubicBezTo>
                    <a:cubicBezTo>
                      <a:pt x="12" y="79"/>
                      <a:pt x="18" y="79"/>
                      <a:pt x="19" y="79"/>
                    </a:cubicBezTo>
                    <a:cubicBezTo>
                      <a:pt x="21" y="79"/>
                      <a:pt x="22" y="79"/>
                      <a:pt x="24" y="79"/>
                    </a:cubicBezTo>
                    <a:cubicBezTo>
                      <a:pt x="24" y="79"/>
                      <a:pt x="24" y="80"/>
                      <a:pt x="24" y="80"/>
                    </a:cubicBezTo>
                    <a:cubicBezTo>
                      <a:pt x="17" y="82"/>
                      <a:pt x="13" y="83"/>
                      <a:pt x="12" y="83"/>
                    </a:cubicBezTo>
                    <a:cubicBezTo>
                      <a:pt x="16" y="82"/>
                      <a:pt x="19" y="81"/>
                      <a:pt x="23" y="80"/>
                    </a:cubicBezTo>
                    <a:cubicBezTo>
                      <a:pt x="22" y="82"/>
                      <a:pt x="23" y="82"/>
                      <a:pt x="21" y="82"/>
                    </a:cubicBezTo>
                    <a:cubicBezTo>
                      <a:pt x="21" y="82"/>
                      <a:pt x="21" y="82"/>
                      <a:pt x="22" y="82"/>
                    </a:cubicBezTo>
                    <a:cubicBezTo>
                      <a:pt x="21" y="84"/>
                      <a:pt x="19" y="85"/>
                      <a:pt x="17" y="87"/>
                    </a:cubicBezTo>
                    <a:cubicBezTo>
                      <a:pt x="16" y="85"/>
                      <a:pt x="14" y="84"/>
                      <a:pt x="12" y="83"/>
                    </a:cubicBezTo>
                    <a:cubicBezTo>
                      <a:pt x="15" y="85"/>
                      <a:pt x="17" y="86"/>
                      <a:pt x="17" y="87"/>
                    </a:cubicBezTo>
                    <a:cubicBezTo>
                      <a:pt x="16" y="88"/>
                      <a:pt x="16" y="87"/>
                      <a:pt x="14" y="87"/>
                    </a:cubicBezTo>
                    <a:cubicBezTo>
                      <a:pt x="14" y="87"/>
                      <a:pt x="15" y="87"/>
                      <a:pt x="16" y="88"/>
                    </a:cubicBezTo>
                    <a:cubicBezTo>
                      <a:pt x="16" y="88"/>
                      <a:pt x="15" y="88"/>
                      <a:pt x="15" y="89"/>
                    </a:cubicBezTo>
                    <a:cubicBezTo>
                      <a:pt x="13" y="88"/>
                      <a:pt x="11" y="87"/>
                      <a:pt x="9" y="87"/>
                    </a:cubicBezTo>
                    <a:cubicBezTo>
                      <a:pt x="8" y="86"/>
                      <a:pt x="8" y="86"/>
                      <a:pt x="8" y="85"/>
                    </a:cubicBezTo>
                    <a:cubicBezTo>
                      <a:pt x="8" y="86"/>
                      <a:pt x="8" y="86"/>
                      <a:pt x="8" y="87"/>
                    </a:cubicBezTo>
                    <a:cubicBezTo>
                      <a:pt x="8" y="86"/>
                      <a:pt x="7" y="86"/>
                      <a:pt x="7" y="87"/>
                    </a:cubicBezTo>
                    <a:cubicBezTo>
                      <a:pt x="8" y="87"/>
                      <a:pt x="8" y="87"/>
                      <a:pt x="8" y="87"/>
                    </a:cubicBezTo>
                    <a:cubicBezTo>
                      <a:pt x="9" y="87"/>
                      <a:pt x="9" y="88"/>
                      <a:pt x="9" y="88"/>
                    </a:cubicBezTo>
                    <a:cubicBezTo>
                      <a:pt x="8" y="88"/>
                      <a:pt x="8" y="88"/>
                      <a:pt x="7" y="87"/>
                    </a:cubicBezTo>
                    <a:cubicBezTo>
                      <a:pt x="7" y="88"/>
                      <a:pt x="7" y="88"/>
                      <a:pt x="7" y="88"/>
                    </a:cubicBezTo>
                    <a:cubicBezTo>
                      <a:pt x="9" y="88"/>
                      <a:pt x="11" y="90"/>
                      <a:pt x="13" y="90"/>
                    </a:cubicBezTo>
                    <a:cubicBezTo>
                      <a:pt x="13" y="90"/>
                      <a:pt x="12" y="90"/>
                      <a:pt x="11" y="91"/>
                    </a:cubicBezTo>
                    <a:cubicBezTo>
                      <a:pt x="9" y="91"/>
                      <a:pt x="7" y="91"/>
                      <a:pt x="5" y="91"/>
                    </a:cubicBezTo>
                    <a:cubicBezTo>
                      <a:pt x="7" y="91"/>
                      <a:pt x="9" y="91"/>
                      <a:pt x="11" y="91"/>
                    </a:cubicBezTo>
                    <a:cubicBezTo>
                      <a:pt x="10" y="91"/>
                      <a:pt x="8" y="92"/>
                      <a:pt x="7" y="92"/>
                    </a:cubicBezTo>
                    <a:cubicBezTo>
                      <a:pt x="7" y="92"/>
                      <a:pt x="9" y="92"/>
                      <a:pt x="11" y="91"/>
                    </a:cubicBezTo>
                    <a:cubicBezTo>
                      <a:pt x="13" y="91"/>
                      <a:pt x="14" y="90"/>
                      <a:pt x="15" y="90"/>
                    </a:cubicBezTo>
                    <a:cubicBezTo>
                      <a:pt x="16" y="90"/>
                      <a:pt x="17" y="91"/>
                      <a:pt x="18" y="91"/>
                    </a:cubicBezTo>
                    <a:cubicBezTo>
                      <a:pt x="20" y="91"/>
                      <a:pt x="22" y="91"/>
                      <a:pt x="25" y="91"/>
                    </a:cubicBezTo>
                    <a:cubicBezTo>
                      <a:pt x="24" y="91"/>
                      <a:pt x="24" y="91"/>
                      <a:pt x="24" y="91"/>
                    </a:cubicBezTo>
                    <a:cubicBezTo>
                      <a:pt x="25" y="91"/>
                      <a:pt x="25" y="91"/>
                      <a:pt x="25" y="91"/>
                    </a:cubicBezTo>
                    <a:cubicBezTo>
                      <a:pt x="25" y="91"/>
                      <a:pt x="25" y="92"/>
                      <a:pt x="24" y="92"/>
                    </a:cubicBezTo>
                    <a:cubicBezTo>
                      <a:pt x="18" y="95"/>
                      <a:pt x="15" y="96"/>
                      <a:pt x="13" y="97"/>
                    </a:cubicBezTo>
                    <a:cubicBezTo>
                      <a:pt x="17" y="95"/>
                      <a:pt x="21" y="94"/>
                      <a:pt x="24" y="92"/>
                    </a:cubicBezTo>
                    <a:cubicBezTo>
                      <a:pt x="21" y="96"/>
                      <a:pt x="19" y="99"/>
                      <a:pt x="17" y="100"/>
                    </a:cubicBezTo>
                    <a:cubicBezTo>
                      <a:pt x="20" y="98"/>
                      <a:pt x="21" y="96"/>
                      <a:pt x="23" y="94"/>
                    </a:cubicBezTo>
                    <a:cubicBezTo>
                      <a:pt x="25" y="92"/>
                      <a:pt x="24" y="93"/>
                      <a:pt x="26" y="91"/>
                    </a:cubicBezTo>
                    <a:cubicBezTo>
                      <a:pt x="29" y="90"/>
                      <a:pt x="27" y="91"/>
                      <a:pt x="30" y="91"/>
                    </a:cubicBezTo>
                    <a:cubicBezTo>
                      <a:pt x="31" y="90"/>
                      <a:pt x="33" y="90"/>
                      <a:pt x="35" y="89"/>
                    </a:cubicBezTo>
                    <a:cubicBezTo>
                      <a:pt x="33" y="92"/>
                      <a:pt x="33" y="94"/>
                      <a:pt x="32" y="94"/>
                    </a:cubicBezTo>
                    <a:cubicBezTo>
                      <a:pt x="33" y="92"/>
                      <a:pt x="34" y="91"/>
                      <a:pt x="35" y="89"/>
                    </a:cubicBezTo>
                    <a:cubicBezTo>
                      <a:pt x="36" y="89"/>
                      <a:pt x="36" y="89"/>
                      <a:pt x="37" y="89"/>
                    </a:cubicBezTo>
                    <a:cubicBezTo>
                      <a:pt x="34" y="94"/>
                      <a:pt x="31" y="98"/>
                      <a:pt x="29" y="100"/>
                    </a:cubicBezTo>
                    <a:cubicBezTo>
                      <a:pt x="34" y="94"/>
                      <a:pt x="37" y="89"/>
                      <a:pt x="37" y="88"/>
                    </a:cubicBezTo>
                    <a:cubicBezTo>
                      <a:pt x="37" y="88"/>
                      <a:pt x="38" y="88"/>
                      <a:pt x="38" y="88"/>
                    </a:cubicBezTo>
                    <a:cubicBezTo>
                      <a:pt x="36" y="92"/>
                      <a:pt x="35" y="96"/>
                      <a:pt x="33" y="99"/>
                    </a:cubicBezTo>
                    <a:cubicBezTo>
                      <a:pt x="34" y="98"/>
                      <a:pt x="35" y="95"/>
                      <a:pt x="36" y="94"/>
                    </a:cubicBezTo>
                    <a:cubicBezTo>
                      <a:pt x="36" y="94"/>
                      <a:pt x="36" y="94"/>
                      <a:pt x="36" y="94"/>
                    </a:cubicBezTo>
                    <a:cubicBezTo>
                      <a:pt x="37" y="92"/>
                      <a:pt x="37" y="90"/>
                      <a:pt x="38" y="88"/>
                    </a:cubicBezTo>
                    <a:cubicBezTo>
                      <a:pt x="38" y="89"/>
                      <a:pt x="39" y="89"/>
                      <a:pt x="39" y="89"/>
                    </a:cubicBezTo>
                    <a:cubicBezTo>
                      <a:pt x="39" y="92"/>
                      <a:pt x="39" y="93"/>
                      <a:pt x="39" y="96"/>
                    </a:cubicBezTo>
                    <a:cubicBezTo>
                      <a:pt x="38" y="97"/>
                      <a:pt x="38" y="99"/>
                      <a:pt x="38" y="100"/>
                    </a:cubicBezTo>
                    <a:cubicBezTo>
                      <a:pt x="38" y="100"/>
                      <a:pt x="39" y="95"/>
                      <a:pt x="39" y="94"/>
                    </a:cubicBezTo>
                    <a:cubicBezTo>
                      <a:pt x="39" y="102"/>
                      <a:pt x="40" y="109"/>
                      <a:pt x="39" y="116"/>
                    </a:cubicBezTo>
                    <a:cubicBezTo>
                      <a:pt x="41" y="116"/>
                      <a:pt x="43" y="116"/>
                      <a:pt x="45" y="116"/>
                    </a:cubicBezTo>
                    <a:cubicBezTo>
                      <a:pt x="43" y="109"/>
                      <a:pt x="43" y="100"/>
                      <a:pt x="42" y="91"/>
                    </a:cubicBezTo>
                    <a:cubicBezTo>
                      <a:pt x="43" y="92"/>
                      <a:pt x="44" y="93"/>
                      <a:pt x="45" y="93"/>
                    </a:cubicBezTo>
                    <a:cubicBezTo>
                      <a:pt x="44" y="93"/>
                      <a:pt x="43" y="92"/>
                      <a:pt x="42" y="91"/>
                    </a:cubicBezTo>
                    <a:cubicBezTo>
                      <a:pt x="42" y="90"/>
                      <a:pt x="42" y="90"/>
                      <a:pt x="42" y="89"/>
                    </a:cubicBezTo>
                    <a:cubicBezTo>
                      <a:pt x="43" y="89"/>
                      <a:pt x="44" y="90"/>
                      <a:pt x="44" y="91"/>
                    </a:cubicBezTo>
                    <a:cubicBezTo>
                      <a:pt x="46" y="93"/>
                      <a:pt x="46" y="91"/>
                      <a:pt x="46" y="94"/>
                    </a:cubicBezTo>
                    <a:cubicBezTo>
                      <a:pt x="47" y="95"/>
                      <a:pt x="47" y="95"/>
                      <a:pt x="47" y="96"/>
                    </a:cubicBezTo>
                    <a:cubicBezTo>
                      <a:pt x="47" y="96"/>
                      <a:pt x="47" y="95"/>
                      <a:pt x="46" y="92"/>
                    </a:cubicBezTo>
                    <a:cubicBezTo>
                      <a:pt x="47" y="93"/>
                      <a:pt x="48" y="93"/>
                      <a:pt x="49" y="94"/>
                    </a:cubicBezTo>
                    <a:cubicBezTo>
                      <a:pt x="51" y="97"/>
                      <a:pt x="52" y="99"/>
                      <a:pt x="52" y="99"/>
                    </a:cubicBezTo>
                    <a:cubicBezTo>
                      <a:pt x="51" y="98"/>
                      <a:pt x="50" y="96"/>
                      <a:pt x="49" y="94"/>
                    </a:cubicBezTo>
                    <a:cubicBezTo>
                      <a:pt x="49" y="94"/>
                      <a:pt x="49" y="94"/>
                      <a:pt x="49" y="94"/>
                    </a:cubicBezTo>
                    <a:cubicBezTo>
                      <a:pt x="49" y="94"/>
                      <a:pt x="49" y="94"/>
                      <a:pt x="49" y="94"/>
                    </a:cubicBezTo>
                    <a:cubicBezTo>
                      <a:pt x="48" y="93"/>
                      <a:pt x="46" y="88"/>
                      <a:pt x="46" y="86"/>
                    </a:cubicBezTo>
                    <a:cubicBezTo>
                      <a:pt x="46" y="86"/>
                      <a:pt x="46" y="86"/>
                      <a:pt x="46" y="85"/>
                    </a:cubicBezTo>
                    <a:cubicBezTo>
                      <a:pt x="47" y="86"/>
                      <a:pt x="48" y="86"/>
                      <a:pt x="49" y="87"/>
                    </a:cubicBezTo>
                    <a:cubicBezTo>
                      <a:pt x="50" y="88"/>
                      <a:pt x="51" y="88"/>
                      <a:pt x="52" y="89"/>
                    </a:cubicBezTo>
                    <a:cubicBezTo>
                      <a:pt x="53" y="89"/>
                      <a:pt x="54" y="90"/>
                      <a:pt x="55" y="91"/>
                    </a:cubicBezTo>
                    <a:cubicBezTo>
                      <a:pt x="57" y="94"/>
                      <a:pt x="59" y="96"/>
                      <a:pt x="59" y="96"/>
                    </a:cubicBezTo>
                    <a:cubicBezTo>
                      <a:pt x="58" y="95"/>
                      <a:pt x="56" y="93"/>
                      <a:pt x="55" y="91"/>
                    </a:cubicBezTo>
                    <a:cubicBezTo>
                      <a:pt x="59" y="93"/>
                      <a:pt x="59" y="93"/>
                      <a:pt x="61" y="95"/>
                    </a:cubicBezTo>
                    <a:cubicBezTo>
                      <a:pt x="62" y="96"/>
                      <a:pt x="67" y="100"/>
                      <a:pt x="68" y="100"/>
                    </a:cubicBezTo>
                    <a:cubicBezTo>
                      <a:pt x="65" y="98"/>
                      <a:pt x="62" y="96"/>
                      <a:pt x="59" y="93"/>
                    </a:cubicBezTo>
                    <a:cubicBezTo>
                      <a:pt x="60" y="93"/>
                      <a:pt x="61" y="94"/>
                      <a:pt x="61" y="93"/>
                    </a:cubicBezTo>
                    <a:cubicBezTo>
                      <a:pt x="58" y="92"/>
                      <a:pt x="59" y="92"/>
                      <a:pt x="57" y="89"/>
                    </a:cubicBezTo>
                    <a:cubicBezTo>
                      <a:pt x="62" y="90"/>
                      <a:pt x="58" y="89"/>
                      <a:pt x="64" y="91"/>
                    </a:cubicBezTo>
                    <a:cubicBezTo>
                      <a:pt x="67" y="92"/>
                      <a:pt x="71" y="93"/>
                      <a:pt x="74" y="94"/>
                    </a:cubicBezTo>
                    <a:cubicBezTo>
                      <a:pt x="72" y="93"/>
                      <a:pt x="67" y="92"/>
                      <a:pt x="61" y="90"/>
                    </a:cubicBezTo>
                    <a:cubicBezTo>
                      <a:pt x="63" y="90"/>
                      <a:pt x="64" y="90"/>
                      <a:pt x="66" y="91"/>
                    </a:cubicBezTo>
                    <a:cubicBezTo>
                      <a:pt x="66" y="91"/>
                      <a:pt x="66" y="91"/>
                      <a:pt x="66" y="91"/>
                    </a:cubicBezTo>
                    <a:cubicBezTo>
                      <a:pt x="65" y="91"/>
                      <a:pt x="64" y="90"/>
                      <a:pt x="63" y="90"/>
                    </a:cubicBezTo>
                    <a:cubicBezTo>
                      <a:pt x="64" y="90"/>
                      <a:pt x="65" y="90"/>
                      <a:pt x="66" y="90"/>
                    </a:cubicBezTo>
                    <a:cubicBezTo>
                      <a:pt x="68" y="90"/>
                      <a:pt x="69" y="90"/>
                      <a:pt x="71" y="90"/>
                    </a:cubicBezTo>
                    <a:cubicBezTo>
                      <a:pt x="72" y="90"/>
                      <a:pt x="75" y="91"/>
                      <a:pt x="76" y="91"/>
                    </a:cubicBezTo>
                    <a:cubicBezTo>
                      <a:pt x="77" y="91"/>
                      <a:pt x="79" y="92"/>
                      <a:pt x="80" y="92"/>
                    </a:cubicBezTo>
                    <a:cubicBezTo>
                      <a:pt x="77" y="91"/>
                      <a:pt x="74" y="91"/>
                      <a:pt x="71" y="90"/>
                    </a:cubicBezTo>
                    <a:cubicBezTo>
                      <a:pt x="72" y="90"/>
                      <a:pt x="73" y="90"/>
                      <a:pt x="74" y="90"/>
                    </a:cubicBezTo>
                    <a:cubicBezTo>
                      <a:pt x="74" y="90"/>
                      <a:pt x="74" y="90"/>
                      <a:pt x="74" y="90"/>
                    </a:cubicBezTo>
                    <a:cubicBezTo>
                      <a:pt x="73" y="90"/>
                      <a:pt x="71" y="90"/>
                      <a:pt x="70" y="90"/>
                    </a:cubicBezTo>
                    <a:cubicBezTo>
                      <a:pt x="73" y="89"/>
                      <a:pt x="73" y="89"/>
                      <a:pt x="73" y="89"/>
                    </a:cubicBezTo>
                    <a:cubicBezTo>
                      <a:pt x="76" y="89"/>
                      <a:pt x="79" y="89"/>
                      <a:pt x="82" y="89"/>
                    </a:cubicBezTo>
                    <a:cubicBezTo>
                      <a:pt x="79" y="89"/>
                      <a:pt x="76" y="89"/>
                      <a:pt x="74" y="89"/>
                    </a:cubicBezTo>
                    <a:cubicBezTo>
                      <a:pt x="76" y="88"/>
                      <a:pt x="78" y="88"/>
                      <a:pt x="80" y="87"/>
                    </a:cubicBezTo>
                    <a:cubicBezTo>
                      <a:pt x="80" y="87"/>
                      <a:pt x="80" y="87"/>
                      <a:pt x="80" y="87"/>
                    </a:cubicBezTo>
                    <a:cubicBezTo>
                      <a:pt x="81" y="87"/>
                      <a:pt x="82" y="87"/>
                      <a:pt x="83" y="86"/>
                    </a:cubicBezTo>
                    <a:cubicBezTo>
                      <a:pt x="82" y="86"/>
                      <a:pt x="81" y="86"/>
                      <a:pt x="80" y="87"/>
                    </a:cubicBezTo>
                    <a:cubicBezTo>
                      <a:pt x="80" y="87"/>
                      <a:pt x="79" y="87"/>
                      <a:pt x="79" y="87"/>
                    </a:cubicBezTo>
                    <a:cubicBezTo>
                      <a:pt x="79" y="87"/>
                      <a:pt x="78" y="87"/>
                      <a:pt x="77" y="87"/>
                    </a:cubicBezTo>
                    <a:cubicBezTo>
                      <a:pt x="80" y="85"/>
                      <a:pt x="81" y="84"/>
                      <a:pt x="81" y="84"/>
                    </a:cubicBezTo>
                    <a:cubicBezTo>
                      <a:pt x="80" y="85"/>
                      <a:pt x="80" y="85"/>
                      <a:pt x="79" y="86"/>
                    </a:cubicBezTo>
                    <a:cubicBezTo>
                      <a:pt x="77" y="87"/>
                      <a:pt x="78" y="87"/>
                      <a:pt x="75" y="88"/>
                    </a:cubicBezTo>
                    <a:cubicBezTo>
                      <a:pt x="77" y="86"/>
                      <a:pt x="81" y="84"/>
                      <a:pt x="82" y="84"/>
                    </a:cubicBezTo>
                    <a:cubicBezTo>
                      <a:pt x="79" y="85"/>
                      <a:pt x="77" y="86"/>
                      <a:pt x="76" y="87"/>
                    </a:cubicBezTo>
                    <a:cubicBezTo>
                      <a:pt x="75" y="88"/>
                      <a:pt x="74" y="88"/>
                      <a:pt x="73" y="89"/>
                    </a:cubicBezTo>
                    <a:cubicBezTo>
                      <a:pt x="71" y="89"/>
                      <a:pt x="69" y="89"/>
                      <a:pt x="67" y="89"/>
                    </a:cubicBezTo>
                    <a:cubicBezTo>
                      <a:pt x="67" y="89"/>
                      <a:pt x="66" y="89"/>
                      <a:pt x="65" y="88"/>
                    </a:cubicBezTo>
                    <a:cubicBezTo>
                      <a:pt x="66" y="88"/>
                      <a:pt x="66" y="87"/>
                      <a:pt x="67" y="87"/>
                    </a:cubicBezTo>
                    <a:cubicBezTo>
                      <a:pt x="68" y="87"/>
                      <a:pt x="68" y="86"/>
                      <a:pt x="69" y="86"/>
                    </a:cubicBezTo>
                    <a:cubicBezTo>
                      <a:pt x="69" y="86"/>
                      <a:pt x="70" y="86"/>
                      <a:pt x="70" y="86"/>
                    </a:cubicBezTo>
                    <a:cubicBezTo>
                      <a:pt x="70" y="86"/>
                      <a:pt x="70" y="86"/>
                      <a:pt x="69" y="86"/>
                    </a:cubicBezTo>
                    <a:cubicBezTo>
                      <a:pt x="73" y="85"/>
                      <a:pt x="75" y="84"/>
                      <a:pt x="75" y="84"/>
                    </a:cubicBezTo>
                    <a:cubicBezTo>
                      <a:pt x="73" y="84"/>
                      <a:pt x="69" y="86"/>
                      <a:pt x="68" y="86"/>
                    </a:cubicBezTo>
                    <a:cubicBezTo>
                      <a:pt x="70" y="84"/>
                      <a:pt x="71" y="84"/>
                      <a:pt x="71" y="83"/>
                    </a:cubicBezTo>
                    <a:cubicBezTo>
                      <a:pt x="68" y="86"/>
                      <a:pt x="68" y="86"/>
                      <a:pt x="68" y="86"/>
                    </a:cubicBezTo>
                    <a:cubicBezTo>
                      <a:pt x="66" y="86"/>
                      <a:pt x="64" y="86"/>
                      <a:pt x="62" y="86"/>
                    </a:cubicBezTo>
                    <a:cubicBezTo>
                      <a:pt x="62" y="86"/>
                      <a:pt x="62" y="86"/>
                      <a:pt x="62" y="86"/>
                    </a:cubicBezTo>
                    <a:cubicBezTo>
                      <a:pt x="64" y="85"/>
                      <a:pt x="65" y="84"/>
                      <a:pt x="67" y="84"/>
                    </a:cubicBezTo>
                    <a:cubicBezTo>
                      <a:pt x="67" y="84"/>
                      <a:pt x="67" y="84"/>
                      <a:pt x="67" y="84"/>
                    </a:cubicBezTo>
                    <a:cubicBezTo>
                      <a:pt x="67" y="84"/>
                      <a:pt x="67" y="84"/>
                      <a:pt x="67" y="84"/>
                    </a:cubicBezTo>
                    <a:cubicBezTo>
                      <a:pt x="67" y="83"/>
                      <a:pt x="70" y="81"/>
                      <a:pt x="71" y="81"/>
                    </a:cubicBezTo>
                    <a:cubicBezTo>
                      <a:pt x="69" y="82"/>
                      <a:pt x="68" y="83"/>
                      <a:pt x="67" y="84"/>
                    </a:cubicBezTo>
                    <a:cubicBezTo>
                      <a:pt x="66" y="83"/>
                      <a:pt x="66" y="84"/>
                      <a:pt x="65" y="84"/>
                    </a:cubicBezTo>
                    <a:cubicBezTo>
                      <a:pt x="65" y="83"/>
                      <a:pt x="66" y="82"/>
                      <a:pt x="66" y="81"/>
                    </a:cubicBezTo>
                    <a:cubicBezTo>
                      <a:pt x="66" y="81"/>
                      <a:pt x="66" y="81"/>
                      <a:pt x="66" y="81"/>
                    </a:cubicBezTo>
                    <a:cubicBezTo>
                      <a:pt x="65" y="84"/>
                      <a:pt x="65" y="84"/>
                      <a:pt x="65" y="84"/>
                    </a:cubicBezTo>
                    <a:cubicBezTo>
                      <a:pt x="63" y="84"/>
                      <a:pt x="62" y="85"/>
                      <a:pt x="60" y="85"/>
                    </a:cubicBezTo>
                    <a:cubicBezTo>
                      <a:pt x="61" y="84"/>
                      <a:pt x="62" y="83"/>
                      <a:pt x="63" y="83"/>
                    </a:cubicBezTo>
                    <a:cubicBezTo>
                      <a:pt x="63" y="83"/>
                      <a:pt x="64" y="82"/>
                      <a:pt x="64" y="82"/>
                    </a:cubicBezTo>
                    <a:cubicBezTo>
                      <a:pt x="64" y="82"/>
                      <a:pt x="64" y="82"/>
                      <a:pt x="63" y="82"/>
                    </a:cubicBezTo>
                    <a:cubicBezTo>
                      <a:pt x="64" y="81"/>
                      <a:pt x="66" y="81"/>
                      <a:pt x="67" y="80"/>
                    </a:cubicBezTo>
                    <a:cubicBezTo>
                      <a:pt x="67" y="80"/>
                      <a:pt x="67" y="80"/>
                      <a:pt x="67" y="80"/>
                    </a:cubicBezTo>
                    <a:cubicBezTo>
                      <a:pt x="67" y="80"/>
                      <a:pt x="66" y="81"/>
                      <a:pt x="65" y="81"/>
                    </a:cubicBezTo>
                    <a:cubicBezTo>
                      <a:pt x="62" y="83"/>
                      <a:pt x="64" y="82"/>
                      <a:pt x="58" y="83"/>
                    </a:cubicBezTo>
                    <a:cubicBezTo>
                      <a:pt x="60" y="81"/>
                      <a:pt x="60" y="81"/>
                      <a:pt x="60" y="81"/>
                    </a:cubicBezTo>
                    <a:cubicBezTo>
                      <a:pt x="60" y="81"/>
                      <a:pt x="60" y="81"/>
                      <a:pt x="60" y="81"/>
                    </a:cubicBezTo>
                    <a:cubicBezTo>
                      <a:pt x="59" y="82"/>
                      <a:pt x="59" y="82"/>
                      <a:pt x="58" y="83"/>
                    </a:cubicBezTo>
                    <a:cubicBezTo>
                      <a:pt x="55" y="84"/>
                      <a:pt x="52" y="84"/>
                      <a:pt x="49" y="84"/>
                    </a:cubicBezTo>
                    <a:cubicBezTo>
                      <a:pt x="49" y="84"/>
                      <a:pt x="48" y="84"/>
                      <a:pt x="48" y="83"/>
                    </a:cubicBezTo>
                    <a:cubicBezTo>
                      <a:pt x="49" y="82"/>
                      <a:pt x="51" y="82"/>
                      <a:pt x="53" y="81"/>
                    </a:cubicBezTo>
                    <a:cubicBezTo>
                      <a:pt x="51" y="82"/>
                      <a:pt x="49" y="82"/>
                      <a:pt x="48" y="83"/>
                    </a:cubicBezTo>
                    <a:cubicBezTo>
                      <a:pt x="46" y="83"/>
                      <a:pt x="46" y="82"/>
                      <a:pt x="45" y="81"/>
                    </a:cubicBezTo>
                    <a:cubicBezTo>
                      <a:pt x="45" y="80"/>
                      <a:pt x="45" y="78"/>
                      <a:pt x="45" y="77"/>
                    </a:cubicBezTo>
                    <a:cubicBezTo>
                      <a:pt x="45" y="77"/>
                      <a:pt x="45" y="77"/>
                      <a:pt x="46" y="77"/>
                    </a:cubicBezTo>
                    <a:cubicBezTo>
                      <a:pt x="46" y="77"/>
                      <a:pt x="46" y="77"/>
                      <a:pt x="46" y="77"/>
                    </a:cubicBezTo>
                    <a:cubicBezTo>
                      <a:pt x="47" y="77"/>
                      <a:pt x="49" y="77"/>
                      <a:pt x="50" y="78"/>
                    </a:cubicBezTo>
                    <a:cubicBezTo>
                      <a:pt x="51" y="80"/>
                      <a:pt x="52" y="81"/>
                      <a:pt x="52" y="81"/>
                    </a:cubicBezTo>
                    <a:cubicBezTo>
                      <a:pt x="51" y="80"/>
                      <a:pt x="51" y="79"/>
                      <a:pt x="50" y="78"/>
                    </a:cubicBezTo>
                    <a:cubicBezTo>
                      <a:pt x="51" y="79"/>
                      <a:pt x="51" y="79"/>
                      <a:pt x="52" y="80"/>
                    </a:cubicBezTo>
                    <a:cubicBezTo>
                      <a:pt x="53" y="81"/>
                      <a:pt x="55" y="82"/>
                      <a:pt x="56" y="83"/>
                    </a:cubicBezTo>
                    <a:cubicBezTo>
                      <a:pt x="55" y="83"/>
                      <a:pt x="54" y="81"/>
                      <a:pt x="52" y="79"/>
                    </a:cubicBezTo>
                    <a:cubicBezTo>
                      <a:pt x="53" y="79"/>
                      <a:pt x="54" y="80"/>
                      <a:pt x="55" y="80"/>
                    </a:cubicBezTo>
                    <a:cubicBezTo>
                      <a:pt x="55" y="80"/>
                      <a:pt x="55" y="80"/>
                      <a:pt x="55" y="80"/>
                    </a:cubicBezTo>
                    <a:cubicBezTo>
                      <a:pt x="54" y="80"/>
                      <a:pt x="53" y="79"/>
                      <a:pt x="51" y="79"/>
                    </a:cubicBezTo>
                    <a:cubicBezTo>
                      <a:pt x="51" y="78"/>
                      <a:pt x="51" y="78"/>
                      <a:pt x="51" y="78"/>
                    </a:cubicBezTo>
                    <a:cubicBezTo>
                      <a:pt x="52" y="78"/>
                      <a:pt x="53" y="78"/>
                      <a:pt x="54" y="78"/>
                    </a:cubicBezTo>
                    <a:cubicBezTo>
                      <a:pt x="50" y="78"/>
                      <a:pt x="51" y="78"/>
                      <a:pt x="49" y="75"/>
                    </a:cubicBezTo>
                    <a:cubicBezTo>
                      <a:pt x="49" y="75"/>
                      <a:pt x="48" y="75"/>
                      <a:pt x="48" y="74"/>
                    </a:cubicBezTo>
                    <a:cubicBezTo>
                      <a:pt x="48" y="74"/>
                      <a:pt x="48" y="74"/>
                      <a:pt x="49" y="74"/>
                    </a:cubicBezTo>
                    <a:cubicBezTo>
                      <a:pt x="50" y="74"/>
                      <a:pt x="51" y="74"/>
                      <a:pt x="52" y="74"/>
                    </a:cubicBezTo>
                    <a:cubicBezTo>
                      <a:pt x="51" y="74"/>
                      <a:pt x="50" y="74"/>
                      <a:pt x="49" y="74"/>
                    </a:cubicBezTo>
                    <a:cubicBezTo>
                      <a:pt x="50" y="73"/>
                      <a:pt x="50" y="73"/>
                      <a:pt x="51" y="72"/>
                    </a:cubicBezTo>
                    <a:cubicBezTo>
                      <a:pt x="52" y="72"/>
                      <a:pt x="54" y="73"/>
                      <a:pt x="55" y="73"/>
                    </a:cubicBezTo>
                    <a:cubicBezTo>
                      <a:pt x="64" y="75"/>
                      <a:pt x="58" y="73"/>
                      <a:pt x="65" y="78"/>
                    </a:cubicBezTo>
                    <a:cubicBezTo>
                      <a:pt x="65" y="77"/>
                      <a:pt x="63" y="76"/>
                      <a:pt x="61" y="74"/>
                    </a:cubicBezTo>
                    <a:cubicBezTo>
                      <a:pt x="61" y="75"/>
                      <a:pt x="62" y="75"/>
                      <a:pt x="62" y="75"/>
                    </a:cubicBezTo>
                    <a:cubicBezTo>
                      <a:pt x="60" y="74"/>
                      <a:pt x="60" y="74"/>
                      <a:pt x="58" y="72"/>
                    </a:cubicBezTo>
                    <a:cubicBezTo>
                      <a:pt x="58" y="72"/>
                      <a:pt x="58" y="72"/>
                      <a:pt x="57" y="71"/>
                    </a:cubicBezTo>
                    <a:cubicBezTo>
                      <a:pt x="58" y="71"/>
                      <a:pt x="58" y="71"/>
                      <a:pt x="58" y="71"/>
                    </a:cubicBezTo>
                    <a:cubicBezTo>
                      <a:pt x="60" y="71"/>
                      <a:pt x="62" y="72"/>
                      <a:pt x="64" y="72"/>
                    </a:cubicBezTo>
                    <a:cubicBezTo>
                      <a:pt x="66" y="73"/>
                      <a:pt x="68" y="73"/>
                      <a:pt x="69" y="74"/>
                    </a:cubicBezTo>
                    <a:cubicBezTo>
                      <a:pt x="71" y="74"/>
                      <a:pt x="72" y="74"/>
                      <a:pt x="74" y="75"/>
                    </a:cubicBezTo>
                    <a:cubicBezTo>
                      <a:pt x="71" y="74"/>
                      <a:pt x="68" y="73"/>
                      <a:pt x="65" y="72"/>
                    </a:cubicBezTo>
                    <a:cubicBezTo>
                      <a:pt x="66" y="72"/>
                      <a:pt x="67" y="73"/>
                      <a:pt x="68" y="73"/>
                    </a:cubicBezTo>
                    <a:cubicBezTo>
                      <a:pt x="68" y="72"/>
                      <a:pt x="65" y="72"/>
                      <a:pt x="64" y="72"/>
                    </a:cubicBezTo>
                    <a:cubicBezTo>
                      <a:pt x="63" y="72"/>
                      <a:pt x="62" y="71"/>
                      <a:pt x="61" y="71"/>
                    </a:cubicBezTo>
                    <a:cubicBezTo>
                      <a:pt x="65" y="69"/>
                      <a:pt x="64" y="70"/>
                      <a:pt x="69" y="70"/>
                    </a:cubicBezTo>
                    <a:cubicBezTo>
                      <a:pt x="69" y="70"/>
                      <a:pt x="69" y="70"/>
                      <a:pt x="69" y="70"/>
                    </a:cubicBezTo>
                    <a:cubicBezTo>
                      <a:pt x="68" y="70"/>
                      <a:pt x="66" y="70"/>
                      <a:pt x="64" y="70"/>
                    </a:cubicBezTo>
                    <a:cubicBezTo>
                      <a:pt x="66" y="69"/>
                      <a:pt x="73" y="69"/>
                      <a:pt x="75" y="69"/>
                    </a:cubicBezTo>
                    <a:cubicBezTo>
                      <a:pt x="72" y="69"/>
                      <a:pt x="68" y="69"/>
                      <a:pt x="65" y="69"/>
                    </a:cubicBezTo>
                    <a:cubicBezTo>
                      <a:pt x="66" y="69"/>
                      <a:pt x="67" y="69"/>
                      <a:pt x="67" y="69"/>
                    </a:cubicBezTo>
                    <a:cubicBezTo>
                      <a:pt x="70" y="67"/>
                      <a:pt x="71" y="66"/>
                      <a:pt x="74" y="65"/>
                    </a:cubicBezTo>
                    <a:cubicBezTo>
                      <a:pt x="75" y="65"/>
                      <a:pt x="76" y="65"/>
                      <a:pt x="77" y="65"/>
                    </a:cubicBezTo>
                    <a:cubicBezTo>
                      <a:pt x="76" y="65"/>
                      <a:pt x="74" y="65"/>
                      <a:pt x="72" y="66"/>
                    </a:cubicBezTo>
                    <a:cubicBezTo>
                      <a:pt x="74" y="65"/>
                      <a:pt x="74" y="65"/>
                      <a:pt x="76" y="65"/>
                    </a:cubicBezTo>
                    <a:cubicBezTo>
                      <a:pt x="78" y="64"/>
                      <a:pt x="79" y="64"/>
                      <a:pt x="81" y="64"/>
                    </a:cubicBezTo>
                    <a:cubicBezTo>
                      <a:pt x="79" y="64"/>
                      <a:pt x="76" y="64"/>
                      <a:pt x="74" y="65"/>
                    </a:cubicBezTo>
                    <a:cubicBezTo>
                      <a:pt x="77" y="62"/>
                      <a:pt x="77" y="62"/>
                      <a:pt x="81" y="61"/>
                    </a:cubicBezTo>
                    <a:cubicBezTo>
                      <a:pt x="80" y="62"/>
                      <a:pt x="78" y="62"/>
                      <a:pt x="77" y="63"/>
                    </a:cubicBezTo>
                    <a:cubicBezTo>
                      <a:pt x="77" y="62"/>
                      <a:pt x="78" y="62"/>
                      <a:pt x="78" y="62"/>
                    </a:cubicBezTo>
                    <a:cubicBezTo>
                      <a:pt x="78" y="62"/>
                      <a:pt x="78" y="61"/>
                      <a:pt x="78" y="61"/>
                    </a:cubicBezTo>
                    <a:cubicBezTo>
                      <a:pt x="79" y="60"/>
                      <a:pt x="80" y="59"/>
                      <a:pt x="81" y="58"/>
                    </a:cubicBezTo>
                    <a:cubicBezTo>
                      <a:pt x="79" y="59"/>
                      <a:pt x="79" y="60"/>
                      <a:pt x="78" y="61"/>
                    </a:cubicBezTo>
                    <a:cubicBezTo>
                      <a:pt x="78" y="61"/>
                      <a:pt x="78" y="61"/>
                      <a:pt x="78" y="61"/>
                    </a:cubicBezTo>
                    <a:cubicBezTo>
                      <a:pt x="77" y="62"/>
                      <a:pt x="73" y="65"/>
                      <a:pt x="72" y="65"/>
                    </a:cubicBezTo>
                    <a:cubicBezTo>
                      <a:pt x="72" y="65"/>
                      <a:pt x="71" y="65"/>
                      <a:pt x="70" y="65"/>
                    </a:cubicBezTo>
                    <a:cubicBezTo>
                      <a:pt x="71" y="64"/>
                      <a:pt x="72" y="62"/>
                      <a:pt x="73" y="61"/>
                    </a:cubicBezTo>
                    <a:cubicBezTo>
                      <a:pt x="73" y="61"/>
                      <a:pt x="73" y="61"/>
                      <a:pt x="73" y="61"/>
                    </a:cubicBezTo>
                    <a:cubicBezTo>
                      <a:pt x="73" y="61"/>
                      <a:pt x="73" y="61"/>
                      <a:pt x="73" y="61"/>
                    </a:cubicBezTo>
                    <a:cubicBezTo>
                      <a:pt x="74" y="61"/>
                      <a:pt x="74" y="61"/>
                      <a:pt x="74" y="60"/>
                    </a:cubicBezTo>
                    <a:cubicBezTo>
                      <a:pt x="73" y="61"/>
                      <a:pt x="73" y="61"/>
                      <a:pt x="72" y="62"/>
                    </a:cubicBezTo>
                    <a:cubicBezTo>
                      <a:pt x="72" y="61"/>
                      <a:pt x="73" y="61"/>
                      <a:pt x="73" y="60"/>
                    </a:cubicBezTo>
                    <a:cubicBezTo>
                      <a:pt x="73" y="60"/>
                      <a:pt x="73" y="60"/>
                      <a:pt x="73" y="60"/>
                    </a:cubicBezTo>
                    <a:cubicBezTo>
                      <a:pt x="70" y="63"/>
                      <a:pt x="71" y="62"/>
                      <a:pt x="68" y="63"/>
                    </a:cubicBezTo>
                    <a:cubicBezTo>
                      <a:pt x="67" y="64"/>
                      <a:pt x="67" y="64"/>
                      <a:pt x="66" y="64"/>
                    </a:cubicBezTo>
                    <a:cubicBezTo>
                      <a:pt x="67" y="63"/>
                      <a:pt x="68" y="61"/>
                      <a:pt x="70" y="60"/>
                    </a:cubicBezTo>
                    <a:cubicBezTo>
                      <a:pt x="70" y="60"/>
                      <a:pt x="69" y="61"/>
                      <a:pt x="69" y="61"/>
                    </a:cubicBezTo>
                    <a:cubicBezTo>
                      <a:pt x="69" y="61"/>
                      <a:pt x="70" y="60"/>
                      <a:pt x="70" y="60"/>
                    </a:cubicBezTo>
                    <a:cubicBezTo>
                      <a:pt x="70" y="59"/>
                      <a:pt x="72" y="58"/>
                      <a:pt x="72" y="57"/>
                    </a:cubicBezTo>
                    <a:cubicBezTo>
                      <a:pt x="73" y="57"/>
                      <a:pt x="73" y="57"/>
                      <a:pt x="73" y="57"/>
                    </a:cubicBezTo>
                    <a:cubicBezTo>
                      <a:pt x="73" y="57"/>
                      <a:pt x="73" y="57"/>
                      <a:pt x="72" y="57"/>
                    </a:cubicBezTo>
                    <a:cubicBezTo>
                      <a:pt x="73" y="57"/>
                      <a:pt x="73" y="56"/>
                      <a:pt x="74" y="56"/>
                    </a:cubicBezTo>
                    <a:cubicBezTo>
                      <a:pt x="73" y="56"/>
                      <a:pt x="73" y="57"/>
                      <a:pt x="72" y="57"/>
                    </a:cubicBezTo>
                    <a:cubicBezTo>
                      <a:pt x="68" y="56"/>
                      <a:pt x="65" y="55"/>
                      <a:pt x="61" y="54"/>
                    </a:cubicBezTo>
                    <a:cubicBezTo>
                      <a:pt x="63" y="53"/>
                      <a:pt x="66" y="53"/>
                      <a:pt x="68" y="52"/>
                    </a:cubicBezTo>
                    <a:cubicBezTo>
                      <a:pt x="68" y="52"/>
                      <a:pt x="68" y="52"/>
                      <a:pt x="68" y="52"/>
                    </a:cubicBezTo>
                    <a:cubicBezTo>
                      <a:pt x="67" y="53"/>
                      <a:pt x="61" y="54"/>
                      <a:pt x="61" y="54"/>
                    </a:cubicBezTo>
                    <a:cubicBezTo>
                      <a:pt x="61" y="54"/>
                      <a:pt x="60" y="54"/>
                      <a:pt x="60" y="54"/>
                    </a:cubicBezTo>
                    <a:cubicBezTo>
                      <a:pt x="64" y="51"/>
                      <a:pt x="62" y="52"/>
                      <a:pt x="67" y="50"/>
                    </a:cubicBezTo>
                    <a:cubicBezTo>
                      <a:pt x="69" y="49"/>
                      <a:pt x="70" y="49"/>
                      <a:pt x="72" y="48"/>
                    </a:cubicBezTo>
                    <a:cubicBezTo>
                      <a:pt x="71" y="48"/>
                      <a:pt x="68" y="49"/>
                      <a:pt x="64" y="51"/>
                    </a:cubicBezTo>
                    <a:cubicBezTo>
                      <a:pt x="65" y="50"/>
                      <a:pt x="65" y="50"/>
                      <a:pt x="66" y="49"/>
                    </a:cubicBezTo>
                    <a:cubicBezTo>
                      <a:pt x="69" y="47"/>
                      <a:pt x="69" y="47"/>
                      <a:pt x="72" y="45"/>
                    </a:cubicBezTo>
                    <a:cubicBezTo>
                      <a:pt x="73" y="45"/>
                      <a:pt x="74" y="44"/>
                      <a:pt x="76" y="44"/>
                    </a:cubicBezTo>
                    <a:cubicBezTo>
                      <a:pt x="74" y="44"/>
                      <a:pt x="72" y="45"/>
                      <a:pt x="70" y="46"/>
                    </a:cubicBezTo>
                    <a:cubicBezTo>
                      <a:pt x="71" y="45"/>
                      <a:pt x="71" y="45"/>
                      <a:pt x="74" y="44"/>
                    </a:cubicBezTo>
                    <a:cubicBezTo>
                      <a:pt x="75" y="44"/>
                      <a:pt x="77" y="43"/>
                      <a:pt x="78" y="43"/>
                    </a:cubicBezTo>
                    <a:cubicBezTo>
                      <a:pt x="76" y="44"/>
                      <a:pt x="74" y="44"/>
                      <a:pt x="71" y="45"/>
                    </a:cubicBezTo>
                    <a:cubicBezTo>
                      <a:pt x="74" y="42"/>
                      <a:pt x="74" y="41"/>
                      <a:pt x="78" y="39"/>
                    </a:cubicBezTo>
                    <a:cubicBezTo>
                      <a:pt x="77" y="39"/>
                      <a:pt x="76" y="40"/>
                      <a:pt x="74" y="41"/>
                    </a:cubicBezTo>
                    <a:cubicBezTo>
                      <a:pt x="75" y="41"/>
                      <a:pt x="75" y="41"/>
                      <a:pt x="75" y="41"/>
                    </a:cubicBezTo>
                    <a:cubicBezTo>
                      <a:pt x="75" y="41"/>
                      <a:pt x="75" y="41"/>
                      <a:pt x="75" y="41"/>
                    </a:cubicBezTo>
                    <a:cubicBezTo>
                      <a:pt x="75" y="39"/>
                      <a:pt x="76" y="38"/>
                      <a:pt x="77" y="37"/>
                    </a:cubicBezTo>
                    <a:cubicBezTo>
                      <a:pt x="76" y="38"/>
                      <a:pt x="75" y="39"/>
                      <a:pt x="75" y="41"/>
                    </a:cubicBezTo>
                    <a:cubicBezTo>
                      <a:pt x="75" y="41"/>
                      <a:pt x="75" y="41"/>
                      <a:pt x="75" y="41"/>
                    </a:cubicBezTo>
                    <a:cubicBezTo>
                      <a:pt x="71" y="44"/>
                      <a:pt x="71" y="45"/>
                      <a:pt x="67" y="48"/>
                    </a:cubicBezTo>
                    <a:cubicBezTo>
                      <a:pt x="67" y="46"/>
                      <a:pt x="68" y="43"/>
                      <a:pt x="69" y="41"/>
                    </a:cubicBezTo>
                    <a:cubicBezTo>
                      <a:pt x="69" y="41"/>
                      <a:pt x="69" y="41"/>
                      <a:pt x="69" y="41"/>
                    </a:cubicBezTo>
                    <a:cubicBezTo>
                      <a:pt x="69" y="41"/>
                      <a:pt x="69" y="41"/>
                      <a:pt x="69" y="41"/>
                    </a:cubicBezTo>
                    <a:cubicBezTo>
                      <a:pt x="69" y="41"/>
                      <a:pt x="69" y="41"/>
                      <a:pt x="69" y="41"/>
                    </a:cubicBezTo>
                    <a:cubicBezTo>
                      <a:pt x="69" y="41"/>
                      <a:pt x="69" y="41"/>
                      <a:pt x="69" y="41"/>
                    </a:cubicBezTo>
                    <a:cubicBezTo>
                      <a:pt x="69" y="41"/>
                      <a:pt x="69" y="41"/>
                      <a:pt x="69" y="41"/>
                    </a:cubicBezTo>
                    <a:cubicBezTo>
                      <a:pt x="66" y="41"/>
                      <a:pt x="62" y="41"/>
                      <a:pt x="58" y="41"/>
                    </a:cubicBezTo>
                    <a:cubicBezTo>
                      <a:pt x="61" y="39"/>
                      <a:pt x="60" y="39"/>
                      <a:pt x="63" y="39"/>
                    </a:cubicBezTo>
                    <a:cubicBezTo>
                      <a:pt x="63" y="39"/>
                      <a:pt x="62" y="39"/>
                      <a:pt x="61" y="39"/>
                    </a:cubicBezTo>
                    <a:cubicBezTo>
                      <a:pt x="63" y="38"/>
                      <a:pt x="67" y="37"/>
                      <a:pt x="69" y="36"/>
                    </a:cubicBezTo>
                    <a:cubicBezTo>
                      <a:pt x="67" y="37"/>
                      <a:pt x="64" y="38"/>
                      <a:pt x="62" y="39"/>
                    </a:cubicBezTo>
                    <a:cubicBezTo>
                      <a:pt x="63" y="38"/>
                      <a:pt x="66" y="35"/>
                      <a:pt x="67" y="34"/>
                    </a:cubicBezTo>
                    <a:cubicBezTo>
                      <a:pt x="68" y="34"/>
                      <a:pt x="68" y="34"/>
                      <a:pt x="69" y="34"/>
                    </a:cubicBezTo>
                    <a:cubicBezTo>
                      <a:pt x="68" y="34"/>
                      <a:pt x="68" y="34"/>
                      <a:pt x="67" y="35"/>
                    </a:cubicBezTo>
                    <a:cubicBezTo>
                      <a:pt x="68" y="33"/>
                      <a:pt x="68" y="33"/>
                      <a:pt x="70" y="33"/>
                    </a:cubicBezTo>
                    <a:cubicBezTo>
                      <a:pt x="71" y="33"/>
                      <a:pt x="72" y="32"/>
                      <a:pt x="73" y="32"/>
                    </a:cubicBezTo>
                    <a:cubicBezTo>
                      <a:pt x="71" y="32"/>
                      <a:pt x="70" y="33"/>
                      <a:pt x="68" y="33"/>
                    </a:cubicBezTo>
                    <a:cubicBezTo>
                      <a:pt x="69" y="33"/>
                      <a:pt x="69" y="32"/>
                      <a:pt x="70" y="32"/>
                    </a:cubicBezTo>
                    <a:cubicBezTo>
                      <a:pt x="70" y="31"/>
                      <a:pt x="70" y="31"/>
                      <a:pt x="70" y="31"/>
                    </a:cubicBezTo>
                    <a:cubicBezTo>
                      <a:pt x="71" y="31"/>
                      <a:pt x="72" y="30"/>
                      <a:pt x="73" y="29"/>
                    </a:cubicBezTo>
                    <a:cubicBezTo>
                      <a:pt x="72" y="30"/>
                      <a:pt x="71" y="31"/>
                      <a:pt x="70" y="31"/>
                    </a:cubicBezTo>
                    <a:cubicBezTo>
                      <a:pt x="70" y="31"/>
                      <a:pt x="70" y="31"/>
                      <a:pt x="70" y="31"/>
                    </a:cubicBezTo>
                    <a:cubicBezTo>
                      <a:pt x="69" y="32"/>
                      <a:pt x="66" y="35"/>
                      <a:pt x="66" y="35"/>
                    </a:cubicBezTo>
                    <a:cubicBezTo>
                      <a:pt x="65" y="36"/>
                      <a:pt x="65" y="36"/>
                      <a:pt x="64" y="37"/>
                    </a:cubicBezTo>
                    <a:cubicBezTo>
                      <a:pt x="64" y="35"/>
                      <a:pt x="64" y="34"/>
                      <a:pt x="66" y="33"/>
                    </a:cubicBezTo>
                    <a:cubicBezTo>
                      <a:pt x="66" y="32"/>
                      <a:pt x="67" y="31"/>
                      <a:pt x="68" y="31"/>
                    </a:cubicBezTo>
                    <a:cubicBezTo>
                      <a:pt x="66" y="32"/>
                      <a:pt x="65" y="33"/>
                      <a:pt x="65" y="34"/>
                    </a:cubicBezTo>
                    <a:cubicBezTo>
                      <a:pt x="65" y="33"/>
                      <a:pt x="65" y="32"/>
                      <a:pt x="66" y="30"/>
                    </a:cubicBezTo>
                    <a:cubicBezTo>
                      <a:pt x="65" y="31"/>
                      <a:pt x="65" y="32"/>
                      <a:pt x="64" y="34"/>
                    </a:cubicBezTo>
                    <a:cubicBezTo>
                      <a:pt x="64" y="34"/>
                      <a:pt x="63" y="36"/>
                      <a:pt x="62" y="38"/>
                    </a:cubicBezTo>
                    <a:cubicBezTo>
                      <a:pt x="62" y="38"/>
                      <a:pt x="61" y="39"/>
                      <a:pt x="61" y="39"/>
                    </a:cubicBezTo>
                    <a:cubicBezTo>
                      <a:pt x="59" y="39"/>
                      <a:pt x="58" y="39"/>
                      <a:pt x="56" y="39"/>
                    </a:cubicBezTo>
                    <a:cubicBezTo>
                      <a:pt x="57" y="38"/>
                      <a:pt x="61" y="36"/>
                      <a:pt x="61" y="35"/>
                    </a:cubicBezTo>
                    <a:cubicBezTo>
                      <a:pt x="60" y="35"/>
                      <a:pt x="56" y="39"/>
                      <a:pt x="56" y="39"/>
                    </a:cubicBezTo>
                    <a:cubicBezTo>
                      <a:pt x="55" y="39"/>
                      <a:pt x="55" y="39"/>
                      <a:pt x="54" y="39"/>
                    </a:cubicBezTo>
                    <a:cubicBezTo>
                      <a:pt x="55" y="37"/>
                      <a:pt x="55" y="37"/>
                      <a:pt x="56" y="36"/>
                    </a:cubicBezTo>
                    <a:cubicBezTo>
                      <a:pt x="56" y="35"/>
                      <a:pt x="57" y="33"/>
                      <a:pt x="59" y="33"/>
                    </a:cubicBezTo>
                    <a:cubicBezTo>
                      <a:pt x="59" y="33"/>
                      <a:pt x="59" y="33"/>
                      <a:pt x="58" y="33"/>
                    </a:cubicBezTo>
                    <a:cubicBezTo>
                      <a:pt x="59" y="33"/>
                      <a:pt x="59" y="33"/>
                      <a:pt x="59" y="33"/>
                    </a:cubicBezTo>
                    <a:cubicBezTo>
                      <a:pt x="59" y="33"/>
                      <a:pt x="58" y="33"/>
                      <a:pt x="58" y="33"/>
                    </a:cubicBezTo>
                    <a:cubicBezTo>
                      <a:pt x="59" y="31"/>
                      <a:pt x="60" y="31"/>
                      <a:pt x="62" y="30"/>
                    </a:cubicBezTo>
                    <a:cubicBezTo>
                      <a:pt x="62" y="30"/>
                      <a:pt x="63" y="29"/>
                      <a:pt x="64" y="29"/>
                    </a:cubicBezTo>
                    <a:cubicBezTo>
                      <a:pt x="63" y="29"/>
                      <a:pt x="62" y="30"/>
                      <a:pt x="60" y="31"/>
                    </a:cubicBezTo>
                    <a:cubicBezTo>
                      <a:pt x="60" y="30"/>
                      <a:pt x="61" y="30"/>
                      <a:pt x="61" y="29"/>
                    </a:cubicBezTo>
                    <a:cubicBezTo>
                      <a:pt x="61" y="29"/>
                      <a:pt x="61" y="29"/>
                      <a:pt x="61" y="29"/>
                    </a:cubicBezTo>
                    <a:cubicBezTo>
                      <a:pt x="61" y="29"/>
                      <a:pt x="62" y="28"/>
                      <a:pt x="62" y="28"/>
                    </a:cubicBezTo>
                    <a:cubicBezTo>
                      <a:pt x="59" y="31"/>
                      <a:pt x="59" y="31"/>
                      <a:pt x="58" y="33"/>
                    </a:cubicBezTo>
                    <a:cubicBezTo>
                      <a:pt x="57" y="33"/>
                      <a:pt x="57" y="33"/>
                      <a:pt x="56" y="33"/>
                    </a:cubicBezTo>
                    <a:cubicBezTo>
                      <a:pt x="56" y="32"/>
                      <a:pt x="56" y="30"/>
                      <a:pt x="56" y="29"/>
                    </a:cubicBezTo>
                    <a:cubicBezTo>
                      <a:pt x="59" y="27"/>
                      <a:pt x="58" y="28"/>
                      <a:pt x="62" y="28"/>
                    </a:cubicBezTo>
                    <a:cubicBezTo>
                      <a:pt x="63" y="27"/>
                      <a:pt x="64" y="27"/>
                      <a:pt x="65" y="27"/>
                    </a:cubicBezTo>
                    <a:cubicBezTo>
                      <a:pt x="63" y="27"/>
                      <a:pt x="61" y="28"/>
                      <a:pt x="58" y="28"/>
                    </a:cubicBezTo>
                    <a:cubicBezTo>
                      <a:pt x="59" y="27"/>
                      <a:pt x="60" y="27"/>
                      <a:pt x="60" y="27"/>
                    </a:cubicBezTo>
                    <a:cubicBezTo>
                      <a:pt x="60" y="27"/>
                      <a:pt x="60" y="27"/>
                      <a:pt x="60" y="27"/>
                    </a:cubicBezTo>
                    <a:cubicBezTo>
                      <a:pt x="59" y="27"/>
                      <a:pt x="58" y="28"/>
                      <a:pt x="57" y="28"/>
                    </a:cubicBezTo>
                    <a:cubicBezTo>
                      <a:pt x="58" y="27"/>
                      <a:pt x="59" y="26"/>
                      <a:pt x="60" y="25"/>
                    </a:cubicBezTo>
                    <a:cubicBezTo>
                      <a:pt x="60" y="25"/>
                      <a:pt x="60" y="25"/>
                      <a:pt x="60" y="26"/>
                    </a:cubicBezTo>
                    <a:cubicBezTo>
                      <a:pt x="62" y="24"/>
                      <a:pt x="64" y="23"/>
                      <a:pt x="66" y="22"/>
                    </a:cubicBezTo>
                    <a:cubicBezTo>
                      <a:pt x="64" y="23"/>
                      <a:pt x="62" y="24"/>
                      <a:pt x="60" y="25"/>
                    </a:cubicBezTo>
                    <a:cubicBezTo>
                      <a:pt x="61" y="23"/>
                      <a:pt x="62" y="22"/>
                      <a:pt x="64" y="19"/>
                    </a:cubicBezTo>
                    <a:cubicBezTo>
                      <a:pt x="64" y="19"/>
                      <a:pt x="64" y="19"/>
                      <a:pt x="64" y="19"/>
                    </a:cubicBezTo>
                    <a:cubicBezTo>
                      <a:pt x="65" y="19"/>
                      <a:pt x="65" y="19"/>
                      <a:pt x="65" y="19"/>
                    </a:cubicBezTo>
                    <a:cubicBezTo>
                      <a:pt x="64" y="19"/>
                      <a:pt x="64" y="19"/>
                      <a:pt x="64" y="19"/>
                    </a:cubicBezTo>
                    <a:cubicBezTo>
                      <a:pt x="64" y="19"/>
                      <a:pt x="64" y="19"/>
                      <a:pt x="65" y="18"/>
                    </a:cubicBezTo>
                    <a:cubicBezTo>
                      <a:pt x="65" y="18"/>
                      <a:pt x="64" y="19"/>
                      <a:pt x="64" y="19"/>
                    </a:cubicBezTo>
                    <a:cubicBezTo>
                      <a:pt x="64" y="19"/>
                      <a:pt x="64" y="19"/>
                      <a:pt x="64" y="19"/>
                    </a:cubicBezTo>
                    <a:cubicBezTo>
                      <a:pt x="63" y="20"/>
                      <a:pt x="63" y="20"/>
                      <a:pt x="62" y="21"/>
                    </a:cubicBezTo>
                    <a:cubicBezTo>
                      <a:pt x="62" y="20"/>
                      <a:pt x="62" y="19"/>
                      <a:pt x="62" y="18"/>
                    </a:cubicBezTo>
                    <a:cubicBezTo>
                      <a:pt x="62" y="22"/>
                      <a:pt x="62" y="20"/>
                      <a:pt x="61" y="22"/>
                    </a:cubicBezTo>
                    <a:cubicBezTo>
                      <a:pt x="61" y="23"/>
                      <a:pt x="61" y="23"/>
                      <a:pt x="61" y="23"/>
                    </a:cubicBezTo>
                    <a:cubicBezTo>
                      <a:pt x="60" y="24"/>
                      <a:pt x="59" y="25"/>
                      <a:pt x="58" y="26"/>
                    </a:cubicBezTo>
                    <a:cubicBezTo>
                      <a:pt x="57" y="27"/>
                      <a:pt x="56" y="28"/>
                      <a:pt x="55" y="28"/>
                    </a:cubicBezTo>
                    <a:cubicBezTo>
                      <a:pt x="54" y="29"/>
                      <a:pt x="54" y="29"/>
                      <a:pt x="53" y="30"/>
                    </a:cubicBezTo>
                    <a:cubicBezTo>
                      <a:pt x="53" y="29"/>
                      <a:pt x="55" y="26"/>
                      <a:pt x="55" y="26"/>
                    </a:cubicBezTo>
                    <a:cubicBezTo>
                      <a:pt x="55" y="26"/>
                      <a:pt x="55" y="25"/>
                      <a:pt x="55" y="25"/>
                    </a:cubicBezTo>
                    <a:cubicBezTo>
                      <a:pt x="56" y="25"/>
                      <a:pt x="57" y="25"/>
                      <a:pt x="57" y="25"/>
                    </a:cubicBezTo>
                    <a:cubicBezTo>
                      <a:pt x="57" y="25"/>
                      <a:pt x="56" y="25"/>
                      <a:pt x="55" y="25"/>
                    </a:cubicBezTo>
                    <a:cubicBezTo>
                      <a:pt x="55" y="24"/>
                      <a:pt x="56" y="24"/>
                      <a:pt x="56" y="23"/>
                    </a:cubicBezTo>
                    <a:cubicBezTo>
                      <a:pt x="55" y="24"/>
                      <a:pt x="55" y="25"/>
                      <a:pt x="55" y="25"/>
                    </a:cubicBezTo>
                    <a:cubicBezTo>
                      <a:pt x="53" y="26"/>
                      <a:pt x="51" y="26"/>
                      <a:pt x="48" y="26"/>
                    </a:cubicBezTo>
                    <a:cubicBezTo>
                      <a:pt x="50" y="24"/>
                      <a:pt x="51" y="24"/>
                      <a:pt x="53" y="24"/>
                    </a:cubicBezTo>
                    <a:cubicBezTo>
                      <a:pt x="50" y="24"/>
                      <a:pt x="50" y="24"/>
                      <a:pt x="50" y="24"/>
                    </a:cubicBezTo>
                    <a:cubicBezTo>
                      <a:pt x="51" y="23"/>
                      <a:pt x="53" y="22"/>
                      <a:pt x="54" y="21"/>
                    </a:cubicBezTo>
                    <a:cubicBezTo>
                      <a:pt x="54" y="21"/>
                      <a:pt x="54" y="21"/>
                      <a:pt x="54" y="21"/>
                    </a:cubicBezTo>
                    <a:cubicBezTo>
                      <a:pt x="53" y="22"/>
                      <a:pt x="52" y="22"/>
                      <a:pt x="51" y="23"/>
                    </a:cubicBezTo>
                    <a:cubicBezTo>
                      <a:pt x="51" y="24"/>
                      <a:pt x="50" y="24"/>
                      <a:pt x="50" y="25"/>
                    </a:cubicBezTo>
                    <a:cubicBezTo>
                      <a:pt x="50" y="24"/>
                      <a:pt x="51" y="22"/>
                      <a:pt x="51" y="21"/>
                    </a:cubicBezTo>
                    <a:cubicBezTo>
                      <a:pt x="51" y="21"/>
                      <a:pt x="52" y="21"/>
                      <a:pt x="52" y="21"/>
                    </a:cubicBezTo>
                    <a:cubicBezTo>
                      <a:pt x="52" y="21"/>
                      <a:pt x="52" y="21"/>
                      <a:pt x="51" y="21"/>
                    </a:cubicBezTo>
                    <a:cubicBezTo>
                      <a:pt x="52" y="18"/>
                      <a:pt x="52" y="17"/>
                      <a:pt x="55" y="15"/>
                    </a:cubicBezTo>
                    <a:cubicBezTo>
                      <a:pt x="54" y="16"/>
                      <a:pt x="54" y="16"/>
                      <a:pt x="54" y="16"/>
                    </a:cubicBezTo>
                    <a:cubicBezTo>
                      <a:pt x="54" y="15"/>
                      <a:pt x="55" y="15"/>
                      <a:pt x="55" y="15"/>
                    </a:cubicBezTo>
                    <a:cubicBezTo>
                      <a:pt x="54" y="16"/>
                      <a:pt x="53" y="16"/>
                      <a:pt x="53" y="17"/>
                    </a:cubicBezTo>
                    <a:cubicBezTo>
                      <a:pt x="52" y="17"/>
                      <a:pt x="51" y="20"/>
                      <a:pt x="51" y="21"/>
                    </a:cubicBezTo>
                    <a:cubicBezTo>
                      <a:pt x="51" y="20"/>
                      <a:pt x="51" y="17"/>
                      <a:pt x="50" y="16"/>
                    </a:cubicBezTo>
                    <a:cubicBezTo>
                      <a:pt x="51" y="22"/>
                      <a:pt x="51" y="21"/>
                      <a:pt x="49" y="22"/>
                    </a:cubicBezTo>
                    <a:cubicBezTo>
                      <a:pt x="49" y="21"/>
                      <a:pt x="48" y="21"/>
                      <a:pt x="48" y="20"/>
                    </a:cubicBezTo>
                    <a:cubicBezTo>
                      <a:pt x="48" y="21"/>
                      <a:pt x="49" y="21"/>
                      <a:pt x="49" y="22"/>
                    </a:cubicBezTo>
                    <a:cubicBezTo>
                      <a:pt x="48" y="23"/>
                      <a:pt x="46" y="24"/>
                      <a:pt x="45" y="25"/>
                    </a:cubicBezTo>
                    <a:cubicBezTo>
                      <a:pt x="45" y="24"/>
                      <a:pt x="44" y="23"/>
                      <a:pt x="44" y="22"/>
                    </a:cubicBezTo>
                    <a:cubicBezTo>
                      <a:pt x="45" y="21"/>
                      <a:pt x="46" y="19"/>
                      <a:pt x="48" y="17"/>
                    </a:cubicBezTo>
                    <a:cubicBezTo>
                      <a:pt x="46" y="19"/>
                      <a:pt x="45" y="20"/>
                      <a:pt x="44" y="22"/>
                    </a:cubicBezTo>
                    <a:cubicBezTo>
                      <a:pt x="44" y="22"/>
                      <a:pt x="44" y="22"/>
                      <a:pt x="44" y="22"/>
                    </a:cubicBezTo>
                    <a:cubicBezTo>
                      <a:pt x="44" y="22"/>
                      <a:pt x="44" y="22"/>
                      <a:pt x="44" y="22"/>
                    </a:cubicBezTo>
                    <a:cubicBezTo>
                      <a:pt x="44" y="22"/>
                      <a:pt x="44" y="22"/>
                      <a:pt x="44" y="22"/>
                    </a:cubicBezTo>
                    <a:cubicBezTo>
                      <a:pt x="44" y="22"/>
                      <a:pt x="44" y="22"/>
                      <a:pt x="44" y="22"/>
                    </a:cubicBezTo>
                    <a:cubicBezTo>
                      <a:pt x="44" y="22"/>
                      <a:pt x="44" y="22"/>
                      <a:pt x="44" y="22"/>
                    </a:cubicBezTo>
                    <a:cubicBezTo>
                      <a:pt x="44" y="20"/>
                      <a:pt x="44" y="18"/>
                      <a:pt x="44" y="15"/>
                    </a:cubicBezTo>
                    <a:cubicBezTo>
                      <a:pt x="45" y="14"/>
                      <a:pt x="45" y="13"/>
                      <a:pt x="45" y="12"/>
                    </a:cubicBezTo>
                    <a:cubicBezTo>
                      <a:pt x="46" y="11"/>
                      <a:pt x="50" y="9"/>
                      <a:pt x="51" y="8"/>
                    </a:cubicBezTo>
                    <a:cubicBezTo>
                      <a:pt x="49" y="9"/>
                      <a:pt x="47" y="11"/>
                      <a:pt x="45" y="12"/>
                    </a:cubicBezTo>
                    <a:cubicBezTo>
                      <a:pt x="46" y="11"/>
                      <a:pt x="46" y="10"/>
                      <a:pt x="47" y="9"/>
                    </a:cubicBezTo>
                    <a:cubicBezTo>
                      <a:pt x="46" y="10"/>
                      <a:pt x="46" y="12"/>
                      <a:pt x="44" y="13"/>
                    </a:cubicBezTo>
                    <a:cubicBezTo>
                      <a:pt x="44" y="11"/>
                      <a:pt x="44" y="10"/>
                      <a:pt x="45" y="9"/>
                    </a:cubicBezTo>
                    <a:cubicBezTo>
                      <a:pt x="46" y="7"/>
                      <a:pt x="47" y="6"/>
                      <a:pt x="47" y="5"/>
                    </a:cubicBezTo>
                    <a:cubicBezTo>
                      <a:pt x="46" y="7"/>
                      <a:pt x="45" y="8"/>
                      <a:pt x="44" y="10"/>
                    </a:cubicBezTo>
                    <a:cubicBezTo>
                      <a:pt x="44" y="7"/>
                      <a:pt x="45" y="5"/>
                      <a:pt x="45" y="2"/>
                    </a:cubicBezTo>
                    <a:cubicBezTo>
                      <a:pt x="45" y="2"/>
                      <a:pt x="45" y="2"/>
                      <a:pt x="45" y="2"/>
                    </a:cubicBezTo>
                    <a:cubicBezTo>
                      <a:pt x="45" y="1"/>
                      <a:pt x="45" y="1"/>
                      <a:pt x="45" y="0"/>
                    </a:cubicBezTo>
                    <a:cubicBezTo>
                      <a:pt x="45" y="0"/>
                      <a:pt x="45" y="0"/>
                      <a:pt x="45" y="1"/>
                    </a:cubicBezTo>
                    <a:cubicBezTo>
                      <a:pt x="45" y="1"/>
                      <a:pt x="45" y="1"/>
                      <a:pt x="45" y="1"/>
                    </a:cubicBezTo>
                    <a:close/>
                    <a:moveTo>
                      <a:pt x="30" y="10"/>
                    </a:moveTo>
                    <a:cubicBezTo>
                      <a:pt x="30" y="10"/>
                      <a:pt x="30" y="10"/>
                      <a:pt x="30" y="10"/>
                    </a:cubicBezTo>
                    <a:cubicBezTo>
                      <a:pt x="30" y="11"/>
                      <a:pt x="30" y="11"/>
                      <a:pt x="30" y="11"/>
                    </a:cubicBezTo>
                    <a:cubicBezTo>
                      <a:pt x="30" y="11"/>
                      <a:pt x="30" y="11"/>
                      <a:pt x="30" y="10"/>
                    </a:cubicBezTo>
                    <a:cubicBezTo>
                      <a:pt x="30" y="10"/>
                      <a:pt x="30" y="10"/>
                      <a:pt x="30" y="10"/>
                    </a:cubicBezTo>
                    <a:close/>
                    <a:moveTo>
                      <a:pt x="30" y="11"/>
                    </a:moveTo>
                    <a:cubicBezTo>
                      <a:pt x="30" y="12"/>
                      <a:pt x="31" y="13"/>
                      <a:pt x="31" y="13"/>
                    </a:cubicBezTo>
                    <a:cubicBezTo>
                      <a:pt x="30" y="11"/>
                      <a:pt x="30" y="11"/>
                      <a:pt x="30" y="11"/>
                    </a:cubicBezTo>
                    <a:cubicBezTo>
                      <a:pt x="30" y="11"/>
                      <a:pt x="30" y="11"/>
                      <a:pt x="30" y="11"/>
                    </a:cubicBezTo>
                    <a:close/>
                    <a:moveTo>
                      <a:pt x="45" y="13"/>
                    </a:moveTo>
                    <a:cubicBezTo>
                      <a:pt x="44" y="13"/>
                      <a:pt x="44" y="13"/>
                      <a:pt x="44" y="14"/>
                    </a:cubicBezTo>
                    <a:cubicBezTo>
                      <a:pt x="45" y="14"/>
                      <a:pt x="45" y="13"/>
                      <a:pt x="45" y="13"/>
                    </a:cubicBezTo>
                    <a:cubicBezTo>
                      <a:pt x="45" y="13"/>
                      <a:pt x="45" y="13"/>
                      <a:pt x="45" y="13"/>
                    </a:cubicBezTo>
                    <a:close/>
                    <a:moveTo>
                      <a:pt x="53" y="17"/>
                    </a:moveTo>
                    <a:cubicBezTo>
                      <a:pt x="53" y="17"/>
                      <a:pt x="53" y="17"/>
                      <a:pt x="53" y="16"/>
                    </a:cubicBezTo>
                    <a:cubicBezTo>
                      <a:pt x="53" y="17"/>
                      <a:pt x="53" y="17"/>
                      <a:pt x="53" y="17"/>
                    </a:cubicBezTo>
                    <a:cubicBezTo>
                      <a:pt x="53" y="17"/>
                      <a:pt x="53" y="17"/>
                      <a:pt x="53" y="17"/>
                    </a:cubicBezTo>
                    <a:cubicBezTo>
                      <a:pt x="53" y="17"/>
                      <a:pt x="53" y="17"/>
                      <a:pt x="53" y="17"/>
                    </a:cubicBezTo>
                    <a:close/>
                    <a:moveTo>
                      <a:pt x="40" y="15"/>
                    </a:moveTo>
                    <a:cubicBezTo>
                      <a:pt x="41" y="17"/>
                      <a:pt x="43" y="20"/>
                      <a:pt x="43" y="21"/>
                    </a:cubicBezTo>
                    <a:cubicBezTo>
                      <a:pt x="43" y="22"/>
                      <a:pt x="43" y="23"/>
                      <a:pt x="43" y="24"/>
                    </a:cubicBezTo>
                    <a:cubicBezTo>
                      <a:pt x="42" y="25"/>
                      <a:pt x="42" y="26"/>
                      <a:pt x="42" y="27"/>
                    </a:cubicBezTo>
                    <a:cubicBezTo>
                      <a:pt x="41" y="26"/>
                      <a:pt x="41" y="24"/>
                      <a:pt x="41" y="23"/>
                    </a:cubicBezTo>
                    <a:cubicBezTo>
                      <a:pt x="41" y="23"/>
                      <a:pt x="41" y="24"/>
                      <a:pt x="41" y="25"/>
                    </a:cubicBezTo>
                    <a:cubicBezTo>
                      <a:pt x="40" y="24"/>
                      <a:pt x="39" y="24"/>
                      <a:pt x="39" y="22"/>
                    </a:cubicBezTo>
                    <a:cubicBezTo>
                      <a:pt x="39" y="23"/>
                      <a:pt x="39" y="23"/>
                      <a:pt x="39" y="23"/>
                    </a:cubicBezTo>
                    <a:cubicBezTo>
                      <a:pt x="39" y="23"/>
                      <a:pt x="39" y="23"/>
                      <a:pt x="39" y="24"/>
                    </a:cubicBezTo>
                    <a:cubicBezTo>
                      <a:pt x="40" y="24"/>
                      <a:pt x="41" y="26"/>
                      <a:pt x="41" y="26"/>
                    </a:cubicBezTo>
                    <a:cubicBezTo>
                      <a:pt x="41" y="27"/>
                      <a:pt x="41" y="27"/>
                      <a:pt x="41" y="28"/>
                    </a:cubicBezTo>
                    <a:cubicBezTo>
                      <a:pt x="39" y="26"/>
                      <a:pt x="38" y="25"/>
                      <a:pt x="37" y="23"/>
                    </a:cubicBezTo>
                    <a:cubicBezTo>
                      <a:pt x="37" y="20"/>
                      <a:pt x="38" y="18"/>
                      <a:pt x="40" y="15"/>
                    </a:cubicBezTo>
                    <a:cubicBezTo>
                      <a:pt x="40" y="15"/>
                      <a:pt x="40" y="15"/>
                      <a:pt x="40" y="15"/>
                    </a:cubicBezTo>
                    <a:close/>
                    <a:moveTo>
                      <a:pt x="62" y="21"/>
                    </a:moveTo>
                    <a:cubicBezTo>
                      <a:pt x="63" y="21"/>
                      <a:pt x="63" y="20"/>
                      <a:pt x="63" y="20"/>
                    </a:cubicBezTo>
                    <a:cubicBezTo>
                      <a:pt x="63" y="20"/>
                      <a:pt x="63" y="21"/>
                      <a:pt x="62" y="21"/>
                    </a:cubicBezTo>
                    <a:cubicBezTo>
                      <a:pt x="62" y="21"/>
                      <a:pt x="62" y="21"/>
                      <a:pt x="62" y="21"/>
                    </a:cubicBezTo>
                    <a:cubicBezTo>
                      <a:pt x="62" y="21"/>
                      <a:pt x="62" y="21"/>
                      <a:pt x="62" y="21"/>
                    </a:cubicBezTo>
                    <a:close/>
                    <a:moveTo>
                      <a:pt x="62" y="21"/>
                    </a:moveTo>
                    <a:cubicBezTo>
                      <a:pt x="62" y="22"/>
                      <a:pt x="61" y="22"/>
                      <a:pt x="61" y="23"/>
                    </a:cubicBezTo>
                    <a:cubicBezTo>
                      <a:pt x="61" y="22"/>
                      <a:pt x="62" y="22"/>
                      <a:pt x="62" y="21"/>
                    </a:cubicBezTo>
                    <a:cubicBezTo>
                      <a:pt x="62" y="21"/>
                      <a:pt x="62" y="21"/>
                      <a:pt x="62" y="21"/>
                    </a:cubicBezTo>
                    <a:close/>
                    <a:moveTo>
                      <a:pt x="35" y="20"/>
                    </a:moveTo>
                    <a:cubicBezTo>
                      <a:pt x="35" y="21"/>
                      <a:pt x="36" y="22"/>
                      <a:pt x="36" y="22"/>
                    </a:cubicBezTo>
                    <a:cubicBezTo>
                      <a:pt x="36" y="22"/>
                      <a:pt x="35" y="21"/>
                      <a:pt x="35" y="20"/>
                    </a:cubicBezTo>
                    <a:cubicBezTo>
                      <a:pt x="35" y="20"/>
                      <a:pt x="35" y="20"/>
                      <a:pt x="35" y="20"/>
                    </a:cubicBezTo>
                    <a:close/>
                    <a:moveTo>
                      <a:pt x="49" y="22"/>
                    </a:moveTo>
                    <a:cubicBezTo>
                      <a:pt x="50" y="22"/>
                      <a:pt x="50" y="22"/>
                      <a:pt x="51" y="21"/>
                    </a:cubicBezTo>
                    <a:cubicBezTo>
                      <a:pt x="50" y="22"/>
                      <a:pt x="50" y="22"/>
                      <a:pt x="50" y="23"/>
                    </a:cubicBezTo>
                    <a:cubicBezTo>
                      <a:pt x="50" y="23"/>
                      <a:pt x="50" y="22"/>
                      <a:pt x="49" y="22"/>
                    </a:cubicBezTo>
                    <a:cubicBezTo>
                      <a:pt x="49" y="22"/>
                      <a:pt x="49" y="22"/>
                      <a:pt x="49" y="22"/>
                    </a:cubicBezTo>
                    <a:close/>
                    <a:moveTo>
                      <a:pt x="44" y="22"/>
                    </a:moveTo>
                    <a:cubicBezTo>
                      <a:pt x="44" y="22"/>
                      <a:pt x="44" y="22"/>
                      <a:pt x="44" y="22"/>
                    </a:cubicBezTo>
                    <a:cubicBezTo>
                      <a:pt x="44" y="22"/>
                      <a:pt x="44" y="23"/>
                      <a:pt x="44" y="23"/>
                    </a:cubicBezTo>
                    <a:cubicBezTo>
                      <a:pt x="44" y="23"/>
                      <a:pt x="44" y="22"/>
                      <a:pt x="44" y="22"/>
                    </a:cubicBezTo>
                    <a:cubicBezTo>
                      <a:pt x="44" y="22"/>
                      <a:pt x="44" y="22"/>
                      <a:pt x="44" y="22"/>
                    </a:cubicBezTo>
                    <a:close/>
                    <a:moveTo>
                      <a:pt x="50" y="23"/>
                    </a:moveTo>
                    <a:cubicBezTo>
                      <a:pt x="50" y="23"/>
                      <a:pt x="50" y="22"/>
                      <a:pt x="49" y="22"/>
                    </a:cubicBezTo>
                    <a:cubicBezTo>
                      <a:pt x="48" y="23"/>
                      <a:pt x="46" y="24"/>
                      <a:pt x="45" y="25"/>
                    </a:cubicBezTo>
                    <a:cubicBezTo>
                      <a:pt x="45" y="26"/>
                      <a:pt x="45" y="27"/>
                      <a:pt x="46" y="27"/>
                    </a:cubicBezTo>
                    <a:cubicBezTo>
                      <a:pt x="46" y="27"/>
                      <a:pt x="47" y="27"/>
                      <a:pt x="47" y="26"/>
                    </a:cubicBezTo>
                    <a:cubicBezTo>
                      <a:pt x="48" y="26"/>
                      <a:pt x="47" y="27"/>
                      <a:pt x="47" y="27"/>
                    </a:cubicBezTo>
                    <a:cubicBezTo>
                      <a:pt x="47" y="27"/>
                      <a:pt x="47" y="27"/>
                      <a:pt x="47" y="27"/>
                    </a:cubicBezTo>
                    <a:cubicBezTo>
                      <a:pt x="47" y="27"/>
                      <a:pt x="46" y="28"/>
                      <a:pt x="46" y="29"/>
                    </a:cubicBezTo>
                    <a:cubicBezTo>
                      <a:pt x="46" y="29"/>
                      <a:pt x="46" y="29"/>
                      <a:pt x="46" y="29"/>
                    </a:cubicBezTo>
                    <a:cubicBezTo>
                      <a:pt x="47" y="27"/>
                      <a:pt x="49" y="25"/>
                      <a:pt x="50" y="23"/>
                    </a:cubicBezTo>
                    <a:cubicBezTo>
                      <a:pt x="50" y="23"/>
                      <a:pt x="50" y="23"/>
                      <a:pt x="50" y="23"/>
                    </a:cubicBezTo>
                    <a:close/>
                    <a:moveTo>
                      <a:pt x="41" y="23"/>
                    </a:moveTo>
                    <a:cubicBezTo>
                      <a:pt x="41" y="23"/>
                      <a:pt x="41" y="23"/>
                      <a:pt x="41" y="23"/>
                    </a:cubicBezTo>
                    <a:cubicBezTo>
                      <a:pt x="41" y="23"/>
                      <a:pt x="41" y="23"/>
                      <a:pt x="42" y="22"/>
                    </a:cubicBezTo>
                    <a:cubicBezTo>
                      <a:pt x="41" y="23"/>
                      <a:pt x="41" y="23"/>
                      <a:pt x="41" y="23"/>
                    </a:cubicBezTo>
                    <a:cubicBezTo>
                      <a:pt x="41" y="23"/>
                      <a:pt x="41" y="23"/>
                      <a:pt x="41" y="23"/>
                    </a:cubicBezTo>
                    <a:close/>
                    <a:moveTo>
                      <a:pt x="43" y="23"/>
                    </a:moveTo>
                    <a:cubicBezTo>
                      <a:pt x="44" y="23"/>
                      <a:pt x="44" y="23"/>
                      <a:pt x="44" y="22"/>
                    </a:cubicBezTo>
                    <a:cubicBezTo>
                      <a:pt x="44" y="23"/>
                      <a:pt x="45" y="25"/>
                      <a:pt x="45" y="25"/>
                    </a:cubicBezTo>
                    <a:cubicBezTo>
                      <a:pt x="44" y="26"/>
                      <a:pt x="44" y="26"/>
                      <a:pt x="43" y="26"/>
                    </a:cubicBezTo>
                    <a:cubicBezTo>
                      <a:pt x="43" y="25"/>
                      <a:pt x="43" y="24"/>
                      <a:pt x="43" y="23"/>
                    </a:cubicBezTo>
                    <a:cubicBezTo>
                      <a:pt x="43" y="23"/>
                      <a:pt x="43" y="23"/>
                      <a:pt x="43" y="23"/>
                    </a:cubicBezTo>
                    <a:close/>
                    <a:moveTo>
                      <a:pt x="30" y="24"/>
                    </a:moveTo>
                    <a:cubicBezTo>
                      <a:pt x="33" y="25"/>
                      <a:pt x="33" y="25"/>
                      <a:pt x="33" y="25"/>
                    </a:cubicBezTo>
                    <a:cubicBezTo>
                      <a:pt x="33" y="26"/>
                      <a:pt x="32" y="27"/>
                      <a:pt x="32" y="28"/>
                    </a:cubicBezTo>
                    <a:cubicBezTo>
                      <a:pt x="31" y="26"/>
                      <a:pt x="31" y="26"/>
                      <a:pt x="31" y="25"/>
                    </a:cubicBezTo>
                    <a:cubicBezTo>
                      <a:pt x="31" y="25"/>
                      <a:pt x="31" y="25"/>
                      <a:pt x="31" y="26"/>
                    </a:cubicBezTo>
                    <a:cubicBezTo>
                      <a:pt x="31" y="25"/>
                      <a:pt x="30" y="25"/>
                      <a:pt x="30" y="24"/>
                    </a:cubicBezTo>
                    <a:cubicBezTo>
                      <a:pt x="30" y="24"/>
                      <a:pt x="30" y="24"/>
                      <a:pt x="30" y="24"/>
                    </a:cubicBezTo>
                    <a:close/>
                    <a:moveTo>
                      <a:pt x="40" y="24"/>
                    </a:moveTo>
                    <a:cubicBezTo>
                      <a:pt x="40" y="24"/>
                      <a:pt x="41" y="24"/>
                      <a:pt x="41" y="25"/>
                    </a:cubicBezTo>
                    <a:cubicBezTo>
                      <a:pt x="41" y="25"/>
                      <a:pt x="41" y="26"/>
                      <a:pt x="41" y="26"/>
                    </a:cubicBezTo>
                    <a:cubicBezTo>
                      <a:pt x="41" y="25"/>
                      <a:pt x="40" y="24"/>
                      <a:pt x="40" y="24"/>
                    </a:cubicBezTo>
                    <a:cubicBezTo>
                      <a:pt x="40" y="24"/>
                      <a:pt x="40" y="24"/>
                      <a:pt x="40" y="24"/>
                    </a:cubicBezTo>
                    <a:close/>
                    <a:moveTo>
                      <a:pt x="36" y="26"/>
                    </a:moveTo>
                    <a:cubicBezTo>
                      <a:pt x="35" y="26"/>
                      <a:pt x="34" y="25"/>
                      <a:pt x="33" y="25"/>
                    </a:cubicBezTo>
                    <a:cubicBezTo>
                      <a:pt x="33" y="26"/>
                      <a:pt x="32" y="28"/>
                      <a:pt x="32" y="28"/>
                    </a:cubicBezTo>
                    <a:cubicBezTo>
                      <a:pt x="32" y="29"/>
                      <a:pt x="32" y="29"/>
                      <a:pt x="32" y="30"/>
                    </a:cubicBezTo>
                    <a:cubicBezTo>
                      <a:pt x="39" y="29"/>
                      <a:pt x="39" y="29"/>
                      <a:pt x="39" y="29"/>
                    </a:cubicBezTo>
                    <a:cubicBezTo>
                      <a:pt x="38" y="28"/>
                      <a:pt x="37" y="27"/>
                      <a:pt x="36" y="26"/>
                    </a:cubicBezTo>
                    <a:cubicBezTo>
                      <a:pt x="36" y="26"/>
                      <a:pt x="36" y="26"/>
                      <a:pt x="36" y="26"/>
                    </a:cubicBezTo>
                    <a:close/>
                    <a:moveTo>
                      <a:pt x="51" y="26"/>
                    </a:moveTo>
                    <a:cubicBezTo>
                      <a:pt x="47" y="27"/>
                      <a:pt x="49" y="26"/>
                      <a:pt x="47" y="29"/>
                    </a:cubicBezTo>
                    <a:cubicBezTo>
                      <a:pt x="46" y="30"/>
                      <a:pt x="45" y="31"/>
                      <a:pt x="44" y="32"/>
                    </a:cubicBezTo>
                    <a:cubicBezTo>
                      <a:pt x="44" y="32"/>
                      <a:pt x="44" y="33"/>
                      <a:pt x="45" y="33"/>
                    </a:cubicBezTo>
                    <a:cubicBezTo>
                      <a:pt x="47" y="33"/>
                      <a:pt x="49" y="33"/>
                      <a:pt x="50" y="32"/>
                    </a:cubicBezTo>
                    <a:cubicBezTo>
                      <a:pt x="51" y="32"/>
                      <a:pt x="51" y="31"/>
                      <a:pt x="51" y="31"/>
                    </a:cubicBezTo>
                    <a:cubicBezTo>
                      <a:pt x="54" y="29"/>
                      <a:pt x="52" y="30"/>
                      <a:pt x="54" y="27"/>
                    </a:cubicBezTo>
                    <a:cubicBezTo>
                      <a:pt x="54" y="27"/>
                      <a:pt x="54" y="26"/>
                      <a:pt x="55" y="25"/>
                    </a:cubicBezTo>
                    <a:cubicBezTo>
                      <a:pt x="53" y="26"/>
                      <a:pt x="52" y="26"/>
                      <a:pt x="51" y="26"/>
                    </a:cubicBezTo>
                    <a:cubicBezTo>
                      <a:pt x="51" y="26"/>
                      <a:pt x="51" y="26"/>
                      <a:pt x="51" y="26"/>
                    </a:cubicBezTo>
                    <a:close/>
                    <a:moveTo>
                      <a:pt x="39" y="27"/>
                    </a:moveTo>
                    <a:cubicBezTo>
                      <a:pt x="38" y="26"/>
                      <a:pt x="37" y="26"/>
                      <a:pt x="37" y="26"/>
                    </a:cubicBezTo>
                    <a:cubicBezTo>
                      <a:pt x="37" y="27"/>
                      <a:pt x="38" y="28"/>
                      <a:pt x="39" y="29"/>
                    </a:cubicBezTo>
                    <a:cubicBezTo>
                      <a:pt x="39" y="28"/>
                      <a:pt x="40" y="28"/>
                      <a:pt x="40" y="28"/>
                    </a:cubicBezTo>
                    <a:cubicBezTo>
                      <a:pt x="40" y="28"/>
                      <a:pt x="39" y="27"/>
                      <a:pt x="39" y="27"/>
                    </a:cubicBezTo>
                    <a:cubicBezTo>
                      <a:pt x="39" y="27"/>
                      <a:pt x="39" y="27"/>
                      <a:pt x="39" y="27"/>
                    </a:cubicBezTo>
                    <a:close/>
                    <a:moveTo>
                      <a:pt x="44" y="26"/>
                    </a:moveTo>
                    <a:cubicBezTo>
                      <a:pt x="43" y="27"/>
                      <a:pt x="43" y="27"/>
                      <a:pt x="43" y="29"/>
                    </a:cubicBezTo>
                    <a:cubicBezTo>
                      <a:pt x="44" y="28"/>
                      <a:pt x="45" y="28"/>
                      <a:pt x="45" y="28"/>
                    </a:cubicBezTo>
                    <a:cubicBezTo>
                      <a:pt x="45" y="27"/>
                      <a:pt x="45" y="26"/>
                      <a:pt x="45" y="25"/>
                    </a:cubicBezTo>
                    <a:cubicBezTo>
                      <a:pt x="45" y="25"/>
                      <a:pt x="44" y="26"/>
                      <a:pt x="44" y="26"/>
                    </a:cubicBezTo>
                    <a:cubicBezTo>
                      <a:pt x="44" y="26"/>
                      <a:pt x="44" y="26"/>
                      <a:pt x="44" y="26"/>
                    </a:cubicBezTo>
                    <a:close/>
                    <a:moveTo>
                      <a:pt x="46" y="28"/>
                    </a:moveTo>
                    <a:cubicBezTo>
                      <a:pt x="46" y="27"/>
                      <a:pt x="46" y="27"/>
                      <a:pt x="47" y="27"/>
                    </a:cubicBezTo>
                    <a:cubicBezTo>
                      <a:pt x="46" y="27"/>
                      <a:pt x="46" y="28"/>
                      <a:pt x="46" y="28"/>
                    </a:cubicBezTo>
                    <a:cubicBezTo>
                      <a:pt x="46" y="28"/>
                      <a:pt x="46" y="28"/>
                      <a:pt x="46" y="28"/>
                    </a:cubicBezTo>
                    <a:cubicBezTo>
                      <a:pt x="46" y="28"/>
                      <a:pt x="46" y="28"/>
                      <a:pt x="46" y="28"/>
                    </a:cubicBezTo>
                    <a:close/>
                    <a:moveTo>
                      <a:pt x="42" y="28"/>
                    </a:moveTo>
                    <a:cubicBezTo>
                      <a:pt x="42" y="27"/>
                      <a:pt x="42" y="26"/>
                      <a:pt x="43" y="25"/>
                    </a:cubicBezTo>
                    <a:cubicBezTo>
                      <a:pt x="42" y="26"/>
                      <a:pt x="42" y="27"/>
                      <a:pt x="42" y="29"/>
                    </a:cubicBezTo>
                    <a:cubicBezTo>
                      <a:pt x="42" y="28"/>
                      <a:pt x="42" y="28"/>
                      <a:pt x="42" y="28"/>
                    </a:cubicBezTo>
                    <a:cubicBezTo>
                      <a:pt x="42" y="28"/>
                      <a:pt x="42" y="28"/>
                      <a:pt x="42" y="28"/>
                    </a:cubicBezTo>
                    <a:close/>
                    <a:moveTo>
                      <a:pt x="58" y="28"/>
                    </a:moveTo>
                    <a:cubicBezTo>
                      <a:pt x="57" y="28"/>
                      <a:pt x="57" y="28"/>
                      <a:pt x="56" y="29"/>
                    </a:cubicBezTo>
                    <a:cubicBezTo>
                      <a:pt x="57" y="28"/>
                      <a:pt x="57" y="28"/>
                      <a:pt x="58" y="28"/>
                    </a:cubicBezTo>
                    <a:cubicBezTo>
                      <a:pt x="58" y="28"/>
                      <a:pt x="58" y="28"/>
                      <a:pt x="58" y="28"/>
                    </a:cubicBezTo>
                    <a:close/>
                    <a:moveTo>
                      <a:pt x="41" y="28"/>
                    </a:moveTo>
                    <a:cubicBezTo>
                      <a:pt x="40" y="28"/>
                      <a:pt x="40" y="28"/>
                      <a:pt x="40" y="28"/>
                    </a:cubicBezTo>
                    <a:cubicBezTo>
                      <a:pt x="40" y="29"/>
                      <a:pt x="40" y="29"/>
                      <a:pt x="40" y="30"/>
                    </a:cubicBezTo>
                    <a:cubicBezTo>
                      <a:pt x="40" y="31"/>
                      <a:pt x="41" y="31"/>
                      <a:pt x="41" y="32"/>
                    </a:cubicBezTo>
                    <a:cubicBezTo>
                      <a:pt x="41" y="32"/>
                      <a:pt x="41" y="32"/>
                      <a:pt x="41" y="31"/>
                    </a:cubicBezTo>
                    <a:cubicBezTo>
                      <a:pt x="41" y="31"/>
                      <a:pt x="41" y="30"/>
                      <a:pt x="41" y="29"/>
                    </a:cubicBezTo>
                    <a:cubicBezTo>
                      <a:pt x="41" y="29"/>
                      <a:pt x="41" y="29"/>
                      <a:pt x="41" y="28"/>
                    </a:cubicBezTo>
                    <a:cubicBezTo>
                      <a:pt x="41" y="28"/>
                      <a:pt x="41" y="28"/>
                      <a:pt x="41" y="28"/>
                    </a:cubicBezTo>
                    <a:close/>
                    <a:moveTo>
                      <a:pt x="46" y="29"/>
                    </a:moveTo>
                    <a:cubicBezTo>
                      <a:pt x="46" y="28"/>
                      <a:pt x="45" y="28"/>
                      <a:pt x="45" y="28"/>
                    </a:cubicBezTo>
                    <a:cubicBezTo>
                      <a:pt x="45" y="28"/>
                      <a:pt x="44" y="28"/>
                      <a:pt x="43" y="29"/>
                    </a:cubicBezTo>
                    <a:cubicBezTo>
                      <a:pt x="43" y="29"/>
                      <a:pt x="43" y="29"/>
                      <a:pt x="43" y="29"/>
                    </a:cubicBezTo>
                    <a:cubicBezTo>
                      <a:pt x="43" y="30"/>
                      <a:pt x="44" y="30"/>
                      <a:pt x="44" y="30"/>
                    </a:cubicBezTo>
                    <a:cubicBezTo>
                      <a:pt x="45" y="30"/>
                      <a:pt x="45" y="29"/>
                      <a:pt x="46" y="29"/>
                    </a:cubicBezTo>
                    <a:cubicBezTo>
                      <a:pt x="46" y="29"/>
                      <a:pt x="46" y="29"/>
                      <a:pt x="46" y="29"/>
                    </a:cubicBezTo>
                    <a:close/>
                    <a:moveTo>
                      <a:pt x="39" y="29"/>
                    </a:moveTo>
                    <a:cubicBezTo>
                      <a:pt x="39" y="29"/>
                      <a:pt x="40" y="29"/>
                      <a:pt x="40" y="29"/>
                    </a:cubicBezTo>
                    <a:cubicBezTo>
                      <a:pt x="40" y="29"/>
                      <a:pt x="40" y="29"/>
                      <a:pt x="39" y="30"/>
                    </a:cubicBezTo>
                    <a:cubicBezTo>
                      <a:pt x="39" y="29"/>
                      <a:pt x="39" y="29"/>
                      <a:pt x="39" y="29"/>
                    </a:cubicBezTo>
                    <a:cubicBezTo>
                      <a:pt x="39" y="29"/>
                      <a:pt x="39" y="29"/>
                      <a:pt x="39" y="29"/>
                    </a:cubicBezTo>
                    <a:close/>
                    <a:moveTo>
                      <a:pt x="61" y="29"/>
                    </a:moveTo>
                    <a:cubicBezTo>
                      <a:pt x="62" y="29"/>
                      <a:pt x="63" y="29"/>
                      <a:pt x="63" y="28"/>
                    </a:cubicBezTo>
                    <a:cubicBezTo>
                      <a:pt x="63" y="29"/>
                      <a:pt x="62" y="29"/>
                      <a:pt x="61" y="29"/>
                    </a:cubicBezTo>
                    <a:cubicBezTo>
                      <a:pt x="61" y="29"/>
                      <a:pt x="61" y="29"/>
                      <a:pt x="61" y="29"/>
                    </a:cubicBezTo>
                    <a:close/>
                    <a:moveTo>
                      <a:pt x="56" y="29"/>
                    </a:moveTo>
                    <a:cubicBezTo>
                      <a:pt x="56" y="29"/>
                      <a:pt x="56" y="29"/>
                      <a:pt x="56" y="29"/>
                    </a:cubicBezTo>
                    <a:cubicBezTo>
                      <a:pt x="56" y="30"/>
                      <a:pt x="56" y="32"/>
                      <a:pt x="56" y="33"/>
                    </a:cubicBezTo>
                    <a:cubicBezTo>
                      <a:pt x="54" y="33"/>
                      <a:pt x="51" y="33"/>
                      <a:pt x="49" y="33"/>
                    </a:cubicBezTo>
                    <a:cubicBezTo>
                      <a:pt x="50" y="33"/>
                      <a:pt x="50" y="33"/>
                      <a:pt x="51" y="33"/>
                    </a:cubicBezTo>
                    <a:cubicBezTo>
                      <a:pt x="53" y="32"/>
                      <a:pt x="55" y="30"/>
                      <a:pt x="56" y="29"/>
                    </a:cubicBezTo>
                    <a:cubicBezTo>
                      <a:pt x="56" y="29"/>
                      <a:pt x="56" y="29"/>
                      <a:pt x="56" y="29"/>
                    </a:cubicBezTo>
                    <a:close/>
                    <a:moveTo>
                      <a:pt x="46" y="29"/>
                    </a:moveTo>
                    <a:cubicBezTo>
                      <a:pt x="46" y="29"/>
                      <a:pt x="46" y="29"/>
                      <a:pt x="46" y="29"/>
                    </a:cubicBezTo>
                    <a:cubicBezTo>
                      <a:pt x="45" y="29"/>
                      <a:pt x="45" y="30"/>
                      <a:pt x="45" y="30"/>
                    </a:cubicBezTo>
                    <a:cubicBezTo>
                      <a:pt x="45" y="30"/>
                      <a:pt x="45" y="29"/>
                      <a:pt x="46" y="29"/>
                    </a:cubicBezTo>
                    <a:cubicBezTo>
                      <a:pt x="46" y="29"/>
                      <a:pt x="46" y="29"/>
                      <a:pt x="46" y="29"/>
                    </a:cubicBezTo>
                    <a:close/>
                    <a:moveTo>
                      <a:pt x="26" y="30"/>
                    </a:moveTo>
                    <a:cubicBezTo>
                      <a:pt x="27" y="30"/>
                      <a:pt x="27" y="30"/>
                      <a:pt x="28" y="31"/>
                    </a:cubicBezTo>
                    <a:cubicBezTo>
                      <a:pt x="27" y="30"/>
                      <a:pt x="26" y="30"/>
                      <a:pt x="26" y="30"/>
                    </a:cubicBezTo>
                    <a:cubicBezTo>
                      <a:pt x="26" y="30"/>
                      <a:pt x="26" y="30"/>
                      <a:pt x="26" y="30"/>
                    </a:cubicBezTo>
                    <a:close/>
                    <a:moveTo>
                      <a:pt x="35" y="29"/>
                    </a:moveTo>
                    <a:cubicBezTo>
                      <a:pt x="34" y="29"/>
                      <a:pt x="33" y="30"/>
                      <a:pt x="32" y="30"/>
                    </a:cubicBezTo>
                    <a:cubicBezTo>
                      <a:pt x="33" y="32"/>
                      <a:pt x="34" y="34"/>
                      <a:pt x="36" y="36"/>
                    </a:cubicBezTo>
                    <a:cubicBezTo>
                      <a:pt x="36" y="35"/>
                      <a:pt x="37" y="34"/>
                      <a:pt x="38" y="33"/>
                    </a:cubicBezTo>
                    <a:cubicBezTo>
                      <a:pt x="37" y="34"/>
                      <a:pt x="36" y="35"/>
                      <a:pt x="36" y="36"/>
                    </a:cubicBezTo>
                    <a:cubicBezTo>
                      <a:pt x="36" y="36"/>
                      <a:pt x="36" y="36"/>
                      <a:pt x="37" y="37"/>
                    </a:cubicBezTo>
                    <a:cubicBezTo>
                      <a:pt x="37" y="36"/>
                      <a:pt x="38" y="34"/>
                      <a:pt x="38" y="34"/>
                    </a:cubicBezTo>
                    <a:cubicBezTo>
                      <a:pt x="37" y="33"/>
                      <a:pt x="37" y="33"/>
                      <a:pt x="37" y="33"/>
                    </a:cubicBezTo>
                    <a:cubicBezTo>
                      <a:pt x="37" y="33"/>
                      <a:pt x="37" y="33"/>
                      <a:pt x="38" y="33"/>
                    </a:cubicBezTo>
                    <a:cubicBezTo>
                      <a:pt x="37" y="33"/>
                      <a:pt x="37" y="33"/>
                      <a:pt x="37" y="32"/>
                    </a:cubicBezTo>
                    <a:cubicBezTo>
                      <a:pt x="37" y="33"/>
                      <a:pt x="37" y="33"/>
                      <a:pt x="38" y="34"/>
                    </a:cubicBezTo>
                    <a:cubicBezTo>
                      <a:pt x="38" y="33"/>
                      <a:pt x="38" y="33"/>
                      <a:pt x="38" y="32"/>
                    </a:cubicBezTo>
                    <a:cubicBezTo>
                      <a:pt x="37" y="32"/>
                      <a:pt x="36" y="32"/>
                      <a:pt x="35" y="32"/>
                    </a:cubicBezTo>
                    <a:cubicBezTo>
                      <a:pt x="36" y="32"/>
                      <a:pt x="37" y="32"/>
                      <a:pt x="38" y="32"/>
                    </a:cubicBezTo>
                    <a:cubicBezTo>
                      <a:pt x="39" y="31"/>
                      <a:pt x="39" y="31"/>
                      <a:pt x="39" y="30"/>
                    </a:cubicBezTo>
                    <a:cubicBezTo>
                      <a:pt x="39" y="29"/>
                      <a:pt x="39" y="29"/>
                      <a:pt x="39" y="29"/>
                    </a:cubicBezTo>
                    <a:cubicBezTo>
                      <a:pt x="38" y="29"/>
                      <a:pt x="37" y="29"/>
                      <a:pt x="35" y="29"/>
                    </a:cubicBezTo>
                    <a:cubicBezTo>
                      <a:pt x="35" y="29"/>
                      <a:pt x="35" y="29"/>
                      <a:pt x="35" y="29"/>
                    </a:cubicBezTo>
                    <a:close/>
                    <a:moveTo>
                      <a:pt x="43" y="30"/>
                    </a:moveTo>
                    <a:cubicBezTo>
                      <a:pt x="43" y="30"/>
                      <a:pt x="43" y="30"/>
                      <a:pt x="42" y="30"/>
                    </a:cubicBezTo>
                    <a:cubicBezTo>
                      <a:pt x="43" y="30"/>
                      <a:pt x="43" y="30"/>
                      <a:pt x="43" y="30"/>
                    </a:cubicBezTo>
                    <a:cubicBezTo>
                      <a:pt x="43" y="30"/>
                      <a:pt x="43" y="31"/>
                      <a:pt x="43" y="31"/>
                    </a:cubicBezTo>
                    <a:cubicBezTo>
                      <a:pt x="44" y="31"/>
                      <a:pt x="44" y="31"/>
                      <a:pt x="44" y="30"/>
                    </a:cubicBezTo>
                    <a:cubicBezTo>
                      <a:pt x="44" y="30"/>
                      <a:pt x="43" y="30"/>
                      <a:pt x="43" y="29"/>
                    </a:cubicBezTo>
                    <a:cubicBezTo>
                      <a:pt x="43" y="29"/>
                      <a:pt x="43" y="30"/>
                      <a:pt x="43" y="30"/>
                    </a:cubicBezTo>
                    <a:cubicBezTo>
                      <a:pt x="43" y="30"/>
                      <a:pt x="43" y="30"/>
                      <a:pt x="43" y="30"/>
                    </a:cubicBezTo>
                    <a:close/>
                    <a:moveTo>
                      <a:pt x="55" y="29"/>
                    </a:moveTo>
                    <a:cubicBezTo>
                      <a:pt x="54" y="29"/>
                      <a:pt x="53" y="29"/>
                      <a:pt x="53" y="31"/>
                    </a:cubicBezTo>
                    <a:cubicBezTo>
                      <a:pt x="55" y="29"/>
                      <a:pt x="56" y="28"/>
                      <a:pt x="58" y="26"/>
                    </a:cubicBezTo>
                    <a:cubicBezTo>
                      <a:pt x="57" y="27"/>
                      <a:pt x="56" y="28"/>
                      <a:pt x="55" y="29"/>
                    </a:cubicBezTo>
                    <a:cubicBezTo>
                      <a:pt x="55" y="29"/>
                      <a:pt x="55" y="29"/>
                      <a:pt x="55" y="29"/>
                    </a:cubicBezTo>
                    <a:close/>
                    <a:moveTo>
                      <a:pt x="29" y="30"/>
                    </a:moveTo>
                    <a:cubicBezTo>
                      <a:pt x="29" y="30"/>
                      <a:pt x="29" y="30"/>
                      <a:pt x="28" y="30"/>
                    </a:cubicBezTo>
                    <a:cubicBezTo>
                      <a:pt x="29" y="31"/>
                      <a:pt x="30" y="32"/>
                      <a:pt x="31" y="33"/>
                    </a:cubicBezTo>
                    <a:cubicBezTo>
                      <a:pt x="31" y="31"/>
                      <a:pt x="31" y="31"/>
                      <a:pt x="29" y="30"/>
                    </a:cubicBezTo>
                    <a:cubicBezTo>
                      <a:pt x="29" y="30"/>
                      <a:pt x="29" y="30"/>
                      <a:pt x="29" y="30"/>
                    </a:cubicBezTo>
                    <a:close/>
                    <a:moveTo>
                      <a:pt x="52" y="31"/>
                    </a:moveTo>
                    <a:cubicBezTo>
                      <a:pt x="53" y="31"/>
                      <a:pt x="53" y="30"/>
                      <a:pt x="53" y="30"/>
                    </a:cubicBezTo>
                    <a:cubicBezTo>
                      <a:pt x="52" y="31"/>
                      <a:pt x="51" y="31"/>
                      <a:pt x="51" y="32"/>
                    </a:cubicBezTo>
                    <a:cubicBezTo>
                      <a:pt x="51" y="31"/>
                      <a:pt x="52" y="31"/>
                      <a:pt x="52" y="31"/>
                    </a:cubicBezTo>
                    <a:cubicBezTo>
                      <a:pt x="52" y="31"/>
                      <a:pt x="52" y="31"/>
                      <a:pt x="52" y="31"/>
                    </a:cubicBezTo>
                    <a:close/>
                    <a:moveTo>
                      <a:pt x="30" y="30"/>
                    </a:moveTo>
                    <a:cubicBezTo>
                      <a:pt x="30" y="30"/>
                      <a:pt x="31" y="31"/>
                      <a:pt x="31" y="31"/>
                    </a:cubicBezTo>
                    <a:cubicBezTo>
                      <a:pt x="31" y="31"/>
                      <a:pt x="32" y="31"/>
                      <a:pt x="32" y="31"/>
                    </a:cubicBezTo>
                    <a:cubicBezTo>
                      <a:pt x="31" y="30"/>
                      <a:pt x="30" y="29"/>
                      <a:pt x="29" y="27"/>
                    </a:cubicBezTo>
                    <a:cubicBezTo>
                      <a:pt x="29" y="28"/>
                      <a:pt x="30" y="29"/>
                      <a:pt x="30" y="30"/>
                    </a:cubicBezTo>
                    <a:cubicBezTo>
                      <a:pt x="30" y="30"/>
                      <a:pt x="30" y="30"/>
                      <a:pt x="30" y="30"/>
                    </a:cubicBezTo>
                    <a:close/>
                    <a:moveTo>
                      <a:pt x="31" y="31"/>
                    </a:moveTo>
                    <a:cubicBezTo>
                      <a:pt x="30" y="31"/>
                      <a:pt x="30" y="31"/>
                      <a:pt x="30" y="31"/>
                    </a:cubicBezTo>
                    <a:cubicBezTo>
                      <a:pt x="30" y="31"/>
                      <a:pt x="30" y="31"/>
                      <a:pt x="31" y="31"/>
                    </a:cubicBezTo>
                    <a:cubicBezTo>
                      <a:pt x="31" y="31"/>
                      <a:pt x="31" y="31"/>
                      <a:pt x="31" y="31"/>
                    </a:cubicBezTo>
                    <a:cubicBezTo>
                      <a:pt x="31" y="31"/>
                      <a:pt x="31" y="31"/>
                      <a:pt x="31" y="31"/>
                    </a:cubicBezTo>
                    <a:close/>
                    <a:moveTo>
                      <a:pt x="31" y="32"/>
                    </a:moveTo>
                    <a:cubicBezTo>
                      <a:pt x="31" y="31"/>
                      <a:pt x="31" y="31"/>
                      <a:pt x="31" y="31"/>
                    </a:cubicBezTo>
                    <a:cubicBezTo>
                      <a:pt x="32" y="32"/>
                      <a:pt x="32" y="32"/>
                      <a:pt x="33" y="33"/>
                    </a:cubicBezTo>
                    <a:cubicBezTo>
                      <a:pt x="32" y="32"/>
                      <a:pt x="32" y="32"/>
                      <a:pt x="31" y="32"/>
                    </a:cubicBezTo>
                    <a:cubicBezTo>
                      <a:pt x="31" y="32"/>
                      <a:pt x="31" y="32"/>
                      <a:pt x="31" y="32"/>
                    </a:cubicBezTo>
                    <a:close/>
                    <a:moveTo>
                      <a:pt x="60" y="30"/>
                    </a:moveTo>
                    <a:cubicBezTo>
                      <a:pt x="60" y="30"/>
                      <a:pt x="59" y="31"/>
                      <a:pt x="59" y="32"/>
                    </a:cubicBezTo>
                    <a:cubicBezTo>
                      <a:pt x="59" y="31"/>
                      <a:pt x="60" y="30"/>
                      <a:pt x="60" y="30"/>
                    </a:cubicBezTo>
                    <a:cubicBezTo>
                      <a:pt x="60" y="30"/>
                      <a:pt x="60" y="30"/>
                      <a:pt x="60" y="30"/>
                    </a:cubicBezTo>
                    <a:close/>
                    <a:moveTo>
                      <a:pt x="39" y="31"/>
                    </a:moveTo>
                    <a:cubicBezTo>
                      <a:pt x="39" y="31"/>
                      <a:pt x="39" y="32"/>
                      <a:pt x="39" y="32"/>
                    </a:cubicBezTo>
                    <a:cubicBezTo>
                      <a:pt x="39" y="32"/>
                      <a:pt x="39" y="32"/>
                      <a:pt x="39" y="32"/>
                    </a:cubicBezTo>
                    <a:cubicBezTo>
                      <a:pt x="39" y="32"/>
                      <a:pt x="39" y="32"/>
                      <a:pt x="39" y="32"/>
                    </a:cubicBezTo>
                    <a:cubicBezTo>
                      <a:pt x="39" y="32"/>
                      <a:pt x="39" y="32"/>
                      <a:pt x="39" y="32"/>
                    </a:cubicBezTo>
                    <a:cubicBezTo>
                      <a:pt x="40" y="32"/>
                      <a:pt x="40" y="32"/>
                      <a:pt x="41" y="32"/>
                    </a:cubicBezTo>
                    <a:cubicBezTo>
                      <a:pt x="40" y="31"/>
                      <a:pt x="40" y="31"/>
                      <a:pt x="39" y="30"/>
                    </a:cubicBezTo>
                    <a:cubicBezTo>
                      <a:pt x="39" y="30"/>
                      <a:pt x="39" y="31"/>
                      <a:pt x="39" y="31"/>
                    </a:cubicBezTo>
                    <a:cubicBezTo>
                      <a:pt x="39" y="31"/>
                      <a:pt x="39" y="31"/>
                      <a:pt x="39" y="31"/>
                    </a:cubicBezTo>
                    <a:close/>
                    <a:moveTo>
                      <a:pt x="39" y="32"/>
                    </a:moveTo>
                    <a:cubicBezTo>
                      <a:pt x="39" y="32"/>
                      <a:pt x="39" y="32"/>
                      <a:pt x="38" y="32"/>
                    </a:cubicBezTo>
                    <a:cubicBezTo>
                      <a:pt x="38" y="33"/>
                      <a:pt x="38" y="33"/>
                      <a:pt x="38" y="34"/>
                    </a:cubicBezTo>
                    <a:cubicBezTo>
                      <a:pt x="38" y="34"/>
                      <a:pt x="39" y="34"/>
                      <a:pt x="39" y="34"/>
                    </a:cubicBezTo>
                    <a:cubicBezTo>
                      <a:pt x="39" y="33"/>
                      <a:pt x="39" y="32"/>
                      <a:pt x="39" y="32"/>
                    </a:cubicBezTo>
                    <a:cubicBezTo>
                      <a:pt x="39" y="34"/>
                      <a:pt x="40" y="35"/>
                      <a:pt x="40" y="37"/>
                    </a:cubicBezTo>
                    <a:cubicBezTo>
                      <a:pt x="41" y="32"/>
                      <a:pt x="41" y="32"/>
                      <a:pt x="41" y="32"/>
                    </a:cubicBezTo>
                    <a:cubicBezTo>
                      <a:pt x="40" y="32"/>
                      <a:pt x="40" y="32"/>
                      <a:pt x="39" y="32"/>
                    </a:cubicBezTo>
                    <a:cubicBezTo>
                      <a:pt x="39" y="32"/>
                      <a:pt x="39" y="32"/>
                      <a:pt x="39" y="32"/>
                    </a:cubicBezTo>
                    <a:cubicBezTo>
                      <a:pt x="39" y="32"/>
                      <a:pt x="39" y="32"/>
                      <a:pt x="39" y="32"/>
                    </a:cubicBezTo>
                    <a:cubicBezTo>
                      <a:pt x="39" y="32"/>
                      <a:pt x="39" y="32"/>
                      <a:pt x="39" y="32"/>
                    </a:cubicBezTo>
                    <a:close/>
                    <a:moveTo>
                      <a:pt x="41" y="32"/>
                    </a:moveTo>
                    <a:cubicBezTo>
                      <a:pt x="41" y="32"/>
                      <a:pt x="41" y="32"/>
                      <a:pt x="41" y="32"/>
                    </a:cubicBezTo>
                    <a:cubicBezTo>
                      <a:pt x="41" y="32"/>
                      <a:pt x="41" y="32"/>
                      <a:pt x="41" y="32"/>
                    </a:cubicBezTo>
                    <a:cubicBezTo>
                      <a:pt x="41" y="32"/>
                      <a:pt x="41" y="32"/>
                      <a:pt x="41" y="32"/>
                    </a:cubicBezTo>
                    <a:cubicBezTo>
                      <a:pt x="41" y="32"/>
                      <a:pt x="41" y="32"/>
                      <a:pt x="41" y="32"/>
                    </a:cubicBezTo>
                    <a:close/>
                    <a:moveTo>
                      <a:pt x="33" y="32"/>
                    </a:moveTo>
                    <a:cubicBezTo>
                      <a:pt x="33" y="32"/>
                      <a:pt x="33" y="32"/>
                      <a:pt x="32" y="32"/>
                    </a:cubicBezTo>
                    <a:cubicBezTo>
                      <a:pt x="33" y="32"/>
                      <a:pt x="33" y="34"/>
                      <a:pt x="34" y="34"/>
                    </a:cubicBezTo>
                    <a:cubicBezTo>
                      <a:pt x="34" y="33"/>
                      <a:pt x="34" y="33"/>
                      <a:pt x="33" y="32"/>
                    </a:cubicBezTo>
                    <a:cubicBezTo>
                      <a:pt x="33" y="32"/>
                      <a:pt x="33" y="32"/>
                      <a:pt x="33" y="32"/>
                    </a:cubicBezTo>
                    <a:close/>
                    <a:moveTo>
                      <a:pt x="43" y="32"/>
                    </a:moveTo>
                    <a:cubicBezTo>
                      <a:pt x="43" y="32"/>
                      <a:pt x="43" y="32"/>
                      <a:pt x="43" y="32"/>
                    </a:cubicBezTo>
                    <a:cubicBezTo>
                      <a:pt x="44" y="32"/>
                      <a:pt x="44" y="33"/>
                      <a:pt x="45" y="34"/>
                    </a:cubicBezTo>
                    <a:cubicBezTo>
                      <a:pt x="44" y="34"/>
                      <a:pt x="44" y="34"/>
                      <a:pt x="43" y="34"/>
                    </a:cubicBezTo>
                    <a:cubicBezTo>
                      <a:pt x="43" y="33"/>
                      <a:pt x="43" y="33"/>
                      <a:pt x="43" y="32"/>
                    </a:cubicBezTo>
                    <a:cubicBezTo>
                      <a:pt x="43" y="32"/>
                      <a:pt x="43" y="32"/>
                      <a:pt x="43" y="32"/>
                    </a:cubicBezTo>
                    <a:close/>
                    <a:moveTo>
                      <a:pt x="41" y="32"/>
                    </a:moveTo>
                    <a:cubicBezTo>
                      <a:pt x="41" y="32"/>
                      <a:pt x="41" y="32"/>
                      <a:pt x="41" y="32"/>
                    </a:cubicBezTo>
                    <a:cubicBezTo>
                      <a:pt x="41" y="32"/>
                      <a:pt x="41" y="32"/>
                      <a:pt x="41" y="32"/>
                    </a:cubicBezTo>
                    <a:cubicBezTo>
                      <a:pt x="41" y="32"/>
                      <a:pt x="41" y="32"/>
                      <a:pt x="41" y="32"/>
                    </a:cubicBezTo>
                    <a:cubicBezTo>
                      <a:pt x="41" y="32"/>
                      <a:pt x="41" y="32"/>
                      <a:pt x="41" y="32"/>
                    </a:cubicBezTo>
                    <a:close/>
                    <a:moveTo>
                      <a:pt x="41" y="33"/>
                    </a:moveTo>
                    <a:cubicBezTo>
                      <a:pt x="41" y="33"/>
                      <a:pt x="41" y="37"/>
                      <a:pt x="41" y="38"/>
                    </a:cubicBezTo>
                    <a:cubicBezTo>
                      <a:pt x="40" y="38"/>
                      <a:pt x="40" y="38"/>
                      <a:pt x="40" y="38"/>
                    </a:cubicBezTo>
                    <a:cubicBezTo>
                      <a:pt x="40" y="36"/>
                      <a:pt x="41" y="34"/>
                      <a:pt x="41" y="33"/>
                    </a:cubicBezTo>
                    <a:cubicBezTo>
                      <a:pt x="41" y="33"/>
                      <a:pt x="41" y="33"/>
                      <a:pt x="41" y="33"/>
                    </a:cubicBezTo>
                    <a:close/>
                    <a:moveTo>
                      <a:pt x="32" y="33"/>
                    </a:moveTo>
                    <a:cubicBezTo>
                      <a:pt x="31" y="33"/>
                      <a:pt x="31" y="32"/>
                      <a:pt x="31" y="32"/>
                    </a:cubicBezTo>
                    <a:cubicBezTo>
                      <a:pt x="32" y="33"/>
                      <a:pt x="33" y="33"/>
                      <a:pt x="33" y="34"/>
                    </a:cubicBezTo>
                    <a:cubicBezTo>
                      <a:pt x="32" y="34"/>
                      <a:pt x="32" y="33"/>
                      <a:pt x="32" y="33"/>
                    </a:cubicBezTo>
                    <a:cubicBezTo>
                      <a:pt x="32" y="33"/>
                      <a:pt x="32" y="33"/>
                      <a:pt x="32" y="33"/>
                    </a:cubicBezTo>
                    <a:close/>
                    <a:moveTo>
                      <a:pt x="58" y="33"/>
                    </a:moveTo>
                    <a:cubicBezTo>
                      <a:pt x="58" y="33"/>
                      <a:pt x="58" y="33"/>
                      <a:pt x="58" y="33"/>
                    </a:cubicBezTo>
                    <a:cubicBezTo>
                      <a:pt x="58" y="33"/>
                      <a:pt x="58" y="33"/>
                      <a:pt x="58" y="34"/>
                    </a:cubicBezTo>
                    <a:cubicBezTo>
                      <a:pt x="58" y="33"/>
                      <a:pt x="58" y="33"/>
                      <a:pt x="58" y="33"/>
                    </a:cubicBezTo>
                    <a:cubicBezTo>
                      <a:pt x="58" y="33"/>
                      <a:pt x="58" y="33"/>
                      <a:pt x="58" y="33"/>
                    </a:cubicBezTo>
                    <a:close/>
                    <a:moveTo>
                      <a:pt x="58" y="33"/>
                    </a:moveTo>
                    <a:cubicBezTo>
                      <a:pt x="57" y="33"/>
                      <a:pt x="57" y="33"/>
                      <a:pt x="56" y="33"/>
                    </a:cubicBezTo>
                    <a:cubicBezTo>
                      <a:pt x="56" y="35"/>
                      <a:pt x="56" y="35"/>
                      <a:pt x="56" y="35"/>
                    </a:cubicBezTo>
                    <a:cubicBezTo>
                      <a:pt x="57" y="34"/>
                      <a:pt x="57" y="34"/>
                      <a:pt x="58" y="33"/>
                    </a:cubicBezTo>
                    <a:cubicBezTo>
                      <a:pt x="58" y="33"/>
                      <a:pt x="58" y="33"/>
                      <a:pt x="58" y="33"/>
                    </a:cubicBezTo>
                    <a:close/>
                    <a:moveTo>
                      <a:pt x="48" y="33"/>
                    </a:moveTo>
                    <a:cubicBezTo>
                      <a:pt x="51" y="33"/>
                      <a:pt x="54" y="33"/>
                      <a:pt x="56" y="33"/>
                    </a:cubicBezTo>
                    <a:cubicBezTo>
                      <a:pt x="56" y="34"/>
                      <a:pt x="56" y="35"/>
                      <a:pt x="56" y="35"/>
                    </a:cubicBezTo>
                    <a:cubicBezTo>
                      <a:pt x="55" y="36"/>
                      <a:pt x="55" y="36"/>
                      <a:pt x="54" y="37"/>
                    </a:cubicBezTo>
                    <a:cubicBezTo>
                      <a:pt x="53" y="37"/>
                      <a:pt x="53" y="38"/>
                      <a:pt x="52" y="39"/>
                    </a:cubicBezTo>
                    <a:cubicBezTo>
                      <a:pt x="51" y="38"/>
                      <a:pt x="50" y="38"/>
                      <a:pt x="49" y="37"/>
                    </a:cubicBezTo>
                    <a:cubicBezTo>
                      <a:pt x="50" y="36"/>
                      <a:pt x="50" y="36"/>
                      <a:pt x="50" y="35"/>
                    </a:cubicBezTo>
                    <a:cubicBezTo>
                      <a:pt x="49" y="37"/>
                      <a:pt x="49" y="37"/>
                      <a:pt x="49" y="37"/>
                    </a:cubicBezTo>
                    <a:cubicBezTo>
                      <a:pt x="49" y="37"/>
                      <a:pt x="48" y="37"/>
                      <a:pt x="48" y="36"/>
                    </a:cubicBezTo>
                    <a:cubicBezTo>
                      <a:pt x="49" y="36"/>
                      <a:pt x="49" y="36"/>
                      <a:pt x="50" y="37"/>
                    </a:cubicBezTo>
                    <a:cubicBezTo>
                      <a:pt x="50" y="37"/>
                      <a:pt x="50" y="36"/>
                      <a:pt x="50" y="36"/>
                    </a:cubicBezTo>
                    <a:cubicBezTo>
                      <a:pt x="47" y="36"/>
                      <a:pt x="47" y="36"/>
                      <a:pt x="46" y="34"/>
                    </a:cubicBezTo>
                    <a:cubicBezTo>
                      <a:pt x="47" y="34"/>
                      <a:pt x="47" y="34"/>
                      <a:pt x="48" y="33"/>
                    </a:cubicBezTo>
                    <a:cubicBezTo>
                      <a:pt x="48" y="33"/>
                      <a:pt x="48" y="33"/>
                      <a:pt x="48" y="33"/>
                    </a:cubicBezTo>
                    <a:close/>
                    <a:moveTo>
                      <a:pt x="33" y="34"/>
                    </a:moveTo>
                    <a:cubicBezTo>
                      <a:pt x="33" y="34"/>
                      <a:pt x="33" y="34"/>
                      <a:pt x="33" y="34"/>
                    </a:cubicBezTo>
                    <a:cubicBezTo>
                      <a:pt x="33" y="34"/>
                      <a:pt x="34" y="34"/>
                      <a:pt x="34" y="34"/>
                    </a:cubicBezTo>
                    <a:cubicBezTo>
                      <a:pt x="34" y="34"/>
                      <a:pt x="34" y="34"/>
                      <a:pt x="33" y="34"/>
                    </a:cubicBezTo>
                    <a:cubicBezTo>
                      <a:pt x="33" y="34"/>
                      <a:pt x="33" y="34"/>
                      <a:pt x="33" y="34"/>
                    </a:cubicBezTo>
                    <a:close/>
                    <a:moveTo>
                      <a:pt x="33" y="34"/>
                    </a:moveTo>
                    <a:cubicBezTo>
                      <a:pt x="33" y="34"/>
                      <a:pt x="33" y="34"/>
                      <a:pt x="33" y="34"/>
                    </a:cubicBezTo>
                    <a:cubicBezTo>
                      <a:pt x="33" y="34"/>
                      <a:pt x="33" y="34"/>
                      <a:pt x="34" y="35"/>
                    </a:cubicBezTo>
                    <a:cubicBezTo>
                      <a:pt x="33" y="34"/>
                      <a:pt x="33" y="34"/>
                      <a:pt x="33" y="34"/>
                    </a:cubicBezTo>
                    <a:cubicBezTo>
                      <a:pt x="33" y="34"/>
                      <a:pt x="33" y="34"/>
                      <a:pt x="33" y="34"/>
                    </a:cubicBezTo>
                    <a:close/>
                    <a:moveTo>
                      <a:pt x="34" y="34"/>
                    </a:moveTo>
                    <a:cubicBezTo>
                      <a:pt x="34" y="34"/>
                      <a:pt x="35" y="35"/>
                      <a:pt x="35" y="36"/>
                    </a:cubicBezTo>
                    <a:cubicBezTo>
                      <a:pt x="34" y="35"/>
                      <a:pt x="34" y="35"/>
                      <a:pt x="34" y="34"/>
                    </a:cubicBezTo>
                    <a:cubicBezTo>
                      <a:pt x="34" y="34"/>
                      <a:pt x="34" y="34"/>
                      <a:pt x="34" y="34"/>
                    </a:cubicBezTo>
                    <a:close/>
                    <a:moveTo>
                      <a:pt x="34" y="34"/>
                    </a:moveTo>
                    <a:cubicBezTo>
                      <a:pt x="34" y="34"/>
                      <a:pt x="34" y="34"/>
                      <a:pt x="34" y="34"/>
                    </a:cubicBezTo>
                    <a:cubicBezTo>
                      <a:pt x="34" y="34"/>
                      <a:pt x="34" y="34"/>
                      <a:pt x="34" y="34"/>
                    </a:cubicBezTo>
                    <a:cubicBezTo>
                      <a:pt x="34" y="34"/>
                      <a:pt x="34" y="34"/>
                      <a:pt x="34" y="34"/>
                    </a:cubicBezTo>
                    <a:cubicBezTo>
                      <a:pt x="34" y="34"/>
                      <a:pt x="34" y="34"/>
                      <a:pt x="34" y="34"/>
                    </a:cubicBezTo>
                    <a:close/>
                    <a:moveTo>
                      <a:pt x="46" y="34"/>
                    </a:moveTo>
                    <a:cubicBezTo>
                      <a:pt x="45" y="34"/>
                      <a:pt x="45" y="34"/>
                      <a:pt x="45" y="34"/>
                    </a:cubicBezTo>
                    <a:cubicBezTo>
                      <a:pt x="45" y="35"/>
                      <a:pt x="46" y="35"/>
                      <a:pt x="46" y="35"/>
                    </a:cubicBezTo>
                    <a:cubicBezTo>
                      <a:pt x="46" y="35"/>
                      <a:pt x="46" y="35"/>
                      <a:pt x="46" y="34"/>
                    </a:cubicBezTo>
                    <a:cubicBezTo>
                      <a:pt x="46" y="34"/>
                      <a:pt x="46" y="34"/>
                      <a:pt x="46" y="34"/>
                    </a:cubicBezTo>
                    <a:close/>
                    <a:moveTo>
                      <a:pt x="39" y="34"/>
                    </a:moveTo>
                    <a:cubicBezTo>
                      <a:pt x="39" y="34"/>
                      <a:pt x="38" y="34"/>
                      <a:pt x="38" y="34"/>
                    </a:cubicBezTo>
                    <a:cubicBezTo>
                      <a:pt x="38" y="34"/>
                      <a:pt x="39" y="35"/>
                      <a:pt x="39" y="36"/>
                    </a:cubicBezTo>
                    <a:cubicBezTo>
                      <a:pt x="39" y="35"/>
                      <a:pt x="39" y="35"/>
                      <a:pt x="39" y="34"/>
                    </a:cubicBezTo>
                    <a:cubicBezTo>
                      <a:pt x="39" y="34"/>
                      <a:pt x="39" y="34"/>
                      <a:pt x="39" y="34"/>
                    </a:cubicBezTo>
                    <a:close/>
                    <a:moveTo>
                      <a:pt x="56" y="34"/>
                    </a:moveTo>
                    <a:cubicBezTo>
                      <a:pt x="56" y="34"/>
                      <a:pt x="56" y="35"/>
                      <a:pt x="56" y="35"/>
                    </a:cubicBezTo>
                    <a:cubicBezTo>
                      <a:pt x="56" y="35"/>
                      <a:pt x="56" y="35"/>
                      <a:pt x="56" y="35"/>
                    </a:cubicBezTo>
                    <a:cubicBezTo>
                      <a:pt x="56" y="35"/>
                      <a:pt x="56" y="35"/>
                      <a:pt x="56" y="34"/>
                    </a:cubicBezTo>
                    <a:cubicBezTo>
                      <a:pt x="56" y="34"/>
                      <a:pt x="56" y="34"/>
                      <a:pt x="56" y="34"/>
                    </a:cubicBezTo>
                    <a:close/>
                    <a:moveTo>
                      <a:pt x="45" y="34"/>
                    </a:moveTo>
                    <a:cubicBezTo>
                      <a:pt x="44" y="34"/>
                      <a:pt x="44" y="35"/>
                      <a:pt x="43" y="35"/>
                    </a:cubicBezTo>
                    <a:cubicBezTo>
                      <a:pt x="43" y="35"/>
                      <a:pt x="43" y="35"/>
                      <a:pt x="43" y="36"/>
                    </a:cubicBezTo>
                    <a:cubicBezTo>
                      <a:pt x="44" y="36"/>
                      <a:pt x="46" y="36"/>
                      <a:pt x="47" y="36"/>
                    </a:cubicBezTo>
                    <a:cubicBezTo>
                      <a:pt x="45" y="34"/>
                      <a:pt x="45" y="34"/>
                      <a:pt x="45" y="34"/>
                    </a:cubicBezTo>
                    <a:cubicBezTo>
                      <a:pt x="45" y="34"/>
                      <a:pt x="45" y="34"/>
                      <a:pt x="45" y="34"/>
                    </a:cubicBezTo>
                    <a:close/>
                    <a:moveTo>
                      <a:pt x="56" y="35"/>
                    </a:moveTo>
                    <a:cubicBezTo>
                      <a:pt x="56" y="35"/>
                      <a:pt x="56" y="35"/>
                      <a:pt x="56" y="35"/>
                    </a:cubicBezTo>
                    <a:cubicBezTo>
                      <a:pt x="56" y="35"/>
                      <a:pt x="56" y="36"/>
                      <a:pt x="55" y="36"/>
                    </a:cubicBezTo>
                    <a:cubicBezTo>
                      <a:pt x="55" y="36"/>
                      <a:pt x="56" y="35"/>
                      <a:pt x="56" y="35"/>
                    </a:cubicBezTo>
                    <a:cubicBezTo>
                      <a:pt x="56" y="35"/>
                      <a:pt x="56" y="35"/>
                      <a:pt x="56" y="35"/>
                    </a:cubicBezTo>
                    <a:close/>
                    <a:moveTo>
                      <a:pt x="38" y="34"/>
                    </a:moveTo>
                    <a:cubicBezTo>
                      <a:pt x="39" y="35"/>
                      <a:pt x="39" y="36"/>
                      <a:pt x="39" y="38"/>
                    </a:cubicBezTo>
                    <a:cubicBezTo>
                      <a:pt x="39" y="37"/>
                      <a:pt x="38" y="37"/>
                      <a:pt x="37" y="37"/>
                    </a:cubicBezTo>
                    <a:cubicBezTo>
                      <a:pt x="37" y="36"/>
                      <a:pt x="38" y="35"/>
                      <a:pt x="38" y="34"/>
                    </a:cubicBezTo>
                    <a:cubicBezTo>
                      <a:pt x="38" y="34"/>
                      <a:pt x="38" y="34"/>
                      <a:pt x="38" y="34"/>
                    </a:cubicBezTo>
                    <a:close/>
                    <a:moveTo>
                      <a:pt x="55" y="35"/>
                    </a:moveTo>
                    <a:cubicBezTo>
                      <a:pt x="55" y="37"/>
                      <a:pt x="54" y="38"/>
                      <a:pt x="52" y="39"/>
                    </a:cubicBezTo>
                    <a:cubicBezTo>
                      <a:pt x="52" y="39"/>
                      <a:pt x="52" y="39"/>
                      <a:pt x="52" y="39"/>
                    </a:cubicBezTo>
                    <a:cubicBezTo>
                      <a:pt x="53" y="37"/>
                      <a:pt x="54" y="36"/>
                      <a:pt x="55" y="35"/>
                    </a:cubicBezTo>
                    <a:cubicBezTo>
                      <a:pt x="55" y="35"/>
                      <a:pt x="55" y="35"/>
                      <a:pt x="55" y="35"/>
                    </a:cubicBezTo>
                    <a:close/>
                    <a:moveTo>
                      <a:pt x="43" y="36"/>
                    </a:moveTo>
                    <a:cubicBezTo>
                      <a:pt x="44" y="36"/>
                      <a:pt x="46" y="36"/>
                      <a:pt x="48" y="36"/>
                    </a:cubicBezTo>
                    <a:cubicBezTo>
                      <a:pt x="48" y="37"/>
                      <a:pt x="49" y="37"/>
                      <a:pt x="49" y="37"/>
                    </a:cubicBezTo>
                    <a:cubicBezTo>
                      <a:pt x="49" y="39"/>
                      <a:pt x="48" y="40"/>
                      <a:pt x="48" y="42"/>
                    </a:cubicBezTo>
                    <a:cubicBezTo>
                      <a:pt x="46" y="43"/>
                      <a:pt x="45" y="43"/>
                      <a:pt x="43" y="43"/>
                    </a:cubicBezTo>
                    <a:cubicBezTo>
                      <a:pt x="43" y="42"/>
                      <a:pt x="43" y="41"/>
                      <a:pt x="43" y="40"/>
                    </a:cubicBezTo>
                    <a:cubicBezTo>
                      <a:pt x="44" y="39"/>
                      <a:pt x="44" y="38"/>
                      <a:pt x="45" y="37"/>
                    </a:cubicBezTo>
                    <a:cubicBezTo>
                      <a:pt x="45" y="37"/>
                      <a:pt x="45" y="37"/>
                      <a:pt x="46" y="37"/>
                    </a:cubicBezTo>
                    <a:cubicBezTo>
                      <a:pt x="45" y="37"/>
                      <a:pt x="45" y="37"/>
                      <a:pt x="45" y="37"/>
                    </a:cubicBezTo>
                    <a:cubicBezTo>
                      <a:pt x="45" y="37"/>
                      <a:pt x="45" y="37"/>
                      <a:pt x="45" y="37"/>
                    </a:cubicBezTo>
                    <a:cubicBezTo>
                      <a:pt x="45" y="37"/>
                      <a:pt x="43" y="38"/>
                      <a:pt x="43" y="38"/>
                    </a:cubicBezTo>
                    <a:cubicBezTo>
                      <a:pt x="43" y="37"/>
                      <a:pt x="43" y="37"/>
                      <a:pt x="43" y="36"/>
                    </a:cubicBezTo>
                    <a:cubicBezTo>
                      <a:pt x="43" y="36"/>
                      <a:pt x="43" y="36"/>
                      <a:pt x="43" y="36"/>
                    </a:cubicBezTo>
                    <a:close/>
                    <a:moveTo>
                      <a:pt x="64" y="37"/>
                    </a:moveTo>
                    <a:cubicBezTo>
                      <a:pt x="64" y="36"/>
                      <a:pt x="64" y="35"/>
                      <a:pt x="64" y="34"/>
                    </a:cubicBezTo>
                    <a:cubicBezTo>
                      <a:pt x="64" y="35"/>
                      <a:pt x="63" y="37"/>
                      <a:pt x="62" y="38"/>
                    </a:cubicBezTo>
                    <a:cubicBezTo>
                      <a:pt x="63" y="38"/>
                      <a:pt x="63" y="37"/>
                      <a:pt x="64" y="37"/>
                    </a:cubicBezTo>
                    <a:cubicBezTo>
                      <a:pt x="64" y="37"/>
                      <a:pt x="64" y="37"/>
                      <a:pt x="64" y="37"/>
                    </a:cubicBezTo>
                    <a:close/>
                    <a:moveTo>
                      <a:pt x="43" y="38"/>
                    </a:moveTo>
                    <a:cubicBezTo>
                      <a:pt x="43" y="38"/>
                      <a:pt x="44" y="37"/>
                      <a:pt x="45" y="37"/>
                    </a:cubicBezTo>
                    <a:cubicBezTo>
                      <a:pt x="43" y="41"/>
                      <a:pt x="43" y="41"/>
                      <a:pt x="43" y="41"/>
                    </a:cubicBezTo>
                    <a:cubicBezTo>
                      <a:pt x="43" y="40"/>
                      <a:pt x="43" y="39"/>
                      <a:pt x="43" y="38"/>
                    </a:cubicBezTo>
                    <a:cubicBezTo>
                      <a:pt x="43" y="38"/>
                      <a:pt x="43" y="38"/>
                      <a:pt x="43" y="38"/>
                    </a:cubicBezTo>
                    <a:close/>
                    <a:moveTo>
                      <a:pt x="38" y="38"/>
                    </a:moveTo>
                    <a:cubicBezTo>
                      <a:pt x="38" y="38"/>
                      <a:pt x="38" y="38"/>
                      <a:pt x="38" y="38"/>
                    </a:cubicBezTo>
                    <a:cubicBezTo>
                      <a:pt x="38" y="38"/>
                      <a:pt x="38" y="38"/>
                      <a:pt x="38" y="38"/>
                    </a:cubicBezTo>
                    <a:cubicBezTo>
                      <a:pt x="38" y="38"/>
                      <a:pt x="38" y="38"/>
                      <a:pt x="38" y="38"/>
                    </a:cubicBezTo>
                    <a:cubicBezTo>
                      <a:pt x="38" y="38"/>
                      <a:pt x="38" y="38"/>
                      <a:pt x="38" y="38"/>
                    </a:cubicBezTo>
                    <a:close/>
                    <a:moveTo>
                      <a:pt x="38" y="38"/>
                    </a:moveTo>
                    <a:cubicBezTo>
                      <a:pt x="38" y="38"/>
                      <a:pt x="38" y="38"/>
                      <a:pt x="38" y="38"/>
                    </a:cubicBezTo>
                    <a:cubicBezTo>
                      <a:pt x="39" y="39"/>
                      <a:pt x="39" y="39"/>
                      <a:pt x="40" y="40"/>
                    </a:cubicBezTo>
                    <a:cubicBezTo>
                      <a:pt x="40" y="39"/>
                      <a:pt x="40" y="39"/>
                      <a:pt x="40" y="39"/>
                    </a:cubicBezTo>
                    <a:cubicBezTo>
                      <a:pt x="39" y="39"/>
                      <a:pt x="39" y="38"/>
                      <a:pt x="38" y="38"/>
                    </a:cubicBezTo>
                    <a:cubicBezTo>
                      <a:pt x="38" y="38"/>
                      <a:pt x="38" y="38"/>
                      <a:pt x="38" y="38"/>
                    </a:cubicBezTo>
                    <a:close/>
                    <a:moveTo>
                      <a:pt x="54" y="39"/>
                    </a:moveTo>
                    <a:cubicBezTo>
                      <a:pt x="54" y="38"/>
                      <a:pt x="54" y="38"/>
                      <a:pt x="54" y="38"/>
                    </a:cubicBezTo>
                    <a:cubicBezTo>
                      <a:pt x="54" y="38"/>
                      <a:pt x="54" y="38"/>
                      <a:pt x="54" y="39"/>
                    </a:cubicBezTo>
                    <a:cubicBezTo>
                      <a:pt x="54" y="39"/>
                      <a:pt x="54" y="39"/>
                      <a:pt x="54" y="39"/>
                    </a:cubicBezTo>
                    <a:cubicBezTo>
                      <a:pt x="54" y="39"/>
                      <a:pt x="54" y="39"/>
                      <a:pt x="54" y="39"/>
                    </a:cubicBezTo>
                    <a:close/>
                    <a:moveTo>
                      <a:pt x="52" y="39"/>
                    </a:moveTo>
                    <a:cubicBezTo>
                      <a:pt x="51" y="38"/>
                      <a:pt x="50" y="38"/>
                      <a:pt x="49" y="37"/>
                    </a:cubicBezTo>
                    <a:cubicBezTo>
                      <a:pt x="49" y="39"/>
                      <a:pt x="49" y="40"/>
                      <a:pt x="48" y="42"/>
                    </a:cubicBezTo>
                    <a:cubicBezTo>
                      <a:pt x="50" y="41"/>
                      <a:pt x="51" y="40"/>
                      <a:pt x="52" y="39"/>
                    </a:cubicBezTo>
                    <a:cubicBezTo>
                      <a:pt x="52" y="39"/>
                      <a:pt x="52" y="39"/>
                      <a:pt x="52" y="39"/>
                    </a:cubicBezTo>
                    <a:close/>
                    <a:moveTo>
                      <a:pt x="54" y="39"/>
                    </a:moveTo>
                    <a:cubicBezTo>
                      <a:pt x="54" y="39"/>
                      <a:pt x="54" y="39"/>
                      <a:pt x="54" y="39"/>
                    </a:cubicBezTo>
                    <a:cubicBezTo>
                      <a:pt x="53" y="39"/>
                      <a:pt x="53" y="39"/>
                      <a:pt x="53" y="39"/>
                    </a:cubicBezTo>
                    <a:cubicBezTo>
                      <a:pt x="53" y="39"/>
                      <a:pt x="54" y="39"/>
                      <a:pt x="54" y="39"/>
                    </a:cubicBezTo>
                    <a:cubicBezTo>
                      <a:pt x="54" y="39"/>
                      <a:pt x="54" y="39"/>
                      <a:pt x="54" y="39"/>
                    </a:cubicBezTo>
                    <a:cubicBezTo>
                      <a:pt x="54" y="39"/>
                      <a:pt x="54" y="39"/>
                      <a:pt x="54" y="39"/>
                    </a:cubicBezTo>
                    <a:close/>
                    <a:moveTo>
                      <a:pt x="54" y="39"/>
                    </a:moveTo>
                    <a:cubicBezTo>
                      <a:pt x="55" y="39"/>
                      <a:pt x="55" y="39"/>
                      <a:pt x="56" y="39"/>
                    </a:cubicBezTo>
                    <a:cubicBezTo>
                      <a:pt x="55" y="39"/>
                      <a:pt x="55" y="39"/>
                      <a:pt x="54" y="40"/>
                    </a:cubicBezTo>
                    <a:cubicBezTo>
                      <a:pt x="54" y="40"/>
                      <a:pt x="54" y="40"/>
                      <a:pt x="54" y="40"/>
                    </a:cubicBezTo>
                    <a:cubicBezTo>
                      <a:pt x="54" y="39"/>
                      <a:pt x="54" y="39"/>
                      <a:pt x="54" y="39"/>
                    </a:cubicBezTo>
                    <a:cubicBezTo>
                      <a:pt x="54" y="39"/>
                      <a:pt x="54" y="39"/>
                      <a:pt x="54" y="39"/>
                    </a:cubicBezTo>
                    <a:close/>
                    <a:moveTo>
                      <a:pt x="52" y="39"/>
                    </a:moveTo>
                    <a:cubicBezTo>
                      <a:pt x="52" y="39"/>
                      <a:pt x="52" y="39"/>
                      <a:pt x="52" y="39"/>
                    </a:cubicBezTo>
                    <a:cubicBezTo>
                      <a:pt x="52" y="39"/>
                      <a:pt x="51" y="40"/>
                      <a:pt x="51" y="40"/>
                    </a:cubicBezTo>
                    <a:cubicBezTo>
                      <a:pt x="52" y="40"/>
                      <a:pt x="52" y="39"/>
                      <a:pt x="52" y="39"/>
                    </a:cubicBezTo>
                    <a:cubicBezTo>
                      <a:pt x="52" y="39"/>
                      <a:pt x="52" y="39"/>
                      <a:pt x="52" y="39"/>
                    </a:cubicBezTo>
                    <a:close/>
                    <a:moveTo>
                      <a:pt x="61" y="39"/>
                    </a:moveTo>
                    <a:cubicBezTo>
                      <a:pt x="59" y="39"/>
                      <a:pt x="57" y="39"/>
                      <a:pt x="56" y="39"/>
                    </a:cubicBezTo>
                    <a:cubicBezTo>
                      <a:pt x="55" y="39"/>
                      <a:pt x="55" y="39"/>
                      <a:pt x="55" y="40"/>
                    </a:cubicBezTo>
                    <a:cubicBezTo>
                      <a:pt x="57" y="40"/>
                      <a:pt x="58" y="39"/>
                      <a:pt x="60" y="39"/>
                    </a:cubicBezTo>
                    <a:cubicBezTo>
                      <a:pt x="60" y="39"/>
                      <a:pt x="61" y="39"/>
                      <a:pt x="61" y="39"/>
                    </a:cubicBezTo>
                    <a:cubicBezTo>
                      <a:pt x="61" y="39"/>
                      <a:pt x="61" y="39"/>
                      <a:pt x="61" y="39"/>
                    </a:cubicBezTo>
                    <a:close/>
                    <a:moveTo>
                      <a:pt x="41" y="39"/>
                    </a:moveTo>
                    <a:cubicBezTo>
                      <a:pt x="40" y="39"/>
                      <a:pt x="40" y="39"/>
                      <a:pt x="40" y="39"/>
                    </a:cubicBezTo>
                    <a:cubicBezTo>
                      <a:pt x="40" y="39"/>
                      <a:pt x="40" y="39"/>
                      <a:pt x="40" y="40"/>
                    </a:cubicBezTo>
                    <a:cubicBezTo>
                      <a:pt x="40" y="40"/>
                      <a:pt x="40" y="39"/>
                      <a:pt x="41" y="39"/>
                    </a:cubicBezTo>
                    <a:cubicBezTo>
                      <a:pt x="41" y="39"/>
                      <a:pt x="41" y="39"/>
                      <a:pt x="41" y="39"/>
                    </a:cubicBezTo>
                    <a:close/>
                    <a:moveTo>
                      <a:pt x="35" y="39"/>
                    </a:moveTo>
                    <a:cubicBezTo>
                      <a:pt x="36" y="39"/>
                      <a:pt x="37" y="39"/>
                      <a:pt x="38" y="39"/>
                    </a:cubicBezTo>
                    <a:cubicBezTo>
                      <a:pt x="38" y="39"/>
                      <a:pt x="38" y="39"/>
                      <a:pt x="38" y="40"/>
                    </a:cubicBezTo>
                    <a:cubicBezTo>
                      <a:pt x="38" y="40"/>
                      <a:pt x="36" y="40"/>
                      <a:pt x="35" y="39"/>
                    </a:cubicBezTo>
                    <a:cubicBezTo>
                      <a:pt x="35" y="39"/>
                      <a:pt x="35" y="39"/>
                      <a:pt x="35" y="39"/>
                    </a:cubicBezTo>
                    <a:close/>
                    <a:moveTo>
                      <a:pt x="35" y="39"/>
                    </a:moveTo>
                    <a:cubicBezTo>
                      <a:pt x="35" y="39"/>
                      <a:pt x="35" y="39"/>
                      <a:pt x="35" y="39"/>
                    </a:cubicBezTo>
                    <a:cubicBezTo>
                      <a:pt x="35" y="39"/>
                      <a:pt x="35" y="39"/>
                      <a:pt x="35" y="39"/>
                    </a:cubicBezTo>
                    <a:cubicBezTo>
                      <a:pt x="35" y="39"/>
                      <a:pt x="35" y="39"/>
                      <a:pt x="35" y="39"/>
                    </a:cubicBezTo>
                    <a:cubicBezTo>
                      <a:pt x="35" y="39"/>
                      <a:pt x="35" y="39"/>
                      <a:pt x="35" y="39"/>
                    </a:cubicBezTo>
                    <a:close/>
                    <a:moveTo>
                      <a:pt x="54" y="40"/>
                    </a:moveTo>
                    <a:cubicBezTo>
                      <a:pt x="53" y="39"/>
                      <a:pt x="53" y="39"/>
                      <a:pt x="53" y="39"/>
                    </a:cubicBezTo>
                    <a:cubicBezTo>
                      <a:pt x="53" y="39"/>
                      <a:pt x="53" y="40"/>
                      <a:pt x="52" y="40"/>
                    </a:cubicBezTo>
                    <a:cubicBezTo>
                      <a:pt x="53" y="40"/>
                      <a:pt x="53" y="40"/>
                      <a:pt x="54" y="40"/>
                    </a:cubicBezTo>
                    <a:cubicBezTo>
                      <a:pt x="54" y="40"/>
                      <a:pt x="54" y="40"/>
                      <a:pt x="54" y="40"/>
                    </a:cubicBezTo>
                    <a:cubicBezTo>
                      <a:pt x="54" y="40"/>
                      <a:pt x="54" y="40"/>
                      <a:pt x="54" y="40"/>
                    </a:cubicBezTo>
                    <a:close/>
                    <a:moveTo>
                      <a:pt x="39" y="40"/>
                    </a:moveTo>
                    <a:cubicBezTo>
                      <a:pt x="38" y="40"/>
                      <a:pt x="37" y="40"/>
                      <a:pt x="36" y="40"/>
                    </a:cubicBezTo>
                    <a:cubicBezTo>
                      <a:pt x="37" y="40"/>
                      <a:pt x="38" y="41"/>
                      <a:pt x="39" y="42"/>
                    </a:cubicBezTo>
                    <a:cubicBezTo>
                      <a:pt x="39" y="42"/>
                      <a:pt x="39" y="42"/>
                      <a:pt x="40" y="41"/>
                    </a:cubicBezTo>
                    <a:cubicBezTo>
                      <a:pt x="40" y="41"/>
                      <a:pt x="40" y="41"/>
                      <a:pt x="40" y="41"/>
                    </a:cubicBezTo>
                    <a:cubicBezTo>
                      <a:pt x="39" y="40"/>
                      <a:pt x="39" y="40"/>
                      <a:pt x="39" y="40"/>
                    </a:cubicBezTo>
                    <a:cubicBezTo>
                      <a:pt x="39" y="40"/>
                      <a:pt x="39" y="40"/>
                      <a:pt x="39" y="40"/>
                    </a:cubicBezTo>
                    <a:close/>
                    <a:moveTo>
                      <a:pt x="54" y="40"/>
                    </a:moveTo>
                    <a:cubicBezTo>
                      <a:pt x="54" y="40"/>
                      <a:pt x="54" y="40"/>
                      <a:pt x="54" y="40"/>
                    </a:cubicBezTo>
                    <a:cubicBezTo>
                      <a:pt x="54" y="40"/>
                      <a:pt x="54" y="40"/>
                      <a:pt x="54" y="40"/>
                    </a:cubicBezTo>
                    <a:cubicBezTo>
                      <a:pt x="54" y="40"/>
                      <a:pt x="54" y="40"/>
                      <a:pt x="54" y="40"/>
                    </a:cubicBezTo>
                    <a:cubicBezTo>
                      <a:pt x="54" y="40"/>
                      <a:pt x="54" y="40"/>
                      <a:pt x="54" y="40"/>
                    </a:cubicBezTo>
                    <a:close/>
                    <a:moveTo>
                      <a:pt x="40" y="40"/>
                    </a:moveTo>
                    <a:cubicBezTo>
                      <a:pt x="40" y="40"/>
                      <a:pt x="41" y="40"/>
                      <a:pt x="41" y="39"/>
                    </a:cubicBezTo>
                    <a:cubicBezTo>
                      <a:pt x="41" y="40"/>
                      <a:pt x="41" y="40"/>
                      <a:pt x="41" y="40"/>
                    </a:cubicBezTo>
                    <a:cubicBezTo>
                      <a:pt x="41" y="40"/>
                      <a:pt x="40" y="40"/>
                      <a:pt x="40" y="40"/>
                    </a:cubicBezTo>
                    <a:cubicBezTo>
                      <a:pt x="40" y="40"/>
                      <a:pt x="40" y="40"/>
                      <a:pt x="40" y="40"/>
                    </a:cubicBezTo>
                    <a:cubicBezTo>
                      <a:pt x="40" y="40"/>
                      <a:pt x="40" y="40"/>
                      <a:pt x="40" y="40"/>
                    </a:cubicBezTo>
                    <a:close/>
                    <a:moveTo>
                      <a:pt x="55" y="40"/>
                    </a:moveTo>
                    <a:cubicBezTo>
                      <a:pt x="56" y="40"/>
                      <a:pt x="58" y="40"/>
                      <a:pt x="60" y="39"/>
                    </a:cubicBezTo>
                    <a:cubicBezTo>
                      <a:pt x="57" y="42"/>
                      <a:pt x="56" y="42"/>
                      <a:pt x="53" y="43"/>
                    </a:cubicBezTo>
                    <a:cubicBezTo>
                      <a:pt x="53" y="41"/>
                      <a:pt x="53" y="41"/>
                      <a:pt x="55" y="40"/>
                    </a:cubicBezTo>
                    <a:cubicBezTo>
                      <a:pt x="55" y="40"/>
                      <a:pt x="55" y="40"/>
                      <a:pt x="55" y="40"/>
                    </a:cubicBezTo>
                    <a:close/>
                    <a:moveTo>
                      <a:pt x="54" y="40"/>
                    </a:moveTo>
                    <a:cubicBezTo>
                      <a:pt x="54" y="40"/>
                      <a:pt x="54" y="40"/>
                      <a:pt x="54" y="40"/>
                    </a:cubicBezTo>
                    <a:cubicBezTo>
                      <a:pt x="54" y="40"/>
                      <a:pt x="54" y="40"/>
                      <a:pt x="54" y="41"/>
                    </a:cubicBezTo>
                    <a:cubicBezTo>
                      <a:pt x="54" y="40"/>
                      <a:pt x="54" y="40"/>
                      <a:pt x="54" y="40"/>
                    </a:cubicBezTo>
                    <a:cubicBezTo>
                      <a:pt x="54" y="40"/>
                      <a:pt x="54" y="40"/>
                      <a:pt x="54" y="40"/>
                    </a:cubicBezTo>
                    <a:close/>
                    <a:moveTo>
                      <a:pt x="54" y="40"/>
                    </a:moveTo>
                    <a:cubicBezTo>
                      <a:pt x="53" y="40"/>
                      <a:pt x="53" y="40"/>
                      <a:pt x="52" y="40"/>
                    </a:cubicBezTo>
                    <a:cubicBezTo>
                      <a:pt x="51" y="41"/>
                      <a:pt x="50" y="42"/>
                      <a:pt x="49" y="42"/>
                    </a:cubicBezTo>
                    <a:cubicBezTo>
                      <a:pt x="48" y="43"/>
                      <a:pt x="47" y="43"/>
                      <a:pt x="46" y="44"/>
                    </a:cubicBezTo>
                    <a:cubicBezTo>
                      <a:pt x="46" y="44"/>
                      <a:pt x="46" y="44"/>
                      <a:pt x="46" y="45"/>
                    </a:cubicBezTo>
                    <a:cubicBezTo>
                      <a:pt x="47" y="45"/>
                      <a:pt x="50" y="44"/>
                      <a:pt x="50" y="44"/>
                    </a:cubicBezTo>
                    <a:cubicBezTo>
                      <a:pt x="51" y="44"/>
                      <a:pt x="51" y="43"/>
                      <a:pt x="51" y="43"/>
                    </a:cubicBezTo>
                    <a:cubicBezTo>
                      <a:pt x="52" y="42"/>
                      <a:pt x="53" y="41"/>
                      <a:pt x="54" y="40"/>
                    </a:cubicBezTo>
                    <a:cubicBezTo>
                      <a:pt x="54" y="40"/>
                      <a:pt x="54" y="40"/>
                      <a:pt x="54" y="40"/>
                    </a:cubicBezTo>
                    <a:close/>
                    <a:moveTo>
                      <a:pt x="41" y="41"/>
                    </a:moveTo>
                    <a:cubicBezTo>
                      <a:pt x="41" y="41"/>
                      <a:pt x="40" y="41"/>
                      <a:pt x="40" y="41"/>
                    </a:cubicBezTo>
                    <a:cubicBezTo>
                      <a:pt x="40" y="42"/>
                      <a:pt x="40" y="42"/>
                      <a:pt x="41" y="42"/>
                    </a:cubicBezTo>
                    <a:cubicBezTo>
                      <a:pt x="41" y="42"/>
                      <a:pt x="41" y="42"/>
                      <a:pt x="41" y="41"/>
                    </a:cubicBezTo>
                    <a:cubicBezTo>
                      <a:pt x="41" y="41"/>
                      <a:pt x="41" y="41"/>
                      <a:pt x="41" y="41"/>
                    </a:cubicBezTo>
                    <a:close/>
                    <a:moveTo>
                      <a:pt x="69" y="41"/>
                    </a:moveTo>
                    <a:cubicBezTo>
                      <a:pt x="65" y="41"/>
                      <a:pt x="62" y="41"/>
                      <a:pt x="58" y="42"/>
                    </a:cubicBezTo>
                    <a:cubicBezTo>
                      <a:pt x="56" y="43"/>
                      <a:pt x="56" y="43"/>
                      <a:pt x="56" y="43"/>
                    </a:cubicBezTo>
                    <a:cubicBezTo>
                      <a:pt x="57" y="43"/>
                      <a:pt x="59" y="44"/>
                      <a:pt x="61" y="44"/>
                    </a:cubicBezTo>
                    <a:cubicBezTo>
                      <a:pt x="60" y="44"/>
                      <a:pt x="58" y="44"/>
                      <a:pt x="55" y="43"/>
                    </a:cubicBezTo>
                    <a:cubicBezTo>
                      <a:pt x="54" y="43"/>
                      <a:pt x="53" y="44"/>
                      <a:pt x="52" y="44"/>
                    </a:cubicBezTo>
                    <a:cubicBezTo>
                      <a:pt x="51" y="44"/>
                      <a:pt x="50" y="45"/>
                      <a:pt x="49" y="45"/>
                    </a:cubicBezTo>
                    <a:cubicBezTo>
                      <a:pt x="55" y="45"/>
                      <a:pt x="55" y="45"/>
                      <a:pt x="55" y="45"/>
                    </a:cubicBezTo>
                    <a:cubicBezTo>
                      <a:pt x="55" y="45"/>
                      <a:pt x="55" y="44"/>
                      <a:pt x="56" y="44"/>
                    </a:cubicBezTo>
                    <a:cubicBezTo>
                      <a:pt x="56" y="44"/>
                      <a:pt x="55" y="45"/>
                      <a:pt x="55" y="45"/>
                    </a:cubicBezTo>
                    <a:cubicBezTo>
                      <a:pt x="57" y="45"/>
                      <a:pt x="59" y="45"/>
                      <a:pt x="61" y="46"/>
                    </a:cubicBezTo>
                    <a:cubicBezTo>
                      <a:pt x="61" y="46"/>
                      <a:pt x="49" y="45"/>
                      <a:pt x="49" y="45"/>
                    </a:cubicBezTo>
                    <a:cubicBezTo>
                      <a:pt x="48" y="45"/>
                      <a:pt x="47" y="46"/>
                      <a:pt x="47" y="46"/>
                    </a:cubicBezTo>
                    <a:cubicBezTo>
                      <a:pt x="48" y="47"/>
                      <a:pt x="48" y="47"/>
                      <a:pt x="50" y="47"/>
                    </a:cubicBezTo>
                    <a:cubicBezTo>
                      <a:pt x="49" y="47"/>
                      <a:pt x="49" y="47"/>
                      <a:pt x="48" y="47"/>
                    </a:cubicBezTo>
                    <a:cubicBezTo>
                      <a:pt x="49" y="48"/>
                      <a:pt x="51" y="48"/>
                      <a:pt x="52" y="49"/>
                    </a:cubicBezTo>
                    <a:cubicBezTo>
                      <a:pt x="52" y="48"/>
                      <a:pt x="53" y="47"/>
                      <a:pt x="53" y="46"/>
                    </a:cubicBezTo>
                    <a:cubicBezTo>
                      <a:pt x="53" y="46"/>
                      <a:pt x="53" y="46"/>
                      <a:pt x="53" y="46"/>
                    </a:cubicBezTo>
                    <a:cubicBezTo>
                      <a:pt x="53" y="46"/>
                      <a:pt x="53" y="47"/>
                      <a:pt x="53" y="47"/>
                    </a:cubicBezTo>
                    <a:cubicBezTo>
                      <a:pt x="53" y="47"/>
                      <a:pt x="54" y="46"/>
                      <a:pt x="54" y="45"/>
                    </a:cubicBezTo>
                    <a:cubicBezTo>
                      <a:pt x="54" y="46"/>
                      <a:pt x="54" y="46"/>
                      <a:pt x="54" y="46"/>
                    </a:cubicBezTo>
                    <a:cubicBezTo>
                      <a:pt x="54" y="47"/>
                      <a:pt x="53" y="47"/>
                      <a:pt x="53" y="47"/>
                    </a:cubicBezTo>
                    <a:cubicBezTo>
                      <a:pt x="54" y="47"/>
                      <a:pt x="54" y="47"/>
                      <a:pt x="55" y="47"/>
                    </a:cubicBezTo>
                    <a:cubicBezTo>
                      <a:pt x="53" y="47"/>
                      <a:pt x="53" y="47"/>
                      <a:pt x="52" y="49"/>
                    </a:cubicBezTo>
                    <a:cubicBezTo>
                      <a:pt x="52" y="49"/>
                      <a:pt x="53" y="49"/>
                      <a:pt x="53" y="49"/>
                    </a:cubicBezTo>
                    <a:cubicBezTo>
                      <a:pt x="54" y="48"/>
                      <a:pt x="56" y="48"/>
                      <a:pt x="58" y="47"/>
                    </a:cubicBezTo>
                    <a:cubicBezTo>
                      <a:pt x="56" y="48"/>
                      <a:pt x="55" y="48"/>
                      <a:pt x="53" y="49"/>
                    </a:cubicBezTo>
                    <a:cubicBezTo>
                      <a:pt x="54" y="49"/>
                      <a:pt x="54" y="50"/>
                      <a:pt x="55" y="50"/>
                    </a:cubicBezTo>
                    <a:cubicBezTo>
                      <a:pt x="55" y="50"/>
                      <a:pt x="55" y="50"/>
                      <a:pt x="55" y="50"/>
                    </a:cubicBezTo>
                    <a:cubicBezTo>
                      <a:pt x="55" y="50"/>
                      <a:pt x="55" y="50"/>
                      <a:pt x="55" y="50"/>
                    </a:cubicBezTo>
                    <a:cubicBezTo>
                      <a:pt x="56" y="50"/>
                      <a:pt x="56" y="50"/>
                      <a:pt x="57" y="51"/>
                    </a:cubicBezTo>
                    <a:cubicBezTo>
                      <a:pt x="56" y="50"/>
                      <a:pt x="55" y="50"/>
                      <a:pt x="55" y="50"/>
                    </a:cubicBezTo>
                    <a:cubicBezTo>
                      <a:pt x="50" y="53"/>
                      <a:pt x="52" y="51"/>
                      <a:pt x="49" y="55"/>
                    </a:cubicBezTo>
                    <a:cubicBezTo>
                      <a:pt x="49" y="55"/>
                      <a:pt x="49" y="55"/>
                      <a:pt x="49" y="55"/>
                    </a:cubicBezTo>
                    <a:cubicBezTo>
                      <a:pt x="51" y="54"/>
                      <a:pt x="51" y="54"/>
                      <a:pt x="51" y="54"/>
                    </a:cubicBezTo>
                    <a:cubicBezTo>
                      <a:pt x="49" y="55"/>
                      <a:pt x="49" y="55"/>
                      <a:pt x="49" y="55"/>
                    </a:cubicBezTo>
                    <a:cubicBezTo>
                      <a:pt x="49" y="55"/>
                      <a:pt x="50" y="55"/>
                      <a:pt x="50" y="56"/>
                    </a:cubicBezTo>
                    <a:cubicBezTo>
                      <a:pt x="51" y="55"/>
                      <a:pt x="52" y="54"/>
                      <a:pt x="52" y="54"/>
                    </a:cubicBezTo>
                    <a:cubicBezTo>
                      <a:pt x="53" y="54"/>
                      <a:pt x="53" y="54"/>
                      <a:pt x="53" y="54"/>
                    </a:cubicBezTo>
                    <a:cubicBezTo>
                      <a:pt x="51" y="56"/>
                      <a:pt x="51" y="56"/>
                      <a:pt x="51" y="56"/>
                    </a:cubicBezTo>
                    <a:cubicBezTo>
                      <a:pt x="51" y="56"/>
                      <a:pt x="52" y="56"/>
                      <a:pt x="52" y="56"/>
                    </a:cubicBezTo>
                    <a:cubicBezTo>
                      <a:pt x="55" y="53"/>
                      <a:pt x="58" y="50"/>
                      <a:pt x="62" y="48"/>
                    </a:cubicBezTo>
                    <a:cubicBezTo>
                      <a:pt x="62" y="48"/>
                      <a:pt x="62" y="48"/>
                      <a:pt x="62" y="48"/>
                    </a:cubicBezTo>
                    <a:cubicBezTo>
                      <a:pt x="58" y="50"/>
                      <a:pt x="55" y="53"/>
                      <a:pt x="53" y="56"/>
                    </a:cubicBezTo>
                    <a:cubicBezTo>
                      <a:pt x="53" y="56"/>
                      <a:pt x="55" y="55"/>
                      <a:pt x="55" y="55"/>
                    </a:cubicBezTo>
                    <a:cubicBezTo>
                      <a:pt x="56" y="54"/>
                      <a:pt x="56" y="54"/>
                      <a:pt x="57" y="53"/>
                    </a:cubicBezTo>
                    <a:cubicBezTo>
                      <a:pt x="60" y="50"/>
                      <a:pt x="62" y="48"/>
                      <a:pt x="66" y="47"/>
                    </a:cubicBezTo>
                    <a:cubicBezTo>
                      <a:pt x="63" y="48"/>
                      <a:pt x="60" y="51"/>
                      <a:pt x="55" y="55"/>
                    </a:cubicBezTo>
                    <a:cubicBezTo>
                      <a:pt x="57" y="54"/>
                      <a:pt x="59" y="53"/>
                      <a:pt x="60" y="53"/>
                    </a:cubicBezTo>
                    <a:cubicBezTo>
                      <a:pt x="62" y="52"/>
                      <a:pt x="63" y="51"/>
                      <a:pt x="64" y="50"/>
                    </a:cubicBezTo>
                    <a:cubicBezTo>
                      <a:pt x="65" y="49"/>
                      <a:pt x="65" y="49"/>
                      <a:pt x="65" y="49"/>
                    </a:cubicBezTo>
                    <a:cubicBezTo>
                      <a:pt x="67" y="44"/>
                      <a:pt x="67" y="44"/>
                      <a:pt x="69" y="41"/>
                    </a:cubicBezTo>
                    <a:cubicBezTo>
                      <a:pt x="69" y="41"/>
                      <a:pt x="69" y="41"/>
                      <a:pt x="69" y="41"/>
                    </a:cubicBezTo>
                    <a:close/>
                    <a:moveTo>
                      <a:pt x="39" y="42"/>
                    </a:moveTo>
                    <a:cubicBezTo>
                      <a:pt x="39" y="42"/>
                      <a:pt x="39" y="42"/>
                      <a:pt x="40" y="41"/>
                    </a:cubicBezTo>
                    <a:cubicBezTo>
                      <a:pt x="40" y="42"/>
                      <a:pt x="40" y="42"/>
                      <a:pt x="40" y="43"/>
                    </a:cubicBezTo>
                    <a:cubicBezTo>
                      <a:pt x="39" y="43"/>
                      <a:pt x="39" y="43"/>
                      <a:pt x="39" y="42"/>
                    </a:cubicBezTo>
                    <a:cubicBezTo>
                      <a:pt x="39" y="42"/>
                      <a:pt x="39" y="42"/>
                      <a:pt x="39" y="42"/>
                    </a:cubicBezTo>
                    <a:close/>
                    <a:moveTo>
                      <a:pt x="41" y="42"/>
                    </a:moveTo>
                    <a:cubicBezTo>
                      <a:pt x="41" y="42"/>
                      <a:pt x="41" y="43"/>
                      <a:pt x="41" y="43"/>
                    </a:cubicBezTo>
                    <a:cubicBezTo>
                      <a:pt x="41" y="43"/>
                      <a:pt x="41" y="43"/>
                      <a:pt x="41" y="43"/>
                    </a:cubicBezTo>
                    <a:cubicBezTo>
                      <a:pt x="41" y="43"/>
                      <a:pt x="41" y="42"/>
                      <a:pt x="41" y="42"/>
                    </a:cubicBezTo>
                    <a:cubicBezTo>
                      <a:pt x="41" y="42"/>
                      <a:pt x="41" y="42"/>
                      <a:pt x="41" y="42"/>
                    </a:cubicBezTo>
                    <a:close/>
                    <a:moveTo>
                      <a:pt x="39" y="43"/>
                    </a:moveTo>
                    <a:cubicBezTo>
                      <a:pt x="39" y="43"/>
                      <a:pt x="39" y="43"/>
                      <a:pt x="38" y="43"/>
                    </a:cubicBezTo>
                    <a:cubicBezTo>
                      <a:pt x="39" y="43"/>
                      <a:pt x="39" y="43"/>
                      <a:pt x="39" y="43"/>
                    </a:cubicBezTo>
                    <a:cubicBezTo>
                      <a:pt x="39" y="43"/>
                      <a:pt x="39" y="43"/>
                      <a:pt x="39" y="43"/>
                    </a:cubicBezTo>
                    <a:cubicBezTo>
                      <a:pt x="39" y="43"/>
                      <a:pt x="39" y="43"/>
                      <a:pt x="39" y="43"/>
                    </a:cubicBezTo>
                    <a:close/>
                    <a:moveTo>
                      <a:pt x="41" y="43"/>
                    </a:moveTo>
                    <a:cubicBezTo>
                      <a:pt x="41" y="43"/>
                      <a:pt x="41" y="43"/>
                      <a:pt x="41" y="43"/>
                    </a:cubicBezTo>
                    <a:cubicBezTo>
                      <a:pt x="41" y="43"/>
                      <a:pt x="41" y="43"/>
                      <a:pt x="41" y="43"/>
                    </a:cubicBezTo>
                    <a:cubicBezTo>
                      <a:pt x="41" y="43"/>
                      <a:pt x="41" y="43"/>
                      <a:pt x="41" y="43"/>
                    </a:cubicBezTo>
                    <a:cubicBezTo>
                      <a:pt x="41" y="43"/>
                      <a:pt x="41" y="43"/>
                      <a:pt x="41" y="43"/>
                    </a:cubicBezTo>
                    <a:close/>
                    <a:moveTo>
                      <a:pt x="40" y="43"/>
                    </a:moveTo>
                    <a:cubicBezTo>
                      <a:pt x="40" y="43"/>
                      <a:pt x="40" y="43"/>
                      <a:pt x="40" y="43"/>
                    </a:cubicBezTo>
                    <a:cubicBezTo>
                      <a:pt x="40" y="43"/>
                      <a:pt x="40" y="44"/>
                      <a:pt x="40" y="44"/>
                    </a:cubicBezTo>
                    <a:cubicBezTo>
                      <a:pt x="40" y="44"/>
                      <a:pt x="40" y="43"/>
                      <a:pt x="40" y="43"/>
                    </a:cubicBezTo>
                    <a:cubicBezTo>
                      <a:pt x="40" y="43"/>
                      <a:pt x="40" y="43"/>
                      <a:pt x="40" y="43"/>
                    </a:cubicBezTo>
                    <a:close/>
                    <a:moveTo>
                      <a:pt x="53" y="43"/>
                    </a:moveTo>
                    <a:cubicBezTo>
                      <a:pt x="53" y="43"/>
                      <a:pt x="53" y="42"/>
                      <a:pt x="53" y="41"/>
                    </a:cubicBezTo>
                    <a:cubicBezTo>
                      <a:pt x="52" y="42"/>
                      <a:pt x="51" y="43"/>
                      <a:pt x="51" y="44"/>
                    </a:cubicBezTo>
                    <a:cubicBezTo>
                      <a:pt x="51" y="44"/>
                      <a:pt x="52" y="43"/>
                      <a:pt x="53" y="43"/>
                    </a:cubicBezTo>
                    <a:cubicBezTo>
                      <a:pt x="53" y="43"/>
                      <a:pt x="53" y="43"/>
                      <a:pt x="53" y="43"/>
                    </a:cubicBezTo>
                    <a:close/>
                    <a:moveTo>
                      <a:pt x="22" y="44"/>
                    </a:moveTo>
                    <a:cubicBezTo>
                      <a:pt x="22" y="43"/>
                      <a:pt x="22" y="43"/>
                      <a:pt x="22" y="43"/>
                    </a:cubicBezTo>
                    <a:cubicBezTo>
                      <a:pt x="25" y="45"/>
                      <a:pt x="28" y="46"/>
                      <a:pt x="30" y="49"/>
                    </a:cubicBezTo>
                    <a:cubicBezTo>
                      <a:pt x="28" y="48"/>
                      <a:pt x="29" y="48"/>
                      <a:pt x="27" y="47"/>
                    </a:cubicBezTo>
                    <a:cubicBezTo>
                      <a:pt x="27" y="47"/>
                      <a:pt x="28" y="47"/>
                      <a:pt x="28" y="48"/>
                    </a:cubicBezTo>
                    <a:cubicBezTo>
                      <a:pt x="23" y="45"/>
                      <a:pt x="25" y="46"/>
                      <a:pt x="22" y="44"/>
                    </a:cubicBezTo>
                    <a:cubicBezTo>
                      <a:pt x="22" y="44"/>
                      <a:pt x="22" y="44"/>
                      <a:pt x="22" y="44"/>
                    </a:cubicBezTo>
                    <a:close/>
                    <a:moveTo>
                      <a:pt x="22" y="44"/>
                    </a:moveTo>
                    <a:cubicBezTo>
                      <a:pt x="22" y="43"/>
                      <a:pt x="22" y="43"/>
                      <a:pt x="22" y="43"/>
                    </a:cubicBezTo>
                    <a:cubicBezTo>
                      <a:pt x="22" y="43"/>
                      <a:pt x="22" y="44"/>
                      <a:pt x="22" y="44"/>
                    </a:cubicBezTo>
                    <a:cubicBezTo>
                      <a:pt x="22" y="44"/>
                      <a:pt x="22" y="44"/>
                      <a:pt x="22" y="44"/>
                    </a:cubicBezTo>
                    <a:cubicBezTo>
                      <a:pt x="22" y="44"/>
                      <a:pt x="22" y="44"/>
                      <a:pt x="22" y="44"/>
                    </a:cubicBezTo>
                    <a:close/>
                    <a:moveTo>
                      <a:pt x="22" y="44"/>
                    </a:moveTo>
                    <a:cubicBezTo>
                      <a:pt x="22" y="44"/>
                      <a:pt x="22" y="44"/>
                      <a:pt x="22" y="44"/>
                    </a:cubicBezTo>
                    <a:cubicBezTo>
                      <a:pt x="23" y="44"/>
                      <a:pt x="23" y="44"/>
                      <a:pt x="23" y="45"/>
                    </a:cubicBezTo>
                    <a:cubicBezTo>
                      <a:pt x="23" y="44"/>
                      <a:pt x="23" y="44"/>
                      <a:pt x="22" y="44"/>
                    </a:cubicBezTo>
                    <a:cubicBezTo>
                      <a:pt x="22" y="44"/>
                      <a:pt x="22" y="44"/>
                      <a:pt x="22" y="44"/>
                    </a:cubicBezTo>
                    <a:close/>
                    <a:moveTo>
                      <a:pt x="46" y="44"/>
                    </a:moveTo>
                    <a:cubicBezTo>
                      <a:pt x="45" y="44"/>
                      <a:pt x="45" y="44"/>
                      <a:pt x="45" y="44"/>
                    </a:cubicBezTo>
                    <a:cubicBezTo>
                      <a:pt x="45" y="44"/>
                      <a:pt x="45" y="45"/>
                      <a:pt x="46" y="45"/>
                    </a:cubicBezTo>
                    <a:cubicBezTo>
                      <a:pt x="46" y="45"/>
                      <a:pt x="46" y="45"/>
                      <a:pt x="46" y="45"/>
                    </a:cubicBezTo>
                    <a:cubicBezTo>
                      <a:pt x="46" y="44"/>
                      <a:pt x="46" y="44"/>
                      <a:pt x="46" y="44"/>
                    </a:cubicBezTo>
                    <a:cubicBezTo>
                      <a:pt x="46" y="44"/>
                      <a:pt x="46" y="44"/>
                      <a:pt x="46" y="44"/>
                    </a:cubicBezTo>
                    <a:cubicBezTo>
                      <a:pt x="46" y="44"/>
                      <a:pt x="46" y="44"/>
                      <a:pt x="46" y="44"/>
                    </a:cubicBezTo>
                    <a:close/>
                    <a:moveTo>
                      <a:pt x="44" y="44"/>
                    </a:moveTo>
                    <a:cubicBezTo>
                      <a:pt x="44" y="44"/>
                      <a:pt x="43" y="44"/>
                      <a:pt x="43" y="44"/>
                    </a:cubicBezTo>
                    <a:cubicBezTo>
                      <a:pt x="43" y="45"/>
                      <a:pt x="43" y="45"/>
                      <a:pt x="43" y="45"/>
                    </a:cubicBezTo>
                    <a:cubicBezTo>
                      <a:pt x="44" y="45"/>
                      <a:pt x="45" y="45"/>
                      <a:pt x="46" y="45"/>
                    </a:cubicBezTo>
                    <a:cubicBezTo>
                      <a:pt x="45" y="45"/>
                      <a:pt x="45" y="44"/>
                      <a:pt x="44" y="44"/>
                    </a:cubicBezTo>
                    <a:cubicBezTo>
                      <a:pt x="44" y="44"/>
                      <a:pt x="44" y="44"/>
                      <a:pt x="44" y="44"/>
                    </a:cubicBezTo>
                    <a:close/>
                    <a:moveTo>
                      <a:pt x="47" y="46"/>
                    </a:moveTo>
                    <a:cubicBezTo>
                      <a:pt x="46" y="46"/>
                      <a:pt x="46" y="46"/>
                      <a:pt x="46" y="46"/>
                    </a:cubicBezTo>
                    <a:cubicBezTo>
                      <a:pt x="47" y="46"/>
                      <a:pt x="47" y="47"/>
                      <a:pt x="48" y="47"/>
                    </a:cubicBezTo>
                    <a:cubicBezTo>
                      <a:pt x="47" y="46"/>
                      <a:pt x="47" y="46"/>
                      <a:pt x="47" y="46"/>
                    </a:cubicBezTo>
                    <a:cubicBezTo>
                      <a:pt x="47" y="46"/>
                      <a:pt x="47" y="46"/>
                      <a:pt x="47" y="46"/>
                    </a:cubicBezTo>
                    <a:close/>
                    <a:moveTo>
                      <a:pt x="43" y="47"/>
                    </a:moveTo>
                    <a:cubicBezTo>
                      <a:pt x="45" y="46"/>
                      <a:pt x="45" y="46"/>
                      <a:pt x="47" y="47"/>
                    </a:cubicBezTo>
                    <a:cubicBezTo>
                      <a:pt x="45" y="47"/>
                      <a:pt x="44" y="47"/>
                      <a:pt x="43" y="47"/>
                    </a:cubicBezTo>
                    <a:cubicBezTo>
                      <a:pt x="43" y="47"/>
                      <a:pt x="43" y="47"/>
                      <a:pt x="43" y="47"/>
                    </a:cubicBezTo>
                    <a:cubicBezTo>
                      <a:pt x="43" y="47"/>
                      <a:pt x="43" y="47"/>
                      <a:pt x="43" y="47"/>
                    </a:cubicBezTo>
                    <a:close/>
                    <a:moveTo>
                      <a:pt x="48" y="47"/>
                    </a:moveTo>
                    <a:cubicBezTo>
                      <a:pt x="48" y="47"/>
                      <a:pt x="48" y="47"/>
                      <a:pt x="48" y="47"/>
                    </a:cubicBezTo>
                    <a:cubicBezTo>
                      <a:pt x="48" y="47"/>
                      <a:pt x="48" y="47"/>
                      <a:pt x="48" y="47"/>
                    </a:cubicBezTo>
                    <a:cubicBezTo>
                      <a:pt x="48" y="47"/>
                      <a:pt x="48" y="47"/>
                      <a:pt x="48" y="47"/>
                    </a:cubicBezTo>
                    <a:cubicBezTo>
                      <a:pt x="48" y="47"/>
                      <a:pt x="48" y="47"/>
                      <a:pt x="48" y="47"/>
                    </a:cubicBezTo>
                    <a:close/>
                    <a:moveTo>
                      <a:pt x="47" y="47"/>
                    </a:moveTo>
                    <a:cubicBezTo>
                      <a:pt x="48" y="47"/>
                      <a:pt x="49" y="47"/>
                      <a:pt x="49" y="47"/>
                    </a:cubicBezTo>
                    <a:cubicBezTo>
                      <a:pt x="48" y="47"/>
                      <a:pt x="48" y="47"/>
                      <a:pt x="47" y="47"/>
                    </a:cubicBezTo>
                    <a:cubicBezTo>
                      <a:pt x="47" y="47"/>
                      <a:pt x="47" y="47"/>
                      <a:pt x="47" y="47"/>
                    </a:cubicBezTo>
                    <a:close/>
                    <a:moveTo>
                      <a:pt x="47" y="47"/>
                    </a:moveTo>
                    <a:cubicBezTo>
                      <a:pt x="46" y="47"/>
                      <a:pt x="44" y="47"/>
                      <a:pt x="43" y="47"/>
                    </a:cubicBezTo>
                    <a:cubicBezTo>
                      <a:pt x="43" y="48"/>
                      <a:pt x="43" y="49"/>
                      <a:pt x="43" y="50"/>
                    </a:cubicBezTo>
                    <a:cubicBezTo>
                      <a:pt x="44" y="51"/>
                      <a:pt x="45" y="55"/>
                      <a:pt x="46" y="55"/>
                    </a:cubicBezTo>
                    <a:cubicBezTo>
                      <a:pt x="46" y="55"/>
                      <a:pt x="47" y="55"/>
                      <a:pt x="47" y="55"/>
                    </a:cubicBezTo>
                    <a:cubicBezTo>
                      <a:pt x="47" y="55"/>
                      <a:pt x="47" y="55"/>
                      <a:pt x="47" y="54"/>
                    </a:cubicBezTo>
                    <a:cubicBezTo>
                      <a:pt x="48" y="54"/>
                      <a:pt x="48" y="54"/>
                      <a:pt x="48" y="55"/>
                    </a:cubicBezTo>
                    <a:cubicBezTo>
                      <a:pt x="48" y="54"/>
                      <a:pt x="49" y="54"/>
                      <a:pt x="49" y="54"/>
                    </a:cubicBezTo>
                    <a:cubicBezTo>
                      <a:pt x="49" y="54"/>
                      <a:pt x="48" y="54"/>
                      <a:pt x="48" y="53"/>
                    </a:cubicBezTo>
                    <a:cubicBezTo>
                      <a:pt x="48" y="54"/>
                      <a:pt x="48" y="54"/>
                      <a:pt x="48" y="54"/>
                    </a:cubicBezTo>
                    <a:cubicBezTo>
                      <a:pt x="48" y="54"/>
                      <a:pt x="48" y="54"/>
                      <a:pt x="48" y="53"/>
                    </a:cubicBezTo>
                    <a:cubicBezTo>
                      <a:pt x="47" y="53"/>
                      <a:pt x="47" y="53"/>
                      <a:pt x="46" y="53"/>
                    </a:cubicBezTo>
                    <a:cubicBezTo>
                      <a:pt x="47" y="53"/>
                      <a:pt x="47" y="53"/>
                      <a:pt x="48" y="53"/>
                    </a:cubicBezTo>
                    <a:cubicBezTo>
                      <a:pt x="48" y="52"/>
                      <a:pt x="49" y="52"/>
                      <a:pt x="49" y="51"/>
                    </a:cubicBezTo>
                    <a:cubicBezTo>
                      <a:pt x="49" y="52"/>
                      <a:pt x="48" y="52"/>
                      <a:pt x="48" y="53"/>
                    </a:cubicBezTo>
                    <a:cubicBezTo>
                      <a:pt x="49" y="54"/>
                      <a:pt x="49" y="54"/>
                      <a:pt x="50" y="53"/>
                    </a:cubicBezTo>
                    <a:cubicBezTo>
                      <a:pt x="50" y="51"/>
                      <a:pt x="49" y="49"/>
                      <a:pt x="49" y="48"/>
                    </a:cubicBezTo>
                    <a:cubicBezTo>
                      <a:pt x="48" y="47"/>
                      <a:pt x="48" y="47"/>
                      <a:pt x="47" y="47"/>
                    </a:cubicBezTo>
                    <a:cubicBezTo>
                      <a:pt x="47" y="47"/>
                      <a:pt x="47" y="47"/>
                      <a:pt x="47" y="47"/>
                    </a:cubicBezTo>
                    <a:close/>
                    <a:moveTo>
                      <a:pt x="49" y="47"/>
                    </a:moveTo>
                    <a:cubicBezTo>
                      <a:pt x="49" y="47"/>
                      <a:pt x="49" y="47"/>
                      <a:pt x="49" y="47"/>
                    </a:cubicBezTo>
                    <a:cubicBezTo>
                      <a:pt x="49" y="47"/>
                      <a:pt x="50" y="48"/>
                      <a:pt x="50" y="48"/>
                    </a:cubicBezTo>
                    <a:cubicBezTo>
                      <a:pt x="50" y="48"/>
                      <a:pt x="49" y="48"/>
                      <a:pt x="49" y="47"/>
                    </a:cubicBezTo>
                    <a:cubicBezTo>
                      <a:pt x="49" y="47"/>
                      <a:pt x="49" y="47"/>
                      <a:pt x="49" y="47"/>
                    </a:cubicBezTo>
                    <a:close/>
                    <a:moveTo>
                      <a:pt x="22" y="48"/>
                    </a:moveTo>
                    <a:cubicBezTo>
                      <a:pt x="22" y="48"/>
                      <a:pt x="21" y="48"/>
                      <a:pt x="21" y="48"/>
                    </a:cubicBezTo>
                    <a:cubicBezTo>
                      <a:pt x="21" y="48"/>
                      <a:pt x="21" y="48"/>
                      <a:pt x="21" y="49"/>
                    </a:cubicBezTo>
                    <a:cubicBezTo>
                      <a:pt x="22" y="49"/>
                      <a:pt x="22" y="49"/>
                      <a:pt x="22" y="49"/>
                    </a:cubicBezTo>
                    <a:cubicBezTo>
                      <a:pt x="22" y="49"/>
                      <a:pt x="22" y="48"/>
                      <a:pt x="21" y="48"/>
                    </a:cubicBezTo>
                    <a:cubicBezTo>
                      <a:pt x="23" y="49"/>
                      <a:pt x="26" y="49"/>
                      <a:pt x="28" y="49"/>
                    </a:cubicBezTo>
                    <a:cubicBezTo>
                      <a:pt x="26" y="47"/>
                      <a:pt x="27" y="47"/>
                      <a:pt x="22" y="48"/>
                    </a:cubicBezTo>
                    <a:cubicBezTo>
                      <a:pt x="22" y="48"/>
                      <a:pt x="22" y="48"/>
                      <a:pt x="22" y="48"/>
                    </a:cubicBezTo>
                    <a:close/>
                    <a:moveTo>
                      <a:pt x="21" y="48"/>
                    </a:moveTo>
                    <a:cubicBezTo>
                      <a:pt x="20" y="48"/>
                      <a:pt x="20" y="48"/>
                      <a:pt x="19" y="48"/>
                    </a:cubicBezTo>
                    <a:cubicBezTo>
                      <a:pt x="20" y="48"/>
                      <a:pt x="20" y="49"/>
                      <a:pt x="21" y="49"/>
                    </a:cubicBezTo>
                    <a:cubicBezTo>
                      <a:pt x="21" y="48"/>
                      <a:pt x="21" y="48"/>
                      <a:pt x="21" y="48"/>
                    </a:cubicBezTo>
                    <a:cubicBezTo>
                      <a:pt x="21" y="48"/>
                      <a:pt x="21" y="48"/>
                      <a:pt x="21" y="48"/>
                    </a:cubicBezTo>
                    <a:close/>
                    <a:moveTo>
                      <a:pt x="67" y="46"/>
                    </a:moveTo>
                    <a:cubicBezTo>
                      <a:pt x="67" y="48"/>
                      <a:pt x="67" y="48"/>
                      <a:pt x="65" y="50"/>
                    </a:cubicBezTo>
                    <a:cubicBezTo>
                      <a:pt x="65" y="49"/>
                      <a:pt x="65" y="49"/>
                      <a:pt x="65" y="49"/>
                    </a:cubicBezTo>
                    <a:cubicBezTo>
                      <a:pt x="65" y="49"/>
                      <a:pt x="67" y="45"/>
                      <a:pt x="67" y="45"/>
                    </a:cubicBezTo>
                    <a:cubicBezTo>
                      <a:pt x="68" y="44"/>
                      <a:pt x="68" y="43"/>
                      <a:pt x="69" y="42"/>
                    </a:cubicBezTo>
                    <a:cubicBezTo>
                      <a:pt x="68" y="43"/>
                      <a:pt x="68" y="44"/>
                      <a:pt x="67" y="46"/>
                    </a:cubicBezTo>
                    <a:cubicBezTo>
                      <a:pt x="67" y="46"/>
                      <a:pt x="67" y="46"/>
                      <a:pt x="67" y="46"/>
                    </a:cubicBezTo>
                    <a:close/>
                    <a:moveTo>
                      <a:pt x="21" y="49"/>
                    </a:moveTo>
                    <a:cubicBezTo>
                      <a:pt x="21" y="48"/>
                      <a:pt x="21" y="48"/>
                      <a:pt x="21" y="48"/>
                    </a:cubicBezTo>
                    <a:cubicBezTo>
                      <a:pt x="21" y="48"/>
                      <a:pt x="21" y="48"/>
                      <a:pt x="21" y="49"/>
                    </a:cubicBezTo>
                    <a:cubicBezTo>
                      <a:pt x="21" y="49"/>
                      <a:pt x="21" y="49"/>
                      <a:pt x="21" y="49"/>
                    </a:cubicBezTo>
                    <a:cubicBezTo>
                      <a:pt x="21" y="49"/>
                      <a:pt x="21" y="49"/>
                      <a:pt x="21" y="49"/>
                    </a:cubicBezTo>
                    <a:close/>
                    <a:moveTo>
                      <a:pt x="28" y="49"/>
                    </a:moveTo>
                    <a:cubicBezTo>
                      <a:pt x="26" y="49"/>
                      <a:pt x="24" y="49"/>
                      <a:pt x="22" y="49"/>
                    </a:cubicBezTo>
                    <a:cubicBezTo>
                      <a:pt x="25" y="50"/>
                      <a:pt x="28" y="51"/>
                      <a:pt x="30" y="52"/>
                    </a:cubicBezTo>
                    <a:cubicBezTo>
                      <a:pt x="30" y="52"/>
                      <a:pt x="31" y="51"/>
                      <a:pt x="31" y="51"/>
                    </a:cubicBezTo>
                    <a:cubicBezTo>
                      <a:pt x="30" y="50"/>
                      <a:pt x="30" y="49"/>
                      <a:pt x="28" y="49"/>
                    </a:cubicBezTo>
                    <a:cubicBezTo>
                      <a:pt x="28" y="49"/>
                      <a:pt x="28" y="49"/>
                      <a:pt x="28" y="49"/>
                    </a:cubicBezTo>
                    <a:close/>
                    <a:moveTo>
                      <a:pt x="22" y="49"/>
                    </a:moveTo>
                    <a:cubicBezTo>
                      <a:pt x="22" y="49"/>
                      <a:pt x="22" y="49"/>
                      <a:pt x="22" y="49"/>
                    </a:cubicBezTo>
                    <a:cubicBezTo>
                      <a:pt x="22" y="49"/>
                      <a:pt x="23" y="50"/>
                      <a:pt x="23" y="51"/>
                    </a:cubicBezTo>
                    <a:cubicBezTo>
                      <a:pt x="25" y="51"/>
                      <a:pt x="26" y="52"/>
                      <a:pt x="28" y="52"/>
                    </a:cubicBezTo>
                    <a:cubicBezTo>
                      <a:pt x="29" y="53"/>
                      <a:pt x="29" y="53"/>
                      <a:pt x="30" y="53"/>
                    </a:cubicBezTo>
                    <a:cubicBezTo>
                      <a:pt x="30" y="53"/>
                      <a:pt x="30" y="52"/>
                      <a:pt x="30" y="52"/>
                    </a:cubicBezTo>
                    <a:cubicBezTo>
                      <a:pt x="28" y="51"/>
                      <a:pt x="25" y="50"/>
                      <a:pt x="22" y="49"/>
                    </a:cubicBezTo>
                    <a:cubicBezTo>
                      <a:pt x="22" y="49"/>
                      <a:pt x="22" y="49"/>
                      <a:pt x="22" y="49"/>
                    </a:cubicBezTo>
                    <a:close/>
                    <a:moveTo>
                      <a:pt x="20" y="49"/>
                    </a:moveTo>
                    <a:cubicBezTo>
                      <a:pt x="21" y="49"/>
                      <a:pt x="21" y="49"/>
                      <a:pt x="21" y="49"/>
                    </a:cubicBezTo>
                    <a:cubicBezTo>
                      <a:pt x="21" y="49"/>
                      <a:pt x="21" y="49"/>
                      <a:pt x="21" y="49"/>
                    </a:cubicBezTo>
                    <a:cubicBezTo>
                      <a:pt x="21" y="49"/>
                      <a:pt x="21" y="49"/>
                      <a:pt x="20" y="49"/>
                    </a:cubicBezTo>
                    <a:cubicBezTo>
                      <a:pt x="20" y="49"/>
                      <a:pt x="20" y="49"/>
                      <a:pt x="20" y="49"/>
                    </a:cubicBezTo>
                    <a:close/>
                    <a:moveTo>
                      <a:pt x="21" y="49"/>
                    </a:moveTo>
                    <a:cubicBezTo>
                      <a:pt x="21" y="49"/>
                      <a:pt x="21" y="49"/>
                      <a:pt x="21" y="49"/>
                    </a:cubicBezTo>
                    <a:cubicBezTo>
                      <a:pt x="21" y="49"/>
                      <a:pt x="22" y="50"/>
                      <a:pt x="22" y="50"/>
                    </a:cubicBezTo>
                    <a:cubicBezTo>
                      <a:pt x="22" y="50"/>
                      <a:pt x="22" y="49"/>
                      <a:pt x="21" y="49"/>
                    </a:cubicBezTo>
                    <a:cubicBezTo>
                      <a:pt x="21" y="49"/>
                      <a:pt x="21" y="49"/>
                      <a:pt x="21" y="49"/>
                    </a:cubicBezTo>
                    <a:cubicBezTo>
                      <a:pt x="21" y="49"/>
                      <a:pt x="21" y="49"/>
                      <a:pt x="21" y="49"/>
                    </a:cubicBezTo>
                    <a:close/>
                    <a:moveTo>
                      <a:pt x="52" y="49"/>
                    </a:moveTo>
                    <a:cubicBezTo>
                      <a:pt x="51" y="48"/>
                      <a:pt x="50" y="48"/>
                      <a:pt x="49" y="48"/>
                    </a:cubicBezTo>
                    <a:cubicBezTo>
                      <a:pt x="49" y="49"/>
                      <a:pt x="50" y="51"/>
                      <a:pt x="50" y="52"/>
                    </a:cubicBezTo>
                    <a:cubicBezTo>
                      <a:pt x="51" y="51"/>
                      <a:pt x="51" y="50"/>
                      <a:pt x="52" y="49"/>
                    </a:cubicBezTo>
                    <a:cubicBezTo>
                      <a:pt x="52" y="49"/>
                      <a:pt x="52" y="49"/>
                      <a:pt x="52" y="49"/>
                    </a:cubicBezTo>
                    <a:cubicBezTo>
                      <a:pt x="52" y="49"/>
                      <a:pt x="52" y="49"/>
                      <a:pt x="52" y="49"/>
                    </a:cubicBezTo>
                    <a:close/>
                    <a:moveTo>
                      <a:pt x="52" y="49"/>
                    </a:moveTo>
                    <a:cubicBezTo>
                      <a:pt x="52" y="49"/>
                      <a:pt x="52" y="49"/>
                      <a:pt x="52" y="49"/>
                    </a:cubicBezTo>
                    <a:cubicBezTo>
                      <a:pt x="52" y="49"/>
                      <a:pt x="52" y="49"/>
                      <a:pt x="52" y="49"/>
                    </a:cubicBezTo>
                    <a:cubicBezTo>
                      <a:pt x="52" y="49"/>
                      <a:pt x="52" y="49"/>
                      <a:pt x="52" y="49"/>
                    </a:cubicBezTo>
                    <a:cubicBezTo>
                      <a:pt x="52" y="49"/>
                      <a:pt x="52" y="49"/>
                      <a:pt x="52" y="49"/>
                    </a:cubicBezTo>
                    <a:close/>
                    <a:moveTo>
                      <a:pt x="52" y="50"/>
                    </a:moveTo>
                    <a:cubicBezTo>
                      <a:pt x="52" y="49"/>
                      <a:pt x="52" y="49"/>
                      <a:pt x="53" y="49"/>
                    </a:cubicBezTo>
                    <a:cubicBezTo>
                      <a:pt x="53" y="49"/>
                      <a:pt x="53" y="50"/>
                      <a:pt x="53" y="50"/>
                    </a:cubicBezTo>
                    <a:cubicBezTo>
                      <a:pt x="53" y="50"/>
                      <a:pt x="53" y="49"/>
                      <a:pt x="53" y="49"/>
                    </a:cubicBezTo>
                    <a:cubicBezTo>
                      <a:pt x="53" y="50"/>
                      <a:pt x="54" y="50"/>
                      <a:pt x="55" y="50"/>
                    </a:cubicBezTo>
                    <a:cubicBezTo>
                      <a:pt x="53" y="51"/>
                      <a:pt x="52" y="52"/>
                      <a:pt x="51" y="52"/>
                    </a:cubicBezTo>
                    <a:cubicBezTo>
                      <a:pt x="51" y="51"/>
                      <a:pt x="52" y="50"/>
                      <a:pt x="52" y="50"/>
                    </a:cubicBezTo>
                    <a:cubicBezTo>
                      <a:pt x="52" y="50"/>
                      <a:pt x="52" y="50"/>
                      <a:pt x="52" y="50"/>
                    </a:cubicBezTo>
                    <a:close/>
                    <a:moveTo>
                      <a:pt x="31" y="51"/>
                    </a:moveTo>
                    <a:cubicBezTo>
                      <a:pt x="30" y="50"/>
                      <a:pt x="30" y="50"/>
                      <a:pt x="29" y="49"/>
                    </a:cubicBezTo>
                    <a:cubicBezTo>
                      <a:pt x="32" y="50"/>
                      <a:pt x="32" y="50"/>
                      <a:pt x="34" y="51"/>
                    </a:cubicBezTo>
                    <a:cubicBezTo>
                      <a:pt x="34" y="51"/>
                      <a:pt x="33" y="51"/>
                      <a:pt x="32" y="51"/>
                    </a:cubicBezTo>
                    <a:cubicBezTo>
                      <a:pt x="32" y="51"/>
                      <a:pt x="32" y="51"/>
                      <a:pt x="32" y="51"/>
                    </a:cubicBezTo>
                    <a:cubicBezTo>
                      <a:pt x="36" y="51"/>
                      <a:pt x="34" y="51"/>
                      <a:pt x="37" y="51"/>
                    </a:cubicBezTo>
                    <a:cubicBezTo>
                      <a:pt x="38" y="51"/>
                      <a:pt x="38" y="51"/>
                      <a:pt x="39" y="51"/>
                    </a:cubicBezTo>
                    <a:cubicBezTo>
                      <a:pt x="39" y="52"/>
                      <a:pt x="38" y="53"/>
                      <a:pt x="38" y="53"/>
                    </a:cubicBezTo>
                    <a:cubicBezTo>
                      <a:pt x="37" y="54"/>
                      <a:pt x="35" y="54"/>
                      <a:pt x="34" y="53"/>
                    </a:cubicBezTo>
                    <a:cubicBezTo>
                      <a:pt x="33" y="53"/>
                      <a:pt x="32" y="53"/>
                      <a:pt x="31" y="52"/>
                    </a:cubicBezTo>
                    <a:cubicBezTo>
                      <a:pt x="31" y="52"/>
                      <a:pt x="31" y="51"/>
                      <a:pt x="31" y="51"/>
                    </a:cubicBezTo>
                    <a:cubicBezTo>
                      <a:pt x="31" y="51"/>
                      <a:pt x="31" y="51"/>
                      <a:pt x="31" y="51"/>
                    </a:cubicBezTo>
                    <a:cubicBezTo>
                      <a:pt x="31" y="51"/>
                      <a:pt x="31" y="51"/>
                      <a:pt x="31" y="51"/>
                    </a:cubicBezTo>
                    <a:cubicBezTo>
                      <a:pt x="31" y="51"/>
                      <a:pt x="31" y="51"/>
                      <a:pt x="31" y="51"/>
                    </a:cubicBezTo>
                    <a:close/>
                    <a:moveTo>
                      <a:pt x="24" y="51"/>
                    </a:moveTo>
                    <a:cubicBezTo>
                      <a:pt x="24" y="51"/>
                      <a:pt x="24" y="51"/>
                      <a:pt x="24" y="51"/>
                    </a:cubicBezTo>
                    <a:cubicBezTo>
                      <a:pt x="24" y="51"/>
                      <a:pt x="24" y="51"/>
                      <a:pt x="24" y="51"/>
                    </a:cubicBezTo>
                    <a:cubicBezTo>
                      <a:pt x="24" y="51"/>
                      <a:pt x="24" y="51"/>
                      <a:pt x="24" y="51"/>
                    </a:cubicBezTo>
                    <a:cubicBezTo>
                      <a:pt x="24" y="51"/>
                      <a:pt x="24" y="51"/>
                      <a:pt x="24" y="51"/>
                    </a:cubicBezTo>
                    <a:close/>
                    <a:moveTo>
                      <a:pt x="39" y="51"/>
                    </a:moveTo>
                    <a:cubicBezTo>
                      <a:pt x="40" y="51"/>
                      <a:pt x="40" y="51"/>
                      <a:pt x="41" y="51"/>
                    </a:cubicBezTo>
                    <a:cubicBezTo>
                      <a:pt x="41" y="53"/>
                      <a:pt x="41" y="53"/>
                      <a:pt x="41" y="53"/>
                    </a:cubicBezTo>
                    <a:cubicBezTo>
                      <a:pt x="40" y="53"/>
                      <a:pt x="39" y="53"/>
                      <a:pt x="38" y="53"/>
                    </a:cubicBezTo>
                    <a:cubicBezTo>
                      <a:pt x="38" y="53"/>
                      <a:pt x="39" y="52"/>
                      <a:pt x="39" y="51"/>
                    </a:cubicBezTo>
                    <a:cubicBezTo>
                      <a:pt x="39" y="51"/>
                      <a:pt x="39" y="51"/>
                      <a:pt x="39" y="51"/>
                    </a:cubicBezTo>
                    <a:close/>
                    <a:moveTo>
                      <a:pt x="24" y="52"/>
                    </a:moveTo>
                    <a:cubicBezTo>
                      <a:pt x="25" y="52"/>
                      <a:pt x="26" y="52"/>
                      <a:pt x="27" y="53"/>
                    </a:cubicBezTo>
                    <a:cubicBezTo>
                      <a:pt x="26" y="53"/>
                      <a:pt x="26" y="53"/>
                      <a:pt x="25" y="53"/>
                    </a:cubicBezTo>
                    <a:cubicBezTo>
                      <a:pt x="25" y="53"/>
                      <a:pt x="24" y="52"/>
                      <a:pt x="24" y="52"/>
                    </a:cubicBezTo>
                    <a:cubicBezTo>
                      <a:pt x="24" y="52"/>
                      <a:pt x="24" y="52"/>
                      <a:pt x="24" y="52"/>
                    </a:cubicBezTo>
                    <a:cubicBezTo>
                      <a:pt x="24" y="52"/>
                      <a:pt x="24" y="52"/>
                      <a:pt x="24" y="52"/>
                    </a:cubicBezTo>
                    <a:close/>
                    <a:moveTo>
                      <a:pt x="31" y="52"/>
                    </a:moveTo>
                    <a:cubicBezTo>
                      <a:pt x="31" y="52"/>
                      <a:pt x="31" y="51"/>
                      <a:pt x="31" y="51"/>
                    </a:cubicBezTo>
                    <a:cubicBezTo>
                      <a:pt x="31" y="51"/>
                      <a:pt x="31" y="52"/>
                      <a:pt x="31" y="52"/>
                    </a:cubicBezTo>
                    <a:cubicBezTo>
                      <a:pt x="31" y="52"/>
                      <a:pt x="31" y="52"/>
                      <a:pt x="31" y="52"/>
                    </a:cubicBezTo>
                    <a:cubicBezTo>
                      <a:pt x="31" y="52"/>
                      <a:pt x="31" y="52"/>
                      <a:pt x="31" y="52"/>
                    </a:cubicBezTo>
                    <a:close/>
                    <a:moveTo>
                      <a:pt x="30" y="52"/>
                    </a:moveTo>
                    <a:cubicBezTo>
                      <a:pt x="31" y="52"/>
                      <a:pt x="31" y="52"/>
                      <a:pt x="32" y="53"/>
                    </a:cubicBezTo>
                    <a:cubicBezTo>
                      <a:pt x="31" y="53"/>
                      <a:pt x="31" y="53"/>
                      <a:pt x="30" y="53"/>
                    </a:cubicBezTo>
                    <a:cubicBezTo>
                      <a:pt x="30" y="53"/>
                      <a:pt x="30" y="52"/>
                      <a:pt x="30" y="52"/>
                    </a:cubicBezTo>
                    <a:cubicBezTo>
                      <a:pt x="30" y="52"/>
                      <a:pt x="30" y="52"/>
                      <a:pt x="30" y="52"/>
                    </a:cubicBezTo>
                    <a:close/>
                    <a:moveTo>
                      <a:pt x="28" y="53"/>
                    </a:moveTo>
                    <a:cubicBezTo>
                      <a:pt x="27" y="53"/>
                      <a:pt x="27" y="53"/>
                      <a:pt x="25" y="53"/>
                    </a:cubicBezTo>
                    <a:cubicBezTo>
                      <a:pt x="25" y="53"/>
                      <a:pt x="25" y="53"/>
                      <a:pt x="25" y="53"/>
                    </a:cubicBezTo>
                    <a:cubicBezTo>
                      <a:pt x="26" y="53"/>
                      <a:pt x="27" y="53"/>
                      <a:pt x="28" y="53"/>
                    </a:cubicBezTo>
                    <a:cubicBezTo>
                      <a:pt x="28" y="53"/>
                      <a:pt x="28" y="53"/>
                      <a:pt x="28" y="53"/>
                    </a:cubicBezTo>
                    <a:close/>
                    <a:moveTo>
                      <a:pt x="43" y="52"/>
                    </a:moveTo>
                    <a:cubicBezTo>
                      <a:pt x="43" y="54"/>
                      <a:pt x="44" y="53"/>
                      <a:pt x="45" y="56"/>
                    </a:cubicBezTo>
                    <a:cubicBezTo>
                      <a:pt x="45" y="56"/>
                      <a:pt x="45" y="56"/>
                      <a:pt x="45" y="56"/>
                    </a:cubicBezTo>
                    <a:cubicBezTo>
                      <a:pt x="45" y="54"/>
                      <a:pt x="44" y="52"/>
                      <a:pt x="43" y="51"/>
                    </a:cubicBezTo>
                    <a:cubicBezTo>
                      <a:pt x="43" y="51"/>
                      <a:pt x="43" y="51"/>
                      <a:pt x="43" y="52"/>
                    </a:cubicBezTo>
                    <a:cubicBezTo>
                      <a:pt x="43" y="52"/>
                      <a:pt x="43" y="52"/>
                      <a:pt x="43" y="52"/>
                    </a:cubicBezTo>
                    <a:close/>
                    <a:moveTo>
                      <a:pt x="32" y="53"/>
                    </a:moveTo>
                    <a:cubicBezTo>
                      <a:pt x="32" y="53"/>
                      <a:pt x="32" y="53"/>
                      <a:pt x="32" y="52"/>
                    </a:cubicBezTo>
                    <a:cubicBezTo>
                      <a:pt x="32" y="53"/>
                      <a:pt x="33" y="53"/>
                      <a:pt x="34" y="53"/>
                    </a:cubicBezTo>
                    <a:cubicBezTo>
                      <a:pt x="33" y="53"/>
                      <a:pt x="33" y="53"/>
                      <a:pt x="32" y="53"/>
                    </a:cubicBezTo>
                    <a:cubicBezTo>
                      <a:pt x="32" y="53"/>
                      <a:pt x="32" y="53"/>
                      <a:pt x="32" y="53"/>
                    </a:cubicBezTo>
                    <a:close/>
                    <a:moveTo>
                      <a:pt x="25" y="53"/>
                    </a:moveTo>
                    <a:cubicBezTo>
                      <a:pt x="27" y="53"/>
                      <a:pt x="28" y="53"/>
                      <a:pt x="30" y="54"/>
                    </a:cubicBezTo>
                    <a:cubicBezTo>
                      <a:pt x="30" y="54"/>
                      <a:pt x="30" y="55"/>
                      <a:pt x="30" y="56"/>
                    </a:cubicBezTo>
                    <a:cubicBezTo>
                      <a:pt x="29" y="56"/>
                      <a:pt x="29" y="56"/>
                      <a:pt x="29" y="56"/>
                    </a:cubicBezTo>
                    <a:cubicBezTo>
                      <a:pt x="29" y="56"/>
                      <a:pt x="29" y="55"/>
                      <a:pt x="29" y="55"/>
                    </a:cubicBezTo>
                    <a:cubicBezTo>
                      <a:pt x="29" y="56"/>
                      <a:pt x="29" y="56"/>
                      <a:pt x="28" y="56"/>
                    </a:cubicBezTo>
                    <a:cubicBezTo>
                      <a:pt x="28" y="56"/>
                      <a:pt x="28" y="56"/>
                      <a:pt x="28" y="56"/>
                    </a:cubicBezTo>
                    <a:cubicBezTo>
                      <a:pt x="28" y="56"/>
                      <a:pt x="28" y="56"/>
                      <a:pt x="28" y="56"/>
                    </a:cubicBezTo>
                    <a:cubicBezTo>
                      <a:pt x="28" y="56"/>
                      <a:pt x="28" y="56"/>
                      <a:pt x="28" y="56"/>
                    </a:cubicBezTo>
                    <a:cubicBezTo>
                      <a:pt x="26" y="55"/>
                      <a:pt x="26" y="55"/>
                      <a:pt x="25" y="53"/>
                    </a:cubicBezTo>
                    <a:cubicBezTo>
                      <a:pt x="25" y="53"/>
                      <a:pt x="25" y="53"/>
                      <a:pt x="25" y="53"/>
                    </a:cubicBezTo>
                    <a:close/>
                    <a:moveTo>
                      <a:pt x="25" y="54"/>
                    </a:moveTo>
                    <a:cubicBezTo>
                      <a:pt x="25" y="54"/>
                      <a:pt x="25" y="54"/>
                      <a:pt x="25" y="54"/>
                    </a:cubicBezTo>
                    <a:cubicBezTo>
                      <a:pt x="25" y="54"/>
                      <a:pt x="25" y="54"/>
                      <a:pt x="25" y="54"/>
                    </a:cubicBezTo>
                    <a:cubicBezTo>
                      <a:pt x="25" y="54"/>
                      <a:pt x="25" y="54"/>
                      <a:pt x="25" y="54"/>
                    </a:cubicBezTo>
                    <a:cubicBezTo>
                      <a:pt x="25" y="54"/>
                      <a:pt x="25" y="54"/>
                      <a:pt x="25" y="54"/>
                    </a:cubicBezTo>
                    <a:close/>
                    <a:moveTo>
                      <a:pt x="24" y="54"/>
                    </a:moveTo>
                    <a:cubicBezTo>
                      <a:pt x="25" y="53"/>
                      <a:pt x="25" y="54"/>
                      <a:pt x="26" y="55"/>
                    </a:cubicBezTo>
                    <a:cubicBezTo>
                      <a:pt x="25" y="55"/>
                      <a:pt x="25" y="54"/>
                      <a:pt x="24" y="54"/>
                    </a:cubicBezTo>
                    <a:cubicBezTo>
                      <a:pt x="24" y="54"/>
                      <a:pt x="24" y="54"/>
                      <a:pt x="24" y="54"/>
                    </a:cubicBezTo>
                    <a:close/>
                    <a:moveTo>
                      <a:pt x="60" y="54"/>
                    </a:moveTo>
                    <a:cubicBezTo>
                      <a:pt x="60" y="54"/>
                      <a:pt x="60" y="54"/>
                      <a:pt x="60" y="54"/>
                    </a:cubicBezTo>
                    <a:cubicBezTo>
                      <a:pt x="60" y="54"/>
                      <a:pt x="60" y="54"/>
                      <a:pt x="59" y="54"/>
                    </a:cubicBezTo>
                    <a:cubicBezTo>
                      <a:pt x="60" y="54"/>
                      <a:pt x="60" y="54"/>
                      <a:pt x="60" y="54"/>
                    </a:cubicBezTo>
                    <a:cubicBezTo>
                      <a:pt x="60" y="54"/>
                      <a:pt x="60" y="54"/>
                      <a:pt x="60" y="54"/>
                    </a:cubicBezTo>
                    <a:close/>
                    <a:moveTo>
                      <a:pt x="39" y="54"/>
                    </a:moveTo>
                    <a:cubicBezTo>
                      <a:pt x="40" y="54"/>
                      <a:pt x="40" y="54"/>
                      <a:pt x="41" y="54"/>
                    </a:cubicBezTo>
                    <a:cubicBezTo>
                      <a:pt x="41" y="55"/>
                      <a:pt x="41" y="57"/>
                      <a:pt x="41" y="58"/>
                    </a:cubicBezTo>
                    <a:cubicBezTo>
                      <a:pt x="41" y="58"/>
                      <a:pt x="41" y="57"/>
                      <a:pt x="40" y="57"/>
                    </a:cubicBezTo>
                    <a:cubicBezTo>
                      <a:pt x="41" y="57"/>
                      <a:pt x="41" y="58"/>
                      <a:pt x="41" y="58"/>
                    </a:cubicBezTo>
                    <a:cubicBezTo>
                      <a:pt x="40" y="58"/>
                      <a:pt x="39" y="59"/>
                      <a:pt x="38" y="59"/>
                    </a:cubicBezTo>
                    <a:cubicBezTo>
                      <a:pt x="41" y="58"/>
                      <a:pt x="41" y="58"/>
                      <a:pt x="41" y="58"/>
                    </a:cubicBezTo>
                    <a:cubicBezTo>
                      <a:pt x="41" y="59"/>
                      <a:pt x="41" y="61"/>
                      <a:pt x="41" y="62"/>
                    </a:cubicBezTo>
                    <a:cubicBezTo>
                      <a:pt x="40" y="63"/>
                      <a:pt x="38" y="63"/>
                      <a:pt x="37" y="63"/>
                    </a:cubicBezTo>
                    <a:cubicBezTo>
                      <a:pt x="36" y="63"/>
                      <a:pt x="36" y="62"/>
                      <a:pt x="36" y="62"/>
                    </a:cubicBezTo>
                    <a:cubicBezTo>
                      <a:pt x="36" y="61"/>
                      <a:pt x="36" y="59"/>
                      <a:pt x="36" y="58"/>
                    </a:cubicBezTo>
                    <a:cubicBezTo>
                      <a:pt x="36" y="59"/>
                      <a:pt x="36" y="62"/>
                      <a:pt x="36" y="63"/>
                    </a:cubicBezTo>
                    <a:cubicBezTo>
                      <a:pt x="35" y="62"/>
                      <a:pt x="34" y="61"/>
                      <a:pt x="33" y="60"/>
                    </a:cubicBezTo>
                    <a:cubicBezTo>
                      <a:pt x="36" y="59"/>
                      <a:pt x="37" y="57"/>
                      <a:pt x="39" y="54"/>
                    </a:cubicBezTo>
                    <a:cubicBezTo>
                      <a:pt x="39" y="54"/>
                      <a:pt x="39" y="54"/>
                      <a:pt x="39" y="54"/>
                    </a:cubicBezTo>
                    <a:close/>
                    <a:moveTo>
                      <a:pt x="58" y="54"/>
                    </a:moveTo>
                    <a:cubicBezTo>
                      <a:pt x="59" y="54"/>
                      <a:pt x="60" y="54"/>
                      <a:pt x="61" y="54"/>
                    </a:cubicBezTo>
                    <a:cubicBezTo>
                      <a:pt x="61" y="54"/>
                      <a:pt x="70" y="57"/>
                      <a:pt x="72" y="57"/>
                    </a:cubicBezTo>
                    <a:cubicBezTo>
                      <a:pt x="71" y="58"/>
                      <a:pt x="71" y="59"/>
                      <a:pt x="70" y="59"/>
                    </a:cubicBezTo>
                    <a:cubicBezTo>
                      <a:pt x="70" y="59"/>
                      <a:pt x="70" y="59"/>
                      <a:pt x="70" y="59"/>
                    </a:cubicBezTo>
                    <a:cubicBezTo>
                      <a:pt x="69" y="61"/>
                      <a:pt x="69" y="61"/>
                      <a:pt x="69" y="61"/>
                    </a:cubicBezTo>
                    <a:cubicBezTo>
                      <a:pt x="69" y="60"/>
                      <a:pt x="69" y="60"/>
                      <a:pt x="69" y="59"/>
                    </a:cubicBezTo>
                    <a:cubicBezTo>
                      <a:pt x="69" y="59"/>
                      <a:pt x="69" y="59"/>
                      <a:pt x="70" y="59"/>
                    </a:cubicBezTo>
                    <a:cubicBezTo>
                      <a:pt x="69" y="59"/>
                      <a:pt x="69" y="59"/>
                      <a:pt x="69" y="59"/>
                    </a:cubicBezTo>
                    <a:cubicBezTo>
                      <a:pt x="69" y="59"/>
                      <a:pt x="69" y="58"/>
                      <a:pt x="69" y="57"/>
                    </a:cubicBezTo>
                    <a:cubicBezTo>
                      <a:pt x="69" y="60"/>
                      <a:pt x="69" y="59"/>
                      <a:pt x="66" y="61"/>
                    </a:cubicBezTo>
                    <a:cubicBezTo>
                      <a:pt x="63" y="64"/>
                      <a:pt x="65" y="63"/>
                      <a:pt x="60" y="65"/>
                    </a:cubicBezTo>
                    <a:cubicBezTo>
                      <a:pt x="61" y="63"/>
                      <a:pt x="61" y="61"/>
                      <a:pt x="62" y="61"/>
                    </a:cubicBezTo>
                    <a:cubicBezTo>
                      <a:pt x="61" y="62"/>
                      <a:pt x="61" y="62"/>
                      <a:pt x="61" y="63"/>
                    </a:cubicBezTo>
                    <a:cubicBezTo>
                      <a:pt x="60" y="64"/>
                      <a:pt x="60" y="64"/>
                      <a:pt x="60" y="65"/>
                    </a:cubicBezTo>
                    <a:cubicBezTo>
                      <a:pt x="59" y="65"/>
                      <a:pt x="58" y="66"/>
                      <a:pt x="57" y="66"/>
                    </a:cubicBezTo>
                    <a:cubicBezTo>
                      <a:pt x="56" y="66"/>
                      <a:pt x="48" y="63"/>
                      <a:pt x="46" y="63"/>
                    </a:cubicBezTo>
                    <a:cubicBezTo>
                      <a:pt x="46" y="63"/>
                      <a:pt x="46" y="63"/>
                      <a:pt x="46" y="63"/>
                    </a:cubicBezTo>
                    <a:cubicBezTo>
                      <a:pt x="47" y="62"/>
                      <a:pt x="47" y="62"/>
                      <a:pt x="47" y="62"/>
                    </a:cubicBezTo>
                    <a:cubicBezTo>
                      <a:pt x="48" y="62"/>
                      <a:pt x="52" y="61"/>
                      <a:pt x="52" y="61"/>
                    </a:cubicBezTo>
                    <a:cubicBezTo>
                      <a:pt x="54" y="61"/>
                      <a:pt x="55" y="61"/>
                      <a:pt x="56" y="62"/>
                    </a:cubicBezTo>
                    <a:cubicBezTo>
                      <a:pt x="57" y="62"/>
                      <a:pt x="59" y="63"/>
                      <a:pt x="60" y="63"/>
                    </a:cubicBezTo>
                    <a:cubicBezTo>
                      <a:pt x="58" y="62"/>
                      <a:pt x="55" y="62"/>
                      <a:pt x="53" y="61"/>
                    </a:cubicBezTo>
                    <a:cubicBezTo>
                      <a:pt x="53" y="60"/>
                      <a:pt x="54" y="60"/>
                      <a:pt x="55" y="60"/>
                    </a:cubicBezTo>
                    <a:cubicBezTo>
                      <a:pt x="52" y="61"/>
                      <a:pt x="53" y="61"/>
                      <a:pt x="50" y="60"/>
                    </a:cubicBezTo>
                    <a:cubicBezTo>
                      <a:pt x="51" y="59"/>
                      <a:pt x="53" y="58"/>
                      <a:pt x="53" y="58"/>
                    </a:cubicBezTo>
                    <a:cubicBezTo>
                      <a:pt x="52" y="59"/>
                      <a:pt x="51" y="59"/>
                      <a:pt x="50" y="59"/>
                    </a:cubicBezTo>
                    <a:cubicBezTo>
                      <a:pt x="49" y="59"/>
                      <a:pt x="49" y="59"/>
                      <a:pt x="48" y="59"/>
                    </a:cubicBezTo>
                    <a:cubicBezTo>
                      <a:pt x="49" y="58"/>
                      <a:pt x="49" y="58"/>
                      <a:pt x="50" y="57"/>
                    </a:cubicBezTo>
                    <a:cubicBezTo>
                      <a:pt x="58" y="58"/>
                      <a:pt x="62" y="59"/>
                      <a:pt x="63" y="59"/>
                    </a:cubicBezTo>
                    <a:cubicBezTo>
                      <a:pt x="59" y="58"/>
                      <a:pt x="55" y="58"/>
                      <a:pt x="51" y="57"/>
                    </a:cubicBezTo>
                    <a:cubicBezTo>
                      <a:pt x="52" y="57"/>
                      <a:pt x="52" y="57"/>
                      <a:pt x="53" y="57"/>
                    </a:cubicBezTo>
                    <a:cubicBezTo>
                      <a:pt x="53" y="57"/>
                      <a:pt x="53" y="57"/>
                      <a:pt x="52" y="57"/>
                    </a:cubicBezTo>
                    <a:cubicBezTo>
                      <a:pt x="53" y="57"/>
                      <a:pt x="54" y="56"/>
                      <a:pt x="55" y="56"/>
                    </a:cubicBezTo>
                    <a:cubicBezTo>
                      <a:pt x="56" y="56"/>
                      <a:pt x="58" y="57"/>
                      <a:pt x="59" y="57"/>
                    </a:cubicBezTo>
                    <a:cubicBezTo>
                      <a:pt x="59" y="57"/>
                      <a:pt x="59" y="57"/>
                      <a:pt x="59" y="57"/>
                    </a:cubicBezTo>
                    <a:cubicBezTo>
                      <a:pt x="58" y="56"/>
                      <a:pt x="56" y="56"/>
                      <a:pt x="55" y="56"/>
                    </a:cubicBezTo>
                    <a:cubicBezTo>
                      <a:pt x="56" y="56"/>
                      <a:pt x="57" y="55"/>
                      <a:pt x="58" y="54"/>
                    </a:cubicBezTo>
                    <a:cubicBezTo>
                      <a:pt x="58" y="54"/>
                      <a:pt x="58" y="54"/>
                      <a:pt x="58" y="54"/>
                    </a:cubicBezTo>
                    <a:close/>
                    <a:moveTo>
                      <a:pt x="30" y="54"/>
                    </a:moveTo>
                    <a:cubicBezTo>
                      <a:pt x="32" y="54"/>
                      <a:pt x="33" y="54"/>
                      <a:pt x="35" y="54"/>
                    </a:cubicBezTo>
                    <a:cubicBezTo>
                      <a:pt x="33" y="55"/>
                      <a:pt x="31" y="55"/>
                      <a:pt x="30" y="56"/>
                    </a:cubicBezTo>
                    <a:cubicBezTo>
                      <a:pt x="30" y="55"/>
                      <a:pt x="30" y="54"/>
                      <a:pt x="30" y="54"/>
                    </a:cubicBezTo>
                    <a:cubicBezTo>
                      <a:pt x="30" y="54"/>
                      <a:pt x="30" y="54"/>
                      <a:pt x="30" y="54"/>
                    </a:cubicBezTo>
                    <a:close/>
                    <a:moveTo>
                      <a:pt x="37" y="55"/>
                    </a:moveTo>
                    <a:cubicBezTo>
                      <a:pt x="37" y="55"/>
                      <a:pt x="36" y="54"/>
                      <a:pt x="36" y="54"/>
                    </a:cubicBezTo>
                    <a:cubicBezTo>
                      <a:pt x="34" y="55"/>
                      <a:pt x="32" y="55"/>
                      <a:pt x="30" y="56"/>
                    </a:cubicBezTo>
                    <a:cubicBezTo>
                      <a:pt x="30" y="56"/>
                      <a:pt x="29" y="57"/>
                      <a:pt x="29" y="57"/>
                    </a:cubicBezTo>
                    <a:cubicBezTo>
                      <a:pt x="31" y="58"/>
                      <a:pt x="32" y="59"/>
                      <a:pt x="33" y="60"/>
                    </a:cubicBezTo>
                    <a:cubicBezTo>
                      <a:pt x="35" y="59"/>
                      <a:pt x="36" y="56"/>
                      <a:pt x="37" y="55"/>
                    </a:cubicBezTo>
                    <a:cubicBezTo>
                      <a:pt x="37" y="55"/>
                      <a:pt x="37" y="55"/>
                      <a:pt x="37" y="55"/>
                    </a:cubicBezTo>
                    <a:close/>
                    <a:moveTo>
                      <a:pt x="37" y="55"/>
                    </a:moveTo>
                    <a:cubicBezTo>
                      <a:pt x="38" y="54"/>
                      <a:pt x="38" y="54"/>
                      <a:pt x="39" y="54"/>
                    </a:cubicBezTo>
                    <a:cubicBezTo>
                      <a:pt x="37" y="57"/>
                      <a:pt x="35" y="59"/>
                      <a:pt x="33" y="60"/>
                    </a:cubicBezTo>
                    <a:cubicBezTo>
                      <a:pt x="33" y="60"/>
                      <a:pt x="33" y="60"/>
                      <a:pt x="33" y="60"/>
                    </a:cubicBezTo>
                    <a:cubicBezTo>
                      <a:pt x="35" y="58"/>
                      <a:pt x="36" y="57"/>
                      <a:pt x="37" y="55"/>
                    </a:cubicBezTo>
                    <a:cubicBezTo>
                      <a:pt x="37" y="55"/>
                      <a:pt x="37" y="55"/>
                      <a:pt x="37" y="55"/>
                    </a:cubicBezTo>
                    <a:close/>
                    <a:moveTo>
                      <a:pt x="49" y="55"/>
                    </a:moveTo>
                    <a:cubicBezTo>
                      <a:pt x="49" y="55"/>
                      <a:pt x="49" y="55"/>
                      <a:pt x="49" y="55"/>
                    </a:cubicBezTo>
                    <a:cubicBezTo>
                      <a:pt x="49" y="55"/>
                      <a:pt x="48" y="55"/>
                      <a:pt x="48" y="55"/>
                    </a:cubicBezTo>
                    <a:cubicBezTo>
                      <a:pt x="48" y="55"/>
                      <a:pt x="49" y="55"/>
                      <a:pt x="49" y="55"/>
                    </a:cubicBezTo>
                    <a:cubicBezTo>
                      <a:pt x="49" y="55"/>
                      <a:pt x="49" y="55"/>
                      <a:pt x="49" y="55"/>
                    </a:cubicBezTo>
                    <a:close/>
                    <a:moveTo>
                      <a:pt x="48" y="55"/>
                    </a:moveTo>
                    <a:cubicBezTo>
                      <a:pt x="49" y="55"/>
                      <a:pt x="49" y="55"/>
                      <a:pt x="49" y="55"/>
                    </a:cubicBezTo>
                    <a:cubicBezTo>
                      <a:pt x="49" y="55"/>
                      <a:pt x="49" y="55"/>
                      <a:pt x="49" y="55"/>
                    </a:cubicBezTo>
                    <a:cubicBezTo>
                      <a:pt x="49" y="55"/>
                      <a:pt x="49" y="55"/>
                      <a:pt x="48" y="55"/>
                    </a:cubicBezTo>
                    <a:cubicBezTo>
                      <a:pt x="48" y="55"/>
                      <a:pt x="48" y="55"/>
                      <a:pt x="48" y="55"/>
                    </a:cubicBezTo>
                    <a:close/>
                    <a:moveTo>
                      <a:pt x="48" y="55"/>
                    </a:moveTo>
                    <a:cubicBezTo>
                      <a:pt x="48" y="55"/>
                      <a:pt x="48" y="55"/>
                      <a:pt x="48" y="55"/>
                    </a:cubicBezTo>
                    <a:cubicBezTo>
                      <a:pt x="48" y="55"/>
                      <a:pt x="48" y="56"/>
                      <a:pt x="48" y="56"/>
                    </a:cubicBezTo>
                    <a:cubicBezTo>
                      <a:pt x="48" y="56"/>
                      <a:pt x="48" y="56"/>
                      <a:pt x="48" y="55"/>
                    </a:cubicBezTo>
                    <a:cubicBezTo>
                      <a:pt x="48" y="55"/>
                      <a:pt x="48" y="55"/>
                      <a:pt x="48" y="55"/>
                    </a:cubicBezTo>
                    <a:cubicBezTo>
                      <a:pt x="48" y="55"/>
                      <a:pt x="48" y="55"/>
                      <a:pt x="48" y="55"/>
                    </a:cubicBezTo>
                    <a:close/>
                    <a:moveTo>
                      <a:pt x="44" y="55"/>
                    </a:moveTo>
                    <a:cubicBezTo>
                      <a:pt x="43" y="55"/>
                      <a:pt x="43" y="54"/>
                      <a:pt x="43" y="53"/>
                    </a:cubicBezTo>
                    <a:cubicBezTo>
                      <a:pt x="44" y="54"/>
                      <a:pt x="44" y="55"/>
                      <a:pt x="45" y="56"/>
                    </a:cubicBezTo>
                    <a:cubicBezTo>
                      <a:pt x="44" y="56"/>
                      <a:pt x="44" y="56"/>
                      <a:pt x="44" y="55"/>
                    </a:cubicBezTo>
                    <a:cubicBezTo>
                      <a:pt x="44" y="55"/>
                      <a:pt x="44" y="55"/>
                      <a:pt x="44" y="55"/>
                    </a:cubicBezTo>
                    <a:close/>
                    <a:moveTo>
                      <a:pt x="50" y="56"/>
                    </a:moveTo>
                    <a:cubicBezTo>
                      <a:pt x="49" y="56"/>
                      <a:pt x="49" y="55"/>
                      <a:pt x="48" y="55"/>
                    </a:cubicBezTo>
                    <a:cubicBezTo>
                      <a:pt x="48" y="56"/>
                      <a:pt x="48" y="56"/>
                      <a:pt x="48" y="56"/>
                    </a:cubicBezTo>
                    <a:cubicBezTo>
                      <a:pt x="48" y="56"/>
                      <a:pt x="48" y="57"/>
                      <a:pt x="48" y="57"/>
                    </a:cubicBezTo>
                    <a:cubicBezTo>
                      <a:pt x="49" y="57"/>
                      <a:pt x="49" y="57"/>
                      <a:pt x="50" y="56"/>
                    </a:cubicBezTo>
                    <a:cubicBezTo>
                      <a:pt x="50" y="56"/>
                      <a:pt x="50" y="56"/>
                      <a:pt x="50" y="56"/>
                    </a:cubicBezTo>
                    <a:cubicBezTo>
                      <a:pt x="50" y="56"/>
                      <a:pt x="50" y="56"/>
                      <a:pt x="50" y="56"/>
                    </a:cubicBezTo>
                    <a:close/>
                    <a:moveTo>
                      <a:pt x="50" y="56"/>
                    </a:moveTo>
                    <a:cubicBezTo>
                      <a:pt x="50" y="56"/>
                      <a:pt x="50" y="56"/>
                      <a:pt x="50" y="56"/>
                    </a:cubicBezTo>
                    <a:cubicBezTo>
                      <a:pt x="50" y="56"/>
                      <a:pt x="50" y="56"/>
                      <a:pt x="50" y="56"/>
                    </a:cubicBezTo>
                    <a:cubicBezTo>
                      <a:pt x="50" y="56"/>
                      <a:pt x="50" y="56"/>
                      <a:pt x="50" y="56"/>
                    </a:cubicBezTo>
                    <a:cubicBezTo>
                      <a:pt x="50" y="56"/>
                      <a:pt x="50" y="56"/>
                      <a:pt x="50" y="56"/>
                    </a:cubicBezTo>
                    <a:close/>
                    <a:moveTo>
                      <a:pt x="50" y="56"/>
                    </a:moveTo>
                    <a:cubicBezTo>
                      <a:pt x="50" y="56"/>
                      <a:pt x="50" y="56"/>
                      <a:pt x="50" y="56"/>
                    </a:cubicBezTo>
                    <a:cubicBezTo>
                      <a:pt x="51" y="56"/>
                      <a:pt x="51" y="56"/>
                      <a:pt x="52" y="56"/>
                    </a:cubicBezTo>
                    <a:cubicBezTo>
                      <a:pt x="52" y="56"/>
                      <a:pt x="52" y="56"/>
                      <a:pt x="52" y="56"/>
                    </a:cubicBezTo>
                    <a:cubicBezTo>
                      <a:pt x="52" y="56"/>
                      <a:pt x="51" y="56"/>
                      <a:pt x="50" y="56"/>
                    </a:cubicBezTo>
                    <a:cubicBezTo>
                      <a:pt x="50" y="56"/>
                      <a:pt x="50" y="56"/>
                      <a:pt x="50" y="56"/>
                    </a:cubicBezTo>
                    <a:close/>
                    <a:moveTo>
                      <a:pt x="29" y="56"/>
                    </a:moveTo>
                    <a:cubicBezTo>
                      <a:pt x="29" y="56"/>
                      <a:pt x="29" y="56"/>
                      <a:pt x="29" y="56"/>
                    </a:cubicBezTo>
                    <a:cubicBezTo>
                      <a:pt x="29" y="56"/>
                      <a:pt x="29" y="57"/>
                      <a:pt x="29" y="57"/>
                    </a:cubicBezTo>
                    <a:cubicBezTo>
                      <a:pt x="29" y="57"/>
                      <a:pt x="29" y="57"/>
                      <a:pt x="28" y="57"/>
                    </a:cubicBezTo>
                    <a:cubicBezTo>
                      <a:pt x="28" y="57"/>
                      <a:pt x="29" y="56"/>
                      <a:pt x="29" y="56"/>
                    </a:cubicBezTo>
                    <a:cubicBezTo>
                      <a:pt x="29" y="56"/>
                      <a:pt x="29" y="56"/>
                      <a:pt x="29" y="56"/>
                    </a:cubicBezTo>
                    <a:close/>
                    <a:moveTo>
                      <a:pt x="27" y="56"/>
                    </a:moveTo>
                    <a:cubicBezTo>
                      <a:pt x="27" y="56"/>
                      <a:pt x="27" y="56"/>
                      <a:pt x="27" y="56"/>
                    </a:cubicBezTo>
                    <a:cubicBezTo>
                      <a:pt x="27" y="56"/>
                      <a:pt x="27" y="56"/>
                      <a:pt x="27" y="56"/>
                    </a:cubicBezTo>
                    <a:cubicBezTo>
                      <a:pt x="27" y="56"/>
                      <a:pt x="27" y="56"/>
                      <a:pt x="27" y="56"/>
                    </a:cubicBezTo>
                    <a:cubicBezTo>
                      <a:pt x="27" y="56"/>
                      <a:pt x="27" y="56"/>
                      <a:pt x="27" y="56"/>
                    </a:cubicBezTo>
                    <a:cubicBezTo>
                      <a:pt x="27" y="56"/>
                      <a:pt x="27" y="56"/>
                      <a:pt x="27" y="56"/>
                    </a:cubicBezTo>
                    <a:close/>
                    <a:moveTo>
                      <a:pt x="51" y="56"/>
                    </a:moveTo>
                    <a:cubicBezTo>
                      <a:pt x="51" y="56"/>
                      <a:pt x="51" y="56"/>
                      <a:pt x="50" y="56"/>
                    </a:cubicBezTo>
                    <a:cubicBezTo>
                      <a:pt x="50" y="56"/>
                      <a:pt x="50" y="56"/>
                      <a:pt x="50" y="57"/>
                    </a:cubicBezTo>
                    <a:cubicBezTo>
                      <a:pt x="50" y="57"/>
                      <a:pt x="51" y="56"/>
                      <a:pt x="51" y="56"/>
                    </a:cubicBezTo>
                    <a:cubicBezTo>
                      <a:pt x="51" y="56"/>
                      <a:pt x="51" y="56"/>
                      <a:pt x="51" y="56"/>
                    </a:cubicBezTo>
                    <a:close/>
                    <a:moveTo>
                      <a:pt x="29" y="56"/>
                    </a:moveTo>
                    <a:cubicBezTo>
                      <a:pt x="28" y="56"/>
                      <a:pt x="28" y="56"/>
                      <a:pt x="28" y="56"/>
                    </a:cubicBezTo>
                    <a:cubicBezTo>
                      <a:pt x="28" y="56"/>
                      <a:pt x="28" y="57"/>
                      <a:pt x="28" y="57"/>
                    </a:cubicBezTo>
                    <a:cubicBezTo>
                      <a:pt x="28" y="57"/>
                      <a:pt x="28" y="56"/>
                      <a:pt x="29" y="56"/>
                    </a:cubicBezTo>
                    <a:cubicBezTo>
                      <a:pt x="29" y="56"/>
                      <a:pt x="29" y="56"/>
                      <a:pt x="29" y="56"/>
                    </a:cubicBezTo>
                    <a:close/>
                    <a:moveTo>
                      <a:pt x="47" y="56"/>
                    </a:moveTo>
                    <a:cubicBezTo>
                      <a:pt x="46" y="56"/>
                      <a:pt x="46" y="56"/>
                      <a:pt x="45" y="56"/>
                    </a:cubicBezTo>
                    <a:cubicBezTo>
                      <a:pt x="46" y="57"/>
                      <a:pt x="46" y="57"/>
                      <a:pt x="46" y="57"/>
                    </a:cubicBezTo>
                    <a:cubicBezTo>
                      <a:pt x="46" y="57"/>
                      <a:pt x="47" y="57"/>
                      <a:pt x="47" y="57"/>
                    </a:cubicBezTo>
                    <a:cubicBezTo>
                      <a:pt x="47" y="57"/>
                      <a:pt x="47" y="56"/>
                      <a:pt x="47" y="56"/>
                    </a:cubicBezTo>
                    <a:cubicBezTo>
                      <a:pt x="47" y="56"/>
                      <a:pt x="47" y="56"/>
                      <a:pt x="47" y="56"/>
                    </a:cubicBezTo>
                    <a:cubicBezTo>
                      <a:pt x="47" y="56"/>
                      <a:pt x="47" y="56"/>
                      <a:pt x="47" y="56"/>
                    </a:cubicBezTo>
                    <a:close/>
                    <a:moveTo>
                      <a:pt x="28" y="56"/>
                    </a:moveTo>
                    <a:cubicBezTo>
                      <a:pt x="27" y="56"/>
                      <a:pt x="27" y="57"/>
                      <a:pt x="27" y="57"/>
                    </a:cubicBezTo>
                    <a:cubicBezTo>
                      <a:pt x="27" y="57"/>
                      <a:pt x="28" y="57"/>
                      <a:pt x="28" y="57"/>
                    </a:cubicBezTo>
                    <a:cubicBezTo>
                      <a:pt x="28" y="57"/>
                      <a:pt x="28" y="57"/>
                      <a:pt x="28" y="57"/>
                    </a:cubicBezTo>
                    <a:cubicBezTo>
                      <a:pt x="28" y="56"/>
                      <a:pt x="28" y="56"/>
                      <a:pt x="28" y="56"/>
                    </a:cubicBezTo>
                    <a:cubicBezTo>
                      <a:pt x="28" y="56"/>
                      <a:pt x="28" y="56"/>
                      <a:pt x="28" y="56"/>
                    </a:cubicBezTo>
                    <a:close/>
                    <a:moveTo>
                      <a:pt x="44" y="57"/>
                    </a:moveTo>
                    <a:cubicBezTo>
                      <a:pt x="44" y="57"/>
                      <a:pt x="45" y="57"/>
                      <a:pt x="45" y="56"/>
                    </a:cubicBezTo>
                    <a:cubicBezTo>
                      <a:pt x="45" y="57"/>
                      <a:pt x="46" y="57"/>
                      <a:pt x="46" y="57"/>
                    </a:cubicBezTo>
                    <a:cubicBezTo>
                      <a:pt x="45" y="57"/>
                      <a:pt x="45" y="57"/>
                      <a:pt x="44" y="57"/>
                    </a:cubicBezTo>
                    <a:cubicBezTo>
                      <a:pt x="44" y="57"/>
                      <a:pt x="44" y="57"/>
                      <a:pt x="44" y="57"/>
                    </a:cubicBezTo>
                    <a:cubicBezTo>
                      <a:pt x="44" y="57"/>
                      <a:pt x="44" y="57"/>
                      <a:pt x="44" y="57"/>
                    </a:cubicBezTo>
                    <a:cubicBezTo>
                      <a:pt x="44" y="57"/>
                      <a:pt x="44" y="57"/>
                      <a:pt x="44" y="57"/>
                    </a:cubicBezTo>
                    <a:close/>
                    <a:moveTo>
                      <a:pt x="44" y="57"/>
                    </a:moveTo>
                    <a:cubicBezTo>
                      <a:pt x="44" y="57"/>
                      <a:pt x="44" y="57"/>
                      <a:pt x="44" y="57"/>
                    </a:cubicBezTo>
                    <a:cubicBezTo>
                      <a:pt x="44" y="57"/>
                      <a:pt x="44" y="57"/>
                      <a:pt x="44" y="57"/>
                    </a:cubicBezTo>
                    <a:cubicBezTo>
                      <a:pt x="44" y="57"/>
                      <a:pt x="44" y="57"/>
                      <a:pt x="44" y="57"/>
                    </a:cubicBezTo>
                    <a:cubicBezTo>
                      <a:pt x="44" y="57"/>
                      <a:pt x="44" y="57"/>
                      <a:pt x="44" y="57"/>
                    </a:cubicBezTo>
                    <a:cubicBezTo>
                      <a:pt x="44" y="57"/>
                      <a:pt x="44" y="57"/>
                      <a:pt x="44" y="57"/>
                    </a:cubicBezTo>
                    <a:close/>
                    <a:moveTo>
                      <a:pt x="11" y="57"/>
                    </a:moveTo>
                    <a:cubicBezTo>
                      <a:pt x="14" y="57"/>
                      <a:pt x="13" y="57"/>
                      <a:pt x="15" y="58"/>
                    </a:cubicBezTo>
                    <a:cubicBezTo>
                      <a:pt x="14" y="58"/>
                      <a:pt x="13" y="57"/>
                      <a:pt x="11" y="57"/>
                    </a:cubicBezTo>
                    <a:cubicBezTo>
                      <a:pt x="11" y="57"/>
                      <a:pt x="11" y="57"/>
                      <a:pt x="11" y="57"/>
                    </a:cubicBezTo>
                    <a:close/>
                    <a:moveTo>
                      <a:pt x="28" y="57"/>
                    </a:moveTo>
                    <a:cubicBezTo>
                      <a:pt x="28" y="57"/>
                      <a:pt x="28" y="57"/>
                      <a:pt x="28" y="57"/>
                    </a:cubicBezTo>
                    <a:cubicBezTo>
                      <a:pt x="29" y="57"/>
                      <a:pt x="29" y="57"/>
                      <a:pt x="29" y="58"/>
                    </a:cubicBezTo>
                    <a:cubicBezTo>
                      <a:pt x="29" y="58"/>
                      <a:pt x="29" y="58"/>
                      <a:pt x="29" y="59"/>
                    </a:cubicBezTo>
                    <a:cubicBezTo>
                      <a:pt x="29" y="58"/>
                      <a:pt x="28" y="58"/>
                      <a:pt x="28" y="57"/>
                    </a:cubicBezTo>
                    <a:cubicBezTo>
                      <a:pt x="28" y="57"/>
                      <a:pt x="28" y="57"/>
                      <a:pt x="28" y="57"/>
                    </a:cubicBezTo>
                    <a:close/>
                    <a:moveTo>
                      <a:pt x="44" y="57"/>
                    </a:moveTo>
                    <a:cubicBezTo>
                      <a:pt x="44" y="57"/>
                      <a:pt x="44" y="57"/>
                      <a:pt x="44" y="57"/>
                    </a:cubicBezTo>
                    <a:cubicBezTo>
                      <a:pt x="44" y="57"/>
                      <a:pt x="44" y="57"/>
                      <a:pt x="44" y="57"/>
                    </a:cubicBezTo>
                    <a:cubicBezTo>
                      <a:pt x="44" y="57"/>
                      <a:pt x="44" y="57"/>
                      <a:pt x="44" y="57"/>
                    </a:cubicBezTo>
                    <a:cubicBezTo>
                      <a:pt x="44" y="57"/>
                      <a:pt x="44" y="57"/>
                      <a:pt x="44" y="57"/>
                    </a:cubicBezTo>
                    <a:close/>
                    <a:moveTo>
                      <a:pt x="29" y="57"/>
                    </a:moveTo>
                    <a:cubicBezTo>
                      <a:pt x="29" y="57"/>
                      <a:pt x="29" y="57"/>
                      <a:pt x="29" y="57"/>
                    </a:cubicBezTo>
                    <a:cubicBezTo>
                      <a:pt x="29" y="57"/>
                      <a:pt x="29" y="58"/>
                      <a:pt x="29" y="58"/>
                    </a:cubicBezTo>
                    <a:cubicBezTo>
                      <a:pt x="29" y="58"/>
                      <a:pt x="29" y="58"/>
                      <a:pt x="29" y="57"/>
                    </a:cubicBezTo>
                    <a:cubicBezTo>
                      <a:pt x="29" y="57"/>
                      <a:pt x="29" y="57"/>
                      <a:pt x="29" y="57"/>
                    </a:cubicBezTo>
                    <a:close/>
                    <a:moveTo>
                      <a:pt x="17" y="58"/>
                    </a:moveTo>
                    <a:cubicBezTo>
                      <a:pt x="17" y="58"/>
                      <a:pt x="17" y="57"/>
                      <a:pt x="17" y="57"/>
                    </a:cubicBezTo>
                    <a:cubicBezTo>
                      <a:pt x="17" y="57"/>
                      <a:pt x="17" y="58"/>
                      <a:pt x="18" y="58"/>
                    </a:cubicBezTo>
                    <a:cubicBezTo>
                      <a:pt x="17" y="58"/>
                      <a:pt x="17" y="58"/>
                      <a:pt x="17" y="58"/>
                    </a:cubicBezTo>
                    <a:cubicBezTo>
                      <a:pt x="17" y="58"/>
                      <a:pt x="17" y="58"/>
                      <a:pt x="17" y="58"/>
                    </a:cubicBezTo>
                    <a:close/>
                    <a:moveTo>
                      <a:pt x="29" y="58"/>
                    </a:moveTo>
                    <a:cubicBezTo>
                      <a:pt x="29" y="58"/>
                      <a:pt x="29" y="58"/>
                      <a:pt x="29" y="58"/>
                    </a:cubicBezTo>
                    <a:cubicBezTo>
                      <a:pt x="31" y="58"/>
                      <a:pt x="32" y="59"/>
                      <a:pt x="33" y="60"/>
                    </a:cubicBezTo>
                    <a:cubicBezTo>
                      <a:pt x="32" y="60"/>
                      <a:pt x="32" y="60"/>
                      <a:pt x="32" y="61"/>
                    </a:cubicBezTo>
                    <a:cubicBezTo>
                      <a:pt x="32" y="60"/>
                      <a:pt x="32" y="60"/>
                      <a:pt x="33" y="60"/>
                    </a:cubicBezTo>
                    <a:cubicBezTo>
                      <a:pt x="33" y="60"/>
                      <a:pt x="33" y="60"/>
                      <a:pt x="33" y="60"/>
                    </a:cubicBezTo>
                    <a:cubicBezTo>
                      <a:pt x="33" y="61"/>
                      <a:pt x="33" y="61"/>
                      <a:pt x="32" y="61"/>
                    </a:cubicBezTo>
                    <a:cubicBezTo>
                      <a:pt x="31" y="60"/>
                      <a:pt x="30" y="59"/>
                      <a:pt x="29" y="58"/>
                    </a:cubicBezTo>
                    <a:cubicBezTo>
                      <a:pt x="29" y="58"/>
                      <a:pt x="29" y="58"/>
                      <a:pt x="29" y="58"/>
                    </a:cubicBezTo>
                    <a:close/>
                    <a:moveTo>
                      <a:pt x="48" y="58"/>
                    </a:moveTo>
                    <a:cubicBezTo>
                      <a:pt x="48" y="58"/>
                      <a:pt x="48" y="58"/>
                      <a:pt x="49" y="58"/>
                    </a:cubicBezTo>
                    <a:cubicBezTo>
                      <a:pt x="48" y="58"/>
                      <a:pt x="48" y="58"/>
                      <a:pt x="48" y="59"/>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lose/>
                    <a:moveTo>
                      <a:pt x="18" y="58"/>
                    </a:moveTo>
                    <a:cubicBezTo>
                      <a:pt x="18" y="58"/>
                      <a:pt x="17" y="58"/>
                      <a:pt x="17" y="58"/>
                    </a:cubicBezTo>
                    <a:cubicBezTo>
                      <a:pt x="18" y="59"/>
                      <a:pt x="18" y="60"/>
                      <a:pt x="20" y="61"/>
                    </a:cubicBezTo>
                    <a:cubicBezTo>
                      <a:pt x="20" y="60"/>
                      <a:pt x="19" y="59"/>
                      <a:pt x="18" y="58"/>
                    </a:cubicBezTo>
                    <a:cubicBezTo>
                      <a:pt x="18" y="58"/>
                      <a:pt x="18" y="58"/>
                      <a:pt x="18" y="58"/>
                    </a:cubicBezTo>
                    <a:close/>
                    <a:moveTo>
                      <a:pt x="47" y="58"/>
                    </a:moveTo>
                    <a:cubicBezTo>
                      <a:pt x="47" y="58"/>
                      <a:pt x="46" y="58"/>
                      <a:pt x="46" y="58"/>
                    </a:cubicBezTo>
                    <a:cubicBezTo>
                      <a:pt x="46" y="59"/>
                      <a:pt x="47" y="59"/>
                      <a:pt x="47" y="59"/>
                    </a:cubicBezTo>
                    <a:cubicBezTo>
                      <a:pt x="47" y="59"/>
                      <a:pt x="47" y="58"/>
                      <a:pt x="47" y="58"/>
                    </a:cubicBezTo>
                    <a:cubicBezTo>
                      <a:pt x="47" y="58"/>
                      <a:pt x="47" y="58"/>
                      <a:pt x="47" y="58"/>
                    </a:cubicBezTo>
                    <a:cubicBezTo>
                      <a:pt x="47" y="58"/>
                      <a:pt x="47" y="58"/>
                      <a:pt x="47" y="58"/>
                    </a:cubicBezTo>
                    <a:close/>
                    <a:moveTo>
                      <a:pt x="46" y="58"/>
                    </a:moveTo>
                    <a:cubicBezTo>
                      <a:pt x="46" y="58"/>
                      <a:pt x="46" y="58"/>
                      <a:pt x="46" y="58"/>
                    </a:cubicBezTo>
                    <a:cubicBezTo>
                      <a:pt x="46" y="58"/>
                      <a:pt x="46" y="58"/>
                      <a:pt x="46" y="58"/>
                    </a:cubicBezTo>
                    <a:cubicBezTo>
                      <a:pt x="46" y="58"/>
                      <a:pt x="46" y="58"/>
                      <a:pt x="46" y="58"/>
                    </a:cubicBezTo>
                    <a:cubicBezTo>
                      <a:pt x="46" y="58"/>
                      <a:pt x="46" y="58"/>
                      <a:pt x="46" y="58"/>
                    </a:cubicBezTo>
                    <a:close/>
                    <a:moveTo>
                      <a:pt x="44" y="58"/>
                    </a:moveTo>
                    <a:cubicBezTo>
                      <a:pt x="45" y="58"/>
                      <a:pt x="46" y="58"/>
                      <a:pt x="46" y="59"/>
                    </a:cubicBezTo>
                    <a:cubicBezTo>
                      <a:pt x="47" y="59"/>
                      <a:pt x="47" y="61"/>
                      <a:pt x="46" y="61"/>
                    </a:cubicBezTo>
                    <a:cubicBezTo>
                      <a:pt x="46" y="61"/>
                      <a:pt x="46" y="62"/>
                      <a:pt x="46" y="62"/>
                    </a:cubicBezTo>
                    <a:cubicBezTo>
                      <a:pt x="44" y="58"/>
                      <a:pt x="44" y="58"/>
                      <a:pt x="44" y="58"/>
                    </a:cubicBezTo>
                    <a:cubicBezTo>
                      <a:pt x="44" y="58"/>
                      <a:pt x="44" y="58"/>
                      <a:pt x="44" y="58"/>
                    </a:cubicBezTo>
                    <a:close/>
                    <a:moveTo>
                      <a:pt x="44" y="58"/>
                    </a:moveTo>
                    <a:cubicBezTo>
                      <a:pt x="44" y="58"/>
                      <a:pt x="44" y="58"/>
                      <a:pt x="44" y="58"/>
                    </a:cubicBezTo>
                    <a:cubicBezTo>
                      <a:pt x="44" y="59"/>
                      <a:pt x="44" y="60"/>
                      <a:pt x="44" y="61"/>
                    </a:cubicBezTo>
                    <a:cubicBezTo>
                      <a:pt x="44" y="61"/>
                      <a:pt x="45" y="62"/>
                      <a:pt x="45" y="62"/>
                    </a:cubicBezTo>
                    <a:cubicBezTo>
                      <a:pt x="45" y="62"/>
                      <a:pt x="45" y="62"/>
                      <a:pt x="46" y="62"/>
                    </a:cubicBezTo>
                    <a:cubicBezTo>
                      <a:pt x="44" y="58"/>
                      <a:pt x="44" y="58"/>
                      <a:pt x="44" y="58"/>
                    </a:cubicBezTo>
                    <a:cubicBezTo>
                      <a:pt x="44" y="58"/>
                      <a:pt x="44" y="58"/>
                      <a:pt x="44" y="58"/>
                    </a:cubicBezTo>
                    <a:close/>
                    <a:moveTo>
                      <a:pt x="48" y="59"/>
                    </a:moveTo>
                    <a:cubicBezTo>
                      <a:pt x="48" y="59"/>
                      <a:pt x="48" y="59"/>
                      <a:pt x="48" y="58"/>
                    </a:cubicBezTo>
                    <a:cubicBezTo>
                      <a:pt x="48" y="59"/>
                      <a:pt x="47" y="59"/>
                      <a:pt x="47" y="60"/>
                    </a:cubicBezTo>
                    <a:cubicBezTo>
                      <a:pt x="48" y="59"/>
                      <a:pt x="48" y="59"/>
                      <a:pt x="48" y="59"/>
                    </a:cubicBezTo>
                    <a:cubicBezTo>
                      <a:pt x="48" y="59"/>
                      <a:pt x="48" y="59"/>
                      <a:pt x="48" y="59"/>
                    </a:cubicBezTo>
                    <a:close/>
                    <a:moveTo>
                      <a:pt x="29" y="59"/>
                    </a:moveTo>
                    <a:cubicBezTo>
                      <a:pt x="29" y="58"/>
                      <a:pt x="29" y="58"/>
                      <a:pt x="29" y="58"/>
                    </a:cubicBezTo>
                    <a:cubicBezTo>
                      <a:pt x="30" y="59"/>
                      <a:pt x="31" y="60"/>
                      <a:pt x="32" y="61"/>
                    </a:cubicBezTo>
                    <a:cubicBezTo>
                      <a:pt x="32" y="61"/>
                      <a:pt x="32" y="61"/>
                      <a:pt x="32" y="61"/>
                    </a:cubicBezTo>
                    <a:cubicBezTo>
                      <a:pt x="31" y="60"/>
                      <a:pt x="30" y="60"/>
                      <a:pt x="29" y="59"/>
                    </a:cubicBezTo>
                    <a:cubicBezTo>
                      <a:pt x="29" y="59"/>
                      <a:pt x="29" y="59"/>
                      <a:pt x="29" y="59"/>
                    </a:cubicBezTo>
                    <a:close/>
                    <a:moveTo>
                      <a:pt x="47" y="59"/>
                    </a:moveTo>
                    <a:cubicBezTo>
                      <a:pt x="47" y="59"/>
                      <a:pt x="47" y="59"/>
                      <a:pt x="47" y="59"/>
                    </a:cubicBezTo>
                    <a:cubicBezTo>
                      <a:pt x="47" y="59"/>
                      <a:pt x="47" y="59"/>
                      <a:pt x="47" y="59"/>
                    </a:cubicBezTo>
                    <a:cubicBezTo>
                      <a:pt x="47" y="59"/>
                      <a:pt x="47" y="59"/>
                      <a:pt x="47" y="59"/>
                    </a:cubicBezTo>
                    <a:cubicBezTo>
                      <a:pt x="47" y="59"/>
                      <a:pt x="47" y="59"/>
                      <a:pt x="47" y="59"/>
                    </a:cubicBezTo>
                    <a:close/>
                    <a:moveTo>
                      <a:pt x="50" y="60"/>
                    </a:moveTo>
                    <a:cubicBezTo>
                      <a:pt x="49" y="59"/>
                      <a:pt x="49" y="59"/>
                      <a:pt x="48" y="59"/>
                    </a:cubicBezTo>
                    <a:cubicBezTo>
                      <a:pt x="48" y="59"/>
                      <a:pt x="47" y="60"/>
                      <a:pt x="47" y="61"/>
                    </a:cubicBezTo>
                    <a:cubicBezTo>
                      <a:pt x="48" y="60"/>
                      <a:pt x="49" y="60"/>
                      <a:pt x="50" y="60"/>
                    </a:cubicBezTo>
                    <a:cubicBezTo>
                      <a:pt x="50" y="60"/>
                      <a:pt x="50" y="60"/>
                      <a:pt x="50" y="60"/>
                    </a:cubicBezTo>
                    <a:close/>
                    <a:moveTo>
                      <a:pt x="52" y="61"/>
                    </a:moveTo>
                    <a:cubicBezTo>
                      <a:pt x="52" y="60"/>
                      <a:pt x="51" y="60"/>
                      <a:pt x="50" y="60"/>
                    </a:cubicBezTo>
                    <a:cubicBezTo>
                      <a:pt x="49" y="60"/>
                      <a:pt x="48" y="61"/>
                      <a:pt x="47" y="61"/>
                    </a:cubicBezTo>
                    <a:cubicBezTo>
                      <a:pt x="47" y="61"/>
                      <a:pt x="47" y="61"/>
                      <a:pt x="47" y="62"/>
                    </a:cubicBezTo>
                    <a:cubicBezTo>
                      <a:pt x="49" y="61"/>
                      <a:pt x="50" y="61"/>
                      <a:pt x="52" y="61"/>
                    </a:cubicBezTo>
                    <a:cubicBezTo>
                      <a:pt x="52" y="61"/>
                      <a:pt x="52" y="61"/>
                      <a:pt x="52" y="61"/>
                    </a:cubicBezTo>
                    <a:close/>
                    <a:moveTo>
                      <a:pt x="21" y="61"/>
                    </a:moveTo>
                    <a:cubicBezTo>
                      <a:pt x="20" y="60"/>
                      <a:pt x="19" y="59"/>
                      <a:pt x="18" y="58"/>
                    </a:cubicBezTo>
                    <a:cubicBezTo>
                      <a:pt x="21" y="59"/>
                      <a:pt x="24" y="60"/>
                      <a:pt x="27" y="62"/>
                    </a:cubicBezTo>
                    <a:cubicBezTo>
                      <a:pt x="23" y="62"/>
                      <a:pt x="24" y="62"/>
                      <a:pt x="21" y="61"/>
                    </a:cubicBezTo>
                    <a:cubicBezTo>
                      <a:pt x="21" y="61"/>
                      <a:pt x="21" y="61"/>
                      <a:pt x="21" y="61"/>
                    </a:cubicBezTo>
                    <a:close/>
                    <a:moveTo>
                      <a:pt x="69" y="61"/>
                    </a:moveTo>
                    <a:cubicBezTo>
                      <a:pt x="69" y="60"/>
                      <a:pt x="69" y="60"/>
                      <a:pt x="69" y="60"/>
                    </a:cubicBezTo>
                    <a:cubicBezTo>
                      <a:pt x="67" y="61"/>
                      <a:pt x="65" y="62"/>
                      <a:pt x="64" y="63"/>
                    </a:cubicBezTo>
                    <a:cubicBezTo>
                      <a:pt x="65" y="63"/>
                      <a:pt x="65" y="63"/>
                      <a:pt x="65" y="63"/>
                    </a:cubicBezTo>
                    <a:cubicBezTo>
                      <a:pt x="64" y="64"/>
                      <a:pt x="63" y="64"/>
                      <a:pt x="62" y="65"/>
                    </a:cubicBezTo>
                    <a:cubicBezTo>
                      <a:pt x="62" y="66"/>
                      <a:pt x="62" y="66"/>
                      <a:pt x="62" y="66"/>
                    </a:cubicBezTo>
                    <a:cubicBezTo>
                      <a:pt x="66" y="64"/>
                      <a:pt x="65" y="64"/>
                      <a:pt x="69" y="61"/>
                    </a:cubicBezTo>
                    <a:cubicBezTo>
                      <a:pt x="69" y="61"/>
                      <a:pt x="69" y="61"/>
                      <a:pt x="69" y="61"/>
                    </a:cubicBezTo>
                    <a:close/>
                    <a:moveTo>
                      <a:pt x="32" y="61"/>
                    </a:moveTo>
                    <a:cubicBezTo>
                      <a:pt x="33" y="61"/>
                      <a:pt x="33" y="61"/>
                      <a:pt x="33" y="61"/>
                    </a:cubicBezTo>
                    <a:cubicBezTo>
                      <a:pt x="34" y="61"/>
                      <a:pt x="35" y="62"/>
                      <a:pt x="36" y="63"/>
                    </a:cubicBezTo>
                    <a:cubicBezTo>
                      <a:pt x="36" y="63"/>
                      <a:pt x="36" y="63"/>
                      <a:pt x="36" y="63"/>
                    </a:cubicBezTo>
                    <a:cubicBezTo>
                      <a:pt x="36" y="63"/>
                      <a:pt x="35" y="63"/>
                      <a:pt x="35" y="63"/>
                    </a:cubicBezTo>
                    <a:cubicBezTo>
                      <a:pt x="34" y="63"/>
                      <a:pt x="34" y="63"/>
                      <a:pt x="33" y="62"/>
                    </a:cubicBezTo>
                    <a:cubicBezTo>
                      <a:pt x="33" y="62"/>
                      <a:pt x="33" y="62"/>
                      <a:pt x="32" y="61"/>
                    </a:cubicBezTo>
                    <a:cubicBezTo>
                      <a:pt x="32" y="61"/>
                      <a:pt x="32" y="61"/>
                      <a:pt x="32" y="61"/>
                    </a:cubicBezTo>
                    <a:close/>
                    <a:moveTo>
                      <a:pt x="32" y="61"/>
                    </a:moveTo>
                    <a:cubicBezTo>
                      <a:pt x="32" y="61"/>
                      <a:pt x="32" y="61"/>
                      <a:pt x="32" y="61"/>
                    </a:cubicBezTo>
                    <a:cubicBezTo>
                      <a:pt x="32" y="62"/>
                      <a:pt x="32" y="62"/>
                      <a:pt x="32" y="62"/>
                    </a:cubicBezTo>
                    <a:cubicBezTo>
                      <a:pt x="32" y="62"/>
                      <a:pt x="32" y="62"/>
                      <a:pt x="32" y="61"/>
                    </a:cubicBezTo>
                    <a:cubicBezTo>
                      <a:pt x="32" y="61"/>
                      <a:pt x="32" y="61"/>
                      <a:pt x="32" y="61"/>
                    </a:cubicBezTo>
                    <a:close/>
                    <a:moveTo>
                      <a:pt x="23" y="62"/>
                    </a:moveTo>
                    <a:cubicBezTo>
                      <a:pt x="27" y="62"/>
                      <a:pt x="27" y="61"/>
                      <a:pt x="30" y="63"/>
                    </a:cubicBezTo>
                    <a:cubicBezTo>
                      <a:pt x="27" y="63"/>
                      <a:pt x="26" y="63"/>
                      <a:pt x="23" y="62"/>
                    </a:cubicBezTo>
                    <a:cubicBezTo>
                      <a:pt x="23" y="62"/>
                      <a:pt x="23" y="62"/>
                      <a:pt x="23" y="62"/>
                    </a:cubicBezTo>
                    <a:close/>
                    <a:moveTo>
                      <a:pt x="28" y="62"/>
                    </a:moveTo>
                    <a:cubicBezTo>
                      <a:pt x="29" y="62"/>
                      <a:pt x="30" y="62"/>
                      <a:pt x="31" y="62"/>
                    </a:cubicBezTo>
                    <a:cubicBezTo>
                      <a:pt x="31" y="62"/>
                      <a:pt x="31" y="63"/>
                      <a:pt x="30" y="63"/>
                    </a:cubicBezTo>
                    <a:cubicBezTo>
                      <a:pt x="31" y="63"/>
                      <a:pt x="31" y="62"/>
                      <a:pt x="32" y="62"/>
                    </a:cubicBezTo>
                    <a:cubicBezTo>
                      <a:pt x="32" y="62"/>
                      <a:pt x="32" y="63"/>
                      <a:pt x="33" y="63"/>
                    </a:cubicBezTo>
                    <a:cubicBezTo>
                      <a:pt x="32" y="64"/>
                      <a:pt x="32" y="63"/>
                      <a:pt x="31" y="63"/>
                    </a:cubicBezTo>
                    <a:cubicBezTo>
                      <a:pt x="30" y="63"/>
                      <a:pt x="28" y="62"/>
                      <a:pt x="28" y="62"/>
                    </a:cubicBezTo>
                    <a:cubicBezTo>
                      <a:pt x="28" y="62"/>
                      <a:pt x="28" y="62"/>
                      <a:pt x="28" y="62"/>
                    </a:cubicBezTo>
                    <a:close/>
                    <a:moveTo>
                      <a:pt x="46" y="62"/>
                    </a:moveTo>
                    <a:cubicBezTo>
                      <a:pt x="46" y="62"/>
                      <a:pt x="46" y="62"/>
                      <a:pt x="46" y="62"/>
                    </a:cubicBezTo>
                    <a:cubicBezTo>
                      <a:pt x="46" y="62"/>
                      <a:pt x="46" y="62"/>
                      <a:pt x="46" y="62"/>
                    </a:cubicBezTo>
                    <a:cubicBezTo>
                      <a:pt x="46" y="62"/>
                      <a:pt x="46" y="62"/>
                      <a:pt x="46" y="62"/>
                    </a:cubicBezTo>
                    <a:cubicBezTo>
                      <a:pt x="46" y="62"/>
                      <a:pt x="46" y="62"/>
                      <a:pt x="46" y="62"/>
                    </a:cubicBezTo>
                    <a:close/>
                    <a:moveTo>
                      <a:pt x="72" y="62"/>
                    </a:moveTo>
                    <a:cubicBezTo>
                      <a:pt x="72" y="62"/>
                      <a:pt x="72" y="62"/>
                      <a:pt x="73" y="62"/>
                    </a:cubicBezTo>
                    <a:cubicBezTo>
                      <a:pt x="72" y="63"/>
                      <a:pt x="71" y="64"/>
                      <a:pt x="70" y="65"/>
                    </a:cubicBezTo>
                    <a:cubicBezTo>
                      <a:pt x="70" y="65"/>
                      <a:pt x="69" y="65"/>
                      <a:pt x="69" y="65"/>
                    </a:cubicBezTo>
                    <a:cubicBezTo>
                      <a:pt x="70" y="64"/>
                      <a:pt x="71" y="63"/>
                      <a:pt x="72" y="62"/>
                    </a:cubicBezTo>
                    <a:cubicBezTo>
                      <a:pt x="72" y="62"/>
                      <a:pt x="72" y="62"/>
                      <a:pt x="72" y="62"/>
                    </a:cubicBezTo>
                    <a:close/>
                    <a:moveTo>
                      <a:pt x="46" y="62"/>
                    </a:moveTo>
                    <a:cubicBezTo>
                      <a:pt x="46" y="62"/>
                      <a:pt x="46" y="62"/>
                      <a:pt x="46" y="62"/>
                    </a:cubicBezTo>
                    <a:cubicBezTo>
                      <a:pt x="46" y="62"/>
                      <a:pt x="45" y="62"/>
                      <a:pt x="45" y="62"/>
                    </a:cubicBezTo>
                    <a:cubicBezTo>
                      <a:pt x="45" y="62"/>
                      <a:pt x="45" y="62"/>
                      <a:pt x="45" y="62"/>
                    </a:cubicBezTo>
                    <a:cubicBezTo>
                      <a:pt x="45" y="62"/>
                      <a:pt x="45" y="62"/>
                      <a:pt x="46" y="62"/>
                    </a:cubicBezTo>
                    <a:cubicBezTo>
                      <a:pt x="46" y="62"/>
                      <a:pt x="46" y="62"/>
                      <a:pt x="46" y="62"/>
                    </a:cubicBezTo>
                    <a:close/>
                    <a:moveTo>
                      <a:pt x="46" y="63"/>
                    </a:moveTo>
                    <a:cubicBezTo>
                      <a:pt x="46" y="63"/>
                      <a:pt x="46" y="63"/>
                      <a:pt x="46" y="63"/>
                    </a:cubicBezTo>
                    <a:cubicBezTo>
                      <a:pt x="46" y="65"/>
                      <a:pt x="47" y="67"/>
                      <a:pt x="47" y="69"/>
                    </a:cubicBezTo>
                    <a:cubicBezTo>
                      <a:pt x="47" y="69"/>
                      <a:pt x="47" y="69"/>
                      <a:pt x="47" y="68"/>
                    </a:cubicBezTo>
                    <a:cubicBezTo>
                      <a:pt x="47" y="68"/>
                      <a:pt x="47" y="68"/>
                      <a:pt x="47" y="68"/>
                    </a:cubicBezTo>
                    <a:cubicBezTo>
                      <a:pt x="47" y="68"/>
                      <a:pt x="47" y="68"/>
                      <a:pt x="47" y="68"/>
                    </a:cubicBezTo>
                    <a:cubicBezTo>
                      <a:pt x="46" y="68"/>
                      <a:pt x="46" y="68"/>
                      <a:pt x="45" y="68"/>
                    </a:cubicBezTo>
                    <a:cubicBezTo>
                      <a:pt x="45" y="66"/>
                      <a:pt x="44" y="65"/>
                      <a:pt x="44" y="64"/>
                    </a:cubicBezTo>
                    <a:cubicBezTo>
                      <a:pt x="44" y="63"/>
                      <a:pt x="45" y="63"/>
                      <a:pt x="45" y="63"/>
                    </a:cubicBezTo>
                    <a:cubicBezTo>
                      <a:pt x="45" y="63"/>
                      <a:pt x="45" y="63"/>
                      <a:pt x="45" y="63"/>
                    </a:cubicBezTo>
                    <a:cubicBezTo>
                      <a:pt x="45" y="63"/>
                      <a:pt x="46" y="63"/>
                      <a:pt x="46" y="63"/>
                    </a:cubicBezTo>
                    <a:cubicBezTo>
                      <a:pt x="46" y="63"/>
                      <a:pt x="46" y="63"/>
                      <a:pt x="46" y="63"/>
                    </a:cubicBezTo>
                    <a:close/>
                    <a:moveTo>
                      <a:pt x="45" y="63"/>
                    </a:moveTo>
                    <a:cubicBezTo>
                      <a:pt x="44" y="63"/>
                      <a:pt x="44" y="63"/>
                      <a:pt x="44" y="63"/>
                    </a:cubicBezTo>
                    <a:cubicBezTo>
                      <a:pt x="44" y="63"/>
                      <a:pt x="44" y="63"/>
                      <a:pt x="44" y="63"/>
                    </a:cubicBezTo>
                    <a:cubicBezTo>
                      <a:pt x="44" y="63"/>
                      <a:pt x="44" y="63"/>
                      <a:pt x="45" y="63"/>
                    </a:cubicBezTo>
                    <a:cubicBezTo>
                      <a:pt x="45" y="63"/>
                      <a:pt x="45" y="63"/>
                      <a:pt x="45" y="63"/>
                    </a:cubicBezTo>
                    <a:close/>
                    <a:moveTo>
                      <a:pt x="46" y="63"/>
                    </a:moveTo>
                    <a:cubicBezTo>
                      <a:pt x="46" y="63"/>
                      <a:pt x="48" y="65"/>
                      <a:pt x="48" y="66"/>
                    </a:cubicBezTo>
                    <a:cubicBezTo>
                      <a:pt x="48" y="66"/>
                      <a:pt x="47" y="65"/>
                      <a:pt x="46" y="63"/>
                    </a:cubicBezTo>
                    <a:cubicBezTo>
                      <a:pt x="49" y="64"/>
                      <a:pt x="51" y="65"/>
                      <a:pt x="53" y="65"/>
                    </a:cubicBezTo>
                    <a:cubicBezTo>
                      <a:pt x="52" y="66"/>
                      <a:pt x="51" y="67"/>
                      <a:pt x="49" y="69"/>
                    </a:cubicBezTo>
                    <a:cubicBezTo>
                      <a:pt x="49" y="69"/>
                      <a:pt x="48" y="69"/>
                      <a:pt x="48" y="69"/>
                    </a:cubicBezTo>
                    <a:cubicBezTo>
                      <a:pt x="47" y="67"/>
                      <a:pt x="47" y="65"/>
                      <a:pt x="46" y="63"/>
                    </a:cubicBezTo>
                    <a:cubicBezTo>
                      <a:pt x="46" y="63"/>
                      <a:pt x="46" y="63"/>
                      <a:pt x="46" y="63"/>
                    </a:cubicBezTo>
                    <a:close/>
                    <a:moveTo>
                      <a:pt x="33" y="63"/>
                    </a:moveTo>
                    <a:cubicBezTo>
                      <a:pt x="33" y="63"/>
                      <a:pt x="33" y="63"/>
                      <a:pt x="33" y="63"/>
                    </a:cubicBezTo>
                    <a:cubicBezTo>
                      <a:pt x="33" y="63"/>
                      <a:pt x="33" y="63"/>
                      <a:pt x="33" y="63"/>
                    </a:cubicBezTo>
                    <a:cubicBezTo>
                      <a:pt x="33" y="63"/>
                      <a:pt x="33" y="63"/>
                      <a:pt x="33" y="63"/>
                    </a:cubicBezTo>
                    <a:cubicBezTo>
                      <a:pt x="33" y="63"/>
                      <a:pt x="33" y="63"/>
                      <a:pt x="33" y="63"/>
                    </a:cubicBezTo>
                    <a:close/>
                    <a:moveTo>
                      <a:pt x="27" y="64"/>
                    </a:moveTo>
                    <a:cubicBezTo>
                      <a:pt x="27" y="63"/>
                      <a:pt x="26" y="63"/>
                      <a:pt x="26" y="63"/>
                    </a:cubicBezTo>
                    <a:cubicBezTo>
                      <a:pt x="25" y="64"/>
                      <a:pt x="25" y="64"/>
                      <a:pt x="24" y="64"/>
                    </a:cubicBezTo>
                    <a:cubicBezTo>
                      <a:pt x="25" y="64"/>
                      <a:pt x="26" y="64"/>
                      <a:pt x="27" y="64"/>
                    </a:cubicBezTo>
                    <a:cubicBezTo>
                      <a:pt x="27" y="64"/>
                      <a:pt x="27" y="64"/>
                      <a:pt x="27" y="64"/>
                    </a:cubicBezTo>
                    <a:close/>
                    <a:moveTo>
                      <a:pt x="41" y="64"/>
                    </a:moveTo>
                    <a:cubicBezTo>
                      <a:pt x="41" y="64"/>
                      <a:pt x="40" y="64"/>
                      <a:pt x="39" y="64"/>
                    </a:cubicBezTo>
                    <a:cubicBezTo>
                      <a:pt x="39" y="64"/>
                      <a:pt x="39" y="64"/>
                      <a:pt x="39" y="65"/>
                    </a:cubicBezTo>
                    <a:cubicBezTo>
                      <a:pt x="40" y="65"/>
                      <a:pt x="40" y="65"/>
                      <a:pt x="41" y="64"/>
                    </a:cubicBezTo>
                    <a:cubicBezTo>
                      <a:pt x="41" y="64"/>
                      <a:pt x="41" y="64"/>
                      <a:pt x="41" y="64"/>
                    </a:cubicBezTo>
                    <a:cubicBezTo>
                      <a:pt x="41" y="64"/>
                      <a:pt x="41" y="64"/>
                      <a:pt x="41" y="64"/>
                    </a:cubicBezTo>
                    <a:close/>
                    <a:moveTo>
                      <a:pt x="39" y="64"/>
                    </a:moveTo>
                    <a:cubicBezTo>
                      <a:pt x="38" y="64"/>
                      <a:pt x="38" y="64"/>
                      <a:pt x="37" y="64"/>
                    </a:cubicBezTo>
                    <a:cubicBezTo>
                      <a:pt x="38" y="64"/>
                      <a:pt x="38" y="64"/>
                      <a:pt x="38" y="65"/>
                    </a:cubicBezTo>
                    <a:cubicBezTo>
                      <a:pt x="38" y="64"/>
                      <a:pt x="39" y="64"/>
                      <a:pt x="39" y="64"/>
                    </a:cubicBezTo>
                    <a:cubicBezTo>
                      <a:pt x="39" y="64"/>
                      <a:pt x="39" y="64"/>
                      <a:pt x="39" y="64"/>
                    </a:cubicBezTo>
                    <a:close/>
                    <a:moveTo>
                      <a:pt x="28" y="64"/>
                    </a:moveTo>
                    <a:cubicBezTo>
                      <a:pt x="29" y="64"/>
                      <a:pt x="30" y="64"/>
                      <a:pt x="31" y="64"/>
                    </a:cubicBezTo>
                    <a:cubicBezTo>
                      <a:pt x="28" y="67"/>
                      <a:pt x="29" y="66"/>
                      <a:pt x="24" y="67"/>
                    </a:cubicBezTo>
                    <a:cubicBezTo>
                      <a:pt x="25" y="67"/>
                      <a:pt x="26" y="67"/>
                      <a:pt x="28" y="66"/>
                    </a:cubicBezTo>
                    <a:cubicBezTo>
                      <a:pt x="27" y="67"/>
                      <a:pt x="27" y="67"/>
                      <a:pt x="26" y="67"/>
                    </a:cubicBezTo>
                    <a:cubicBezTo>
                      <a:pt x="26" y="67"/>
                      <a:pt x="26" y="67"/>
                      <a:pt x="26" y="67"/>
                    </a:cubicBezTo>
                    <a:cubicBezTo>
                      <a:pt x="27" y="67"/>
                      <a:pt x="27" y="67"/>
                      <a:pt x="28" y="66"/>
                    </a:cubicBezTo>
                    <a:cubicBezTo>
                      <a:pt x="30" y="66"/>
                      <a:pt x="32" y="66"/>
                      <a:pt x="33" y="66"/>
                    </a:cubicBezTo>
                    <a:cubicBezTo>
                      <a:pt x="31" y="67"/>
                      <a:pt x="30" y="67"/>
                      <a:pt x="30" y="68"/>
                    </a:cubicBezTo>
                    <a:cubicBezTo>
                      <a:pt x="35" y="66"/>
                      <a:pt x="33" y="66"/>
                      <a:pt x="38" y="66"/>
                    </a:cubicBezTo>
                    <a:cubicBezTo>
                      <a:pt x="36" y="68"/>
                      <a:pt x="35" y="70"/>
                      <a:pt x="33" y="72"/>
                    </a:cubicBezTo>
                    <a:cubicBezTo>
                      <a:pt x="33" y="72"/>
                      <a:pt x="32" y="71"/>
                      <a:pt x="32" y="70"/>
                    </a:cubicBezTo>
                    <a:cubicBezTo>
                      <a:pt x="32" y="71"/>
                      <a:pt x="32" y="72"/>
                      <a:pt x="33" y="72"/>
                    </a:cubicBezTo>
                    <a:cubicBezTo>
                      <a:pt x="31" y="74"/>
                      <a:pt x="30" y="75"/>
                      <a:pt x="30" y="75"/>
                    </a:cubicBezTo>
                    <a:cubicBezTo>
                      <a:pt x="31" y="74"/>
                      <a:pt x="32" y="73"/>
                      <a:pt x="33" y="72"/>
                    </a:cubicBezTo>
                    <a:cubicBezTo>
                      <a:pt x="33" y="74"/>
                      <a:pt x="33" y="75"/>
                      <a:pt x="34" y="77"/>
                    </a:cubicBezTo>
                    <a:cubicBezTo>
                      <a:pt x="31" y="76"/>
                      <a:pt x="28" y="74"/>
                      <a:pt x="25" y="73"/>
                    </a:cubicBezTo>
                    <a:cubicBezTo>
                      <a:pt x="25" y="73"/>
                      <a:pt x="25" y="69"/>
                      <a:pt x="24" y="68"/>
                    </a:cubicBezTo>
                    <a:cubicBezTo>
                      <a:pt x="25" y="73"/>
                      <a:pt x="25" y="73"/>
                      <a:pt x="25" y="73"/>
                    </a:cubicBezTo>
                    <a:cubicBezTo>
                      <a:pt x="25" y="73"/>
                      <a:pt x="25" y="73"/>
                      <a:pt x="24" y="72"/>
                    </a:cubicBezTo>
                    <a:cubicBezTo>
                      <a:pt x="24" y="72"/>
                      <a:pt x="24" y="72"/>
                      <a:pt x="24" y="72"/>
                    </a:cubicBezTo>
                    <a:cubicBezTo>
                      <a:pt x="24" y="72"/>
                      <a:pt x="24" y="72"/>
                      <a:pt x="24" y="72"/>
                    </a:cubicBezTo>
                    <a:cubicBezTo>
                      <a:pt x="22" y="71"/>
                      <a:pt x="21" y="69"/>
                      <a:pt x="19" y="68"/>
                    </a:cubicBezTo>
                    <a:cubicBezTo>
                      <a:pt x="19" y="68"/>
                      <a:pt x="19" y="67"/>
                      <a:pt x="19" y="67"/>
                    </a:cubicBezTo>
                    <a:cubicBezTo>
                      <a:pt x="24" y="64"/>
                      <a:pt x="24" y="64"/>
                      <a:pt x="24" y="64"/>
                    </a:cubicBezTo>
                    <a:cubicBezTo>
                      <a:pt x="25" y="64"/>
                      <a:pt x="26" y="64"/>
                      <a:pt x="28" y="64"/>
                    </a:cubicBezTo>
                    <a:cubicBezTo>
                      <a:pt x="28" y="64"/>
                      <a:pt x="28" y="64"/>
                      <a:pt x="28" y="64"/>
                    </a:cubicBezTo>
                    <a:close/>
                    <a:moveTo>
                      <a:pt x="68" y="63"/>
                    </a:moveTo>
                    <a:cubicBezTo>
                      <a:pt x="67" y="64"/>
                      <a:pt x="66" y="64"/>
                      <a:pt x="66" y="64"/>
                    </a:cubicBezTo>
                    <a:cubicBezTo>
                      <a:pt x="67" y="64"/>
                      <a:pt x="68" y="65"/>
                      <a:pt x="69" y="65"/>
                    </a:cubicBezTo>
                    <a:cubicBezTo>
                      <a:pt x="71" y="62"/>
                      <a:pt x="71" y="62"/>
                      <a:pt x="71" y="62"/>
                    </a:cubicBezTo>
                    <a:cubicBezTo>
                      <a:pt x="70" y="62"/>
                      <a:pt x="69" y="63"/>
                      <a:pt x="68" y="63"/>
                    </a:cubicBezTo>
                    <a:cubicBezTo>
                      <a:pt x="68" y="63"/>
                      <a:pt x="68" y="63"/>
                      <a:pt x="68" y="63"/>
                    </a:cubicBezTo>
                    <a:close/>
                    <a:moveTo>
                      <a:pt x="32" y="64"/>
                    </a:moveTo>
                    <a:cubicBezTo>
                      <a:pt x="33" y="64"/>
                      <a:pt x="35" y="64"/>
                      <a:pt x="35" y="65"/>
                    </a:cubicBezTo>
                    <a:cubicBezTo>
                      <a:pt x="35" y="65"/>
                      <a:pt x="34" y="66"/>
                      <a:pt x="34" y="66"/>
                    </a:cubicBezTo>
                    <a:cubicBezTo>
                      <a:pt x="32" y="66"/>
                      <a:pt x="30" y="66"/>
                      <a:pt x="28" y="66"/>
                    </a:cubicBezTo>
                    <a:cubicBezTo>
                      <a:pt x="29" y="66"/>
                      <a:pt x="31" y="65"/>
                      <a:pt x="32" y="64"/>
                    </a:cubicBezTo>
                    <a:cubicBezTo>
                      <a:pt x="32" y="64"/>
                      <a:pt x="32" y="64"/>
                      <a:pt x="32" y="64"/>
                    </a:cubicBezTo>
                    <a:close/>
                    <a:moveTo>
                      <a:pt x="41" y="64"/>
                    </a:moveTo>
                    <a:cubicBezTo>
                      <a:pt x="41" y="65"/>
                      <a:pt x="41" y="65"/>
                      <a:pt x="41" y="65"/>
                    </a:cubicBezTo>
                    <a:cubicBezTo>
                      <a:pt x="41" y="65"/>
                      <a:pt x="41" y="65"/>
                      <a:pt x="41" y="65"/>
                    </a:cubicBezTo>
                    <a:cubicBezTo>
                      <a:pt x="41" y="65"/>
                      <a:pt x="41" y="65"/>
                      <a:pt x="41" y="64"/>
                    </a:cubicBezTo>
                    <a:cubicBezTo>
                      <a:pt x="41" y="64"/>
                      <a:pt x="41" y="64"/>
                      <a:pt x="41" y="64"/>
                    </a:cubicBezTo>
                    <a:close/>
                    <a:moveTo>
                      <a:pt x="65" y="65"/>
                    </a:moveTo>
                    <a:cubicBezTo>
                      <a:pt x="66" y="64"/>
                      <a:pt x="67" y="65"/>
                      <a:pt x="69" y="65"/>
                    </a:cubicBezTo>
                    <a:cubicBezTo>
                      <a:pt x="68" y="66"/>
                      <a:pt x="67" y="66"/>
                      <a:pt x="67" y="67"/>
                    </a:cubicBezTo>
                    <a:cubicBezTo>
                      <a:pt x="66" y="68"/>
                      <a:pt x="66" y="68"/>
                      <a:pt x="66" y="68"/>
                    </a:cubicBezTo>
                    <a:cubicBezTo>
                      <a:pt x="65" y="69"/>
                      <a:pt x="63" y="69"/>
                      <a:pt x="62" y="69"/>
                    </a:cubicBezTo>
                    <a:cubicBezTo>
                      <a:pt x="61" y="69"/>
                      <a:pt x="60" y="69"/>
                      <a:pt x="59" y="69"/>
                    </a:cubicBezTo>
                    <a:cubicBezTo>
                      <a:pt x="62" y="68"/>
                      <a:pt x="64" y="67"/>
                      <a:pt x="67" y="66"/>
                    </a:cubicBezTo>
                    <a:cubicBezTo>
                      <a:pt x="67" y="66"/>
                      <a:pt x="65" y="67"/>
                      <a:pt x="62" y="68"/>
                    </a:cubicBezTo>
                    <a:cubicBezTo>
                      <a:pt x="61" y="68"/>
                      <a:pt x="60" y="68"/>
                      <a:pt x="58" y="68"/>
                    </a:cubicBezTo>
                    <a:cubicBezTo>
                      <a:pt x="59" y="68"/>
                      <a:pt x="61" y="67"/>
                      <a:pt x="62" y="67"/>
                    </a:cubicBezTo>
                    <a:cubicBezTo>
                      <a:pt x="65" y="65"/>
                      <a:pt x="62" y="66"/>
                      <a:pt x="66" y="65"/>
                    </a:cubicBezTo>
                    <a:cubicBezTo>
                      <a:pt x="66" y="64"/>
                      <a:pt x="64" y="65"/>
                      <a:pt x="64" y="65"/>
                    </a:cubicBezTo>
                    <a:cubicBezTo>
                      <a:pt x="64" y="65"/>
                      <a:pt x="65" y="65"/>
                      <a:pt x="65" y="65"/>
                    </a:cubicBezTo>
                    <a:cubicBezTo>
                      <a:pt x="65" y="65"/>
                      <a:pt x="65" y="65"/>
                      <a:pt x="65" y="65"/>
                    </a:cubicBezTo>
                    <a:close/>
                    <a:moveTo>
                      <a:pt x="70" y="65"/>
                    </a:moveTo>
                    <a:cubicBezTo>
                      <a:pt x="69" y="65"/>
                      <a:pt x="69" y="65"/>
                      <a:pt x="69" y="65"/>
                    </a:cubicBezTo>
                    <a:cubicBezTo>
                      <a:pt x="68" y="66"/>
                      <a:pt x="67" y="67"/>
                      <a:pt x="66" y="68"/>
                    </a:cubicBezTo>
                    <a:cubicBezTo>
                      <a:pt x="69" y="67"/>
                      <a:pt x="68" y="67"/>
                      <a:pt x="70" y="65"/>
                    </a:cubicBezTo>
                    <a:cubicBezTo>
                      <a:pt x="70" y="65"/>
                      <a:pt x="70" y="65"/>
                      <a:pt x="70" y="65"/>
                    </a:cubicBezTo>
                    <a:close/>
                    <a:moveTo>
                      <a:pt x="63" y="64"/>
                    </a:moveTo>
                    <a:cubicBezTo>
                      <a:pt x="62" y="64"/>
                      <a:pt x="61" y="65"/>
                      <a:pt x="60" y="65"/>
                    </a:cubicBezTo>
                    <a:cubicBezTo>
                      <a:pt x="60" y="66"/>
                      <a:pt x="59" y="66"/>
                      <a:pt x="59" y="67"/>
                    </a:cubicBezTo>
                    <a:cubicBezTo>
                      <a:pt x="62" y="66"/>
                      <a:pt x="61" y="66"/>
                      <a:pt x="64" y="64"/>
                    </a:cubicBezTo>
                    <a:cubicBezTo>
                      <a:pt x="63" y="64"/>
                      <a:pt x="63" y="64"/>
                      <a:pt x="63" y="64"/>
                    </a:cubicBezTo>
                    <a:cubicBezTo>
                      <a:pt x="63" y="64"/>
                      <a:pt x="63" y="64"/>
                      <a:pt x="63" y="64"/>
                    </a:cubicBezTo>
                    <a:close/>
                    <a:moveTo>
                      <a:pt x="72" y="65"/>
                    </a:moveTo>
                    <a:cubicBezTo>
                      <a:pt x="72" y="65"/>
                      <a:pt x="71" y="65"/>
                      <a:pt x="70" y="65"/>
                    </a:cubicBezTo>
                    <a:cubicBezTo>
                      <a:pt x="70" y="66"/>
                      <a:pt x="69" y="66"/>
                      <a:pt x="69" y="67"/>
                    </a:cubicBezTo>
                    <a:cubicBezTo>
                      <a:pt x="70" y="66"/>
                      <a:pt x="71" y="66"/>
                      <a:pt x="72" y="65"/>
                    </a:cubicBezTo>
                    <a:cubicBezTo>
                      <a:pt x="72" y="65"/>
                      <a:pt x="72" y="65"/>
                      <a:pt x="72" y="65"/>
                    </a:cubicBezTo>
                    <a:close/>
                    <a:moveTo>
                      <a:pt x="36" y="65"/>
                    </a:moveTo>
                    <a:cubicBezTo>
                      <a:pt x="36" y="65"/>
                      <a:pt x="37" y="65"/>
                      <a:pt x="37" y="65"/>
                    </a:cubicBezTo>
                    <a:cubicBezTo>
                      <a:pt x="36" y="65"/>
                      <a:pt x="35" y="66"/>
                      <a:pt x="34" y="66"/>
                    </a:cubicBezTo>
                    <a:cubicBezTo>
                      <a:pt x="35" y="65"/>
                      <a:pt x="35" y="65"/>
                      <a:pt x="36" y="65"/>
                    </a:cubicBezTo>
                    <a:cubicBezTo>
                      <a:pt x="36" y="65"/>
                      <a:pt x="36" y="65"/>
                      <a:pt x="36" y="65"/>
                    </a:cubicBezTo>
                    <a:close/>
                    <a:moveTo>
                      <a:pt x="41" y="66"/>
                    </a:moveTo>
                    <a:cubicBezTo>
                      <a:pt x="41" y="66"/>
                      <a:pt x="41" y="66"/>
                      <a:pt x="41" y="66"/>
                    </a:cubicBezTo>
                    <a:cubicBezTo>
                      <a:pt x="41" y="68"/>
                      <a:pt x="41" y="71"/>
                      <a:pt x="41" y="74"/>
                    </a:cubicBezTo>
                    <a:cubicBezTo>
                      <a:pt x="40" y="74"/>
                      <a:pt x="40" y="74"/>
                      <a:pt x="40" y="74"/>
                    </a:cubicBezTo>
                    <a:cubicBezTo>
                      <a:pt x="40" y="74"/>
                      <a:pt x="40" y="74"/>
                      <a:pt x="41" y="74"/>
                    </a:cubicBezTo>
                    <a:cubicBezTo>
                      <a:pt x="41" y="74"/>
                      <a:pt x="41" y="74"/>
                      <a:pt x="41" y="74"/>
                    </a:cubicBezTo>
                    <a:cubicBezTo>
                      <a:pt x="39" y="75"/>
                      <a:pt x="36" y="76"/>
                      <a:pt x="34" y="77"/>
                    </a:cubicBezTo>
                    <a:cubicBezTo>
                      <a:pt x="34" y="76"/>
                      <a:pt x="33" y="74"/>
                      <a:pt x="33" y="72"/>
                    </a:cubicBezTo>
                    <a:cubicBezTo>
                      <a:pt x="35" y="70"/>
                      <a:pt x="37" y="68"/>
                      <a:pt x="38" y="65"/>
                    </a:cubicBezTo>
                    <a:cubicBezTo>
                      <a:pt x="39" y="66"/>
                      <a:pt x="40" y="66"/>
                      <a:pt x="40" y="66"/>
                    </a:cubicBezTo>
                    <a:cubicBezTo>
                      <a:pt x="39" y="69"/>
                      <a:pt x="37" y="73"/>
                      <a:pt x="35" y="75"/>
                    </a:cubicBezTo>
                    <a:cubicBezTo>
                      <a:pt x="35" y="75"/>
                      <a:pt x="35" y="75"/>
                      <a:pt x="35" y="75"/>
                    </a:cubicBezTo>
                    <a:cubicBezTo>
                      <a:pt x="37" y="72"/>
                      <a:pt x="39" y="69"/>
                      <a:pt x="41" y="66"/>
                    </a:cubicBezTo>
                    <a:cubicBezTo>
                      <a:pt x="41" y="66"/>
                      <a:pt x="41" y="66"/>
                      <a:pt x="41" y="66"/>
                    </a:cubicBezTo>
                    <a:close/>
                    <a:moveTo>
                      <a:pt x="57" y="66"/>
                    </a:moveTo>
                    <a:cubicBezTo>
                      <a:pt x="55" y="66"/>
                      <a:pt x="54" y="66"/>
                      <a:pt x="53" y="65"/>
                    </a:cubicBezTo>
                    <a:cubicBezTo>
                      <a:pt x="52" y="66"/>
                      <a:pt x="51" y="67"/>
                      <a:pt x="50" y="69"/>
                    </a:cubicBezTo>
                    <a:cubicBezTo>
                      <a:pt x="53" y="69"/>
                      <a:pt x="52" y="69"/>
                      <a:pt x="55" y="67"/>
                    </a:cubicBezTo>
                    <a:cubicBezTo>
                      <a:pt x="56" y="67"/>
                      <a:pt x="56" y="67"/>
                      <a:pt x="57" y="66"/>
                    </a:cubicBezTo>
                    <a:cubicBezTo>
                      <a:pt x="57" y="66"/>
                      <a:pt x="57" y="66"/>
                      <a:pt x="57" y="66"/>
                    </a:cubicBezTo>
                    <a:close/>
                    <a:moveTo>
                      <a:pt x="57" y="66"/>
                    </a:moveTo>
                    <a:cubicBezTo>
                      <a:pt x="58" y="66"/>
                      <a:pt x="59" y="65"/>
                      <a:pt x="60" y="65"/>
                    </a:cubicBezTo>
                    <a:cubicBezTo>
                      <a:pt x="59" y="66"/>
                      <a:pt x="59" y="66"/>
                      <a:pt x="59" y="67"/>
                    </a:cubicBezTo>
                    <a:cubicBezTo>
                      <a:pt x="56" y="68"/>
                      <a:pt x="56" y="68"/>
                      <a:pt x="52" y="69"/>
                    </a:cubicBezTo>
                    <a:cubicBezTo>
                      <a:pt x="53" y="68"/>
                      <a:pt x="56" y="66"/>
                      <a:pt x="57" y="66"/>
                    </a:cubicBezTo>
                    <a:cubicBezTo>
                      <a:pt x="57" y="66"/>
                      <a:pt x="58" y="66"/>
                      <a:pt x="58" y="67"/>
                    </a:cubicBezTo>
                    <a:cubicBezTo>
                      <a:pt x="58" y="66"/>
                      <a:pt x="58" y="66"/>
                      <a:pt x="57" y="66"/>
                    </a:cubicBezTo>
                    <a:cubicBezTo>
                      <a:pt x="57" y="66"/>
                      <a:pt x="57" y="66"/>
                      <a:pt x="57" y="66"/>
                    </a:cubicBezTo>
                    <a:close/>
                    <a:moveTo>
                      <a:pt x="44" y="67"/>
                    </a:moveTo>
                    <a:cubicBezTo>
                      <a:pt x="44" y="66"/>
                      <a:pt x="44" y="66"/>
                      <a:pt x="44" y="65"/>
                    </a:cubicBezTo>
                    <a:cubicBezTo>
                      <a:pt x="44" y="66"/>
                      <a:pt x="44" y="67"/>
                      <a:pt x="45" y="68"/>
                    </a:cubicBezTo>
                    <a:cubicBezTo>
                      <a:pt x="44" y="68"/>
                      <a:pt x="44" y="67"/>
                      <a:pt x="44" y="67"/>
                    </a:cubicBezTo>
                    <a:cubicBezTo>
                      <a:pt x="44" y="67"/>
                      <a:pt x="44" y="67"/>
                      <a:pt x="44" y="67"/>
                    </a:cubicBezTo>
                    <a:close/>
                    <a:moveTo>
                      <a:pt x="19" y="67"/>
                    </a:moveTo>
                    <a:cubicBezTo>
                      <a:pt x="19" y="67"/>
                      <a:pt x="19" y="67"/>
                      <a:pt x="18" y="68"/>
                    </a:cubicBezTo>
                    <a:cubicBezTo>
                      <a:pt x="19" y="68"/>
                      <a:pt x="19" y="68"/>
                      <a:pt x="19" y="68"/>
                    </a:cubicBezTo>
                    <a:cubicBezTo>
                      <a:pt x="19" y="68"/>
                      <a:pt x="19" y="67"/>
                      <a:pt x="19" y="67"/>
                    </a:cubicBezTo>
                    <a:cubicBezTo>
                      <a:pt x="19" y="67"/>
                      <a:pt x="19" y="67"/>
                      <a:pt x="19" y="67"/>
                    </a:cubicBezTo>
                    <a:close/>
                    <a:moveTo>
                      <a:pt x="19" y="68"/>
                    </a:moveTo>
                    <a:cubicBezTo>
                      <a:pt x="19" y="68"/>
                      <a:pt x="18" y="68"/>
                      <a:pt x="18" y="68"/>
                    </a:cubicBezTo>
                    <a:cubicBezTo>
                      <a:pt x="17" y="68"/>
                      <a:pt x="16" y="69"/>
                      <a:pt x="15" y="69"/>
                    </a:cubicBezTo>
                    <a:cubicBezTo>
                      <a:pt x="17" y="70"/>
                      <a:pt x="19" y="70"/>
                      <a:pt x="21" y="71"/>
                    </a:cubicBezTo>
                    <a:cubicBezTo>
                      <a:pt x="21" y="71"/>
                      <a:pt x="18" y="69"/>
                      <a:pt x="19" y="68"/>
                    </a:cubicBezTo>
                    <a:cubicBezTo>
                      <a:pt x="19" y="68"/>
                      <a:pt x="19" y="68"/>
                      <a:pt x="19" y="68"/>
                    </a:cubicBezTo>
                    <a:cubicBezTo>
                      <a:pt x="19" y="68"/>
                      <a:pt x="19" y="68"/>
                      <a:pt x="19" y="68"/>
                    </a:cubicBezTo>
                    <a:close/>
                    <a:moveTo>
                      <a:pt x="19" y="68"/>
                    </a:moveTo>
                    <a:cubicBezTo>
                      <a:pt x="19" y="68"/>
                      <a:pt x="19" y="68"/>
                      <a:pt x="19" y="68"/>
                    </a:cubicBezTo>
                    <a:cubicBezTo>
                      <a:pt x="19" y="68"/>
                      <a:pt x="19" y="69"/>
                      <a:pt x="19" y="69"/>
                    </a:cubicBezTo>
                    <a:cubicBezTo>
                      <a:pt x="19" y="69"/>
                      <a:pt x="19" y="69"/>
                      <a:pt x="19" y="68"/>
                    </a:cubicBezTo>
                    <a:cubicBezTo>
                      <a:pt x="19" y="68"/>
                      <a:pt x="19" y="68"/>
                      <a:pt x="19" y="68"/>
                    </a:cubicBezTo>
                    <a:close/>
                    <a:moveTo>
                      <a:pt x="60" y="68"/>
                    </a:moveTo>
                    <a:cubicBezTo>
                      <a:pt x="57" y="68"/>
                      <a:pt x="58" y="68"/>
                      <a:pt x="57" y="69"/>
                    </a:cubicBezTo>
                    <a:cubicBezTo>
                      <a:pt x="56" y="69"/>
                      <a:pt x="56" y="69"/>
                      <a:pt x="56" y="69"/>
                    </a:cubicBezTo>
                    <a:cubicBezTo>
                      <a:pt x="59" y="69"/>
                      <a:pt x="58" y="69"/>
                      <a:pt x="62" y="68"/>
                    </a:cubicBezTo>
                    <a:cubicBezTo>
                      <a:pt x="61" y="68"/>
                      <a:pt x="60" y="68"/>
                      <a:pt x="60" y="68"/>
                    </a:cubicBezTo>
                    <a:cubicBezTo>
                      <a:pt x="60" y="68"/>
                      <a:pt x="60" y="68"/>
                      <a:pt x="60" y="68"/>
                    </a:cubicBezTo>
                    <a:close/>
                    <a:moveTo>
                      <a:pt x="45" y="69"/>
                    </a:moveTo>
                    <a:cubicBezTo>
                      <a:pt x="45" y="69"/>
                      <a:pt x="44" y="69"/>
                      <a:pt x="44" y="69"/>
                    </a:cubicBezTo>
                    <a:cubicBezTo>
                      <a:pt x="44" y="69"/>
                      <a:pt x="44" y="69"/>
                      <a:pt x="44" y="70"/>
                    </a:cubicBezTo>
                    <a:cubicBezTo>
                      <a:pt x="44" y="70"/>
                      <a:pt x="45" y="70"/>
                      <a:pt x="46" y="70"/>
                    </a:cubicBezTo>
                    <a:cubicBezTo>
                      <a:pt x="45" y="70"/>
                      <a:pt x="45" y="69"/>
                      <a:pt x="45" y="69"/>
                    </a:cubicBezTo>
                    <a:cubicBezTo>
                      <a:pt x="45" y="69"/>
                      <a:pt x="45" y="69"/>
                      <a:pt x="45" y="69"/>
                    </a:cubicBezTo>
                    <a:close/>
                    <a:moveTo>
                      <a:pt x="56" y="69"/>
                    </a:moveTo>
                    <a:cubicBezTo>
                      <a:pt x="56" y="69"/>
                      <a:pt x="57" y="69"/>
                      <a:pt x="58" y="69"/>
                    </a:cubicBezTo>
                    <a:cubicBezTo>
                      <a:pt x="58" y="70"/>
                      <a:pt x="57" y="70"/>
                      <a:pt x="56" y="70"/>
                    </a:cubicBezTo>
                    <a:cubicBezTo>
                      <a:pt x="56" y="70"/>
                      <a:pt x="56" y="70"/>
                      <a:pt x="56" y="69"/>
                    </a:cubicBezTo>
                    <a:cubicBezTo>
                      <a:pt x="56" y="69"/>
                      <a:pt x="56" y="69"/>
                      <a:pt x="56" y="69"/>
                    </a:cubicBezTo>
                    <a:close/>
                    <a:moveTo>
                      <a:pt x="59" y="69"/>
                    </a:moveTo>
                    <a:cubicBezTo>
                      <a:pt x="60" y="69"/>
                      <a:pt x="61" y="69"/>
                      <a:pt x="62" y="70"/>
                    </a:cubicBezTo>
                    <a:cubicBezTo>
                      <a:pt x="60" y="70"/>
                      <a:pt x="58" y="70"/>
                      <a:pt x="57" y="70"/>
                    </a:cubicBezTo>
                    <a:cubicBezTo>
                      <a:pt x="57" y="70"/>
                      <a:pt x="57" y="70"/>
                      <a:pt x="56" y="70"/>
                    </a:cubicBezTo>
                    <a:cubicBezTo>
                      <a:pt x="57" y="70"/>
                      <a:pt x="58" y="70"/>
                      <a:pt x="59" y="69"/>
                    </a:cubicBezTo>
                    <a:cubicBezTo>
                      <a:pt x="59" y="69"/>
                      <a:pt x="59" y="69"/>
                      <a:pt x="59" y="69"/>
                    </a:cubicBezTo>
                    <a:close/>
                    <a:moveTo>
                      <a:pt x="20" y="69"/>
                    </a:moveTo>
                    <a:cubicBezTo>
                      <a:pt x="20" y="70"/>
                      <a:pt x="21" y="72"/>
                      <a:pt x="22" y="72"/>
                    </a:cubicBezTo>
                    <a:cubicBezTo>
                      <a:pt x="23" y="72"/>
                      <a:pt x="23" y="72"/>
                      <a:pt x="24" y="73"/>
                    </a:cubicBezTo>
                    <a:cubicBezTo>
                      <a:pt x="23" y="71"/>
                      <a:pt x="21" y="69"/>
                      <a:pt x="19" y="68"/>
                    </a:cubicBezTo>
                    <a:cubicBezTo>
                      <a:pt x="19" y="68"/>
                      <a:pt x="19" y="69"/>
                      <a:pt x="20" y="69"/>
                    </a:cubicBezTo>
                    <a:cubicBezTo>
                      <a:pt x="20" y="69"/>
                      <a:pt x="20" y="69"/>
                      <a:pt x="20" y="69"/>
                    </a:cubicBezTo>
                    <a:close/>
                    <a:moveTo>
                      <a:pt x="47" y="70"/>
                    </a:moveTo>
                    <a:cubicBezTo>
                      <a:pt x="46" y="70"/>
                      <a:pt x="46" y="69"/>
                      <a:pt x="46" y="69"/>
                    </a:cubicBezTo>
                    <a:cubicBezTo>
                      <a:pt x="46" y="70"/>
                      <a:pt x="46" y="70"/>
                      <a:pt x="46" y="70"/>
                    </a:cubicBezTo>
                    <a:cubicBezTo>
                      <a:pt x="46" y="70"/>
                      <a:pt x="46" y="70"/>
                      <a:pt x="47" y="70"/>
                    </a:cubicBezTo>
                    <a:cubicBezTo>
                      <a:pt x="47" y="70"/>
                      <a:pt x="47" y="70"/>
                      <a:pt x="47" y="70"/>
                    </a:cubicBezTo>
                    <a:cubicBezTo>
                      <a:pt x="47" y="70"/>
                      <a:pt x="47" y="70"/>
                      <a:pt x="47" y="70"/>
                    </a:cubicBezTo>
                    <a:close/>
                    <a:moveTo>
                      <a:pt x="47" y="70"/>
                    </a:moveTo>
                    <a:cubicBezTo>
                      <a:pt x="47" y="70"/>
                      <a:pt x="48" y="70"/>
                      <a:pt x="48" y="70"/>
                    </a:cubicBezTo>
                    <a:cubicBezTo>
                      <a:pt x="48" y="70"/>
                      <a:pt x="48" y="70"/>
                      <a:pt x="48" y="70"/>
                    </a:cubicBezTo>
                    <a:cubicBezTo>
                      <a:pt x="48" y="70"/>
                      <a:pt x="48" y="70"/>
                      <a:pt x="48" y="70"/>
                    </a:cubicBezTo>
                    <a:cubicBezTo>
                      <a:pt x="49" y="70"/>
                      <a:pt x="49" y="70"/>
                      <a:pt x="50" y="70"/>
                    </a:cubicBezTo>
                    <a:cubicBezTo>
                      <a:pt x="49" y="70"/>
                      <a:pt x="49" y="70"/>
                      <a:pt x="49" y="71"/>
                    </a:cubicBezTo>
                    <a:cubicBezTo>
                      <a:pt x="48" y="71"/>
                      <a:pt x="47" y="70"/>
                      <a:pt x="47" y="70"/>
                    </a:cubicBezTo>
                    <a:cubicBezTo>
                      <a:pt x="47" y="70"/>
                      <a:pt x="47" y="70"/>
                      <a:pt x="47" y="70"/>
                    </a:cubicBezTo>
                    <a:cubicBezTo>
                      <a:pt x="47" y="70"/>
                      <a:pt x="47" y="70"/>
                      <a:pt x="47" y="70"/>
                    </a:cubicBezTo>
                    <a:close/>
                    <a:moveTo>
                      <a:pt x="52" y="70"/>
                    </a:moveTo>
                    <a:cubicBezTo>
                      <a:pt x="50" y="70"/>
                      <a:pt x="50" y="70"/>
                      <a:pt x="49" y="71"/>
                    </a:cubicBezTo>
                    <a:cubicBezTo>
                      <a:pt x="52" y="71"/>
                      <a:pt x="51" y="71"/>
                      <a:pt x="55" y="69"/>
                    </a:cubicBezTo>
                    <a:cubicBezTo>
                      <a:pt x="54" y="69"/>
                      <a:pt x="53" y="70"/>
                      <a:pt x="52" y="70"/>
                    </a:cubicBezTo>
                    <a:cubicBezTo>
                      <a:pt x="52" y="70"/>
                      <a:pt x="52" y="70"/>
                      <a:pt x="52" y="70"/>
                    </a:cubicBezTo>
                    <a:close/>
                    <a:moveTo>
                      <a:pt x="56" y="70"/>
                    </a:moveTo>
                    <a:cubicBezTo>
                      <a:pt x="56" y="70"/>
                      <a:pt x="56" y="70"/>
                      <a:pt x="55" y="69"/>
                    </a:cubicBezTo>
                    <a:cubicBezTo>
                      <a:pt x="54" y="70"/>
                      <a:pt x="54" y="70"/>
                      <a:pt x="53" y="71"/>
                    </a:cubicBezTo>
                    <a:cubicBezTo>
                      <a:pt x="54" y="71"/>
                      <a:pt x="55" y="71"/>
                      <a:pt x="56" y="70"/>
                    </a:cubicBezTo>
                    <a:cubicBezTo>
                      <a:pt x="56" y="70"/>
                      <a:pt x="56" y="70"/>
                      <a:pt x="56" y="70"/>
                    </a:cubicBezTo>
                    <a:close/>
                    <a:moveTo>
                      <a:pt x="56" y="70"/>
                    </a:moveTo>
                    <a:cubicBezTo>
                      <a:pt x="56" y="70"/>
                      <a:pt x="56" y="70"/>
                      <a:pt x="56" y="70"/>
                    </a:cubicBezTo>
                    <a:cubicBezTo>
                      <a:pt x="56" y="70"/>
                      <a:pt x="56" y="70"/>
                      <a:pt x="56" y="71"/>
                    </a:cubicBezTo>
                    <a:cubicBezTo>
                      <a:pt x="56" y="71"/>
                      <a:pt x="56" y="71"/>
                      <a:pt x="56" y="70"/>
                    </a:cubicBezTo>
                    <a:cubicBezTo>
                      <a:pt x="56" y="70"/>
                      <a:pt x="56" y="70"/>
                      <a:pt x="56" y="70"/>
                    </a:cubicBezTo>
                    <a:close/>
                    <a:moveTo>
                      <a:pt x="52" y="71"/>
                    </a:moveTo>
                    <a:cubicBezTo>
                      <a:pt x="53" y="70"/>
                      <a:pt x="54" y="70"/>
                      <a:pt x="55" y="69"/>
                    </a:cubicBezTo>
                    <a:cubicBezTo>
                      <a:pt x="54" y="70"/>
                      <a:pt x="53" y="71"/>
                      <a:pt x="52" y="71"/>
                    </a:cubicBezTo>
                    <a:cubicBezTo>
                      <a:pt x="52" y="71"/>
                      <a:pt x="52" y="71"/>
                      <a:pt x="52" y="71"/>
                    </a:cubicBezTo>
                    <a:close/>
                    <a:moveTo>
                      <a:pt x="44" y="71"/>
                    </a:moveTo>
                    <a:cubicBezTo>
                      <a:pt x="44" y="71"/>
                      <a:pt x="44" y="71"/>
                      <a:pt x="44" y="71"/>
                    </a:cubicBezTo>
                    <a:cubicBezTo>
                      <a:pt x="44" y="72"/>
                      <a:pt x="43" y="74"/>
                      <a:pt x="44" y="75"/>
                    </a:cubicBezTo>
                    <a:cubicBezTo>
                      <a:pt x="45" y="75"/>
                      <a:pt x="45" y="74"/>
                      <a:pt x="45" y="74"/>
                    </a:cubicBezTo>
                    <a:cubicBezTo>
                      <a:pt x="45" y="73"/>
                      <a:pt x="44" y="72"/>
                      <a:pt x="44" y="71"/>
                    </a:cubicBezTo>
                    <a:cubicBezTo>
                      <a:pt x="44" y="71"/>
                      <a:pt x="44" y="71"/>
                      <a:pt x="44" y="71"/>
                    </a:cubicBezTo>
                    <a:close/>
                    <a:moveTo>
                      <a:pt x="59" y="71"/>
                    </a:moveTo>
                    <a:cubicBezTo>
                      <a:pt x="61" y="71"/>
                      <a:pt x="61" y="71"/>
                      <a:pt x="64" y="72"/>
                    </a:cubicBezTo>
                    <a:cubicBezTo>
                      <a:pt x="62" y="72"/>
                      <a:pt x="60" y="71"/>
                      <a:pt x="59" y="71"/>
                    </a:cubicBezTo>
                    <a:cubicBezTo>
                      <a:pt x="59" y="71"/>
                      <a:pt x="59" y="71"/>
                      <a:pt x="59" y="71"/>
                    </a:cubicBezTo>
                    <a:close/>
                    <a:moveTo>
                      <a:pt x="46" y="71"/>
                    </a:moveTo>
                    <a:cubicBezTo>
                      <a:pt x="45" y="71"/>
                      <a:pt x="45" y="71"/>
                      <a:pt x="44" y="71"/>
                    </a:cubicBezTo>
                    <a:cubicBezTo>
                      <a:pt x="45" y="72"/>
                      <a:pt x="45" y="73"/>
                      <a:pt x="45" y="74"/>
                    </a:cubicBezTo>
                    <a:cubicBezTo>
                      <a:pt x="46" y="74"/>
                      <a:pt x="46" y="74"/>
                      <a:pt x="46" y="74"/>
                    </a:cubicBezTo>
                    <a:cubicBezTo>
                      <a:pt x="46" y="73"/>
                      <a:pt x="46" y="72"/>
                      <a:pt x="46" y="71"/>
                    </a:cubicBezTo>
                    <a:cubicBezTo>
                      <a:pt x="46" y="71"/>
                      <a:pt x="46" y="71"/>
                      <a:pt x="46" y="71"/>
                    </a:cubicBezTo>
                    <a:close/>
                    <a:moveTo>
                      <a:pt x="47" y="71"/>
                    </a:moveTo>
                    <a:cubicBezTo>
                      <a:pt x="47" y="71"/>
                      <a:pt x="47" y="71"/>
                      <a:pt x="47" y="71"/>
                    </a:cubicBezTo>
                    <a:cubicBezTo>
                      <a:pt x="47" y="72"/>
                      <a:pt x="47" y="72"/>
                      <a:pt x="47" y="72"/>
                    </a:cubicBezTo>
                    <a:cubicBezTo>
                      <a:pt x="47" y="72"/>
                      <a:pt x="47" y="72"/>
                      <a:pt x="47" y="72"/>
                    </a:cubicBezTo>
                    <a:cubicBezTo>
                      <a:pt x="47" y="72"/>
                      <a:pt x="47" y="72"/>
                      <a:pt x="47" y="71"/>
                    </a:cubicBezTo>
                    <a:cubicBezTo>
                      <a:pt x="47" y="71"/>
                      <a:pt x="48" y="72"/>
                      <a:pt x="48" y="72"/>
                    </a:cubicBezTo>
                    <a:cubicBezTo>
                      <a:pt x="48" y="72"/>
                      <a:pt x="47" y="72"/>
                      <a:pt x="47" y="72"/>
                    </a:cubicBezTo>
                    <a:cubicBezTo>
                      <a:pt x="47" y="72"/>
                      <a:pt x="47" y="72"/>
                      <a:pt x="47" y="72"/>
                    </a:cubicBezTo>
                    <a:cubicBezTo>
                      <a:pt x="47" y="72"/>
                      <a:pt x="47" y="72"/>
                      <a:pt x="47" y="72"/>
                    </a:cubicBezTo>
                    <a:cubicBezTo>
                      <a:pt x="47" y="72"/>
                      <a:pt x="47" y="72"/>
                      <a:pt x="47" y="71"/>
                    </a:cubicBezTo>
                    <a:cubicBezTo>
                      <a:pt x="47" y="71"/>
                      <a:pt x="47" y="71"/>
                      <a:pt x="47" y="71"/>
                    </a:cubicBezTo>
                    <a:close/>
                    <a:moveTo>
                      <a:pt x="51" y="72"/>
                    </a:moveTo>
                    <a:cubicBezTo>
                      <a:pt x="51" y="72"/>
                      <a:pt x="51" y="72"/>
                      <a:pt x="52" y="72"/>
                    </a:cubicBezTo>
                    <a:cubicBezTo>
                      <a:pt x="51" y="72"/>
                      <a:pt x="51" y="72"/>
                      <a:pt x="51" y="72"/>
                    </a:cubicBezTo>
                    <a:cubicBezTo>
                      <a:pt x="51" y="72"/>
                      <a:pt x="51" y="72"/>
                      <a:pt x="51" y="72"/>
                    </a:cubicBezTo>
                    <a:cubicBezTo>
                      <a:pt x="51" y="72"/>
                      <a:pt x="51" y="72"/>
                      <a:pt x="51" y="72"/>
                    </a:cubicBezTo>
                    <a:close/>
                    <a:moveTo>
                      <a:pt x="55" y="72"/>
                    </a:moveTo>
                    <a:cubicBezTo>
                      <a:pt x="54" y="72"/>
                      <a:pt x="52" y="71"/>
                      <a:pt x="51" y="72"/>
                    </a:cubicBezTo>
                    <a:cubicBezTo>
                      <a:pt x="54" y="73"/>
                      <a:pt x="57" y="74"/>
                      <a:pt x="60" y="74"/>
                    </a:cubicBezTo>
                    <a:cubicBezTo>
                      <a:pt x="57" y="71"/>
                      <a:pt x="57" y="71"/>
                      <a:pt x="57" y="71"/>
                    </a:cubicBezTo>
                    <a:cubicBezTo>
                      <a:pt x="56" y="71"/>
                      <a:pt x="56" y="72"/>
                      <a:pt x="55" y="72"/>
                    </a:cubicBezTo>
                    <a:cubicBezTo>
                      <a:pt x="55" y="72"/>
                      <a:pt x="55" y="72"/>
                      <a:pt x="55" y="72"/>
                    </a:cubicBezTo>
                    <a:close/>
                    <a:moveTo>
                      <a:pt x="48" y="72"/>
                    </a:moveTo>
                    <a:cubicBezTo>
                      <a:pt x="48" y="72"/>
                      <a:pt x="49" y="72"/>
                      <a:pt x="49" y="72"/>
                    </a:cubicBezTo>
                    <a:cubicBezTo>
                      <a:pt x="49" y="72"/>
                      <a:pt x="48" y="72"/>
                      <a:pt x="47" y="73"/>
                    </a:cubicBezTo>
                    <a:cubicBezTo>
                      <a:pt x="47" y="73"/>
                      <a:pt x="47" y="73"/>
                      <a:pt x="47" y="72"/>
                    </a:cubicBezTo>
                    <a:cubicBezTo>
                      <a:pt x="47" y="72"/>
                      <a:pt x="48" y="72"/>
                      <a:pt x="48" y="72"/>
                    </a:cubicBezTo>
                    <a:cubicBezTo>
                      <a:pt x="48" y="72"/>
                      <a:pt x="48" y="72"/>
                      <a:pt x="48" y="72"/>
                    </a:cubicBezTo>
                    <a:close/>
                    <a:moveTo>
                      <a:pt x="50" y="72"/>
                    </a:moveTo>
                    <a:cubicBezTo>
                      <a:pt x="50" y="72"/>
                      <a:pt x="51" y="72"/>
                      <a:pt x="51" y="72"/>
                    </a:cubicBezTo>
                    <a:cubicBezTo>
                      <a:pt x="51" y="72"/>
                      <a:pt x="49" y="74"/>
                      <a:pt x="49" y="74"/>
                    </a:cubicBezTo>
                    <a:cubicBezTo>
                      <a:pt x="48" y="74"/>
                      <a:pt x="48" y="74"/>
                      <a:pt x="48" y="74"/>
                    </a:cubicBezTo>
                    <a:cubicBezTo>
                      <a:pt x="48" y="74"/>
                      <a:pt x="48" y="73"/>
                      <a:pt x="47" y="73"/>
                    </a:cubicBezTo>
                    <a:cubicBezTo>
                      <a:pt x="48" y="73"/>
                      <a:pt x="49" y="72"/>
                      <a:pt x="50" y="72"/>
                    </a:cubicBezTo>
                    <a:cubicBezTo>
                      <a:pt x="50" y="72"/>
                      <a:pt x="50" y="72"/>
                      <a:pt x="50" y="72"/>
                    </a:cubicBezTo>
                    <a:close/>
                    <a:moveTo>
                      <a:pt x="47" y="72"/>
                    </a:moveTo>
                    <a:cubicBezTo>
                      <a:pt x="46" y="72"/>
                      <a:pt x="46" y="72"/>
                      <a:pt x="46" y="72"/>
                    </a:cubicBezTo>
                    <a:cubicBezTo>
                      <a:pt x="46" y="73"/>
                      <a:pt x="46" y="73"/>
                      <a:pt x="46" y="74"/>
                    </a:cubicBezTo>
                    <a:cubicBezTo>
                      <a:pt x="46" y="74"/>
                      <a:pt x="46" y="73"/>
                      <a:pt x="46" y="73"/>
                    </a:cubicBezTo>
                    <a:cubicBezTo>
                      <a:pt x="47" y="73"/>
                      <a:pt x="47" y="73"/>
                      <a:pt x="47" y="72"/>
                    </a:cubicBezTo>
                    <a:cubicBezTo>
                      <a:pt x="47" y="72"/>
                      <a:pt x="47" y="72"/>
                      <a:pt x="47" y="72"/>
                    </a:cubicBezTo>
                    <a:cubicBezTo>
                      <a:pt x="47" y="72"/>
                      <a:pt x="47" y="72"/>
                      <a:pt x="47" y="72"/>
                    </a:cubicBezTo>
                    <a:cubicBezTo>
                      <a:pt x="47" y="72"/>
                      <a:pt x="47" y="72"/>
                      <a:pt x="47" y="72"/>
                    </a:cubicBezTo>
                    <a:close/>
                    <a:moveTo>
                      <a:pt x="24" y="73"/>
                    </a:moveTo>
                    <a:cubicBezTo>
                      <a:pt x="23" y="73"/>
                      <a:pt x="23" y="72"/>
                      <a:pt x="22" y="72"/>
                    </a:cubicBezTo>
                    <a:cubicBezTo>
                      <a:pt x="23" y="73"/>
                      <a:pt x="23" y="73"/>
                      <a:pt x="24" y="74"/>
                    </a:cubicBezTo>
                    <a:cubicBezTo>
                      <a:pt x="24" y="74"/>
                      <a:pt x="24" y="73"/>
                      <a:pt x="24" y="73"/>
                    </a:cubicBezTo>
                    <a:cubicBezTo>
                      <a:pt x="24" y="73"/>
                      <a:pt x="24" y="73"/>
                      <a:pt x="24" y="73"/>
                    </a:cubicBezTo>
                    <a:close/>
                    <a:moveTo>
                      <a:pt x="24" y="73"/>
                    </a:moveTo>
                    <a:cubicBezTo>
                      <a:pt x="25" y="73"/>
                      <a:pt x="25" y="74"/>
                      <a:pt x="25" y="74"/>
                    </a:cubicBezTo>
                    <a:cubicBezTo>
                      <a:pt x="26" y="75"/>
                      <a:pt x="26" y="75"/>
                      <a:pt x="26" y="75"/>
                    </a:cubicBezTo>
                    <a:cubicBezTo>
                      <a:pt x="25" y="75"/>
                      <a:pt x="25" y="74"/>
                      <a:pt x="24" y="74"/>
                    </a:cubicBezTo>
                    <a:cubicBezTo>
                      <a:pt x="24" y="74"/>
                      <a:pt x="24" y="73"/>
                      <a:pt x="24" y="73"/>
                    </a:cubicBezTo>
                    <a:cubicBezTo>
                      <a:pt x="24" y="73"/>
                      <a:pt x="24" y="73"/>
                      <a:pt x="24" y="73"/>
                    </a:cubicBezTo>
                    <a:close/>
                    <a:moveTo>
                      <a:pt x="47" y="73"/>
                    </a:moveTo>
                    <a:cubicBezTo>
                      <a:pt x="47" y="73"/>
                      <a:pt x="47" y="73"/>
                      <a:pt x="47" y="73"/>
                    </a:cubicBezTo>
                    <a:cubicBezTo>
                      <a:pt x="47" y="73"/>
                      <a:pt x="47" y="74"/>
                      <a:pt x="48" y="74"/>
                    </a:cubicBezTo>
                    <a:cubicBezTo>
                      <a:pt x="48" y="74"/>
                      <a:pt x="48" y="74"/>
                      <a:pt x="48" y="74"/>
                    </a:cubicBezTo>
                    <a:cubicBezTo>
                      <a:pt x="48" y="74"/>
                      <a:pt x="47" y="73"/>
                      <a:pt x="47" y="73"/>
                    </a:cubicBezTo>
                    <a:cubicBezTo>
                      <a:pt x="47" y="73"/>
                      <a:pt x="47" y="73"/>
                      <a:pt x="47" y="73"/>
                    </a:cubicBezTo>
                    <a:close/>
                    <a:moveTo>
                      <a:pt x="25" y="73"/>
                    </a:moveTo>
                    <a:cubicBezTo>
                      <a:pt x="25" y="73"/>
                      <a:pt x="25" y="73"/>
                      <a:pt x="25" y="73"/>
                    </a:cubicBezTo>
                    <a:cubicBezTo>
                      <a:pt x="25" y="73"/>
                      <a:pt x="25" y="74"/>
                      <a:pt x="25" y="74"/>
                    </a:cubicBezTo>
                    <a:cubicBezTo>
                      <a:pt x="25" y="74"/>
                      <a:pt x="25" y="73"/>
                      <a:pt x="25" y="73"/>
                    </a:cubicBezTo>
                    <a:cubicBezTo>
                      <a:pt x="25" y="73"/>
                      <a:pt x="25" y="73"/>
                      <a:pt x="25" y="73"/>
                    </a:cubicBezTo>
                    <a:close/>
                    <a:moveTo>
                      <a:pt x="47" y="73"/>
                    </a:moveTo>
                    <a:cubicBezTo>
                      <a:pt x="47" y="73"/>
                      <a:pt x="47" y="73"/>
                      <a:pt x="47" y="73"/>
                    </a:cubicBezTo>
                    <a:cubicBezTo>
                      <a:pt x="47" y="73"/>
                      <a:pt x="47" y="74"/>
                      <a:pt x="47" y="74"/>
                    </a:cubicBezTo>
                    <a:cubicBezTo>
                      <a:pt x="47" y="74"/>
                      <a:pt x="47" y="74"/>
                      <a:pt x="47" y="74"/>
                    </a:cubicBezTo>
                    <a:cubicBezTo>
                      <a:pt x="47" y="74"/>
                      <a:pt x="47" y="73"/>
                      <a:pt x="47" y="73"/>
                    </a:cubicBezTo>
                    <a:cubicBezTo>
                      <a:pt x="47" y="73"/>
                      <a:pt x="47" y="73"/>
                      <a:pt x="47" y="73"/>
                    </a:cubicBezTo>
                    <a:close/>
                    <a:moveTo>
                      <a:pt x="48" y="74"/>
                    </a:moveTo>
                    <a:cubicBezTo>
                      <a:pt x="48" y="74"/>
                      <a:pt x="48" y="74"/>
                      <a:pt x="48" y="74"/>
                    </a:cubicBezTo>
                    <a:cubicBezTo>
                      <a:pt x="48" y="74"/>
                      <a:pt x="48" y="74"/>
                      <a:pt x="48" y="74"/>
                    </a:cubicBezTo>
                    <a:cubicBezTo>
                      <a:pt x="48" y="74"/>
                      <a:pt x="48" y="74"/>
                      <a:pt x="48" y="74"/>
                    </a:cubicBezTo>
                    <a:cubicBezTo>
                      <a:pt x="48" y="74"/>
                      <a:pt x="48" y="74"/>
                      <a:pt x="48" y="74"/>
                    </a:cubicBezTo>
                    <a:close/>
                    <a:moveTo>
                      <a:pt x="48" y="74"/>
                    </a:moveTo>
                    <a:cubicBezTo>
                      <a:pt x="48" y="74"/>
                      <a:pt x="48" y="74"/>
                      <a:pt x="48" y="74"/>
                    </a:cubicBezTo>
                    <a:cubicBezTo>
                      <a:pt x="48" y="74"/>
                      <a:pt x="48" y="74"/>
                      <a:pt x="48" y="74"/>
                    </a:cubicBezTo>
                    <a:cubicBezTo>
                      <a:pt x="48" y="74"/>
                      <a:pt x="48" y="74"/>
                      <a:pt x="48" y="74"/>
                    </a:cubicBezTo>
                    <a:cubicBezTo>
                      <a:pt x="48" y="74"/>
                      <a:pt x="48" y="74"/>
                      <a:pt x="48" y="74"/>
                    </a:cubicBezTo>
                    <a:cubicBezTo>
                      <a:pt x="48" y="74"/>
                      <a:pt x="48" y="74"/>
                      <a:pt x="48" y="74"/>
                    </a:cubicBezTo>
                    <a:close/>
                    <a:moveTo>
                      <a:pt x="47" y="74"/>
                    </a:moveTo>
                    <a:cubicBezTo>
                      <a:pt x="47" y="74"/>
                      <a:pt x="47" y="74"/>
                      <a:pt x="47" y="74"/>
                    </a:cubicBezTo>
                    <a:cubicBezTo>
                      <a:pt x="47" y="74"/>
                      <a:pt x="47" y="75"/>
                      <a:pt x="46" y="75"/>
                    </a:cubicBezTo>
                    <a:cubicBezTo>
                      <a:pt x="47" y="75"/>
                      <a:pt x="47" y="75"/>
                      <a:pt x="48" y="74"/>
                    </a:cubicBezTo>
                    <a:cubicBezTo>
                      <a:pt x="48" y="74"/>
                      <a:pt x="47" y="74"/>
                      <a:pt x="47" y="74"/>
                    </a:cubicBezTo>
                    <a:cubicBezTo>
                      <a:pt x="47" y="74"/>
                      <a:pt x="47" y="74"/>
                      <a:pt x="47" y="74"/>
                    </a:cubicBezTo>
                    <a:close/>
                    <a:moveTo>
                      <a:pt x="26" y="74"/>
                    </a:moveTo>
                    <a:cubicBezTo>
                      <a:pt x="26" y="74"/>
                      <a:pt x="26" y="74"/>
                      <a:pt x="26" y="73"/>
                    </a:cubicBezTo>
                    <a:cubicBezTo>
                      <a:pt x="28" y="74"/>
                      <a:pt x="31" y="76"/>
                      <a:pt x="34" y="77"/>
                    </a:cubicBezTo>
                    <a:cubicBezTo>
                      <a:pt x="31" y="78"/>
                      <a:pt x="32" y="77"/>
                      <a:pt x="28" y="76"/>
                    </a:cubicBezTo>
                    <a:cubicBezTo>
                      <a:pt x="26" y="75"/>
                      <a:pt x="27" y="76"/>
                      <a:pt x="26" y="74"/>
                    </a:cubicBezTo>
                    <a:cubicBezTo>
                      <a:pt x="26" y="74"/>
                      <a:pt x="26" y="74"/>
                      <a:pt x="26" y="74"/>
                    </a:cubicBezTo>
                    <a:close/>
                    <a:moveTo>
                      <a:pt x="45" y="74"/>
                    </a:moveTo>
                    <a:cubicBezTo>
                      <a:pt x="46" y="74"/>
                      <a:pt x="46" y="74"/>
                      <a:pt x="46" y="74"/>
                    </a:cubicBezTo>
                    <a:cubicBezTo>
                      <a:pt x="46" y="75"/>
                      <a:pt x="46" y="75"/>
                      <a:pt x="46" y="75"/>
                    </a:cubicBezTo>
                    <a:cubicBezTo>
                      <a:pt x="46" y="75"/>
                      <a:pt x="46" y="75"/>
                      <a:pt x="46" y="75"/>
                    </a:cubicBezTo>
                    <a:cubicBezTo>
                      <a:pt x="46" y="75"/>
                      <a:pt x="46" y="75"/>
                      <a:pt x="45" y="74"/>
                    </a:cubicBezTo>
                    <a:cubicBezTo>
                      <a:pt x="45" y="74"/>
                      <a:pt x="45" y="74"/>
                      <a:pt x="45" y="74"/>
                    </a:cubicBezTo>
                    <a:close/>
                    <a:moveTo>
                      <a:pt x="48" y="75"/>
                    </a:moveTo>
                    <a:cubicBezTo>
                      <a:pt x="48" y="74"/>
                      <a:pt x="48" y="74"/>
                      <a:pt x="48" y="74"/>
                    </a:cubicBezTo>
                    <a:cubicBezTo>
                      <a:pt x="49" y="76"/>
                      <a:pt x="49" y="77"/>
                      <a:pt x="50" y="78"/>
                    </a:cubicBezTo>
                    <a:cubicBezTo>
                      <a:pt x="50" y="77"/>
                      <a:pt x="50" y="77"/>
                      <a:pt x="49" y="77"/>
                    </a:cubicBezTo>
                    <a:cubicBezTo>
                      <a:pt x="49" y="77"/>
                      <a:pt x="49" y="76"/>
                      <a:pt x="48" y="76"/>
                    </a:cubicBezTo>
                    <a:cubicBezTo>
                      <a:pt x="48" y="75"/>
                      <a:pt x="48" y="75"/>
                      <a:pt x="48" y="75"/>
                    </a:cubicBezTo>
                    <a:cubicBezTo>
                      <a:pt x="48" y="75"/>
                      <a:pt x="48" y="75"/>
                      <a:pt x="48" y="75"/>
                    </a:cubicBezTo>
                    <a:close/>
                    <a:moveTo>
                      <a:pt x="44" y="75"/>
                    </a:moveTo>
                    <a:cubicBezTo>
                      <a:pt x="45" y="75"/>
                      <a:pt x="45" y="74"/>
                      <a:pt x="45" y="74"/>
                    </a:cubicBezTo>
                    <a:cubicBezTo>
                      <a:pt x="45" y="75"/>
                      <a:pt x="46" y="75"/>
                      <a:pt x="46" y="75"/>
                    </a:cubicBezTo>
                    <a:cubicBezTo>
                      <a:pt x="45" y="75"/>
                      <a:pt x="45" y="75"/>
                      <a:pt x="44" y="75"/>
                    </a:cubicBezTo>
                    <a:cubicBezTo>
                      <a:pt x="44" y="75"/>
                      <a:pt x="44" y="75"/>
                      <a:pt x="44" y="75"/>
                    </a:cubicBezTo>
                    <a:close/>
                    <a:moveTo>
                      <a:pt x="44" y="75"/>
                    </a:moveTo>
                    <a:cubicBezTo>
                      <a:pt x="44" y="75"/>
                      <a:pt x="44" y="75"/>
                      <a:pt x="44" y="75"/>
                    </a:cubicBezTo>
                    <a:cubicBezTo>
                      <a:pt x="45" y="75"/>
                      <a:pt x="45" y="76"/>
                      <a:pt x="46" y="76"/>
                    </a:cubicBezTo>
                    <a:cubicBezTo>
                      <a:pt x="46" y="76"/>
                      <a:pt x="46" y="76"/>
                      <a:pt x="46" y="75"/>
                    </a:cubicBezTo>
                    <a:cubicBezTo>
                      <a:pt x="45" y="75"/>
                      <a:pt x="45" y="75"/>
                      <a:pt x="44" y="75"/>
                    </a:cubicBezTo>
                    <a:cubicBezTo>
                      <a:pt x="44" y="75"/>
                      <a:pt x="44" y="75"/>
                      <a:pt x="44" y="75"/>
                    </a:cubicBezTo>
                    <a:close/>
                    <a:moveTo>
                      <a:pt x="26" y="75"/>
                    </a:moveTo>
                    <a:cubicBezTo>
                      <a:pt x="26" y="75"/>
                      <a:pt x="26" y="75"/>
                      <a:pt x="26" y="74"/>
                    </a:cubicBezTo>
                    <a:cubicBezTo>
                      <a:pt x="26" y="75"/>
                      <a:pt x="26" y="75"/>
                      <a:pt x="27" y="76"/>
                    </a:cubicBezTo>
                    <a:cubicBezTo>
                      <a:pt x="26" y="76"/>
                      <a:pt x="26" y="75"/>
                      <a:pt x="26" y="75"/>
                    </a:cubicBezTo>
                    <a:cubicBezTo>
                      <a:pt x="26" y="75"/>
                      <a:pt x="26" y="75"/>
                      <a:pt x="26" y="75"/>
                    </a:cubicBezTo>
                    <a:close/>
                    <a:moveTo>
                      <a:pt x="47" y="75"/>
                    </a:moveTo>
                    <a:cubicBezTo>
                      <a:pt x="47" y="76"/>
                      <a:pt x="46" y="76"/>
                      <a:pt x="46" y="76"/>
                    </a:cubicBezTo>
                    <a:cubicBezTo>
                      <a:pt x="47" y="77"/>
                      <a:pt x="48" y="77"/>
                      <a:pt x="49" y="77"/>
                    </a:cubicBezTo>
                    <a:cubicBezTo>
                      <a:pt x="49" y="76"/>
                      <a:pt x="48" y="76"/>
                      <a:pt x="48" y="75"/>
                    </a:cubicBezTo>
                    <a:cubicBezTo>
                      <a:pt x="47" y="75"/>
                      <a:pt x="47" y="75"/>
                      <a:pt x="47" y="75"/>
                    </a:cubicBezTo>
                    <a:cubicBezTo>
                      <a:pt x="47" y="75"/>
                      <a:pt x="47" y="75"/>
                      <a:pt x="47" y="75"/>
                    </a:cubicBezTo>
                    <a:close/>
                    <a:moveTo>
                      <a:pt x="17" y="76"/>
                    </a:moveTo>
                    <a:cubicBezTo>
                      <a:pt x="17" y="76"/>
                      <a:pt x="17" y="75"/>
                      <a:pt x="16" y="75"/>
                    </a:cubicBezTo>
                    <a:cubicBezTo>
                      <a:pt x="19" y="75"/>
                      <a:pt x="22" y="76"/>
                      <a:pt x="25" y="77"/>
                    </a:cubicBezTo>
                    <a:cubicBezTo>
                      <a:pt x="22" y="77"/>
                      <a:pt x="20" y="76"/>
                      <a:pt x="17" y="76"/>
                    </a:cubicBezTo>
                    <a:cubicBezTo>
                      <a:pt x="17" y="76"/>
                      <a:pt x="17" y="76"/>
                      <a:pt x="17" y="76"/>
                    </a:cubicBezTo>
                    <a:close/>
                    <a:moveTo>
                      <a:pt x="46" y="76"/>
                    </a:moveTo>
                    <a:cubicBezTo>
                      <a:pt x="45" y="76"/>
                      <a:pt x="45" y="76"/>
                      <a:pt x="44" y="75"/>
                    </a:cubicBezTo>
                    <a:cubicBezTo>
                      <a:pt x="45" y="76"/>
                      <a:pt x="46" y="76"/>
                      <a:pt x="46" y="76"/>
                    </a:cubicBezTo>
                    <a:cubicBezTo>
                      <a:pt x="46" y="76"/>
                      <a:pt x="46" y="76"/>
                      <a:pt x="46" y="76"/>
                    </a:cubicBezTo>
                    <a:close/>
                    <a:moveTo>
                      <a:pt x="44" y="76"/>
                    </a:moveTo>
                    <a:cubicBezTo>
                      <a:pt x="44" y="76"/>
                      <a:pt x="44" y="76"/>
                      <a:pt x="43" y="75"/>
                    </a:cubicBezTo>
                    <a:cubicBezTo>
                      <a:pt x="43" y="76"/>
                      <a:pt x="43" y="76"/>
                      <a:pt x="43" y="77"/>
                    </a:cubicBezTo>
                    <a:cubicBezTo>
                      <a:pt x="44" y="76"/>
                      <a:pt x="44" y="76"/>
                      <a:pt x="44" y="76"/>
                    </a:cubicBezTo>
                    <a:cubicBezTo>
                      <a:pt x="44" y="76"/>
                      <a:pt x="44" y="76"/>
                      <a:pt x="44" y="76"/>
                    </a:cubicBezTo>
                    <a:close/>
                    <a:moveTo>
                      <a:pt x="46" y="76"/>
                    </a:moveTo>
                    <a:cubicBezTo>
                      <a:pt x="46" y="77"/>
                      <a:pt x="46" y="77"/>
                      <a:pt x="46" y="77"/>
                    </a:cubicBezTo>
                    <a:cubicBezTo>
                      <a:pt x="46" y="77"/>
                      <a:pt x="47" y="77"/>
                      <a:pt x="47" y="77"/>
                    </a:cubicBezTo>
                    <a:cubicBezTo>
                      <a:pt x="47" y="77"/>
                      <a:pt x="46" y="76"/>
                      <a:pt x="46" y="76"/>
                    </a:cubicBezTo>
                    <a:cubicBezTo>
                      <a:pt x="46" y="76"/>
                      <a:pt x="46" y="76"/>
                      <a:pt x="46" y="76"/>
                    </a:cubicBezTo>
                    <a:close/>
                    <a:moveTo>
                      <a:pt x="40" y="77"/>
                    </a:moveTo>
                    <a:cubicBezTo>
                      <a:pt x="40" y="76"/>
                      <a:pt x="41" y="76"/>
                      <a:pt x="41" y="76"/>
                    </a:cubicBezTo>
                    <a:cubicBezTo>
                      <a:pt x="40" y="76"/>
                      <a:pt x="38" y="77"/>
                      <a:pt x="38" y="77"/>
                    </a:cubicBezTo>
                    <a:cubicBezTo>
                      <a:pt x="39" y="77"/>
                      <a:pt x="39" y="77"/>
                      <a:pt x="40" y="77"/>
                    </a:cubicBezTo>
                    <a:cubicBezTo>
                      <a:pt x="40" y="77"/>
                      <a:pt x="40" y="77"/>
                      <a:pt x="40" y="77"/>
                    </a:cubicBezTo>
                    <a:close/>
                    <a:moveTo>
                      <a:pt x="43" y="77"/>
                    </a:moveTo>
                    <a:cubicBezTo>
                      <a:pt x="44" y="76"/>
                      <a:pt x="44" y="76"/>
                      <a:pt x="45" y="77"/>
                    </a:cubicBezTo>
                    <a:cubicBezTo>
                      <a:pt x="45" y="78"/>
                      <a:pt x="45" y="80"/>
                      <a:pt x="45" y="81"/>
                    </a:cubicBezTo>
                    <a:cubicBezTo>
                      <a:pt x="44" y="81"/>
                      <a:pt x="44" y="80"/>
                      <a:pt x="43" y="80"/>
                    </a:cubicBezTo>
                    <a:cubicBezTo>
                      <a:pt x="43" y="79"/>
                      <a:pt x="43" y="78"/>
                      <a:pt x="43" y="77"/>
                    </a:cubicBezTo>
                    <a:cubicBezTo>
                      <a:pt x="43" y="77"/>
                      <a:pt x="43" y="77"/>
                      <a:pt x="43" y="77"/>
                    </a:cubicBezTo>
                    <a:close/>
                    <a:moveTo>
                      <a:pt x="25" y="77"/>
                    </a:moveTo>
                    <a:cubicBezTo>
                      <a:pt x="23" y="77"/>
                      <a:pt x="20" y="76"/>
                      <a:pt x="17" y="76"/>
                    </a:cubicBezTo>
                    <a:cubicBezTo>
                      <a:pt x="18" y="77"/>
                      <a:pt x="18" y="77"/>
                      <a:pt x="19" y="78"/>
                    </a:cubicBezTo>
                    <a:cubicBezTo>
                      <a:pt x="23" y="79"/>
                      <a:pt x="24" y="78"/>
                      <a:pt x="29" y="78"/>
                    </a:cubicBezTo>
                    <a:cubicBezTo>
                      <a:pt x="28" y="78"/>
                      <a:pt x="27" y="77"/>
                      <a:pt x="25" y="77"/>
                    </a:cubicBezTo>
                    <a:cubicBezTo>
                      <a:pt x="25" y="77"/>
                      <a:pt x="25" y="77"/>
                      <a:pt x="25" y="77"/>
                    </a:cubicBezTo>
                    <a:close/>
                    <a:moveTo>
                      <a:pt x="27" y="77"/>
                    </a:moveTo>
                    <a:cubicBezTo>
                      <a:pt x="29" y="77"/>
                      <a:pt x="29" y="78"/>
                      <a:pt x="29" y="78"/>
                    </a:cubicBezTo>
                    <a:cubicBezTo>
                      <a:pt x="29" y="78"/>
                      <a:pt x="27" y="77"/>
                      <a:pt x="27" y="77"/>
                    </a:cubicBezTo>
                    <a:cubicBezTo>
                      <a:pt x="27" y="77"/>
                      <a:pt x="27" y="77"/>
                      <a:pt x="27" y="77"/>
                    </a:cubicBezTo>
                    <a:close/>
                    <a:moveTo>
                      <a:pt x="37" y="77"/>
                    </a:moveTo>
                    <a:cubicBezTo>
                      <a:pt x="37" y="77"/>
                      <a:pt x="37" y="77"/>
                      <a:pt x="37" y="77"/>
                    </a:cubicBezTo>
                    <a:cubicBezTo>
                      <a:pt x="37" y="77"/>
                      <a:pt x="37" y="77"/>
                      <a:pt x="37" y="77"/>
                    </a:cubicBezTo>
                    <a:cubicBezTo>
                      <a:pt x="37" y="77"/>
                      <a:pt x="37" y="77"/>
                      <a:pt x="37" y="77"/>
                    </a:cubicBezTo>
                    <a:cubicBezTo>
                      <a:pt x="37" y="77"/>
                      <a:pt x="37" y="77"/>
                      <a:pt x="37" y="77"/>
                    </a:cubicBezTo>
                    <a:close/>
                    <a:moveTo>
                      <a:pt x="29" y="77"/>
                    </a:moveTo>
                    <a:cubicBezTo>
                      <a:pt x="30" y="77"/>
                      <a:pt x="31" y="77"/>
                      <a:pt x="32" y="77"/>
                    </a:cubicBezTo>
                    <a:cubicBezTo>
                      <a:pt x="30" y="77"/>
                      <a:pt x="29" y="76"/>
                      <a:pt x="27" y="76"/>
                    </a:cubicBezTo>
                    <a:cubicBezTo>
                      <a:pt x="28" y="76"/>
                      <a:pt x="29" y="77"/>
                      <a:pt x="29" y="77"/>
                    </a:cubicBezTo>
                    <a:cubicBezTo>
                      <a:pt x="29" y="77"/>
                      <a:pt x="29" y="77"/>
                      <a:pt x="29" y="77"/>
                    </a:cubicBezTo>
                    <a:close/>
                    <a:moveTo>
                      <a:pt x="49" y="77"/>
                    </a:moveTo>
                    <a:cubicBezTo>
                      <a:pt x="49" y="77"/>
                      <a:pt x="49" y="77"/>
                      <a:pt x="48" y="77"/>
                    </a:cubicBezTo>
                    <a:cubicBezTo>
                      <a:pt x="49" y="77"/>
                      <a:pt x="49" y="78"/>
                      <a:pt x="49" y="78"/>
                    </a:cubicBezTo>
                    <a:cubicBezTo>
                      <a:pt x="49" y="78"/>
                      <a:pt x="49" y="78"/>
                      <a:pt x="49" y="77"/>
                    </a:cubicBezTo>
                    <a:cubicBezTo>
                      <a:pt x="49" y="77"/>
                      <a:pt x="49" y="77"/>
                      <a:pt x="49" y="77"/>
                    </a:cubicBezTo>
                    <a:close/>
                    <a:moveTo>
                      <a:pt x="12" y="78"/>
                    </a:moveTo>
                    <a:cubicBezTo>
                      <a:pt x="11" y="77"/>
                      <a:pt x="11" y="77"/>
                      <a:pt x="10" y="77"/>
                    </a:cubicBezTo>
                    <a:cubicBezTo>
                      <a:pt x="8" y="77"/>
                      <a:pt x="6" y="77"/>
                      <a:pt x="4" y="78"/>
                    </a:cubicBezTo>
                    <a:cubicBezTo>
                      <a:pt x="7" y="78"/>
                      <a:pt x="9" y="78"/>
                      <a:pt x="12" y="78"/>
                    </a:cubicBezTo>
                    <a:cubicBezTo>
                      <a:pt x="12" y="78"/>
                      <a:pt x="12" y="78"/>
                      <a:pt x="12" y="78"/>
                    </a:cubicBezTo>
                    <a:close/>
                    <a:moveTo>
                      <a:pt x="50" y="78"/>
                    </a:moveTo>
                    <a:cubicBezTo>
                      <a:pt x="50" y="78"/>
                      <a:pt x="50" y="78"/>
                      <a:pt x="49" y="78"/>
                    </a:cubicBezTo>
                    <a:cubicBezTo>
                      <a:pt x="50" y="78"/>
                      <a:pt x="50" y="78"/>
                      <a:pt x="51" y="78"/>
                    </a:cubicBezTo>
                    <a:cubicBezTo>
                      <a:pt x="51" y="78"/>
                      <a:pt x="51" y="78"/>
                      <a:pt x="50" y="78"/>
                    </a:cubicBezTo>
                    <a:cubicBezTo>
                      <a:pt x="50" y="78"/>
                      <a:pt x="50" y="78"/>
                      <a:pt x="50" y="78"/>
                    </a:cubicBezTo>
                    <a:close/>
                    <a:moveTo>
                      <a:pt x="39" y="78"/>
                    </a:moveTo>
                    <a:cubicBezTo>
                      <a:pt x="40" y="78"/>
                      <a:pt x="40" y="78"/>
                      <a:pt x="40" y="78"/>
                    </a:cubicBezTo>
                    <a:cubicBezTo>
                      <a:pt x="40" y="80"/>
                      <a:pt x="40" y="82"/>
                      <a:pt x="40" y="83"/>
                    </a:cubicBezTo>
                    <a:cubicBezTo>
                      <a:pt x="39" y="84"/>
                      <a:pt x="39" y="85"/>
                      <a:pt x="38" y="85"/>
                    </a:cubicBezTo>
                    <a:cubicBezTo>
                      <a:pt x="37" y="85"/>
                      <a:pt x="37" y="85"/>
                      <a:pt x="36" y="84"/>
                    </a:cubicBezTo>
                    <a:cubicBezTo>
                      <a:pt x="37" y="82"/>
                      <a:pt x="38" y="80"/>
                      <a:pt x="39" y="78"/>
                    </a:cubicBezTo>
                    <a:cubicBezTo>
                      <a:pt x="39" y="78"/>
                      <a:pt x="39" y="78"/>
                      <a:pt x="39" y="78"/>
                    </a:cubicBezTo>
                    <a:close/>
                    <a:moveTo>
                      <a:pt x="38" y="78"/>
                    </a:moveTo>
                    <a:cubicBezTo>
                      <a:pt x="37" y="78"/>
                      <a:pt x="37" y="78"/>
                      <a:pt x="37" y="78"/>
                    </a:cubicBezTo>
                    <a:cubicBezTo>
                      <a:pt x="36" y="80"/>
                      <a:pt x="35" y="81"/>
                      <a:pt x="34" y="82"/>
                    </a:cubicBezTo>
                    <a:cubicBezTo>
                      <a:pt x="34" y="82"/>
                      <a:pt x="34" y="83"/>
                      <a:pt x="35" y="83"/>
                    </a:cubicBezTo>
                    <a:cubicBezTo>
                      <a:pt x="36" y="82"/>
                      <a:pt x="37" y="80"/>
                      <a:pt x="38" y="78"/>
                    </a:cubicBezTo>
                    <a:cubicBezTo>
                      <a:pt x="37" y="80"/>
                      <a:pt x="36" y="82"/>
                      <a:pt x="35" y="83"/>
                    </a:cubicBezTo>
                    <a:cubicBezTo>
                      <a:pt x="35" y="84"/>
                      <a:pt x="36" y="84"/>
                      <a:pt x="36" y="84"/>
                    </a:cubicBezTo>
                    <a:cubicBezTo>
                      <a:pt x="37" y="82"/>
                      <a:pt x="38" y="80"/>
                      <a:pt x="39" y="78"/>
                    </a:cubicBezTo>
                    <a:cubicBezTo>
                      <a:pt x="39" y="78"/>
                      <a:pt x="38" y="78"/>
                      <a:pt x="38" y="78"/>
                    </a:cubicBezTo>
                    <a:cubicBezTo>
                      <a:pt x="38" y="78"/>
                      <a:pt x="38" y="78"/>
                      <a:pt x="38" y="78"/>
                    </a:cubicBezTo>
                    <a:close/>
                    <a:moveTo>
                      <a:pt x="36" y="78"/>
                    </a:moveTo>
                    <a:cubicBezTo>
                      <a:pt x="34" y="79"/>
                      <a:pt x="34" y="79"/>
                      <a:pt x="33" y="81"/>
                    </a:cubicBezTo>
                    <a:cubicBezTo>
                      <a:pt x="33" y="81"/>
                      <a:pt x="33" y="81"/>
                      <a:pt x="34" y="82"/>
                    </a:cubicBezTo>
                    <a:cubicBezTo>
                      <a:pt x="35" y="81"/>
                      <a:pt x="35" y="80"/>
                      <a:pt x="36" y="78"/>
                    </a:cubicBezTo>
                    <a:cubicBezTo>
                      <a:pt x="36" y="78"/>
                      <a:pt x="36" y="78"/>
                      <a:pt x="36" y="78"/>
                    </a:cubicBezTo>
                    <a:close/>
                    <a:moveTo>
                      <a:pt x="32" y="78"/>
                    </a:moveTo>
                    <a:cubicBezTo>
                      <a:pt x="30" y="79"/>
                      <a:pt x="30" y="78"/>
                      <a:pt x="28" y="80"/>
                    </a:cubicBezTo>
                    <a:cubicBezTo>
                      <a:pt x="29" y="80"/>
                      <a:pt x="30" y="80"/>
                      <a:pt x="31" y="80"/>
                    </a:cubicBezTo>
                    <a:cubicBezTo>
                      <a:pt x="31" y="79"/>
                      <a:pt x="31" y="79"/>
                      <a:pt x="31" y="79"/>
                    </a:cubicBezTo>
                    <a:cubicBezTo>
                      <a:pt x="31" y="79"/>
                      <a:pt x="31" y="79"/>
                      <a:pt x="31" y="79"/>
                    </a:cubicBezTo>
                    <a:cubicBezTo>
                      <a:pt x="31" y="79"/>
                      <a:pt x="32" y="79"/>
                      <a:pt x="32" y="79"/>
                    </a:cubicBezTo>
                    <a:cubicBezTo>
                      <a:pt x="31" y="79"/>
                      <a:pt x="31" y="79"/>
                      <a:pt x="31" y="79"/>
                    </a:cubicBezTo>
                    <a:cubicBezTo>
                      <a:pt x="31" y="79"/>
                      <a:pt x="31" y="79"/>
                      <a:pt x="32" y="79"/>
                    </a:cubicBezTo>
                    <a:cubicBezTo>
                      <a:pt x="32" y="79"/>
                      <a:pt x="32" y="79"/>
                      <a:pt x="32" y="78"/>
                    </a:cubicBezTo>
                    <a:cubicBezTo>
                      <a:pt x="32" y="78"/>
                      <a:pt x="32" y="78"/>
                      <a:pt x="32" y="78"/>
                    </a:cubicBezTo>
                    <a:close/>
                    <a:moveTo>
                      <a:pt x="32" y="78"/>
                    </a:moveTo>
                    <a:cubicBezTo>
                      <a:pt x="33" y="79"/>
                      <a:pt x="33" y="79"/>
                      <a:pt x="34" y="79"/>
                    </a:cubicBezTo>
                    <a:cubicBezTo>
                      <a:pt x="34" y="79"/>
                      <a:pt x="32" y="79"/>
                      <a:pt x="32" y="79"/>
                    </a:cubicBezTo>
                    <a:cubicBezTo>
                      <a:pt x="32" y="79"/>
                      <a:pt x="32" y="79"/>
                      <a:pt x="32" y="79"/>
                    </a:cubicBezTo>
                    <a:cubicBezTo>
                      <a:pt x="32" y="79"/>
                      <a:pt x="32" y="79"/>
                      <a:pt x="32" y="78"/>
                    </a:cubicBezTo>
                    <a:cubicBezTo>
                      <a:pt x="32" y="78"/>
                      <a:pt x="32" y="78"/>
                      <a:pt x="32" y="78"/>
                    </a:cubicBezTo>
                    <a:close/>
                    <a:moveTo>
                      <a:pt x="29" y="79"/>
                    </a:moveTo>
                    <a:cubicBezTo>
                      <a:pt x="28" y="79"/>
                      <a:pt x="27" y="79"/>
                      <a:pt x="26" y="79"/>
                    </a:cubicBezTo>
                    <a:cubicBezTo>
                      <a:pt x="25" y="79"/>
                      <a:pt x="24" y="80"/>
                      <a:pt x="24" y="80"/>
                    </a:cubicBezTo>
                    <a:cubicBezTo>
                      <a:pt x="23" y="80"/>
                      <a:pt x="23" y="81"/>
                      <a:pt x="22" y="82"/>
                    </a:cubicBezTo>
                    <a:cubicBezTo>
                      <a:pt x="24" y="81"/>
                      <a:pt x="26" y="81"/>
                      <a:pt x="28" y="80"/>
                    </a:cubicBezTo>
                    <a:cubicBezTo>
                      <a:pt x="28" y="80"/>
                      <a:pt x="29" y="79"/>
                      <a:pt x="29" y="79"/>
                    </a:cubicBezTo>
                    <a:cubicBezTo>
                      <a:pt x="29" y="79"/>
                      <a:pt x="29" y="79"/>
                      <a:pt x="29" y="79"/>
                    </a:cubicBezTo>
                    <a:close/>
                    <a:moveTo>
                      <a:pt x="25" y="79"/>
                    </a:moveTo>
                    <a:cubicBezTo>
                      <a:pt x="25" y="79"/>
                      <a:pt x="25" y="79"/>
                      <a:pt x="24" y="79"/>
                    </a:cubicBezTo>
                    <a:cubicBezTo>
                      <a:pt x="24" y="79"/>
                      <a:pt x="24" y="79"/>
                      <a:pt x="24" y="80"/>
                    </a:cubicBezTo>
                    <a:cubicBezTo>
                      <a:pt x="24" y="79"/>
                      <a:pt x="25" y="79"/>
                      <a:pt x="25" y="79"/>
                    </a:cubicBezTo>
                    <a:cubicBezTo>
                      <a:pt x="25" y="79"/>
                      <a:pt x="25" y="79"/>
                      <a:pt x="25" y="79"/>
                    </a:cubicBezTo>
                    <a:close/>
                    <a:moveTo>
                      <a:pt x="32" y="79"/>
                    </a:moveTo>
                    <a:cubicBezTo>
                      <a:pt x="32" y="79"/>
                      <a:pt x="32" y="79"/>
                      <a:pt x="32" y="79"/>
                    </a:cubicBezTo>
                    <a:cubicBezTo>
                      <a:pt x="32" y="79"/>
                      <a:pt x="32" y="79"/>
                      <a:pt x="32" y="79"/>
                    </a:cubicBezTo>
                    <a:cubicBezTo>
                      <a:pt x="32" y="79"/>
                      <a:pt x="32" y="79"/>
                      <a:pt x="32" y="79"/>
                    </a:cubicBezTo>
                    <a:cubicBezTo>
                      <a:pt x="32" y="79"/>
                      <a:pt x="32" y="79"/>
                      <a:pt x="32" y="79"/>
                    </a:cubicBezTo>
                    <a:close/>
                    <a:moveTo>
                      <a:pt x="32" y="80"/>
                    </a:moveTo>
                    <a:cubicBezTo>
                      <a:pt x="33" y="79"/>
                      <a:pt x="33" y="79"/>
                      <a:pt x="34" y="79"/>
                    </a:cubicBezTo>
                    <a:cubicBezTo>
                      <a:pt x="33" y="80"/>
                      <a:pt x="33" y="80"/>
                      <a:pt x="33" y="80"/>
                    </a:cubicBezTo>
                    <a:cubicBezTo>
                      <a:pt x="32" y="80"/>
                      <a:pt x="32" y="80"/>
                      <a:pt x="32" y="80"/>
                    </a:cubicBezTo>
                    <a:cubicBezTo>
                      <a:pt x="32" y="80"/>
                      <a:pt x="32" y="80"/>
                      <a:pt x="32" y="80"/>
                    </a:cubicBezTo>
                    <a:close/>
                    <a:moveTo>
                      <a:pt x="32" y="80"/>
                    </a:moveTo>
                    <a:cubicBezTo>
                      <a:pt x="32" y="80"/>
                      <a:pt x="32" y="80"/>
                      <a:pt x="32" y="80"/>
                    </a:cubicBezTo>
                    <a:cubicBezTo>
                      <a:pt x="32" y="80"/>
                      <a:pt x="32" y="80"/>
                      <a:pt x="32" y="81"/>
                    </a:cubicBezTo>
                    <a:cubicBezTo>
                      <a:pt x="32" y="81"/>
                      <a:pt x="33" y="81"/>
                      <a:pt x="33" y="80"/>
                    </a:cubicBezTo>
                    <a:cubicBezTo>
                      <a:pt x="32" y="80"/>
                      <a:pt x="32" y="80"/>
                      <a:pt x="32" y="80"/>
                    </a:cubicBezTo>
                    <a:cubicBezTo>
                      <a:pt x="32" y="80"/>
                      <a:pt x="32" y="80"/>
                      <a:pt x="32" y="80"/>
                    </a:cubicBezTo>
                    <a:close/>
                    <a:moveTo>
                      <a:pt x="31" y="80"/>
                    </a:moveTo>
                    <a:cubicBezTo>
                      <a:pt x="31" y="80"/>
                      <a:pt x="31" y="80"/>
                      <a:pt x="31" y="80"/>
                    </a:cubicBezTo>
                    <a:cubicBezTo>
                      <a:pt x="31" y="80"/>
                      <a:pt x="31" y="80"/>
                      <a:pt x="31" y="80"/>
                    </a:cubicBezTo>
                    <a:cubicBezTo>
                      <a:pt x="28" y="81"/>
                      <a:pt x="29" y="80"/>
                      <a:pt x="27" y="82"/>
                    </a:cubicBezTo>
                    <a:cubicBezTo>
                      <a:pt x="25" y="83"/>
                      <a:pt x="24" y="84"/>
                      <a:pt x="23" y="85"/>
                    </a:cubicBezTo>
                    <a:cubicBezTo>
                      <a:pt x="25" y="85"/>
                      <a:pt x="26" y="86"/>
                      <a:pt x="28" y="86"/>
                    </a:cubicBezTo>
                    <a:cubicBezTo>
                      <a:pt x="28" y="86"/>
                      <a:pt x="29" y="86"/>
                      <a:pt x="29" y="86"/>
                    </a:cubicBezTo>
                    <a:cubicBezTo>
                      <a:pt x="28" y="85"/>
                      <a:pt x="26" y="85"/>
                      <a:pt x="25" y="85"/>
                    </a:cubicBezTo>
                    <a:cubicBezTo>
                      <a:pt x="26" y="85"/>
                      <a:pt x="28" y="85"/>
                      <a:pt x="29" y="86"/>
                    </a:cubicBezTo>
                    <a:cubicBezTo>
                      <a:pt x="30" y="85"/>
                      <a:pt x="32" y="83"/>
                      <a:pt x="33" y="82"/>
                    </a:cubicBezTo>
                    <a:cubicBezTo>
                      <a:pt x="33" y="82"/>
                      <a:pt x="32" y="82"/>
                      <a:pt x="32" y="81"/>
                    </a:cubicBezTo>
                    <a:cubicBezTo>
                      <a:pt x="31" y="82"/>
                      <a:pt x="30" y="83"/>
                      <a:pt x="29" y="84"/>
                    </a:cubicBezTo>
                    <a:cubicBezTo>
                      <a:pt x="29" y="84"/>
                      <a:pt x="30" y="83"/>
                      <a:pt x="32" y="81"/>
                    </a:cubicBezTo>
                    <a:cubicBezTo>
                      <a:pt x="31" y="81"/>
                      <a:pt x="31" y="81"/>
                      <a:pt x="31" y="81"/>
                    </a:cubicBezTo>
                    <a:cubicBezTo>
                      <a:pt x="31" y="81"/>
                      <a:pt x="32" y="81"/>
                      <a:pt x="32" y="81"/>
                    </a:cubicBezTo>
                    <a:cubicBezTo>
                      <a:pt x="32" y="81"/>
                      <a:pt x="32" y="81"/>
                      <a:pt x="32" y="81"/>
                    </a:cubicBezTo>
                    <a:cubicBezTo>
                      <a:pt x="32" y="81"/>
                      <a:pt x="31" y="81"/>
                      <a:pt x="31" y="81"/>
                    </a:cubicBezTo>
                    <a:cubicBezTo>
                      <a:pt x="31" y="81"/>
                      <a:pt x="32" y="81"/>
                      <a:pt x="32" y="81"/>
                    </a:cubicBezTo>
                    <a:cubicBezTo>
                      <a:pt x="32" y="81"/>
                      <a:pt x="32" y="81"/>
                      <a:pt x="32" y="81"/>
                    </a:cubicBezTo>
                    <a:cubicBezTo>
                      <a:pt x="32" y="80"/>
                      <a:pt x="32" y="80"/>
                      <a:pt x="31" y="80"/>
                    </a:cubicBezTo>
                    <a:cubicBezTo>
                      <a:pt x="31" y="80"/>
                      <a:pt x="31" y="80"/>
                      <a:pt x="31" y="80"/>
                    </a:cubicBezTo>
                    <a:close/>
                    <a:moveTo>
                      <a:pt x="33" y="81"/>
                    </a:moveTo>
                    <a:cubicBezTo>
                      <a:pt x="33" y="81"/>
                      <a:pt x="33" y="81"/>
                      <a:pt x="33" y="81"/>
                    </a:cubicBezTo>
                    <a:cubicBezTo>
                      <a:pt x="33" y="81"/>
                      <a:pt x="33" y="81"/>
                      <a:pt x="33" y="81"/>
                    </a:cubicBezTo>
                    <a:cubicBezTo>
                      <a:pt x="33" y="81"/>
                      <a:pt x="33" y="81"/>
                      <a:pt x="33" y="81"/>
                    </a:cubicBezTo>
                    <a:cubicBezTo>
                      <a:pt x="33" y="81"/>
                      <a:pt x="33" y="81"/>
                      <a:pt x="33" y="81"/>
                    </a:cubicBezTo>
                    <a:close/>
                    <a:moveTo>
                      <a:pt x="32" y="81"/>
                    </a:moveTo>
                    <a:cubicBezTo>
                      <a:pt x="32" y="81"/>
                      <a:pt x="32" y="81"/>
                      <a:pt x="32" y="81"/>
                    </a:cubicBezTo>
                    <a:cubicBezTo>
                      <a:pt x="33" y="81"/>
                      <a:pt x="33" y="81"/>
                      <a:pt x="33" y="81"/>
                    </a:cubicBezTo>
                    <a:cubicBezTo>
                      <a:pt x="33" y="81"/>
                      <a:pt x="32" y="81"/>
                      <a:pt x="32" y="81"/>
                    </a:cubicBezTo>
                    <a:cubicBezTo>
                      <a:pt x="32" y="81"/>
                      <a:pt x="32" y="81"/>
                      <a:pt x="32" y="81"/>
                    </a:cubicBezTo>
                    <a:close/>
                    <a:moveTo>
                      <a:pt x="43" y="81"/>
                    </a:moveTo>
                    <a:cubicBezTo>
                      <a:pt x="43" y="81"/>
                      <a:pt x="43" y="81"/>
                      <a:pt x="43" y="81"/>
                    </a:cubicBezTo>
                    <a:cubicBezTo>
                      <a:pt x="43" y="81"/>
                      <a:pt x="43" y="81"/>
                      <a:pt x="43" y="82"/>
                    </a:cubicBezTo>
                    <a:cubicBezTo>
                      <a:pt x="43" y="82"/>
                      <a:pt x="43" y="82"/>
                      <a:pt x="43" y="82"/>
                    </a:cubicBezTo>
                    <a:cubicBezTo>
                      <a:pt x="43" y="82"/>
                      <a:pt x="43" y="81"/>
                      <a:pt x="43" y="81"/>
                    </a:cubicBezTo>
                    <a:cubicBezTo>
                      <a:pt x="43" y="81"/>
                      <a:pt x="43" y="81"/>
                      <a:pt x="43" y="81"/>
                    </a:cubicBezTo>
                    <a:close/>
                    <a:moveTo>
                      <a:pt x="32" y="81"/>
                    </a:moveTo>
                    <a:cubicBezTo>
                      <a:pt x="33" y="81"/>
                      <a:pt x="33" y="81"/>
                      <a:pt x="33" y="82"/>
                    </a:cubicBezTo>
                    <a:cubicBezTo>
                      <a:pt x="33" y="82"/>
                      <a:pt x="33" y="82"/>
                      <a:pt x="33" y="82"/>
                    </a:cubicBezTo>
                    <a:cubicBezTo>
                      <a:pt x="33" y="82"/>
                      <a:pt x="32" y="82"/>
                      <a:pt x="32" y="81"/>
                    </a:cubicBezTo>
                    <a:cubicBezTo>
                      <a:pt x="32" y="81"/>
                      <a:pt x="32" y="81"/>
                      <a:pt x="32" y="81"/>
                    </a:cubicBezTo>
                    <a:cubicBezTo>
                      <a:pt x="32" y="81"/>
                      <a:pt x="32" y="81"/>
                      <a:pt x="32" y="81"/>
                    </a:cubicBezTo>
                    <a:close/>
                    <a:moveTo>
                      <a:pt x="33" y="81"/>
                    </a:moveTo>
                    <a:cubicBezTo>
                      <a:pt x="33" y="81"/>
                      <a:pt x="33" y="81"/>
                      <a:pt x="33" y="82"/>
                    </a:cubicBezTo>
                    <a:cubicBezTo>
                      <a:pt x="33" y="82"/>
                      <a:pt x="33" y="82"/>
                      <a:pt x="33" y="82"/>
                    </a:cubicBezTo>
                    <a:cubicBezTo>
                      <a:pt x="33" y="82"/>
                      <a:pt x="33" y="82"/>
                      <a:pt x="33" y="81"/>
                    </a:cubicBezTo>
                    <a:cubicBezTo>
                      <a:pt x="33" y="81"/>
                      <a:pt x="33" y="81"/>
                      <a:pt x="33" y="81"/>
                    </a:cubicBezTo>
                    <a:close/>
                    <a:moveTo>
                      <a:pt x="33" y="82"/>
                    </a:moveTo>
                    <a:cubicBezTo>
                      <a:pt x="33" y="82"/>
                      <a:pt x="33" y="82"/>
                      <a:pt x="34" y="82"/>
                    </a:cubicBezTo>
                    <a:cubicBezTo>
                      <a:pt x="33" y="82"/>
                      <a:pt x="33" y="82"/>
                      <a:pt x="33" y="82"/>
                    </a:cubicBezTo>
                    <a:cubicBezTo>
                      <a:pt x="33" y="82"/>
                      <a:pt x="33" y="82"/>
                      <a:pt x="33" y="82"/>
                    </a:cubicBezTo>
                    <a:cubicBezTo>
                      <a:pt x="33" y="82"/>
                      <a:pt x="33" y="82"/>
                      <a:pt x="33" y="82"/>
                    </a:cubicBezTo>
                    <a:close/>
                    <a:moveTo>
                      <a:pt x="22" y="82"/>
                    </a:moveTo>
                    <a:cubicBezTo>
                      <a:pt x="24" y="81"/>
                      <a:pt x="26" y="81"/>
                      <a:pt x="28" y="81"/>
                    </a:cubicBezTo>
                    <a:cubicBezTo>
                      <a:pt x="26" y="82"/>
                      <a:pt x="25" y="83"/>
                      <a:pt x="23" y="85"/>
                    </a:cubicBezTo>
                    <a:cubicBezTo>
                      <a:pt x="22" y="84"/>
                      <a:pt x="22" y="84"/>
                      <a:pt x="22" y="84"/>
                    </a:cubicBezTo>
                    <a:cubicBezTo>
                      <a:pt x="22" y="84"/>
                      <a:pt x="22" y="84"/>
                      <a:pt x="23" y="85"/>
                    </a:cubicBezTo>
                    <a:cubicBezTo>
                      <a:pt x="23" y="85"/>
                      <a:pt x="23" y="85"/>
                      <a:pt x="23" y="85"/>
                    </a:cubicBezTo>
                    <a:cubicBezTo>
                      <a:pt x="23" y="85"/>
                      <a:pt x="23" y="85"/>
                      <a:pt x="23" y="85"/>
                    </a:cubicBezTo>
                    <a:cubicBezTo>
                      <a:pt x="23" y="85"/>
                      <a:pt x="23" y="85"/>
                      <a:pt x="23" y="85"/>
                    </a:cubicBezTo>
                    <a:cubicBezTo>
                      <a:pt x="28" y="87"/>
                      <a:pt x="28" y="87"/>
                      <a:pt x="28" y="87"/>
                    </a:cubicBezTo>
                    <a:cubicBezTo>
                      <a:pt x="27" y="87"/>
                      <a:pt x="27" y="87"/>
                      <a:pt x="26" y="88"/>
                    </a:cubicBezTo>
                    <a:cubicBezTo>
                      <a:pt x="27" y="88"/>
                      <a:pt x="27" y="87"/>
                      <a:pt x="28" y="87"/>
                    </a:cubicBezTo>
                    <a:cubicBezTo>
                      <a:pt x="29" y="87"/>
                      <a:pt x="31" y="88"/>
                      <a:pt x="32" y="89"/>
                    </a:cubicBezTo>
                    <a:cubicBezTo>
                      <a:pt x="31" y="89"/>
                      <a:pt x="31" y="89"/>
                      <a:pt x="30" y="90"/>
                    </a:cubicBezTo>
                    <a:cubicBezTo>
                      <a:pt x="28" y="89"/>
                      <a:pt x="26" y="89"/>
                      <a:pt x="24" y="89"/>
                    </a:cubicBezTo>
                    <a:cubicBezTo>
                      <a:pt x="22" y="88"/>
                      <a:pt x="20" y="88"/>
                      <a:pt x="18" y="88"/>
                    </a:cubicBezTo>
                    <a:cubicBezTo>
                      <a:pt x="18" y="87"/>
                      <a:pt x="18" y="87"/>
                      <a:pt x="17" y="87"/>
                    </a:cubicBezTo>
                    <a:cubicBezTo>
                      <a:pt x="19" y="85"/>
                      <a:pt x="21" y="84"/>
                      <a:pt x="22" y="82"/>
                    </a:cubicBezTo>
                    <a:cubicBezTo>
                      <a:pt x="22" y="82"/>
                      <a:pt x="22" y="82"/>
                      <a:pt x="22" y="82"/>
                    </a:cubicBezTo>
                    <a:close/>
                    <a:moveTo>
                      <a:pt x="44" y="82"/>
                    </a:moveTo>
                    <a:cubicBezTo>
                      <a:pt x="44" y="82"/>
                      <a:pt x="43" y="82"/>
                      <a:pt x="43" y="81"/>
                    </a:cubicBezTo>
                    <a:cubicBezTo>
                      <a:pt x="43" y="82"/>
                      <a:pt x="43" y="82"/>
                      <a:pt x="43" y="82"/>
                    </a:cubicBezTo>
                    <a:cubicBezTo>
                      <a:pt x="43" y="82"/>
                      <a:pt x="44" y="82"/>
                      <a:pt x="44" y="83"/>
                    </a:cubicBezTo>
                    <a:cubicBezTo>
                      <a:pt x="44" y="82"/>
                      <a:pt x="44" y="82"/>
                      <a:pt x="44" y="82"/>
                    </a:cubicBezTo>
                    <a:cubicBezTo>
                      <a:pt x="44" y="82"/>
                      <a:pt x="44" y="82"/>
                      <a:pt x="44" y="82"/>
                    </a:cubicBezTo>
                    <a:close/>
                    <a:moveTo>
                      <a:pt x="33" y="82"/>
                    </a:moveTo>
                    <a:cubicBezTo>
                      <a:pt x="33" y="82"/>
                      <a:pt x="33" y="82"/>
                      <a:pt x="33" y="82"/>
                    </a:cubicBezTo>
                    <a:cubicBezTo>
                      <a:pt x="34" y="83"/>
                      <a:pt x="34" y="83"/>
                      <a:pt x="34" y="83"/>
                    </a:cubicBezTo>
                    <a:cubicBezTo>
                      <a:pt x="33" y="82"/>
                      <a:pt x="33" y="82"/>
                      <a:pt x="33" y="82"/>
                    </a:cubicBezTo>
                    <a:cubicBezTo>
                      <a:pt x="33" y="82"/>
                      <a:pt x="33" y="82"/>
                      <a:pt x="33" y="82"/>
                    </a:cubicBezTo>
                    <a:close/>
                    <a:moveTo>
                      <a:pt x="44" y="82"/>
                    </a:moveTo>
                    <a:cubicBezTo>
                      <a:pt x="44" y="82"/>
                      <a:pt x="44" y="82"/>
                      <a:pt x="44" y="82"/>
                    </a:cubicBezTo>
                    <a:cubicBezTo>
                      <a:pt x="44" y="82"/>
                      <a:pt x="44" y="83"/>
                      <a:pt x="44" y="83"/>
                    </a:cubicBezTo>
                    <a:cubicBezTo>
                      <a:pt x="44" y="83"/>
                      <a:pt x="44" y="82"/>
                      <a:pt x="44" y="82"/>
                    </a:cubicBezTo>
                    <a:cubicBezTo>
                      <a:pt x="44" y="82"/>
                      <a:pt x="44" y="82"/>
                      <a:pt x="44" y="82"/>
                    </a:cubicBezTo>
                    <a:close/>
                    <a:moveTo>
                      <a:pt x="34" y="83"/>
                    </a:moveTo>
                    <a:cubicBezTo>
                      <a:pt x="33" y="83"/>
                      <a:pt x="33" y="82"/>
                      <a:pt x="33" y="82"/>
                    </a:cubicBezTo>
                    <a:cubicBezTo>
                      <a:pt x="32" y="83"/>
                      <a:pt x="31" y="85"/>
                      <a:pt x="29" y="86"/>
                    </a:cubicBezTo>
                    <a:cubicBezTo>
                      <a:pt x="31" y="86"/>
                      <a:pt x="32" y="86"/>
                      <a:pt x="34" y="86"/>
                    </a:cubicBezTo>
                    <a:cubicBezTo>
                      <a:pt x="34" y="86"/>
                      <a:pt x="35" y="86"/>
                      <a:pt x="35" y="86"/>
                    </a:cubicBezTo>
                    <a:cubicBezTo>
                      <a:pt x="35" y="85"/>
                      <a:pt x="34" y="84"/>
                      <a:pt x="34" y="83"/>
                    </a:cubicBezTo>
                    <a:cubicBezTo>
                      <a:pt x="34" y="83"/>
                      <a:pt x="34" y="83"/>
                      <a:pt x="34" y="83"/>
                    </a:cubicBezTo>
                    <a:close/>
                    <a:moveTo>
                      <a:pt x="44" y="83"/>
                    </a:moveTo>
                    <a:cubicBezTo>
                      <a:pt x="44" y="83"/>
                      <a:pt x="44" y="83"/>
                      <a:pt x="44" y="82"/>
                    </a:cubicBezTo>
                    <a:cubicBezTo>
                      <a:pt x="45" y="83"/>
                      <a:pt x="45" y="83"/>
                      <a:pt x="45" y="83"/>
                    </a:cubicBezTo>
                    <a:cubicBezTo>
                      <a:pt x="45" y="83"/>
                      <a:pt x="45" y="83"/>
                      <a:pt x="45" y="83"/>
                    </a:cubicBezTo>
                    <a:cubicBezTo>
                      <a:pt x="45" y="83"/>
                      <a:pt x="45" y="83"/>
                      <a:pt x="45" y="83"/>
                    </a:cubicBezTo>
                    <a:cubicBezTo>
                      <a:pt x="45" y="83"/>
                      <a:pt x="45" y="83"/>
                      <a:pt x="44" y="83"/>
                    </a:cubicBezTo>
                    <a:cubicBezTo>
                      <a:pt x="44" y="83"/>
                      <a:pt x="44" y="83"/>
                      <a:pt x="44" y="83"/>
                    </a:cubicBezTo>
                    <a:close/>
                    <a:moveTo>
                      <a:pt x="58" y="83"/>
                    </a:moveTo>
                    <a:cubicBezTo>
                      <a:pt x="60" y="83"/>
                      <a:pt x="61" y="83"/>
                      <a:pt x="63" y="83"/>
                    </a:cubicBezTo>
                    <a:cubicBezTo>
                      <a:pt x="60" y="85"/>
                      <a:pt x="61" y="85"/>
                      <a:pt x="57" y="85"/>
                    </a:cubicBezTo>
                    <a:cubicBezTo>
                      <a:pt x="58" y="83"/>
                      <a:pt x="58" y="83"/>
                      <a:pt x="58" y="83"/>
                    </a:cubicBezTo>
                    <a:cubicBezTo>
                      <a:pt x="58" y="83"/>
                      <a:pt x="58" y="83"/>
                      <a:pt x="58" y="83"/>
                    </a:cubicBezTo>
                    <a:close/>
                    <a:moveTo>
                      <a:pt x="35" y="83"/>
                    </a:moveTo>
                    <a:cubicBezTo>
                      <a:pt x="35" y="83"/>
                      <a:pt x="34" y="83"/>
                      <a:pt x="34" y="83"/>
                    </a:cubicBezTo>
                    <a:cubicBezTo>
                      <a:pt x="35" y="84"/>
                      <a:pt x="35" y="84"/>
                      <a:pt x="35" y="84"/>
                    </a:cubicBezTo>
                    <a:cubicBezTo>
                      <a:pt x="35" y="84"/>
                      <a:pt x="35" y="84"/>
                      <a:pt x="35" y="83"/>
                    </a:cubicBezTo>
                    <a:cubicBezTo>
                      <a:pt x="35" y="83"/>
                      <a:pt x="35" y="83"/>
                      <a:pt x="35" y="83"/>
                    </a:cubicBezTo>
                    <a:close/>
                    <a:moveTo>
                      <a:pt x="43" y="84"/>
                    </a:moveTo>
                    <a:cubicBezTo>
                      <a:pt x="43" y="83"/>
                      <a:pt x="43" y="83"/>
                      <a:pt x="43" y="83"/>
                    </a:cubicBezTo>
                    <a:cubicBezTo>
                      <a:pt x="42" y="84"/>
                      <a:pt x="42" y="84"/>
                      <a:pt x="42" y="85"/>
                    </a:cubicBezTo>
                    <a:cubicBezTo>
                      <a:pt x="43" y="85"/>
                      <a:pt x="43" y="85"/>
                      <a:pt x="43" y="84"/>
                    </a:cubicBezTo>
                    <a:cubicBezTo>
                      <a:pt x="43" y="84"/>
                      <a:pt x="43" y="84"/>
                      <a:pt x="43" y="84"/>
                    </a:cubicBezTo>
                    <a:cubicBezTo>
                      <a:pt x="43" y="84"/>
                      <a:pt x="43" y="84"/>
                      <a:pt x="43" y="84"/>
                    </a:cubicBezTo>
                    <a:close/>
                    <a:moveTo>
                      <a:pt x="46" y="84"/>
                    </a:moveTo>
                    <a:cubicBezTo>
                      <a:pt x="46" y="84"/>
                      <a:pt x="46" y="83"/>
                      <a:pt x="46" y="83"/>
                    </a:cubicBezTo>
                    <a:cubicBezTo>
                      <a:pt x="48" y="85"/>
                      <a:pt x="49" y="85"/>
                      <a:pt x="51" y="86"/>
                    </a:cubicBezTo>
                    <a:cubicBezTo>
                      <a:pt x="51" y="86"/>
                      <a:pt x="50" y="86"/>
                      <a:pt x="50" y="86"/>
                    </a:cubicBezTo>
                    <a:cubicBezTo>
                      <a:pt x="49" y="86"/>
                      <a:pt x="46" y="84"/>
                      <a:pt x="46" y="84"/>
                    </a:cubicBezTo>
                    <a:cubicBezTo>
                      <a:pt x="46" y="84"/>
                      <a:pt x="46" y="84"/>
                      <a:pt x="46" y="84"/>
                    </a:cubicBezTo>
                    <a:close/>
                    <a:moveTo>
                      <a:pt x="35" y="84"/>
                    </a:moveTo>
                    <a:cubicBezTo>
                      <a:pt x="35" y="84"/>
                      <a:pt x="35" y="84"/>
                      <a:pt x="35" y="84"/>
                    </a:cubicBezTo>
                    <a:cubicBezTo>
                      <a:pt x="35" y="84"/>
                      <a:pt x="36" y="84"/>
                      <a:pt x="36" y="85"/>
                    </a:cubicBezTo>
                    <a:cubicBezTo>
                      <a:pt x="36" y="85"/>
                      <a:pt x="36" y="85"/>
                      <a:pt x="36" y="85"/>
                    </a:cubicBezTo>
                    <a:cubicBezTo>
                      <a:pt x="36" y="85"/>
                      <a:pt x="36" y="85"/>
                      <a:pt x="35" y="85"/>
                    </a:cubicBezTo>
                    <a:cubicBezTo>
                      <a:pt x="35" y="85"/>
                      <a:pt x="35" y="84"/>
                      <a:pt x="35" y="84"/>
                    </a:cubicBezTo>
                    <a:cubicBezTo>
                      <a:pt x="35" y="84"/>
                      <a:pt x="35" y="84"/>
                      <a:pt x="35" y="84"/>
                    </a:cubicBezTo>
                    <a:close/>
                    <a:moveTo>
                      <a:pt x="44" y="84"/>
                    </a:moveTo>
                    <a:cubicBezTo>
                      <a:pt x="44" y="84"/>
                      <a:pt x="43" y="84"/>
                      <a:pt x="43" y="84"/>
                    </a:cubicBezTo>
                    <a:cubicBezTo>
                      <a:pt x="43" y="84"/>
                      <a:pt x="43" y="84"/>
                      <a:pt x="43" y="84"/>
                    </a:cubicBezTo>
                    <a:cubicBezTo>
                      <a:pt x="43" y="84"/>
                      <a:pt x="44" y="84"/>
                      <a:pt x="44" y="84"/>
                    </a:cubicBezTo>
                    <a:cubicBezTo>
                      <a:pt x="44" y="84"/>
                      <a:pt x="44" y="84"/>
                      <a:pt x="44" y="84"/>
                    </a:cubicBezTo>
                    <a:close/>
                    <a:moveTo>
                      <a:pt x="44" y="84"/>
                    </a:moveTo>
                    <a:cubicBezTo>
                      <a:pt x="44" y="84"/>
                      <a:pt x="44" y="84"/>
                      <a:pt x="44" y="84"/>
                    </a:cubicBezTo>
                    <a:cubicBezTo>
                      <a:pt x="45" y="87"/>
                      <a:pt x="45" y="89"/>
                      <a:pt x="46" y="92"/>
                    </a:cubicBezTo>
                    <a:cubicBezTo>
                      <a:pt x="45" y="91"/>
                      <a:pt x="42" y="89"/>
                      <a:pt x="42" y="89"/>
                    </a:cubicBezTo>
                    <a:cubicBezTo>
                      <a:pt x="42" y="88"/>
                      <a:pt x="42" y="86"/>
                      <a:pt x="42" y="85"/>
                    </a:cubicBezTo>
                    <a:cubicBezTo>
                      <a:pt x="43" y="85"/>
                      <a:pt x="43" y="85"/>
                      <a:pt x="43" y="85"/>
                    </a:cubicBezTo>
                    <a:cubicBezTo>
                      <a:pt x="43" y="85"/>
                      <a:pt x="43" y="86"/>
                      <a:pt x="43" y="87"/>
                    </a:cubicBezTo>
                    <a:cubicBezTo>
                      <a:pt x="43" y="87"/>
                      <a:pt x="43" y="87"/>
                      <a:pt x="43" y="87"/>
                    </a:cubicBezTo>
                    <a:cubicBezTo>
                      <a:pt x="43" y="86"/>
                      <a:pt x="43" y="85"/>
                      <a:pt x="43" y="84"/>
                    </a:cubicBezTo>
                    <a:cubicBezTo>
                      <a:pt x="44" y="84"/>
                      <a:pt x="44" y="84"/>
                      <a:pt x="44" y="84"/>
                    </a:cubicBezTo>
                    <a:cubicBezTo>
                      <a:pt x="44" y="85"/>
                      <a:pt x="44" y="85"/>
                      <a:pt x="44" y="86"/>
                    </a:cubicBezTo>
                    <a:cubicBezTo>
                      <a:pt x="44" y="86"/>
                      <a:pt x="44" y="86"/>
                      <a:pt x="44" y="86"/>
                    </a:cubicBezTo>
                    <a:cubicBezTo>
                      <a:pt x="44" y="84"/>
                      <a:pt x="44" y="84"/>
                      <a:pt x="44" y="84"/>
                    </a:cubicBezTo>
                    <a:cubicBezTo>
                      <a:pt x="44" y="84"/>
                      <a:pt x="44" y="84"/>
                      <a:pt x="44" y="84"/>
                    </a:cubicBezTo>
                    <a:close/>
                    <a:moveTo>
                      <a:pt x="65" y="84"/>
                    </a:moveTo>
                    <a:cubicBezTo>
                      <a:pt x="65" y="84"/>
                      <a:pt x="65" y="84"/>
                      <a:pt x="65" y="84"/>
                    </a:cubicBezTo>
                    <a:cubicBezTo>
                      <a:pt x="65" y="84"/>
                      <a:pt x="65" y="84"/>
                      <a:pt x="65" y="84"/>
                    </a:cubicBezTo>
                    <a:cubicBezTo>
                      <a:pt x="63" y="85"/>
                      <a:pt x="61" y="85"/>
                      <a:pt x="59" y="86"/>
                    </a:cubicBezTo>
                    <a:cubicBezTo>
                      <a:pt x="59" y="85"/>
                      <a:pt x="60" y="85"/>
                      <a:pt x="60" y="85"/>
                    </a:cubicBezTo>
                    <a:cubicBezTo>
                      <a:pt x="62" y="85"/>
                      <a:pt x="63" y="84"/>
                      <a:pt x="65" y="84"/>
                    </a:cubicBezTo>
                    <a:cubicBezTo>
                      <a:pt x="65" y="84"/>
                      <a:pt x="65" y="84"/>
                      <a:pt x="65" y="84"/>
                    </a:cubicBezTo>
                    <a:close/>
                    <a:moveTo>
                      <a:pt x="54" y="84"/>
                    </a:moveTo>
                    <a:cubicBezTo>
                      <a:pt x="52" y="84"/>
                      <a:pt x="51" y="84"/>
                      <a:pt x="50" y="85"/>
                    </a:cubicBezTo>
                    <a:cubicBezTo>
                      <a:pt x="54" y="86"/>
                      <a:pt x="52" y="86"/>
                      <a:pt x="57" y="85"/>
                    </a:cubicBezTo>
                    <a:cubicBezTo>
                      <a:pt x="57" y="85"/>
                      <a:pt x="58" y="84"/>
                      <a:pt x="58" y="83"/>
                    </a:cubicBezTo>
                    <a:cubicBezTo>
                      <a:pt x="57" y="83"/>
                      <a:pt x="55" y="84"/>
                      <a:pt x="54" y="84"/>
                    </a:cubicBezTo>
                    <a:cubicBezTo>
                      <a:pt x="54" y="84"/>
                      <a:pt x="54" y="84"/>
                      <a:pt x="54" y="84"/>
                    </a:cubicBezTo>
                    <a:close/>
                    <a:moveTo>
                      <a:pt x="45" y="85"/>
                    </a:moveTo>
                    <a:cubicBezTo>
                      <a:pt x="45" y="85"/>
                      <a:pt x="45" y="85"/>
                      <a:pt x="44" y="84"/>
                    </a:cubicBezTo>
                    <a:cubicBezTo>
                      <a:pt x="45" y="86"/>
                      <a:pt x="46" y="91"/>
                      <a:pt x="46" y="92"/>
                    </a:cubicBezTo>
                    <a:cubicBezTo>
                      <a:pt x="46" y="92"/>
                      <a:pt x="48" y="93"/>
                      <a:pt x="48" y="94"/>
                    </a:cubicBezTo>
                    <a:cubicBezTo>
                      <a:pt x="47" y="92"/>
                      <a:pt x="46" y="89"/>
                      <a:pt x="46" y="87"/>
                    </a:cubicBezTo>
                    <a:cubicBezTo>
                      <a:pt x="46" y="88"/>
                      <a:pt x="46" y="89"/>
                      <a:pt x="45" y="89"/>
                    </a:cubicBezTo>
                    <a:cubicBezTo>
                      <a:pt x="45" y="87"/>
                      <a:pt x="45" y="87"/>
                      <a:pt x="45" y="85"/>
                    </a:cubicBezTo>
                    <a:cubicBezTo>
                      <a:pt x="45" y="85"/>
                      <a:pt x="45" y="85"/>
                      <a:pt x="45" y="85"/>
                    </a:cubicBezTo>
                    <a:close/>
                    <a:moveTo>
                      <a:pt x="45" y="85"/>
                    </a:moveTo>
                    <a:cubicBezTo>
                      <a:pt x="45" y="85"/>
                      <a:pt x="45" y="85"/>
                      <a:pt x="45" y="85"/>
                    </a:cubicBezTo>
                    <a:cubicBezTo>
                      <a:pt x="45" y="85"/>
                      <a:pt x="45" y="86"/>
                      <a:pt x="45" y="86"/>
                    </a:cubicBezTo>
                    <a:cubicBezTo>
                      <a:pt x="45" y="86"/>
                      <a:pt x="45" y="85"/>
                      <a:pt x="45" y="85"/>
                    </a:cubicBezTo>
                    <a:cubicBezTo>
                      <a:pt x="45" y="85"/>
                      <a:pt x="45" y="85"/>
                      <a:pt x="45" y="85"/>
                    </a:cubicBezTo>
                    <a:close/>
                    <a:moveTo>
                      <a:pt x="36" y="85"/>
                    </a:moveTo>
                    <a:cubicBezTo>
                      <a:pt x="36" y="85"/>
                      <a:pt x="36" y="85"/>
                      <a:pt x="36" y="85"/>
                    </a:cubicBezTo>
                    <a:cubicBezTo>
                      <a:pt x="36" y="85"/>
                      <a:pt x="37" y="85"/>
                      <a:pt x="37" y="85"/>
                    </a:cubicBezTo>
                    <a:cubicBezTo>
                      <a:pt x="36" y="85"/>
                      <a:pt x="36" y="85"/>
                      <a:pt x="36" y="85"/>
                    </a:cubicBezTo>
                    <a:cubicBezTo>
                      <a:pt x="36" y="85"/>
                      <a:pt x="36" y="85"/>
                      <a:pt x="36" y="85"/>
                    </a:cubicBezTo>
                    <a:close/>
                    <a:moveTo>
                      <a:pt x="39" y="85"/>
                    </a:moveTo>
                    <a:cubicBezTo>
                      <a:pt x="39" y="85"/>
                      <a:pt x="39" y="84"/>
                      <a:pt x="40" y="84"/>
                    </a:cubicBezTo>
                    <a:cubicBezTo>
                      <a:pt x="39" y="86"/>
                      <a:pt x="40" y="86"/>
                      <a:pt x="39" y="87"/>
                    </a:cubicBezTo>
                    <a:cubicBezTo>
                      <a:pt x="38" y="86"/>
                      <a:pt x="38" y="86"/>
                      <a:pt x="38" y="86"/>
                    </a:cubicBezTo>
                    <a:cubicBezTo>
                      <a:pt x="38" y="86"/>
                      <a:pt x="38" y="86"/>
                      <a:pt x="38" y="85"/>
                    </a:cubicBezTo>
                    <a:cubicBezTo>
                      <a:pt x="39" y="85"/>
                      <a:pt x="39" y="85"/>
                      <a:pt x="39" y="85"/>
                    </a:cubicBezTo>
                    <a:cubicBezTo>
                      <a:pt x="39" y="85"/>
                      <a:pt x="39" y="85"/>
                      <a:pt x="39" y="85"/>
                    </a:cubicBezTo>
                    <a:cubicBezTo>
                      <a:pt x="39" y="85"/>
                      <a:pt x="39" y="85"/>
                      <a:pt x="39" y="85"/>
                    </a:cubicBezTo>
                    <a:close/>
                    <a:moveTo>
                      <a:pt x="36" y="85"/>
                    </a:moveTo>
                    <a:cubicBezTo>
                      <a:pt x="37" y="85"/>
                      <a:pt x="37" y="85"/>
                      <a:pt x="38" y="86"/>
                    </a:cubicBezTo>
                    <a:cubicBezTo>
                      <a:pt x="38" y="86"/>
                      <a:pt x="37" y="87"/>
                      <a:pt x="37" y="87"/>
                    </a:cubicBezTo>
                    <a:cubicBezTo>
                      <a:pt x="36" y="87"/>
                      <a:pt x="36" y="86"/>
                      <a:pt x="36" y="85"/>
                    </a:cubicBezTo>
                    <a:cubicBezTo>
                      <a:pt x="36" y="85"/>
                      <a:pt x="36" y="85"/>
                      <a:pt x="36" y="85"/>
                    </a:cubicBezTo>
                    <a:cubicBezTo>
                      <a:pt x="36" y="85"/>
                      <a:pt x="36" y="85"/>
                      <a:pt x="36" y="85"/>
                    </a:cubicBezTo>
                    <a:close/>
                    <a:moveTo>
                      <a:pt x="37" y="85"/>
                    </a:moveTo>
                    <a:cubicBezTo>
                      <a:pt x="38" y="85"/>
                      <a:pt x="38" y="85"/>
                      <a:pt x="38" y="85"/>
                    </a:cubicBezTo>
                    <a:cubicBezTo>
                      <a:pt x="38" y="85"/>
                      <a:pt x="38" y="86"/>
                      <a:pt x="38" y="86"/>
                    </a:cubicBezTo>
                    <a:cubicBezTo>
                      <a:pt x="38" y="86"/>
                      <a:pt x="37" y="85"/>
                      <a:pt x="37" y="85"/>
                    </a:cubicBezTo>
                    <a:cubicBezTo>
                      <a:pt x="37" y="85"/>
                      <a:pt x="37" y="85"/>
                      <a:pt x="37" y="85"/>
                    </a:cubicBezTo>
                    <a:close/>
                    <a:moveTo>
                      <a:pt x="57" y="85"/>
                    </a:moveTo>
                    <a:cubicBezTo>
                      <a:pt x="58" y="85"/>
                      <a:pt x="59" y="85"/>
                      <a:pt x="60" y="85"/>
                    </a:cubicBezTo>
                    <a:cubicBezTo>
                      <a:pt x="59" y="86"/>
                      <a:pt x="58" y="86"/>
                      <a:pt x="57" y="86"/>
                    </a:cubicBezTo>
                    <a:cubicBezTo>
                      <a:pt x="57" y="86"/>
                      <a:pt x="57" y="86"/>
                      <a:pt x="56" y="86"/>
                    </a:cubicBezTo>
                    <a:cubicBezTo>
                      <a:pt x="57" y="86"/>
                      <a:pt x="57" y="86"/>
                      <a:pt x="57" y="85"/>
                    </a:cubicBezTo>
                    <a:cubicBezTo>
                      <a:pt x="57" y="85"/>
                      <a:pt x="57" y="85"/>
                      <a:pt x="57" y="85"/>
                    </a:cubicBezTo>
                    <a:close/>
                    <a:moveTo>
                      <a:pt x="54" y="86"/>
                    </a:moveTo>
                    <a:cubicBezTo>
                      <a:pt x="55" y="86"/>
                      <a:pt x="56" y="86"/>
                      <a:pt x="57" y="85"/>
                    </a:cubicBezTo>
                    <a:cubicBezTo>
                      <a:pt x="56" y="86"/>
                      <a:pt x="56" y="86"/>
                      <a:pt x="56" y="86"/>
                    </a:cubicBezTo>
                    <a:cubicBezTo>
                      <a:pt x="55" y="86"/>
                      <a:pt x="54" y="86"/>
                      <a:pt x="54" y="86"/>
                    </a:cubicBezTo>
                    <a:cubicBezTo>
                      <a:pt x="54" y="86"/>
                      <a:pt x="54" y="86"/>
                      <a:pt x="54" y="86"/>
                    </a:cubicBezTo>
                    <a:close/>
                    <a:moveTo>
                      <a:pt x="69" y="86"/>
                    </a:moveTo>
                    <a:cubicBezTo>
                      <a:pt x="68" y="86"/>
                      <a:pt x="68" y="86"/>
                      <a:pt x="67" y="86"/>
                    </a:cubicBezTo>
                    <a:cubicBezTo>
                      <a:pt x="68" y="86"/>
                      <a:pt x="68" y="86"/>
                      <a:pt x="69" y="86"/>
                    </a:cubicBezTo>
                    <a:cubicBezTo>
                      <a:pt x="69" y="86"/>
                      <a:pt x="69" y="86"/>
                      <a:pt x="69" y="86"/>
                    </a:cubicBezTo>
                    <a:close/>
                    <a:moveTo>
                      <a:pt x="59" y="86"/>
                    </a:moveTo>
                    <a:cubicBezTo>
                      <a:pt x="60" y="86"/>
                      <a:pt x="61" y="86"/>
                      <a:pt x="63" y="85"/>
                    </a:cubicBezTo>
                    <a:cubicBezTo>
                      <a:pt x="61" y="86"/>
                      <a:pt x="60" y="86"/>
                      <a:pt x="59" y="86"/>
                    </a:cubicBezTo>
                    <a:cubicBezTo>
                      <a:pt x="59" y="86"/>
                      <a:pt x="59" y="86"/>
                      <a:pt x="59" y="86"/>
                    </a:cubicBezTo>
                    <a:cubicBezTo>
                      <a:pt x="59" y="86"/>
                      <a:pt x="59" y="86"/>
                      <a:pt x="59" y="86"/>
                    </a:cubicBezTo>
                    <a:close/>
                    <a:moveTo>
                      <a:pt x="62" y="86"/>
                    </a:moveTo>
                    <a:cubicBezTo>
                      <a:pt x="64" y="86"/>
                      <a:pt x="66" y="86"/>
                      <a:pt x="68" y="86"/>
                    </a:cubicBezTo>
                    <a:cubicBezTo>
                      <a:pt x="67" y="87"/>
                      <a:pt x="66" y="87"/>
                      <a:pt x="65" y="88"/>
                    </a:cubicBezTo>
                    <a:cubicBezTo>
                      <a:pt x="64" y="87"/>
                      <a:pt x="63" y="87"/>
                      <a:pt x="62" y="86"/>
                    </a:cubicBezTo>
                    <a:cubicBezTo>
                      <a:pt x="62" y="86"/>
                      <a:pt x="62" y="86"/>
                      <a:pt x="62" y="86"/>
                    </a:cubicBezTo>
                    <a:close/>
                    <a:moveTo>
                      <a:pt x="58" y="86"/>
                    </a:moveTo>
                    <a:cubicBezTo>
                      <a:pt x="58" y="86"/>
                      <a:pt x="58" y="86"/>
                      <a:pt x="58" y="86"/>
                    </a:cubicBezTo>
                    <a:cubicBezTo>
                      <a:pt x="58" y="86"/>
                      <a:pt x="58" y="86"/>
                      <a:pt x="58" y="86"/>
                    </a:cubicBezTo>
                    <a:cubicBezTo>
                      <a:pt x="58" y="86"/>
                      <a:pt x="58" y="86"/>
                      <a:pt x="58" y="86"/>
                    </a:cubicBezTo>
                    <a:close/>
                    <a:moveTo>
                      <a:pt x="62" y="86"/>
                    </a:moveTo>
                    <a:cubicBezTo>
                      <a:pt x="61" y="86"/>
                      <a:pt x="60" y="87"/>
                      <a:pt x="58" y="87"/>
                    </a:cubicBezTo>
                    <a:cubicBezTo>
                      <a:pt x="57" y="87"/>
                      <a:pt x="56" y="87"/>
                      <a:pt x="55" y="87"/>
                    </a:cubicBezTo>
                    <a:cubicBezTo>
                      <a:pt x="55" y="87"/>
                      <a:pt x="55" y="87"/>
                      <a:pt x="55" y="87"/>
                    </a:cubicBezTo>
                    <a:cubicBezTo>
                      <a:pt x="57" y="88"/>
                      <a:pt x="58" y="89"/>
                      <a:pt x="60" y="89"/>
                    </a:cubicBezTo>
                    <a:cubicBezTo>
                      <a:pt x="61" y="89"/>
                      <a:pt x="61" y="89"/>
                      <a:pt x="62" y="89"/>
                    </a:cubicBezTo>
                    <a:cubicBezTo>
                      <a:pt x="63" y="89"/>
                      <a:pt x="64" y="88"/>
                      <a:pt x="65" y="88"/>
                    </a:cubicBezTo>
                    <a:cubicBezTo>
                      <a:pt x="64" y="87"/>
                      <a:pt x="63" y="87"/>
                      <a:pt x="62" y="86"/>
                    </a:cubicBezTo>
                    <a:cubicBezTo>
                      <a:pt x="62" y="86"/>
                      <a:pt x="62" y="86"/>
                      <a:pt x="62" y="86"/>
                    </a:cubicBezTo>
                    <a:close/>
                    <a:moveTo>
                      <a:pt x="50" y="86"/>
                    </a:moveTo>
                    <a:cubicBezTo>
                      <a:pt x="51" y="86"/>
                      <a:pt x="52" y="86"/>
                      <a:pt x="53" y="86"/>
                    </a:cubicBezTo>
                    <a:cubicBezTo>
                      <a:pt x="53" y="87"/>
                      <a:pt x="53" y="87"/>
                      <a:pt x="53" y="87"/>
                    </a:cubicBezTo>
                    <a:cubicBezTo>
                      <a:pt x="52" y="87"/>
                      <a:pt x="52" y="87"/>
                      <a:pt x="50" y="86"/>
                    </a:cubicBezTo>
                    <a:cubicBezTo>
                      <a:pt x="50" y="86"/>
                      <a:pt x="50" y="86"/>
                      <a:pt x="50" y="86"/>
                    </a:cubicBezTo>
                    <a:close/>
                    <a:moveTo>
                      <a:pt x="34" y="86"/>
                    </a:moveTo>
                    <a:cubicBezTo>
                      <a:pt x="35" y="86"/>
                      <a:pt x="35" y="86"/>
                      <a:pt x="35" y="86"/>
                    </a:cubicBezTo>
                    <a:cubicBezTo>
                      <a:pt x="35" y="86"/>
                      <a:pt x="35" y="86"/>
                      <a:pt x="35" y="87"/>
                    </a:cubicBezTo>
                    <a:cubicBezTo>
                      <a:pt x="35" y="86"/>
                      <a:pt x="35" y="86"/>
                      <a:pt x="34" y="86"/>
                    </a:cubicBezTo>
                    <a:cubicBezTo>
                      <a:pt x="34" y="86"/>
                      <a:pt x="34" y="86"/>
                      <a:pt x="34" y="86"/>
                    </a:cubicBezTo>
                    <a:close/>
                    <a:moveTo>
                      <a:pt x="34" y="86"/>
                    </a:moveTo>
                    <a:cubicBezTo>
                      <a:pt x="32" y="86"/>
                      <a:pt x="31" y="86"/>
                      <a:pt x="29" y="86"/>
                    </a:cubicBezTo>
                    <a:cubicBezTo>
                      <a:pt x="29" y="86"/>
                      <a:pt x="28" y="86"/>
                      <a:pt x="28" y="87"/>
                    </a:cubicBezTo>
                    <a:cubicBezTo>
                      <a:pt x="29" y="87"/>
                      <a:pt x="32" y="89"/>
                      <a:pt x="33" y="89"/>
                    </a:cubicBezTo>
                    <a:cubicBezTo>
                      <a:pt x="34" y="89"/>
                      <a:pt x="34" y="87"/>
                      <a:pt x="35" y="87"/>
                    </a:cubicBezTo>
                    <a:cubicBezTo>
                      <a:pt x="34" y="86"/>
                      <a:pt x="33" y="87"/>
                      <a:pt x="32" y="87"/>
                    </a:cubicBezTo>
                    <a:cubicBezTo>
                      <a:pt x="33" y="87"/>
                      <a:pt x="33" y="87"/>
                      <a:pt x="34" y="86"/>
                    </a:cubicBezTo>
                    <a:cubicBezTo>
                      <a:pt x="34" y="86"/>
                      <a:pt x="34" y="86"/>
                      <a:pt x="34" y="86"/>
                    </a:cubicBezTo>
                    <a:close/>
                    <a:moveTo>
                      <a:pt x="35" y="87"/>
                    </a:moveTo>
                    <a:cubicBezTo>
                      <a:pt x="35" y="86"/>
                      <a:pt x="35" y="86"/>
                      <a:pt x="35" y="86"/>
                    </a:cubicBezTo>
                    <a:cubicBezTo>
                      <a:pt x="35" y="86"/>
                      <a:pt x="35" y="86"/>
                      <a:pt x="35" y="87"/>
                    </a:cubicBezTo>
                    <a:cubicBezTo>
                      <a:pt x="35" y="87"/>
                      <a:pt x="35" y="87"/>
                      <a:pt x="35" y="87"/>
                    </a:cubicBezTo>
                    <a:cubicBezTo>
                      <a:pt x="35" y="87"/>
                      <a:pt x="35" y="87"/>
                      <a:pt x="35" y="87"/>
                    </a:cubicBezTo>
                    <a:close/>
                    <a:moveTo>
                      <a:pt x="38" y="87"/>
                    </a:moveTo>
                    <a:cubicBezTo>
                      <a:pt x="38" y="86"/>
                      <a:pt x="38" y="86"/>
                      <a:pt x="38" y="86"/>
                    </a:cubicBezTo>
                    <a:cubicBezTo>
                      <a:pt x="38" y="86"/>
                      <a:pt x="38" y="87"/>
                      <a:pt x="37" y="87"/>
                    </a:cubicBezTo>
                    <a:cubicBezTo>
                      <a:pt x="38" y="87"/>
                      <a:pt x="38" y="87"/>
                      <a:pt x="38" y="87"/>
                    </a:cubicBezTo>
                    <a:cubicBezTo>
                      <a:pt x="38" y="87"/>
                      <a:pt x="38" y="87"/>
                      <a:pt x="38" y="87"/>
                    </a:cubicBezTo>
                    <a:close/>
                    <a:moveTo>
                      <a:pt x="36" y="87"/>
                    </a:moveTo>
                    <a:cubicBezTo>
                      <a:pt x="35" y="87"/>
                      <a:pt x="35" y="87"/>
                      <a:pt x="35" y="87"/>
                    </a:cubicBezTo>
                    <a:cubicBezTo>
                      <a:pt x="35" y="87"/>
                      <a:pt x="34" y="88"/>
                      <a:pt x="34" y="88"/>
                    </a:cubicBezTo>
                    <a:cubicBezTo>
                      <a:pt x="35" y="88"/>
                      <a:pt x="35" y="88"/>
                      <a:pt x="36" y="88"/>
                    </a:cubicBezTo>
                    <a:cubicBezTo>
                      <a:pt x="36" y="87"/>
                      <a:pt x="36" y="87"/>
                      <a:pt x="36" y="87"/>
                    </a:cubicBezTo>
                    <a:cubicBezTo>
                      <a:pt x="36" y="87"/>
                      <a:pt x="36" y="87"/>
                      <a:pt x="36" y="87"/>
                    </a:cubicBezTo>
                    <a:close/>
                    <a:moveTo>
                      <a:pt x="54" y="87"/>
                    </a:moveTo>
                    <a:cubicBezTo>
                      <a:pt x="53" y="87"/>
                      <a:pt x="53" y="87"/>
                      <a:pt x="53" y="87"/>
                    </a:cubicBezTo>
                    <a:cubicBezTo>
                      <a:pt x="53" y="87"/>
                      <a:pt x="53" y="87"/>
                      <a:pt x="53" y="87"/>
                    </a:cubicBezTo>
                    <a:cubicBezTo>
                      <a:pt x="53" y="87"/>
                      <a:pt x="53" y="87"/>
                      <a:pt x="54" y="87"/>
                    </a:cubicBezTo>
                    <a:cubicBezTo>
                      <a:pt x="54" y="87"/>
                      <a:pt x="54" y="87"/>
                      <a:pt x="54" y="87"/>
                    </a:cubicBezTo>
                    <a:close/>
                    <a:moveTo>
                      <a:pt x="55" y="87"/>
                    </a:moveTo>
                    <a:cubicBezTo>
                      <a:pt x="55" y="87"/>
                      <a:pt x="54" y="87"/>
                      <a:pt x="54" y="87"/>
                    </a:cubicBezTo>
                    <a:cubicBezTo>
                      <a:pt x="55" y="87"/>
                      <a:pt x="55" y="87"/>
                      <a:pt x="55" y="87"/>
                    </a:cubicBezTo>
                    <a:cubicBezTo>
                      <a:pt x="55" y="87"/>
                      <a:pt x="55" y="87"/>
                      <a:pt x="55" y="87"/>
                    </a:cubicBezTo>
                    <a:cubicBezTo>
                      <a:pt x="55" y="87"/>
                      <a:pt x="55" y="87"/>
                      <a:pt x="55" y="87"/>
                    </a:cubicBezTo>
                    <a:close/>
                    <a:moveTo>
                      <a:pt x="54" y="87"/>
                    </a:moveTo>
                    <a:cubicBezTo>
                      <a:pt x="54" y="87"/>
                      <a:pt x="54" y="87"/>
                      <a:pt x="53" y="87"/>
                    </a:cubicBezTo>
                    <a:cubicBezTo>
                      <a:pt x="53" y="87"/>
                      <a:pt x="53" y="88"/>
                      <a:pt x="53" y="88"/>
                    </a:cubicBezTo>
                    <a:cubicBezTo>
                      <a:pt x="55" y="88"/>
                      <a:pt x="57" y="89"/>
                      <a:pt x="59" y="89"/>
                    </a:cubicBezTo>
                    <a:cubicBezTo>
                      <a:pt x="58" y="89"/>
                      <a:pt x="57" y="88"/>
                      <a:pt x="56" y="88"/>
                    </a:cubicBezTo>
                    <a:cubicBezTo>
                      <a:pt x="56" y="88"/>
                      <a:pt x="56" y="88"/>
                      <a:pt x="56" y="88"/>
                    </a:cubicBezTo>
                    <a:cubicBezTo>
                      <a:pt x="56" y="88"/>
                      <a:pt x="56" y="88"/>
                      <a:pt x="56" y="88"/>
                    </a:cubicBezTo>
                    <a:cubicBezTo>
                      <a:pt x="56" y="88"/>
                      <a:pt x="55" y="87"/>
                      <a:pt x="54" y="87"/>
                    </a:cubicBezTo>
                    <a:cubicBezTo>
                      <a:pt x="54" y="87"/>
                      <a:pt x="54" y="87"/>
                      <a:pt x="54" y="87"/>
                    </a:cubicBezTo>
                    <a:close/>
                    <a:moveTo>
                      <a:pt x="53" y="87"/>
                    </a:moveTo>
                    <a:cubicBezTo>
                      <a:pt x="53" y="87"/>
                      <a:pt x="53" y="87"/>
                      <a:pt x="53" y="87"/>
                    </a:cubicBezTo>
                    <a:cubicBezTo>
                      <a:pt x="53" y="87"/>
                      <a:pt x="53" y="88"/>
                      <a:pt x="53" y="88"/>
                    </a:cubicBezTo>
                    <a:cubicBezTo>
                      <a:pt x="53" y="88"/>
                      <a:pt x="53" y="87"/>
                      <a:pt x="53" y="87"/>
                    </a:cubicBezTo>
                    <a:cubicBezTo>
                      <a:pt x="53" y="87"/>
                      <a:pt x="53" y="87"/>
                      <a:pt x="53" y="87"/>
                    </a:cubicBezTo>
                    <a:close/>
                    <a:moveTo>
                      <a:pt x="17" y="87"/>
                    </a:moveTo>
                    <a:cubicBezTo>
                      <a:pt x="17" y="87"/>
                      <a:pt x="17" y="87"/>
                      <a:pt x="17" y="87"/>
                    </a:cubicBezTo>
                    <a:cubicBezTo>
                      <a:pt x="18" y="87"/>
                      <a:pt x="18" y="87"/>
                      <a:pt x="18" y="88"/>
                    </a:cubicBezTo>
                    <a:cubicBezTo>
                      <a:pt x="18" y="88"/>
                      <a:pt x="17" y="87"/>
                      <a:pt x="17" y="87"/>
                    </a:cubicBezTo>
                    <a:cubicBezTo>
                      <a:pt x="17" y="87"/>
                      <a:pt x="17" y="87"/>
                      <a:pt x="17" y="87"/>
                    </a:cubicBezTo>
                    <a:close/>
                    <a:moveTo>
                      <a:pt x="6" y="87"/>
                    </a:moveTo>
                    <a:cubicBezTo>
                      <a:pt x="6" y="87"/>
                      <a:pt x="6" y="87"/>
                      <a:pt x="7" y="88"/>
                    </a:cubicBezTo>
                    <a:cubicBezTo>
                      <a:pt x="7" y="87"/>
                      <a:pt x="5" y="86"/>
                      <a:pt x="4" y="86"/>
                    </a:cubicBezTo>
                    <a:cubicBezTo>
                      <a:pt x="5" y="86"/>
                      <a:pt x="5" y="86"/>
                      <a:pt x="6" y="87"/>
                    </a:cubicBezTo>
                    <a:cubicBezTo>
                      <a:pt x="6" y="87"/>
                      <a:pt x="6" y="87"/>
                      <a:pt x="6" y="87"/>
                    </a:cubicBezTo>
                    <a:close/>
                    <a:moveTo>
                      <a:pt x="18" y="88"/>
                    </a:moveTo>
                    <a:cubicBezTo>
                      <a:pt x="16" y="87"/>
                      <a:pt x="17" y="87"/>
                      <a:pt x="15" y="89"/>
                    </a:cubicBezTo>
                    <a:cubicBezTo>
                      <a:pt x="18" y="90"/>
                      <a:pt x="17" y="90"/>
                      <a:pt x="21" y="90"/>
                    </a:cubicBezTo>
                    <a:cubicBezTo>
                      <a:pt x="20" y="90"/>
                      <a:pt x="20" y="89"/>
                      <a:pt x="20" y="89"/>
                    </a:cubicBezTo>
                    <a:cubicBezTo>
                      <a:pt x="20" y="89"/>
                      <a:pt x="20" y="89"/>
                      <a:pt x="20" y="89"/>
                    </a:cubicBezTo>
                    <a:cubicBezTo>
                      <a:pt x="19" y="89"/>
                      <a:pt x="19" y="88"/>
                      <a:pt x="18" y="88"/>
                    </a:cubicBezTo>
                    <a:cubicBezTo>
                      <a:pt x="18" y="88"/>
                      <a:pt x="18" y="88"/>
                      <a:pt x="18" y="88"/>
                    </a:cubicBezTo>
                    <a:close/>
                    <a:moveTo>
                      <a:pt x="65" y="88"/>
                    </a:moveTo>
                    <a:cubicBezTo>
                      <a:pt x="65" y="88"/>
                      <a:pt x="66" y="87"/>
                      <a:pt x="66" y="87"/>
                    </a:cubicBezTo>
                    <a:cubicBezTo>
                      <a:pt x="66" y="87"/>
                      <a:pt x="66" y="88"/>
                      <a:pt x="65" y="88"/>
                    </a:cubicBezTo>
                    <a:cubicBezTo>
                      <a:pt x="65" y="88"/>
                      <a:pt x="65" y="88"/>
                      <a:pt x="65" y="88"/>
                    </a:cubicBezTo>
                    <a:cubicBezTo>
                      <a:pt x="65" y="88"/>
                      <a:pt x="65" y="88"/>
                      <a:pt x="65" y="88"/>
                    </a:cubicBezTo>
                    <a:close/>
                    <a:moveTo>
                      <a:pt x="9" y="88"/>
                    </a:moveTo>
                    <a:cubicBezTo>
                      <a:pt x="9" y="88"/>
                      <a:pt x="9" y="87"/>
                      <a:pt x="9" y="87"/>
                    </a:cubicBezTo>
                    <a:cubicBezTo>
                      <a:pt x="11" y="87"/>
                      <a:pt x="13" y="88"/>
                      <a:pt x="15" y="89"/>
                    </a:cubicBezTo>
                    <a:cubicBezTo>
                      <a:pt x="14" y="89"/>
                      <a:pt x="14" y="90"/>
                      <a:pt x="13" y="89"/>
                    </a:cubicBezTo>
                    <a:cubicBezTo>
                      <a:pt x="11" y="89"/>
                      <a:pt x="10" y="89"/>
                      <a:pt x="9" y="88"/>
                    </a:cubicBezTo>
                    <a:cubicBezTo>
                      <a:pt x="9" y="88"/>
                      <a:pt x="9" y="88"/>
                      <a:pt x="9" y="88"/>
                    </a:cubicBezTo>
                    <a:close/>
                    <a:moveTo>
                      <a:pt x="65" y="88"/>
                    </a:moveTo>
                    <a:cubicBezTo>
                      <a:pt x="65" y="88"/>
                      <a:pt x="65" y="88"/>
                      <a:pt x="65" y="88"/>
                    </a:cubicBezTo>
                    <a:cubicBezTo>
                      <a:pt x="63" y="89"/>
                      <a:pt x="63" y="89"/>
                      <a:pt x="63" y="89"/>
                    </a:cubicBezTo>
                    <a:cubicBezTo>
                      <a:pt x="63" y="89"/>
                      <a:pt x="64" y="89"/>
                      <a:pt x="64" y="89"/>
                    </a:cubicBezTo>
                    <a:cubicBezTo>
                      <a:pt x="65" y="89"/>
                      <a:pt x="65" y="89"/>
                      <a:pt x="65" y="88"/>
                    </a:cubicBezTo>
                    <a:cubicBezTo>
                      <a:pt x="65" y="88"/>
                      <a:pt x="65" y="88"/>
                      <a:pt x="65" y="88"/>
                    </a:cubicBezTo>
                    <a:close/>
                    <a:moveTo>
                      <a:pt x="39" y="88"/>
                    </a:moveTo>
                    <a:cubicBezTo>
                      <a:pt x="39" y="88"/>
                      <a:pt x="38" y="88"/>
                      <a:pt x="38" y="88"/>
                    </a:cubicBezTo>
                    <a:cubicBezTo>
                      <a:pt x="38" y="89"/>
                      <a:pt x="39" y="89"/>
                      <a:pt x="39" y="89"/>
                    </a:cubicBezTo>
                    <a:cubicBezTo>
                      <a:pt x="39" y="89"/>
                      <a:pt x="39" y="88"/>
                      <a:pt x="39" y="88"/>
                    </a:cubicBezTo>
                    <a:cubicBezTo>
                      <a:pt x="39" y="88"/>
                      <a:pt x="39" y="88"/>
                      <a:pt x="39" y="88"/>
                    </a:cubicBezTo>
                    <a:cubicBezTo>
                      <a:pt x="39" y="88"/>
                      <a:pt x="39" y="88"/>
                      <a:pt x="39" y="88"/>
                    </a:cubicBezTo>
                    <a:close/>
                    <a:moveTo>
                      <a:pt x="50" y="88"/>
                    </a:moveTo>
                    <a:cubicBezTo>
                      <a:pt x="51" y="88"/>
                      <a:pt x="53" y="89"/>
                      <a:pt x="54" y="89"/>
                    </a:cubicBezTo>
                    <a:cubicBezTo>
                      <a:pt x="54" y="89"/>
                      <a:pt x="54" y="90"/>
                      <a:pt x="55" y="90"/>
                    </a:cubicBezTo>
                    <a:cubicBezTo>
                      <a:pt x="53" y="90"/>
                      <a:pt x="52" y="89"/>
                      <a:pt x="50" y="88"/>
                    </a:cubicBezTo>
                    <a:cubicBezTo>
                      <a:pt x="50" y="88"/>
                      <a:pt x="50" y="88"/>
                      <a:pt x="50" y="88"/>
                    </a:cubicBezTo>
                    <a:close/>
                    <a:moveTo>
                      <a:pt x="54" y="89"/>
                    </a:moveTo>
                    <a:cubicBezTo>
                      <a:pt x="55" y="89"/>
                      <a:pt x="57" y="91"/>
                      <a:pt x="58" y="92"/>
                    </a:cubicBezTo>
                    <a:cubicBezTo>
                      <a:pt x="57" y="91"/>
                      <a:pt x="55" y="91"/>
                      <a:pt x="55" y="90"/>
                    </a:cubicBezTo>
                    <a:cubicBezTo>
                      <a:pt x="55" y="90"/>
                      <a:pt x="54" y="89"/>
                      <a:pt x="54" y="89"/>
                    </a:cubicBezTo>
                    <a:cubicBezTo>
                      <a:pt x="54" y="89"/>
                      <a:pt x="54" y="89"/>
                      <a:pt x="54" y="89"/>
                    </a:cubicBezTo>
                    <a:close/>
                    <a:moveTo>
                      <a:pt x="67" y="89"/>
                    </a:moveTo>
                    <a:cubicBezTo>
                      <a:pt x="67" y="89"/>
                      <a:pt x="66" y="89"/>
                      <a:pt x="65" y="88"/>
                    </a:cubicBezTo>
                    <a:cubicBezTo>
                      <a:pt x="65" y="89"/>
                      <a:pt x="65" y="89"/>
                      <a:pt x="65" y="89"/>
                    </a:cubicBezTo>
                    <a:cubicBezTo>
                      <a:pt x="66" y="89"/>
                      <a:pt x="66" y="89"/>
                      <a:pt x="67" y="89"/>
                    </a:cubicBezTo>
                    <a:cubicBezTo>
                      <a:pt x="67" y="89"/>
                      <a:pt x="67" y="89"/>
                      <a:pt x="67" y="89"/>
                    </a:cubicBezTo>
                    <a:close/>
                    <a:moveTo>
                      <a:pt x="20" y="89"/>
                    </a:moveTo>
                    <a:cubicBezTo>
                      <a:pt x="20" y="89"/>
                      <a:pt x="19" y="88"/>
                      <a:pt x="19" y="88"/>
                    </a:cubicBezTo>
                    <a:cubicBezTo>
                      <a:pt x="22" y="88"/>
                      <a:pt x="25" y="89"/>
                      <a:pt x="29" y="90"/>
                    </a:cubicBezTo>
                    <a:cubicBezTo>
                      <a:pt x="27" y="90"/>
                      <a:pt x="25" y="90"/>
                      <a:pt x="23" y="90"/>
                    </a:cubicBezTo>
                    <a:cubicBezTo>
                      <a:pt x="22" y="90"/>
                      <a:pt x="21" y="90"/>
                      <a:pt x="20" y="89"/>
                    </a:cubicBezTo>
                    <a:cubicBezTo>
                      <a:pt x="20" y="89"/>
                      <a:pt x="20" y="89"/>
                      <a:pt x="20" y="89"/>
                    </a:cubicBezTo>
                    <a:close/>
                    <a:moveTo>
                      <a:pt x="57" y="89"/>
                    </a:moveTo>
                    <a:cubicBezTo>
                      <a:pt x="56" y="89"/>
                      <a:pt x="55" y="89"/>
                      <a:pt x="55" y="89"/>
                    </a:cubicBezTo>
                    <a:cubicBezTo>
                      <a:pt x="56" y="90"/>
                      <a:pt x="58" y="92"/>
                      <a:pt x="59" y="92"/>
                    </a:cubicBezTo>
                    <a:cubicBezTo>
                      <a:pt x="58" y="91"/>
                      <a:pt x="57" y="90"/>
                      <a:pt x="57" y="89"/>
                    </a:cubicBezTo>
                    <a:cubicBezTo>
                      <a:pt x="57" y="89"/>
                      <a:pt x="57" y="89"/>
                      <a:pt x="57" y="89"/>
                    </a:cubicBezTo>
                    <a:close/>
                    <a:moveTo>
                      <a:pt x="14" y="89"/>
                    </a:moveTo>
                    <a:cubicBezTo>
                      <a:pt x="14" y="89"/>
                      <a:pt x="14" y="89"/>
                      <a:pt x="15" y="89"/>
                    </a:cubicBezTo>
                    <a:cubicBezTo>
                      <a:pt x="16" y="89"/>
                      <a:pt x="17" y="90"/>
                      <a:pt x="17" y="90"/>
                    </a:cubicBezTo>
                    <a:cubicBezTo>
                      <a:pt x="16" y="90"/>
                      <a:pt x="15" y="90"/>
                      <a:pt x="14" y="89"/>
                    </a:cubicBezTo>
                    <a:cubicBezTo>
                      <a:pt x="14" y="89"/>
                      <a:pt x="14" y="89"/>
                      <a:pt x="14" y="89"/>
                    </a:cubicBezTo>
                    <a:close/>
                    <a:moveTo>
                      <a:pt x="69" y="90"/>
                    </a:moveTo>
                    <a:cubicBezTo>
                      <a:pt x="70" y="90"/>
                      <a:pt x="70" y="90"/>
                      <a:pt x="70" y="90"/>
                    </a:cubicBezTo>
                    <a:cubicBezTo>
                      <a:pt x="70" y="90"/>
                      <a:pt x="69" y="90"/>
                      <a:pt x="69" y="90"/>
                    </a:cubicBezTo>
                    <a:cubicBezTo>
                      <a:pt x="69" y="90"/>
                      <a:pt x="69" y="90"/>
                      <a:pt x="69" y="90"/>
                    </a:cubicBezTo>
                    <a:close/>
                    <a:moveTo>
                      <a:pt x="22" y="90"/>
                    </a:moveTo>
                    <a:cubicBezTo>
                      <a:pt x="22" y="90"/>
                      <a:pt x="21" y="90"/>
                      <a:pt x="20" y="90"/>
                    </a:cubicBezTo>
                    <a:cubicBezTo>
                      <a:pt x="21" y="90"/>
                      <a:pt x="21" y="90"/>
                      <a:pt x="21" y="90"/>
                    </a:cubicBezTo>
                    <a:cubicBezTo>
                      <a:pt x="21" y="90"/>
                      <a:pt x="22" y="90"/>
                      <a:pt x="22" y="90"/>
                    </a:cubicBezTo>
                    <a:cubicBezTo>
                      <a:pt x="22" y="90"/>
                      <a:pt x="22" y="90"/>
                      <a:pt x="22" y="90"/>
                    </a:cubicBezTo>
                    <a:close/>
                    <a:moveTo>
                      <a:pt x="15" y="90"/>
                    </a:moveTo>
                    <a:cubicBezTo>
                      <a:pt x="13" y="90"/>
                      <a:pt x="13" y="90"/>
                      <a:pt x="12" y="91"/>
                    </a:cubicBezTo>
                    <a:cubicBezTo>
                      <a:pt x="13" y="90"/>
                      <a:pt x="14" y="90"/>
                      <a:pt x="15" y="90"/>
                    </a:cubicBezTo>
                    <a:cubicBezTo>
                      <a:pt x="15" y="90"/>
                      <a:pt x="15" y="90"/>
                      <a:pt x="15" y="90"/>
                    </a:cubicBezTo>
                    <a:close/>
                    <a:moveTo>
                      <a:pt x="27" y="91"/>
                    </a:moveTo>
                    <a:cubicBezTo>
                      <a:pt x="27" y="91"/>
                      <a:pt x="26" y="91"/>
                      <a:pt x="26" y="91"/>
                    </a:cubicBezTo>
                    <a:cubicBezTo>
                      <a:pt x="25" y="91"/>
                      <a:pt x="25" y="91"/>
                      <a:pt x="25" y="92"/>
                    </a:cubicBezTo>
                    <a:cubicBezTo>
                      <a:pt x="26" y="91"/>
                      <a:pt x="26" y="91"/>
                      <a:pt x="27" y="91"/>
                    </a:cubicBezTo>
                    <a:cubicBezTo>
                      <a:pt x="27" y="91"/>
                      <a:pt x="27" y="91"/>
                      <a:pt x="27" y="91"/>
                    </a:cubicBezTo>
                    <a:close/>
                    <a:moveTo>
                      <a:pt x="58" y="92"/>
                    </a:moveTo>
                    <a:cubicBezTo>
                      <a:pt x="59" y="93"/>
                      <a:pt x="59" y="93"/>
                      <a:pt x="59" y="93"/>
                    </a:cubicBezTo>
                    <a:cubicBezTo>
                      <a:pt x="58" y="92"/>
                      <a:pt x="58" y="92"/>
                      <a:pt x="58" y="92"/>
                    </a:cubicBezTo>
                    <a:cubicBezTo>
                      <a:pt x="58" y="92"/>
                      <a:pt x="58" y="92"/>
                      <a:pt x="58"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6" name="Freeform 77">
                <a:extLst>
                  <a:ext uri="{FF2B5EF4-FFF2-40B4-BE49-F238E27FC236}">
                    <a16:creationId xmlns:a16="http://schemas.microsoft.com/office/drawing/2014/main" id="{0A77163D-4B31-4582-BC5B-7FD2B12B711A}"/>
                  </a:ext>
                </a:extLst>
              </p:cNvPr>
              <p:cNvSpPr>
                <a:spLocks noEditPoints="1"/>
              </p:cNvSpPr>
              <p:nvPr/>
            </p:nvSpPr>
            <p:spPr bwMode="auto">
              <a:xfrm>
                <a:off x="6075627" y="2107199"/>
                <a:ext cx="98910" cy="140839"/>
              </a:xfrm>
              <a:custGeom>
                <a:avLst/>
                <a:gdLst/>
                <a:ahLst/>
                <a:cxnLst>
                  <a:cxn ang="0">
                    <a:pos x="40" y="23"/>
                  </a:cxn>
                  <a:cxn ang="0">
                    <a:pos x="29" y="26"/>
                  </a:cxn>
                  <a:cxn ang="0">
                    <a:pos x="20" y="33"/>
                  </a:cxn>
                  <a:cxn ang="0">
                    <a:pos x="23" y="52"/>
                  </a:cxn>
                  <a:cxn ang="0">
                    <a:pos x="14" y="62"/>
                  </a:cxn>
                  <a:cxn ang="0">
                    <a:pos x="21" y="73"/>
                  </a:cxn>
                  <a:cxn ang="0">
                    <a:pos x="32" y="83"/>
                  </a:cxn>
                  <a:cxn ang="0">
                    <a:pos x="55" y="88"/>
                  </a:cxn>
                  <a:cxn ang="0">
                    <a:pos x="62" y="83"/>
                  </a:cxn>
                  <a:cxn ang="0">
                    <a:pos x="46" y="71"/>
                  </a:cxn>
                  <a:cxn ang="0">
                    <a:pos x="69" y="62"/>
                  </a:cxn>
                  <a:cxn ang="0">
                    <a:pos x="69" y="43"/>
                  </a:cxn>
                  <a:cxn ang="0">
                    <a:pos x="59" y="33"/>
                  </a:cxn>
                  <a:cxn ang="0">
                    <a:pos x="55" y="21"/>
                  </a:cxn>
                  <a:cxn ang="0">
                    <a:pos x="36" y="9"/>
                  </a:cxn>
                  <a:cxn ang="0">
                    <a:pos x="53" y="22"/>
                  </a:cxn>
                  <a:cxn ang="0">
                    <a:pos x="40" y="24"/>
                  </a:cxn>
                  <a:cxn ang="0">
                    <a:pos x="60" y="28"/>
                  </a:cxn>
                  <a:cxn ang="0">
                    <a:pos x="29" y="26"/>
                  </a:cxn>
                  <a:cxn ang="0">
                    <a:pos x="55" y="30"/>
                  </a:cxn>
                  <a:cxn ang="0">
                    <a:pos x="44" y="30"/>
                  </a:cxn>
                  <a:cxn ang="0">
                    <a:pos x="50" y="32"/>
                  </a:cxn>
                  <a:cxn ang="0">
                    <a:pos x="41" y="32"/>
                  </a:cxn>
                  <a:cxn ang="0">
                    <a:pos x="65" y="38"/>
                  </a:cxn>
                  <a:cxn ang="0">
                    <a:pos x="55" y="38"/>
                  </a:cxn>
                  <a:cxn ang="0">
                    <a:pos x="55" y="39"/>
                  </a:cxn>
                  <a:cxn ang="0">
                    <a:pos x="50" y="44"/>
                  </a:cxn>
                  <a:cxn ang="0">
                    <a:pos x="54" y="54"/>
                  </a:cxn>
                  <a:cxn ang="0">
                    <a:pos x="24" y="39"/>
                  </a:cxn>
                  <a:cxn ang="0">
                    <a:pos x="49" y="46"/>
                  </a:cxn>
                  <a:cxn ang="0">
                    <a:pos x="64" y="50"/>
                  </a:cxn>
                  <a:cxn ang="0">
                    <a:pos x="52" y="47"/>
                  </a:cxn>
                  <a:cxn ang="0">
                    <a:pos x="26" y="48"/>
                  </a:cxn>
                  <a:cxn ang="0">
                    <a:pos x="25" y="49"/>
                  </a:cxn>
                  <a:cxn ang="0">
                    <a:pos x="59" y="60"/>
                  </a:cxn>
                  <a:cxn ang="0">
                    <a:pos x="33" y="56"/>
                  </a:cxn>
                  <a:cxn ang="0">
                    <a:pos x="50" y="54"/>
                  </a:cxn>
                  <a:cxn ang="0">
                    <a:pos x="43" y="54"/>
                  </a:cxn>
                  <a:cxn ang="0">
                    <a:pos x="29" y="53"/>
                  </a:cxn>
                  <a:cxn ang="0">
                    <a:pos x="46" y="57"/>
                  </a:cxn>
                  <a:cxn ang="0">
                    <a:pos x="35" y="59"/>
                  </a:cxn>
                  <a:cxn ang="0">
                    <a:pos x="45" y="66"/>
                  </a:cxn>
                  <a:cxn ang="0">
                    <a:pos x="37" y="61"/>
                  </a:cxn>
                  <a:cxn ang="0">
                    <a:pos x="30" y="60"/>
                  </a:cxn>
                  <a:cxn ang="0">
                    <a:pos x="39" y="62"/>
                  </a:cxn>
                  <a:cxn ang="0">
                    <a:pos x="19" y="65"/>
                  </a:cxn>
                  <a:cxn ang="0">
                    <a:pos x="44" y="67"/>
                  </a:cxn>
                  <a:cxn ang="0">
                    <a:pos x="43" y="68"/>
                  </a:cxn>
                  <a:cxn ang="0">
                    <a:pos x="44" y="69"/>
                  </a:cxn>
                  <a:cxn ang="0">
                    <a:pos x="45" y="71"/>
                  </a:cxn>
                  <a:cxn ang="0">
                    <a:pos x="41" y="71"/>
                  </a:cxn>
                  <a:cxn ang="0">
                    <a:pos x="40" y="73"/>
                  </a:cxn>
                  <a:cxn ang="0">
                    <a:pos x="36" y="74"/>
                  </a:cxn>
                  <a:cxn ang="0">
                    <a:pos x="22" y="73"/>
                  </a:cxn>
                  <a:cxn ang="0">
                    <a:pos x="29" y="75"/>
                  </a:cxn>
                  <a:cxn ang="0">
                    <a:pos x="22" y="81"/>
                  </a:cxn>
                  <a:cxn ang="0">
                    <a:pos x="52" y="83"/>
                  </a:cxn>
                  <a:cxn ang="0">
                    <a:pos x="40" y="80"/>
                  </a:cxn>
                  <a:cxn ang="0">
                    <a:pos x="35" y="81"/>
                  </a:cxn>
                  <a:cxn ang="0">
                    <a:pos x="53" y="84"/>
                  </a:cxn>
                  <a:cxn ang="0">
                    <a:pos x="29" y="83"/>
                  </a:cxn>
                  <a:cxn ang="0">
                    <a:pos x="16" y="82"/>
                  </a:cxn>
                  <a:cxn ang="0">
                    <a:pos x="61" y="88"/>
                  </a:cxn>
                </a:cxnLst>
                <a:rect l="0" t="0" r="r" b="b"/>
                <a:pathLst>
                  <a:path w="78" h="111">
                    <a:moveTo>
                      <a:pt x="51" y="1"/>
                    </a:moveTo>
                    <a:cubicBezTo>
                      <a:pt x="51" y="1"/>
                      <a:pt x="51" y="2"/>
                      <a:pt x="51" y="2"/>
                    </a:cubicBezTo>
                    <a:cubicBezTo>
                      <a:pt x="51" y="2"/>
                      <a:pt x="51" y="2"/>
                      <a:pt x="51" y="2"/>
                    </a:cubicBezTo>
                    <a:cubicBezTo>
                      <a:pt x="51" y="3"/>
                      <a:pt x="50" y="4"/>
                      <a:pt x="50" y="4"/>
                    </a:cubicBezTo>
                    <a:cubicBezTo>
                      <a:pt x="50" y="4"/>
                      <a:pt x="50" y="2"/>
                      <a:pt x="49" y="2"/>
                    </a:cubicBezTo>
                    <a:cubicBezTo>
                      <a:pt x="50" y="4"/>
                      <a:pt x="50" y="4"/>
                      <a:pt x="50" y="7"/>
                    </a:cubicBezTo>
                    <a:cubicBezTo>
                      <a:pt x="50" y="6"/>
                      <a:pt x="49" y="6"/>
                      <a:pt x="49" y="5"/>
                    </a:cubicBezTo>
                    <a:cubicBezTo>
                      <a:pt x="49" y="5"/>
                      <a:pt x="49" y="5"/>
                      <a:pt x="49" y="5"/>
                    </a:cubicBezTo>
                    <a:cubicBezTo>
                      <a:pt x="49" y="4"/>
                      <a:pt x="49" y="4"/>
                      <a:pt x="49" y="4"/>
                    </a:cubicBezTo>
                    <a:cubicBezTo>
                      <a:pt x="49" y="4"/>
                      <a:pt x="49" y="4"/>
                      <a:pt x="49" y="4"/>
                    </a:cubicBezTo>
                    <a:cubicBezTo>
                      <a:pt x="50" y="7"/>
                      <a:pt x="50" y="7"/>
                      <a:pt x="49" y="11"/>
                    </a:cubicBezTo>
                    <a:cubicBezTo>
                      <a:pt x="49" y="13"/>
                      <a:pt x="48" y="15"/>
                      <a:pt x="48" y="17"/>
                    </a:cubicBezTo>
                    <a:cubicBezTo>
                      <a:pt x="47" y="14"/>
                      <a:pt x="45" y="12"/>
                      <a:pt x="44" y="10"/>
                    </a:cubicBezTo>
                    <a:cubicBezTo>
                      <a:pt x="46" y="12"/>
                      <a:pt x="47" y="15"/>
                      <a:pt x="48" y="17"/>
                    </a:cubicBezTo>
                    <a:cubicBezTo>
                      <a:pt x="47" y="18"/>
                      <a:pt x="47" y="19"/>
                      <a:pt x="47" y="20"/>
                    </a:cubicBezTo>
                    <a:cubicBezTo>
                      <a:pt x="46" y="18"/>
                      <a:pt x="46" y="16"/>
                      <a:pt x="45" y="14"/>
                    </a:cubicBezTo>
                    <a:cubicBezTo>
                      <a:pt x="42" y="11"/>
                      <a:pt x="42" y="11"/>
                      <a:pt x="45" y="14"/>
                    </a:cubicBezTo>
                    <a:cubicBezTo>
                      <a:pt x="43" y="16"/>
                      <a:pt x="42" y="18"/>
                      <a:pt x="41" y="20"/>
                    </a:cubicBezTo>
                    <a:cubicBezTo>
                      <a:pt x="39" y="17"/>
                      <a:pt x="39" y="20"/>
                      <a:pt x="39" y="17"/>
                    </a:cubicBezTo>
                    <a:cubicBezTo>
                      <a:pt x="39" y="16"/>
                      <a:pt x="39" y="16"/>
                      <a:pt x="39" y="16"/>
                    </a:cubicBezTo>
                    <a:cubicBezTo>
                      <a:pt x="39" y="16"/>
                      <a:pt x="39" y="16"/>
                      <a:pt x="39" y="16"/>
                    </a:cubicBezTo>
                    <a:cubicBezTo>
                      <a:pt x="39" y="17"/>
                      <a:pt x="39" y="17"/>
                      <a:pt x="39" y="18"/>
                    </a:cubicBezTo>
                    <a:cubicBezTo>
                      <a:pt x="38" y="17"/>
                      <a:pt x="37" y="13"/>
                      <a:pt x="37" y="11"/>
                    </a:cubicBezTo>
                    <a:cubicBezTo>
                      <a:pt x="36" y="9"/>
                      <a:pt x="36" y="9"/>
                      <a:pt x="36" y="9"/>
                    </a:cubicBezTo>
                    <a:cubicBezTo>
                      <a:pt x="36" y="8"/>
                      <a:pt x="37" y="7"/>
                      <a:pt x="37" y="6"/>
                    </a:cubicBezTo>
                    <a:cubicBezTo>
                      <a:pt x="37" y="7"/>
                      <a:pt x="36" y="8"/>
                      <a:pt x="36" y="9"/>
                    </a:cubicBezTo>
                    <a:cubicBezTo>
                      <a:pt x="36" y="7"/>
                      <a:pt x="35" y="7"/>
                      <a:pt x="35" y="6"/>
                    </a:cubicBezTo>
                    <a:cubicBezTo>
                      <a:pt x="35" y="6"/>
                      <a:pt x="35" y="7"/>
                      <a:pt x="35" y="7"/>
                    </a:cubicBezTo>
                    <a:cubicBezTo>
                      <a:pt x="35" y="7"/>
                      <a:pt x="35" y="7"/>
                      <a:pt x="35" y="7"/>
                    </a:cubicBezTo>
                    <a:cubicBezTo>
                      <a:pt x="35" y="7"/>
                      <a:pt x="35" y="7"/>
                      <a:pt x="35" y="7"/>
                    </a:cubicBezTo>
                    <a:cubicBezTo>
                      <a:pt x="35" y="7"/>
                      <a:pt x="37" y="13"/>
                      <a:pt x="37" y="14"/>
                    </a:cubicBezTo>
                    <a:cubicBezTo>
                      <a:pt x="37" y="13"/>
                      <a:pt x="32" y="9"/>
                      <a:pt x="32" y="10"/>
                    </a:cubicBezTo>
                    <a:cubicBezTo>
                      <a:pt x="33" y="10"/>
                      <a:pt x="37" y="13"/>
                      <a:pt x="37" y="14"/>
                    </a:cubicBezTo>
                    <a:cubicBezTo>
                      <a:pt x="37" y="15"/>
                      <a:pt x="38" y="15"/>
                      <a:pt x="38" y="16"/>
                    </a:cubicBezTo>
                    <a:cubicBezTo>
                      <a:pt x="36" y="14"/>
                      <a:pt x="36" y="14"/>
                      <a:pt x="36" y="14"/>
                    </a:cubicBezTo>
                    <a:cubicBezTo>
                      <a:pt x="36" y="14"/>
                      <a:pt x="36" y="14"/>
                      <a:pt x="36" y="14"/>
                    </a:cubicBezTo>
                    <a:cubicBezTo>
                      <a:pt x="36" y="14"/>
                      <a:pt x="37" y="15"/>
                      <a:pt x="37" y="16"/>
                    </a:cubicBezTo>
                    <a:cubicBezTo>
                      <a:pt x="35" y="14"/>
                      <a:pt x="34" y="13"/>
                      <a:pt x="33" y="13"/>
                    </a:cubicBezTo>
                    <a:cubicBezTo>
                      <a:pt x="41" y="18"/>
                      <a:pt x="36" y="15"/>
                      <a:pt x="42" y="24"/>
                    </a:cubicBezTo>
                    <a:cubicBezTo>
                      <a:pt x="41" y="24"/>
                      <a:pt x="40" y="24"/>
                      <a:pt x="40" y="23"/>
                    </a:cubicBezTo>
                    <a:cubicBezTo>
                      <a:pt x="40" y="23"/>
                      <a:pt x="40" y="23"/>
                      <a:pt x="40" y="23"/>
                    </a:cubicBezTo>
                    <a:cubicBezTo>
                      <a:pt x="39" y="23"/>
                      <a:pt x="38" y="23"/>
                      <a:pt x="37" y="22"/>
                    </a:cubicBezTo>
                    <a:cubicBezTo>
                      <a:pt x="38" y="22"/>
                      <a:pt x="38" y="21"/>
                      <a:pt x="39" y="21"/>
                    </a:cubicBezTo>
                    <a:cubicBezTo>
                      <a:pt x="37" y="22"/>
                      <a:pt x="37" y="22"/>
                      <a:pt x="37" y="22"/>
                    </a:cubicBezTo>
                    <a:cubicBezTo>
                      <a:pt x="36" y="22"/>
                      <a:pt x="36" y="22"/>
                      <a:pt x="35" y="22"/>
                    </a:cubicBezTo>
                    <a:cubicBezTo>
                      <a:pt x="35" y="22"/>
                      <a:pt x="35" y="21"/>
                      <a:pt x="35" y="21"/>
                    </a:cubicBezTo>
                    <a:cubicBezTo>
                      <a:pt x="35" y="21"/>
                      <a:pt x="35" y="22"/>
                      <a:pt x="35" y="22"/>
                    </a:cubicBezTo>
                    <a:cubicBezTo>
                      <a:pt x="35" y="22"/>
                      <a:pt x="35" y="21"/>
                      <a:pt x="34" y="21"/>
                    </a:cubicBezTo>
                    <a:cubicBezTo>
                      <a:pt x="34" y="21"/>
                      <a:pt x="34" y="21"/>
                      <a:pt x="34" y="21"/>
                    </a:cubicBezTo>
                    <a:cubicBezTo>
                      <a:pt x="34" y="21"/>
                      <a:pt x="34" y="21"/>
                      <a:pt x="34" y="21"/>
                    </a:cubicBezTo>
                    <a:cubicBezTo>
                      <a:pt x="34" y="21"/>
                      <a:pt x="34" y="21"/>
                      <a:pt x="34" y="21"/>
                    </a:cubicBezTo>
                    <a:cubicBezTo>
                      <a:pt x="33" y="21"/>
                      <a:pt x="33" y="21"/>
                      <a:pt x="32" y="21"/>
                    </a:cubicBezTo>
                    <a:cubicBezTo>
                      <a:pt x="33" y="21"/>
                      <a:pt x="33" y="21"/>
                      <a:pt x="34" y="21"/>
                    </a:cubicBezTo>
                    <a:cubicBezTo>
                      <a:pt x="34" y="22"/>
                      <a:pt x="35" y="23"/>
                      <a:pt x="35" y="24"/>
                    </a:cubicBezTo>
                    <a:cubicBezTo>
                      <a:pt x="34" y="22"/>
                      <a:pt x="33" y="21"/>
                      <a:pt x="32" y="21"/>
                    </a:cubicBezTo>
                    <a:cubicBezTo>
                      <a:pt x="35" y="24"/>
                      <a:pt x="35" y="26"/>
                      <a:pt x="36" y="29"/>
                    </a:cubicBezTo>
                    <a:cubicBezTo>
                      <a:pt x="35" y="28"/>
                      <a:pt x="35" y="28"/>
                      <a:pt x="34" y="26"/>
                    </a:cubicBezTo>
                    <a:cubicBezTo>
                      <a:pt x="34" y="25"/>
                      <a:pt x="33" y="24"/>
                      <a:pt x="32" y="24"/>
                    </a:cubicBezTo>
                    <a:cubicBezTo>
                      <a:pt x="32" y="22"/>
                      <a:pt x="31" y="21"/>
                      <a:pt x="31" y="21"/>
                    </a:cubicBezTo>
                    <a:cubicBezTo>
                      <a:pt x="32" y="23"/>
                      <a:pt x="33" y="25"/>
                      <a:pt x="34" y="28"/>
                    </a:cubicBezTo>
                    <a:cubicBezTo>
                      <a:pt x="33" y="27"/>
                      <a:pt x="33" y="27"/>
                      <a:pt x="32" y="27"/>
                    </a:cubicBezTo>
                    <a:cubicBezTo>
                      <a:pt x="32" y="27"/>
                      <a:pt x="31" y="25"/>
                      <a:pt x="30" y="25"/>
                    </a:cubicBezTo>
                    <a:cubicBezTo>
                      <a:pt x="30" y="24"/>
                      <a:pt x="29" y="22"/>
                      <a:pt x="28" y="21"/>
                    </a:cubicBezTo>
                    <a:cubicBezTo>
                      <a:pt x="28" y="21"/>
                      <a:pt x="28" y="17"/>
                      <a:pt x="28" y="16"/>
                    </a:cubicBezTo>
                    <a:cubicBezTo>
                      <a:pt x="28" y="18"/>
                      <a:pt x="28" y="19"/>
                      <a:pt x="28" y="21"/>
                    </a:cubicBezTo>
                    <a:cubicBezTo>
                      <a:pt x="26" y="17"/>
                      <a:pt x="27" y="19"/>
                      <a:pt x="26" y="16"/>
                    </a:cubicBezTo>
                    <a:cubicBezTo>
                      <a:pt x="26" y="17"/>
                      <a:pt x="26" y="18"/>
                      <a:pt x="26" y="18"/>
                    </a:cubicBezTo>
                    <a:cubicBezTo>
                      <a:pt x="26" y="18"/>
                      <a:pt x="25" y="17"/>
                      <a:pt x="25" y="16"/>
                    </a:cubicBezTo>
                    <a:cubicBezTo>
                      <a:pt x="25" y="16"/>
                      <a:pt x="25" y="16"/>
                      <a:pt x="25" y="16"/>
                    </a:cubicBezTo>
                    <a:cubicBezTo>
                      <a:pt x="25" y="16"/>
                      <a:pt x="25" y="16"/>
                      <a:pt x="24" y="16"/>
                    </a:cubicBezTo>
                    <a:cubicBezTo>
                      <a:pt x="25" y="16"/>
                      <a:pt x="25" y="16"/>
                      <a:pt x="25" y="16"/>
                    </a:cubicBezTo>
                    <a:cubicBezTo>
                      <a:pt x="25" y="16"/>
                      <a:pt x="25" y="16"/>
                      <a:pt x="25" y="17"/>
                    </a:cubicBezTo>
                    <a:cubicBezTo>
                      <a:pt x="26" y="18"/>
                      <a:pt x="27" y="20"/>
                      <a:pt x="28" y="22"/>
                    </a:cubicBezTo>
                    <a:cubicBezTo>
                      <a:pt x="27" y="21"/>
                      <a:pt x="26" y="20"/>
                      <a:pt x="26" y="20"/>
                    </a:cubicBezTo>
                    <a:cubicBezTo>
                      <a:pt x="28" y="22"/>
                      <a:pt x="29" y="23"/>
                      <a:pt x="30" y="26"/>
                    </a:cubicBezTo>
                    <a:cubicBezTo>
                      <a:pt x="30" y="26"/>
                      <a:pt x="29" y="26"/>
                      <a:pt x="29" y="25"/>
                    </a:cubicBezTo>
                    <a:cubicBezTo>
                      <a:pt x="29" y="25"/>
                      <a:pt x="30" y="26"/>
                      <a:pt x="30" y="26"/>
                    </a:cubicBezTo>
                    <a:cubicBezTo>
                      <a:pt x="29" y="26"/>
                      <a:pt x="28" y="25"/>
                      <a:pt x="27" y="25"/>
                    </a:cubicBezTo>
                    <a:cubicBezTo>
                      <a:pt x="26" y="24"/>
                      <a:pt x="26" y="24"/>
                      <a:pt x="25" y="24"/>
                    </a:cubicBezTo>
                    <a:cubicBezTo>
                      <a:pt x="26" y="24"/>
                      <a:pt x="28" y="25"/>
                      <a:pt x="29" y="26"/>
                    </a:cubicBezTo>
                    <a:cubicBezTo>
                      <a:pt x="26" y="25"/>
                      <a:pt x="24" y="25"/>
                      <a:pt x="22" y="25"/>
                    </a:cubicBezTo>
                    <a:cubicBezTo>
                      <a:pt x="24" y="25"/>
                      <a:pt x="27" y="25"/>
                      <a:pt x="29" y="26"/>
                    </a:cubicBezTo>
                    <a:cubicBezTo>
                      <a:pt x="30" y="26"/>
                      <a:pt x="31" y="27"/>
                      <a:pt x="32" y="28"/>
                    </a:cubicBezTo>
                    <a:cubicBezTo>
                      <a:pt x="34" y="31"/>
                      <a:pt x="34" y="31"/>
                      <a:pt x="34" y="31"/>
                    </a:cubicBezTo>
                    <a:cubicBezTo>
                      <a:pt x="34" y="30"/>
                      <a:pt x="33" y="30"/>
                      <a:pt x="32" y="30"/>
                    </a:cubicBezTo>
                    <a:cubicBezTo>
                      <a:pt x="36" y="31"/>
                      <a:pt x="34" y="30"/>
                      <a:pt x="37" y="33"/>
                    </a:cubicBezTo>
                    <a:cubicBezTo>
                      <a:pt x="35" y="33"/>
                      <a:pt x="33" y="32"/>
                      <a:pt x="31" y="32"/>
                    </a:cubicBezTo>
                    <a:cubicBezTo>
                      <a:pt x="31" y="32"/>
                      <a:pt x="31" y="32"/>
                      <a:pt x="31" y="32"/>
                    </a:cubicBezTo>
                    <a:cubicBezTo>
                      <a:pt x="33" y="32"/>
                      <a:pt x="37" y="33"/>
                      <a:pt x="39" y="35"/>
                    </a:cubicBezTo>
                    <a:cubicBezTo>
                      <a:pt x="39" y="35"/>
                      <a:pt x="39" y="35"/>
                      <a:pt x="39" y="36"/>
                    </a:cubicBezTo>
                    <a:cubicBezTo>
                      <a:pt x="39" y="36"/>
                      <a:pt x="38" y="36"/>
                      <a:pt x="37" y="36"/>
                    </a:cubicBezTo>
                    <a:cubicBezTo>
                      <a:pt x="35" y="34"/>
                      <a:pt x="34" y="33"/>
                      <a:pt x="34" y="33"/>
                    </a:cubicBezTo>
                    <a:cubicBezTo>
                      <a:pt x="35" y="34"/>
                      <a:pt x="36" y="35"/>
                      <a:pt x="37" y="36"/>
                    </a:cubicBezTo>
                    <a:cubicBezTo>
                      <a:pt x="36" y="36"/>
                      <a:pt x="32" y="35"/>
                      <a:pt x="30" y="35"/>
                    </a:cubicBezTo>
                    <a:cubicBezTo>
                      <a:pt x="32" y="36"/>
                      <a:pt x="34" y="36"/>
                      <a:pt x="36" y="36"/>
                    </a:cubicBezTo>
                    <a:cubicBezTo>
                      <a:pt x="34" y="37"/>
                      <a:pt x="32" y="37"/>
                      <a:pt x="30" y="37"/>
                    </a:cubicBezTo>
                    <a:cubicBezTo>
                      <a:pt x="38" y="37"/>
                      <a:pt x="36" y="35"/>
                      <a:pt x="40" y="40"/>
                    </a:cubicBezTo>
                    <a:cubicBezTo>
                      <a:pt x="40" y="40"/>
                      <a:pt x="40" y="40"/>
                      <a:pt x="40" y="40"/>
                    </a:cubicBezTo>
                    <a:cubicBezTo>
                      <a:pt x="38" y="40"/>
                      <a:pt x="36" y="39"/>
                      <a:pt x="34" y="39"/>
                    </a:cubicBezTo>
                    <a:cubicBezTo>
                      <a:pt x="36" y="39"/>
                      <a:pt x="38" y="40"/>
                      <a:pt x="39" y="40"/>
                    </a:cubicBezTo>
                    <a:cubicBezTo>
                      <a:pt x="38" y="41"/>
                      <a:pt x="37" y="41"/>
                      <a:pt x="36" y="42"/>
                    </a:cubicBezTo>
                    <a:cubicBezTo>
                      <a:pt x="36" y="42"/>
                      <a:pt x="37" y="41"/>
                      <a:pt x="40" y="40"/>
                    </a:cubicBezTo>
                    <a:cubicBezTo>
                      <a:pt x="40" y="40"/>
                      <a:pt x="41" y="40"/>
                      <a:pt x="41" y="42"/>
                    </a:cubicBezTo>
                    <a:cubicBezTo>
                      <a:pt x="41" y="42"/>
                      <a:pt x="41" y="42"/>
                      <a:pt x="41" y="43"/>
                    </a:cubicBezTo>
                    <a:cubicBezTo>
                      <a:pt x="42" y="46"/>
                      <a:pt x="42" y="43"/>
                      <a:pt x="41" y="48"/>
                    </a:cubicBezTo>
                    <a:cubicBezTo>
                      <a:pt x="38" y="47"/>
                      <a:pt x="38" y="47"/>
                      <a:pt x="35" y="46"/>
                    </a:cubicBezTo>
                    <a:cubicBezTo>
                      <a:pt x="33" y="43"/>
                      <a:pt x="31" y="40"/>
                      <a:pt x="29" y="38"/>
                    </a:cubicBezTo>
                    <a:cubicBezTo>
                      <a:pt x="31" y="41"/>
                      <a:pt x="33" y="43"/>
                      <a:pt x="34" y="46"/>
                    </a:cubicBezTo>
                    <a:cubicBezTo>
                      <a:pt x="33" y="46"/>
                      <a:pt x="32" y="46"/>
                      <a:pt x="32" y="45"/>
                    </a:cubicBezTo>
                    <a:cubicBezTo>
                      <a:pt x="31" y="45"/>
                      <a:pt x="31" y="44"/>
                      <a:pt x="31" y="44"/>
                    </a:cubicBezTo>
                    <a:cubicBezTo>
                      <a:pt x="29" y="42"/>
                      <a:pt x="27" y="40"/>
                      <a:pt x="24" y="38"/>
                    </a:cubicBezTo>
                    <a:cubicBezTo>
                      <a:pt x="24" y="35"/>
                      <a:pt x="24" y="33"/>
                      <a:pt x="24" y="33"/>
                    </a:cubicBezTo>
                    <a:cubicBezTo>
                      <a:pt x="24" y="35"/>
                      <a:pt x="24" y="37"/>
                      <a:pt x="24" y="39"/>
                    </a:cubicBezTo>
                    <a:cubicBezTo>
                      <a:pt x="22" y="37"/>
                      <a:pt x="21" y="35"/>
                      <a:pt x="20" y="33"/>
                    </a:cubicBezTo>
                    <a:cubicBezTo>
                      <a:pt x="20" y="33"/>
                      <a:pt x="20" y="33"/>
                      <a:pt x="20" y="33"/>
                    </a:cubicBezTo>
                    <a:cubicBezTo>
                      <a:pt x="20" y="32"/>
                      <a:pt x="19" y="32"/>
                      <a:pt x="19" y="32"/>
                    </a:cubicBezTo>
                    <a:cubicBezTo>
                      <a:pt x="19" y="32"/>
                      <a:pt x="19" y="32"/>
                      <a:pt x="19" y="32"/>
                    </a:cubicBezTo>
                    <a:cubicBezTo>
                      <a:pt x="19" y="32"/>
                      <a:pt x="18" y="32"/>
                      <a:pt x="18" y="32"/>
                    </a:cubicBezTo>
                    <a:cubicBezTo>
                      <a:pt x="18" y="32"/>
                      <a:pt x="19" y="32"/>
                      <a:pt x="20" y="33"/>
                    </a:cubicBezTo>
                    <a:cubicBezTo>
                      <a:pt x="20" y="33"/>
                      <a:pt x="20" y="33"/>
                      <a:pt x="20" y="33"/>
                    </a:cubicBezTo>
                    <a:cubicBezTo>
                      <a:pt x="20" y="33"/>
                      <a:pt x="20" y="33"/>
                      <a:pt x="20" y="33"/>
                    </a:cubicBezTo>
                    <a:cubicBezTo>
                      <a:pt x="20" y="33"/>
                      <a:pt x="20" y="33"/>
                      <a:pt x="20" y="33"/>
                    </a:cubicBezTo>
                    <a:cubicBezTo>
                      <a:pt x="20" y="33"/>
                      <a:pt x="20" y="33"/>
                      <a:pt x="20" y="33"/>
                    </a:cubicBezTo>
                    <a:cubicBezTo>
                      <a:pt x="20" y="33"/>
                      <a:pt x="21" y="34"/>
                      <a:pt x="21" y="35"/>
                    </a:cubicBezTo>
                    <a:cubicBezTo>
                      <a:pt x="18" y="33"/>
                      <a:pt x="17" y="33"/>
                      <a:pt x="17" y="33"/>
                    </a:cubicBezTo>
                    <a:cubicBezTo>
                      <a:pt x="18" y="33"/>
                      <a:pt x="20" y="34"/>
                      <a:pt x="21" y="35"/>
                    </a:cubicBezTo>
                    <a:cubicBezTo>
                      <a:pt x="21" y="36"/>
                      <a:pt x="22" y="36"/>
                      <a:pt x="22" y="37"/>
                    </a:cubicBezTo>
                    <a:cubicBezTo>
                      <a:pt x="24" y="39"/>
                      <a:pt x="25" y="41"/>
                      <a:pt x="27" y="43"/>
                    </a:cubicBezTo>
                    <a:cubicBezTo>
                      <a:pt x="22" y="43"/>
                      <a:pt x="22" y="43"/>
                      <a:pt x="22" y="43"/>
                    </a:cubicBezTo>
                    <a:cubicBezTo>
                      <a:pt x="21" y="42"/>
                      <a:pt x="21" y="39"/>
                      <a:pt x="20" y="38"/>
                    </a:cubicBezTo>
                    <a:cubicBezTo>
                      <a:pt x="21" y="40"/>
                      <a:pt x="22" y="41"/>
                      <a:pt x="22" y="42"/>
                    </a:cubicBezTo>
                    <a:cubicBezTo>
                      <a:pt x="21" y="41"/>
                      <a:pt x="19" y="39"/>
                      <a:pt x="18" y="38"/>
                    </a:cubicBezTo>
                    <a:cubicBezTo>
                      <a:pt x="18" y="38"/>
                      <a:pt x="22" y="42"/>
                      <a:pt x="22" y="43"/>
                    </a:cubicBezTo>
                    <a:cubicBezTo>
                      <a:pt x="22" y="43"/>
                      <a:pt x="22" y="43"/>
                      <a:pt x="22" y="43"/>
                    </a:cubicBezTo>
                    <a:cubicBezTo>
                      <a:pt x="20" y="43"/>
                      <a:pt x="21" y="42"/>
                      <a:pt x="19" y="41"/>
                    </a:cubicBezTo>
                    <a:cubicBezTo>
                      <a:pt x="19" y="40"/>
                      <a:pt x="19" y="40"/>
                      <a:pt x="19" y="40"/>
                    </a:cubicBezTo>
                    <a:cubicBezTo>
                      <a:pt x="19" y="40"/>
                      <a:pt x="19" y="41"/>
                      <a:pt x="20" y="42"/>
                    </a:cubicBezTo>
                    <a:cubicBezTo>
                      <a:pt x="19" y="41"/>
                      <a:pt x="18" y="40"/>
                      <a:pt x="17" y="39"/>
                    </a:cubicBezTo>
                    <a:cubicBezTo>
                      <a:pt x="17" y="39"/>
                      <a:pt x="15" y="38"/>
                      <a:pt x="15" y="38"/>
                    </a:cubicBezTo>
                    <a:cubicBezTo>
                      <a:pt x="16" y="38"/>
                      <a:pt x="16" y="39"/>
                      <a:pt x="17" y="39"/>
                    </a:cubicBezTo>
                    <a:cubicBezTo>
                      <a:pt x="17" y="39"/>
                      <a:pt x="18" y="40"/>
                      <a:pt x="18" y="41"/>
                    </a:cubicBezTo>
                    <a:cubicBezTo>
                      <a:pt x="18" y="40"/>
                      <a:pt x="16" y="40"/>
                      <a:pt x="15" y="40"/>
                    </a:cubicBezTo>
                    <a:cubicBezTo>
                      <a:pt x="19" y="41"/>
                      <a:pt x="18" y="40"/>
                      <a:pt x="20" y="43"/>
                    </a:cubicBezTo>
                    <a:cubicBezTo>
                      <a:pt x="20" y="43"/>
                      <a:pt x="20" y="43"/>
                      <a:pt x="19" y="43"/>
                    </a:cubicBezTo>
                    <a:cubicBezTo>
                      <a:pt x="20" y="43"/>
                      <a:pt x="20" y="43"/>
                      <a:pt x="21" y="43"/>
                    </a:cubicBezTo>
                    <a:cubicBezTo>
                      <a:pt x="20" y="43"/>
                      <a:pt x="19" y="43"/>
                      <a:pt x="18" y="43"/>
                    </a:cubicBezTo>
                    <a:cubicBezTo>
                      <a:pt x="19" y="43"/>
                      <a:pt x="20" y="43"/>
                      <a:pt x="21" y="43"/>
                    </a:cubicBezTo>
                    <a:cubicBezTo>
                      <a:pt x="21" y="43"/>
                      <a:pt x="24" y="46"/>
                      <a:pt x="25" y="46"/>
                    </a:cubicBezTo>
                    <a:cubicBezTo>
                      <a:pt x="19" y="45"/>
                      <a:pt x="16" y="44"/>
                      <a:pt x="16" y="44"/>
                    </a:cubicBezTo>
                    <a:cubicBezTo>
                      <a:pt x="19" y="45"/>
                      <a:pt x="22" y="46"/>
                      <a:pt x="25" y="46"/>
                    </a:cubicBezTo>
                    <a:cubicBezTo>
                      <a:pt x="25" y="48"/>
                      <a:pt x="25" y="48"/>
                      <a:pt x="25" y="48"/>
                    </a:cubicBezTo>
                    <a:cubicBezTo>
                      <a:pt x="25" y="48"/>
                      <a:pt x="24" y="48"/>
                      <a:pt x="24" y="48"/>
                    </a:cubicBezTo>
                    <a:cubicBezTo>
                      <a:pt x="23" y="47"/>
                      <a:pt x="22" y="47"/>
                      <a:pt x="21" y="46"/>
                    </a:cubicBezTo>
                    <a:cubicBezTo>
                      <a:pt x="23" y="47"/>
                      <a:pt x="23" y="47"/>
                      <a:pt x="24" y="48"/>
                    </a:cubicBezTo>
                    <a:cubicBezTo>
                      <a:pt x="24" y="48"/>
                      <a:pt x="24" y="48"/>
                      <a:pt x="23" y="47"/>
                    </a:cubicBezTo>
                    <a:cubicBezTo>
                      <a:pt x="24" y="48"/>
                      <a:pt x="24" y="48"/>
                      <a:pt x="25" y="48"/>
                    </a:cubicBezTo>
                    <a:cubicBezTo>
                      <a:pt x="23" y="49"/>
                      <a:pt x="20" y="49"/>
                      <a:pt x="18" y="49"/>
                    </a:cubicBezTo>
                    <a:cubicBezTo>
                      <a:pt x="20" y="49"/>
                      <a:pt x="22" y="49"/>
                      <a:pt x="24" y="49"/>
                    </a:cubicBezTo>
                    <a:cubicBezTo>
                      <a:pt x="26" y="51"/>
                      <a:pt x="26" y="51"/>
                      <a:pt x="26" y="51"/>
                    </a:cubicBezTo>
                    <a:cubicBezTo>
                      <a:pt x="25" y="50"/>
                      <a:pt x="24" y="49"/>
                      <a:pt x="24" y="49"/>
                    </a:cubicBezTo>
                    <a:cubicBezTo>
                      <a:pt x="24" y="50"/>
                      <a:pt x="26" y="50"/>
                      <a:pt x="26" y="51"/>
                    </a:cubicBezTo>
                    <a:cubicBezTo>
                      <a:pt x="27" y="51"/>
                      <a:pt x="27" y="51"/>
                      <a:pt x="27" y="52"/>
                    </a:cubicBezTo>
                    <a:cubicBezTo>
                      <a:pt x="26" y="52"/>
                      <a:pt x="24" y="52"/>
                      <a:pt x="23" y="52"/>
                    </a:cubicBezTo>
                    <a:cubicBezTo>
                      <a:pt x="23" y="52"/>
                      <a:pt x="23" y="52"/>
                      <a:pt x="23" y="52"/>
                    </a:cubicBezTo>
                    <a:cubicBezTo>
                      <a:pt x="24" y="52"/>
                      <a:pt x="26" y="52"/>
                      <a:pt x="27" y="52"/>
                    </a:cubicBezTo>
                    <a:cubicBezTo>
                      <a:pt x="28" y="54"/>
                      <a:pt x="29" y="55"/>
                      <a:pt x="31" y="57"/>
                    </a:cubicBezTo>
                    <a:cubicBezTo>
                      <a:pt x="26" y="56"/>
                      <a:pt x="28" y="57"/>
                      <a:pt x="24" y="55"/>
                    </a:cubicBezTo>
                    <a:cubicBezTo>
                      <a:pt x="22" y="54"/>
                      <a:pt x="19" y="52"/>
                      <a:pt x="18" y="52"/>
                    </a:cubicBezTo>
                    <a:cubicBezTo>
                      <a:pt x="17" y="51"/>
                      <a:pt x="14" y="47"/>
                      <a:pt x="14" y="46"/>
                    </a:cubicBezTo>
                    <a:cubicBezTo>
                      <a:pt x="15" y="47"/>
                      <a:pt x="16" y="49"/>
                      <a:pt x="17" y="50"/>
                    </a:cubicBezTo>
                    <a:cubicBezTo>
                      <a:pt x="16" y="50"/>
                      <a:pt x="15" y="49"/>
                      <a:pt x="15" y="48"/>
                    </a:cubicBezTo>
                    <a:cubicBezTo>
                      <a:pt x="15" y="48"/>
                      <a:pt x="15" y="48"/>
                      <a:pt x="15" y="48"/>
                    </a:cubicBezTo>
                    <a:cubicBezTo>
                      <a:pt x="16" y="49"/>
                      <a:pt x="17" y="50"/>
                      <a:pt x="17" y="51"/>
                    </a:cubicBezTo>
                    <a:cubicBezTo>
                      <a:pt x="17" y="51"/>
                      <a:pt x="17" y="51"/>
                      <a:pt x="17" y="51"/>
                    </a:cubicBezTo>
                    <a:cubicBezTo>
                      <a:pt x="17" y="51"/>
                      <a:pt x="17" y="51"/>
                      <a:pt x="17" y="51"/>
                    </a:cubicBezTo>
                    <a:cubicBezTo>
                      <a:pt x="17" y="52"/>
                      <a:pt x="17" y="52"/>
                      <a:pt x="17" y="52"/>
                    </a:cubicBezTo>
                    <a:cubicBezTo>
                      <a:pt x="18" y="52"/>
                      <a:pt x="18" y="53"/>
                      <a:pt x="18" y="53"/>
                    </a:cubicBezTo>
                    <a:cubicBezTo>
                      <a:pt x="15" y="50"/>
                      <a:pt x="14" y="50"/>
                      <a:pt x="11" y="47"/>
                    </a:cubicBezTo>
                    <a:cubicBezTo>
                      <a:pt x="11" y="47"/>
                      <a:pt x="11" y="47"/>
                      <a:pt x="11" y="47"/>
                    </a:cubicBezTo>
                    <a:cubicBezTo>
                      <a:pt x="11" y="46"/>
                      <a:pt x="11" y="45"/>
                      <a:pt x="10" y="44"/>
                    </a:cubicBezTo>
                    <a:cubicBezTo>
                      <a:pt x="11" y="45"/>
                      <a:pt x="11" y="46"/>
                      <a:pt x="11" y="47"/>
                    </a:cubicBezTo>
                    <a:cubicBezTo>
                      <a:pt x="11" y="47"/>
                      <a:pt x="11" y="47"/>
                      <a:pt x="11" y="47"/>
                    </a:cubicBezTo>
                    <a:cubicBezTo>
                      <a:pt x="11" y="47"/>
                      <a:pt x="11" y="47"/>
                      <a:pt x="11" y="47"/>
                    </a:cubicBezTo>
                    <a:cubicBezTo>
                      <a:pt x="11" y="47"/>
                      <a:pt x="11" y="47"/>
                      <a:pt x="11" y="47"/>
                    </a:cubicBezTo>
                    <a:cubicBezTo>
                      <a:pt x="12" y="48"/>
                      <a:pt x="13" y="49"/>
                      <a:pt x="14" y="50"/>
                    </a:cubicBezTo>
                    <a:cubicBezTo>
                      <a:pt x="12" y="50"/>
                      <a:pt x="11" y="50"/>
                      <a:pt x="9" y="49"/>
                    </a:cubicBezTo>
                    <a:cubicBezTo>
                      <a:pt x="10" y="49"/>
                      <a:pt x="11" y="50"/>
                      <a:pt x="11" y="50"/>
                    </a:cubicBezTo>
                    <a:cubicBezTo>
                      <a:pt x="10" y="50"/>
                      <a:pt x="9" y="50"/>
                      <a:pt x="8" y="50"/>
                    </a:cubicBezTo>
                    <a:cubicBezTo>
                      <a:pt x="11" y="50"/>
                      <a:pt x="12" y="50"/>
                      <a:pt x="14" y="51"/>
                    </a:cubicBezTo>
                    <a:cubicBezTo>
                      <a:pt x="16" y="52"/>
                      <a:pt x="17" y="53"/>
                      <a:pt x="19" y="54"/>
                    </a:cubicBezTo>
                    <a:cubicBezTo>
                      <a:pt x="17" y="54"/>
                      <a:pt x="16" y="54"/>
                      <a:pt x="16" y="54"/>
                    </a:cubicBezTo>
                    <a:cubicBezTo>
                      <a:pt x="18" y="54"/>
                      <a:pt x="19" y="55"/>
                      <a:pt x="21" y="56"/>
                    </a:cubicBezTo>
                    <a:cubicBezTo>
                      <a:pt x="20" y="56"/>
                      <a:pt x="20" y="56"/>
                      <a:pt x="19" y="56"/>
                    </a:cubicBezTo>
                    <a:cubicBezTo>
                      <a:pt x="23" y="56"/>
                      <a:pt x="21" y="56"/>
                      <a:pt x="25" y="58"/>
                    </a:cubicBezTo>
                    <a:cubicBezTo>
                      <a:pt x="24" y="58"/>
                      <a:pt x="24" y="58"/>
                      <a:pt x="23" y="59"/>
                    </a:cubicBezTo>
                    <a:cubicBezTo>
                      <a:pt x="18" y="59"/>
                      <a:pt x="15" y="59"/>
                      <a:pt x="15" y="59"/>
                    </a:cubicBezTo>
                    <a:cubicBezTo>
                      <a:pt x="17" y="59"/>
                      <a:pt x="20" y="59"/>
                      <a:pt x="23" y="59"/>
                    </a:cubicBezTo>
                    <a:cubicBezTo>
                      <a:pt x="21" y="59"/>
                      <a:pt x="20" y="60"/>
                      <a:pt x="18" y="61"/>
                    </a:cubicBezTo>
                    <a:cubicBezTo>
                      <a:pt x="18" y="60"/>
                      <a:pt x="18" y="59"/>
                      <a:pt x="18" y="59"/>
                    </a:cubicBezTo>
                    <a:cubicBezTo>
                      <a:pt x="18" y="59"/>
                      <a:pt x="18" y="59"/>
                      <a:pt x="18" y="59"/>
                    </a:cubicBezTo>
                    <a:cubicBezTo>
                      <a:pt x="18" y="59"/>
                      <a:pt x="18" y="60"/>
                      <a:pt x="18" y="61"/>
                    </a:cubicBezTo>
                    <a:cubicBezTo>
                      <a:pt x="18" y="61"/>
                      <a:pt x="18" y="61"/>
                      <a:pt x="18" y="61"/>
                    </a:cubicBezTo>
                    <a:cubicBezTo>
                      <a:pt x="17" y="60"/>
                      <a:pt x="17" y="60"/>
                      <a:pt x="17" y="60"/>
                    </a:cubicBezTo>
                    <a:cubicBezTo>
                      <a:pt x="17" y="60"/>
                      <a:pt x="17" y="60"/>
                      <a:pt x="17" y="61"/>
                    </a:cubicBezTo>
                    <a:cubicBezTo>
                      <a:pt x="17" y="61"/>
                      <a:pt x="15" y="62"/>
                      <a:pt x="14" y="62"/>
                    </a:cubicBezTo>
                    <a:cubicBezTo>
                      <a:pt x="14" y="62"/>
                      <a:pt x="14" y="62"/>
                      <a:pt x="13" y="62"/>
                    </a:cubicBezTo>
                    <a:cubicBezTo>
                      <a:pt x="13" y="62"/>
                      <a:pt x="14" y="62"/>
                      <a:pt x="14" y="62"/>
                    </a:cubicBezTo>
                    <a:cubicBezTo>
                      <a:pt x="14" y="62"/>
                      <a:pt x="14" y="62"/>
                      <a:pt x="14" y="62"/>
                    </a:cubicBezTo>
                    <a:cubicBezTo>
                      <a:pt x="14" y="62"/>
                      <a:pt x="16" y="63"/>
                      <a:pt x="17" y="63"/>
                    </a:cubicBezTo>
                    <a:cubicBezTo>
                      <a:pt x="17" y="64"/>
                      <a:pt x="19" y="65"/>
                      <a:pt x="20" y="65"/>
                    </a:cubicBezTo>
                    <a:cubicBezTo>
                      <a:pt x="19" y="65"/>
                      <a:pt x="19" y="65"/>
                      <a:pt x="18" y="65"/>
                    </a:cubicBezTo>
                    <a:cubicBezTo>
                      <a:pt x="20" y="66"/>
                      <a:pt x="20" y="66"/>
                      <a:pt x="21" y="67"/>
                    </a:cubicBezTo>
                    <a:cubicBezTo>
                      <a:pt x="19" y="67"/>
                      <a:pt x="17" y="67"/>
                      <a:pt x="15" y="67"/>
                    </a:cubicBezTo>
                    <a:cubicBezTo>
                      <a:pt x="17" y="67"/>
                      <a:pt x="19" y="67"/>
                      <a:pt x="21" y="67"/>
                    </a:cubicBezTo>
                    <a:cubicBezTo>
                      <a:pt x="21" y="68"/>
                      <a:pt x="22" y="68"/>
                      <a:pt x="23" y="69"/>
                    </a:cubicBezTo>
                    <a:cubicBezTo>
                      <a:pt x="20" y="68"/>
                      <a:pt x="18" y="68"/>
                      <a:pt x="18" y="68"/>
                    </a:cubicBezTo>
                    <a:cubicBezTo>
                      <a:pt x="24" y="70"/>
                      <a:pt x="21" y="68"/>
                      <a:pt x="25" y="71"/>
                    </a:cubicBezTo>
                    <a:cubicBezTo>
                      <a:pt x="22" y="71"/>
                      <a:pt x="20" y="69"/>
                      <a:pt x="17" y="68"/>
                    </a:cubicBezTo>
                    <a:cubicBezTo>
                      <a:pt x="15" y="67"/>
                      <a:pt x="15" y="68"/>
                      <a:pt x="14" y="66"/>
                    </a:cubicBezTo>
                    <a:cubicBezTo>
                      <a:pt x="13" y="64"/>
                      <a:pt x="12" y="63"/>
                      <a:pt x="11" y="62"/>
                    </a:cubicBezTo>
                    <a:cubicBezTo>
                      <a:pt x="12" y="64"/>
                      <a:pt x="13" y="66"/>
                      <a:pt x="14" y="67"/>
                    </a:cubicBezTo>
                    <a:cubicBezTo>
                      <a:pt x="14" y="67"/>
                      <a:pt x="12" y="66"/>
                      <a:pt x="12" y="67"/>
                    </a:cubicBezTo>
                    <a:cubicBezTo>
                      <a:pt x="14" y="67"/>
                      <a:pt x="14" y="67"/>
                      <a:pt x="15" y="69"/>
                    </a:cubicBezTo>
                    <a:cubicBezTo>
                      <a:pt x="14" y="69"/>
                      <a:pt x="13" y="69"/>
                      <a:pt x="13" y="68"/>
                    </a:cubicBezTo>
                    <a:cubicBezTo>
                      <a:pt x="13" y="69"/>
                      <a:pt x="14" y="69"/>
                      <a:pt x="15" y="69"/>
                    </a:cubicBezTo>
                    <a:cubicBezTo>
                      <a:pt x="16" y="70"/>
                      <a:pt x="16" y="70"/>
                      <a:pt x="16" y="71"/>
                    </a:cubicBezTo>
                    <a:cubicBezTo>
                      <a:pt x="11" y="70"/>
                      <a:pt x="15" y="71"/>
                      <a:pt x="9" y="67"/>
                    </a:cubicBezTo>
                    <a:cubicBezTo>
                      <a:pt x="8" y="67"/>
                      <a:pt x="4" y="64"/>
                      <a:pt x="4" y="64"/>
                    </a:cubicBezTo>
                    <a:cubicBezTo>
                      <a:pt x="7" y="66"/>
                      <a:pt x="10" y="68"/>
                      <a:pt x="13" y="70"/>
                    </a:cubicBezTo>
                    <a:cubicBezTo>
                      <a:pt x="9" y="69"/>
                      <a:pt x="8" y="69"/>
                      <a:pt x="5" y="66"/>
                    </a:cubicBezTo>
                    <a:cubicBezTo>
                      <a:pt x="3" y="65"/>
                      <a:pt x="5" y="66"/>
                      <a:pt x="3" y="64"/>
                    </a:cubicBezTo>
                    <a:cubicBezTo>
                      <a:pt x="3" y="64"/>
                      <a:pt x="2" y="63"/>
                      <a:pt x="2" y="63"/>
                    </a:cubicBezTo>
                    <a:cubicBezTo>
                      <a:pt x="2" y="63"/>
                      <a:pt x="3" y="64"/>
                      <a:pt x="3" y="65"/>
                    </a:cubicBezTo>
                    <a:cubicBezTo>
                      <a:pt x="3" y="65"/>
                      <a:pt x="4" y="65"/>
                      <a:pt x="4" y="66"/>
                    </a:cubicBezTo>
                    <a:cubicBezTo>
                      <a:pt x="3" y="66"/>
                      <a:pt x="3" y="65"/>
                      <a:pt x="2" y="65"/>
                    </a:cubicBezTo>
                    <a:cubicBezTo>
                      <a:pt x="2" y="65"/>
                      <a:pt x="2" y="65"/>
                      <a:pt x="2" y="65"/>
                    </a:cubicBezTo>
                    <a:cubicBezTo>
                      <a:pt x="2" y="64"/>
                      <a:pt x="0" y="63"/>
                      <a:pt x="0" y="63"/>
                    </a:cubicBezTo>
                    <a:cubicBezTo>
                      <a:pt x="1" y="63"/>
                      <a:pt x="1" y="64"/>
                      <a:pt x="2" y="65"/>
                    </a:cubicBezTo>
                    <a:cubicBezTo>
                      <a:pt x="2" y="65"/>
                      <a:pt x="7" y="68"/>
                      <a:pt x="8" y="69"/>
                    </a:cubicBezTo>
                    <a:cubicBezTo>
                      <a:pt x="5" y="69"/>
                      <a:pt x="3" y="69"/>
                      <a:pt x="0" y="69"/>
                    </a:cubicBezTo>
                    <a:cubicBezTo>
                      <a:pt x="2" y="69"/>
                      <a:pt x="9" y="70"/>
                      <a:pt x="10" y="70"/>
                    </a:cubicBezTo>
                    <a:cubicBezTo>
                      <a:pt x="11" y="70"/>
                      <a:pt x="12" y="71"/>
                      <a:pt x="13" y="71"/>
                    </a:cubicBezTo>
                    <a:cubicBezTo>
                      <a:pt x="14" y="71"/>
                      <a:pt x="15" y="72"/>
                      <a:pt x="16" y="72"/>
                    </a:cubicBezTo>
                    <a:cubicBezTo>
                      <a:pt x="14" y="72"/>
                      <a:pt x="12" y="71"/>
                      <a:pt x="10" y="71"/>
                    </a:cubicBezTo>
                    <a:cubicBezTo>
                      <a:pt x="10" y="71"/>
                      <a:pt x="16" y="72"/>
                      <a:pt x="17" y="72"/>
                    </a:cubicBezTo>
                    <a:cubicBezTo>
                      <a:pt x="19" y="72"/>
                      <a:pt x="19" y="73"/>
                      <a:pt x="21" y="73"/>
                    </a:cubicBezTo>
                    <a:cubicBezTo>
                      <a:pt x="21" y="73"/>
                      <a:pt x="21" y="73"/>
                      <a:pt x="21" y="73"/>
                    </a:cubicBezTo>
                    <a:cubicBezTo>
                      <a:pt x="14" y="74"/>
                      <a:pt x="10" y="75"/>
                      <a:pt x="9" y="75"/>
                    </a:cubicBezTo>
                    <a:cubicBezTo>
                      <a:pt x="13" y="75"/>
                      <a:pt x="17" y="74"/>
                      <a:pt x="21" y="74"/>
                    </a:cubicBezTo>
                    <a:cubicBezTo>
                      <a:pt x="19" y="75"/>
                      <a:pt x="20" y="75"/>
                      <a:pt x="18" y="75"/>
                    </a:cubicBezTo>
                    <a:cubicBezTo>
                      <a:pt x="18" y="75"/>
                      <a:pt x="18" y="75"/>
                      <a:pt x="19" y="75"/>
                    </a:cubicBezTo>
                    <a:cubicBezTo>
                      <a:pt x="18" y="77"/>
                      <a:pt x="16" y="78"/>
                      <a:pt x="14" y="79"/>
                    </a:cubicBezTo>
                    <a:cubicBezTo>
                      <a:pt x="13" y="78"/>
                      <a:pt x="11" y="76"/>
                      <a:pt x="10" y="75"/>
                    </a:cubicBezTo>
                    <a:cubicBezTo>
                      <a:pt x="12" y="77"/>
                      <a:pt x="14" y="79"/>
                      <a:pt x="14" y="79"/>
                    </a:cubicBezTo>
                    <a:cubicBezTo>
                      <a:pt x="13" y="80"/>
                      <a:pt x="13" y="80"/>
                      <a:pt x="10" y="79"/>
                    </a:cubicBezTo>
                    <a:cubicBezTo>
                      <a:pt x="11" y="79"/>
                      <a:pt x="12" y="80"/>
                      <a:pt x="13" y="80"/>
                    </a:cubicBezTo>
                    <a:cubicBezTo>
                      <a:pt x="12" y="80"/>
                      <a:pt x="12" y="80"/>
                      <a:pt x="11" y="81"/>
                    </a:cubicBezTo>
                    <a:cubicBezTo>
                      <a:pt x="9" y="80"/>
                      <a:pt x="8" y="79"/>
                      <a:pt x="6" y="78"/>
                    </a:cubicBezTo>
                    <a:cubicBezTo>
                      <a:pt x="6" y="78"/>
                      <a:pt x="5" y="77"/>
                      <a:pt x="5" y="77"/>
                    </a:cubicBezTo>
                    <a:cubicBezTo>
                      <a:pt x="5" y="77"/>
                      <a:pt x="5" y="77"/>
                      <a:pt x="6" y="78"/>
                    </a:cubicBezTo>
                    <a:cubicBezTo>
                      <a:pt x="5" y="78"/>
                      <a:pt x="5" y="78"/>
                      <a:pt x="4" y="78"/>
                    </a:cubicBezTo>
                    <a:cubicBezTo>
                      <a:pt x="5" y="78"/>
                      <a:pt x="5" y="78"/>
                      <a:pt x="6" y="78"/>
                    </a:cubicBezTo>
                    <a:cubicBezTo>
                      <a:pt x="6" y="78"/>
                      <a:pt x="6" y="79"/>
                      <a:pt x="6" y="79"/>
                    </a:cubicBezTo>
                    <a:cubicBezTo>
                      <a:pt x="5" y="79"/>
                      <a:pt x="5" y="79"/>
                      <a:pt x="4" y="78"/>
                    </a:cubicBezTo>
                    <a:cubicBezTo>
                      <a:pt x="4" y="79"/>
                      <a:pt x="4" y="79"/>
                      <a:pt x="4" y="79"/>
                    </a:cubicBezTo>
                    <a:cubicBezTo>
                      <a:pt x="6" y="79"/>
                      <a:pt x="8" y="81"/>
                      <a:pt x="10" y="82"/>
                    </a:cubicBezTo>
                    <a:cubicBezTo>
                      <a:pt x="9" y="82"/>
                      <a:pt x="8" y="82"/>
                      <a:pt x="8" y="82"/>
                    </a:cubicBezTo>
                    <a:cubicBezTo>
                      <a:pt x="6" y="82"/>
                      <a:pt x="4" y="82"/>
                      <a:pt x="2" y="82"/>
                    </a:cubicBezTo>
                    <a:cubicBezTo>
                      <a:pt x="4" y="82"/>
                      <a:pt x="5" y="82"/>
                      <a:pt x="7" y="82"/>
                    </a:cubicBezTo>
                    <a:cubicBezTo>
                      <a:pt x="6" y="82"/>
                      <a:pt x="5" y="83"/>
                      <a:pt x="3" y="83"/>
                    </a:cubicBezTo>
                    <a:cubicBezTo>
                      <a:pt x="4" y="83"/>
                      <a:pt x="5" y="83"/>
                      <a:pt x="8" y="82"/>
                    </a:cubicBezTo>
                    <a:cubicBezTo>
                      <a:pt x="9" y="82"/>
                      <a:pt x="10" y="82"/>
                      <a:pt x="12" y="82"/>
                    </a:cubicBezTo>
                    <a:cubicBezTo>
                      <a:pt x="12" y="82"/>
                      <a:pt x="13" y="83"/>
                      <a:pt x="14" y="83"/>
                    </a:cubicBezTo>
                    <a:cubicBezTo>
                      <a:pt x="16" y="83"/>
                      <a:pt x="18" y="84"/>
                      <a:pt x="20" y="84"/>
                    </a:cubicBezTo>
                    <a:cubicBezTo>
                      <a:pt x="20" y="84"/>
                      <a:pt x="19" y="84"/>
                      <a:pt x="19" y="84"/>
                    </a:cubicBezTo>
                    <a:cubicBezTo>
                      <a:pt x="21" y="84"/>
                      <a:pt x="21" y="84"/>
                      <a:pt x="21" y="84"/>
                    </a:cubicBezTo>
                    <a:cubicBezTo>
                      <a:pt x="21" y="84"/>
                      <a:pt x="20" y="85"/>
                      <a:pt x="20" y="85"/>
                    </a:cubicBezTo>
                    <a:cubicBezTo>
                      <a:pt x="14" y="87"/>
                      <a:pt x="10" y="88"/>
                      <a:pt x="9" y="88"/>
                    </a:cubicBezTo>
                    <a:cubicBezTo>
                      <a:pt x="12" y="87"/>
                      <a:pt x="16" y="86"/>
                      <a:pt x="20" y="85"/>
                    </a:cubicBezTo>
                    <a:cubicBezTo>
                      <a:pt x="16" y="89"/>
                      <a:pt x="14" y="91"/>
                      <a:pt x="13" y="91"/>
                    </a:cubicBezTo>
                    <a:cubicBezTo>
                      <a:pt x="15" y="90"/>
                      <a:pt x="17" y="88"/>
                      <a:pt x="19" y="87"/>
                    </a:cubicBezTo>
                    <a:cubicBezTo>
                      <a:pt x="20" y="85"/>
                      <a:pt x="20" y="85"/>
                      <a:pt x="22" y="85"/>
                    </a:cubicBezTo>
                    <a:cubicBezTo>
                      <a:pt x="25" y="84"/>
                      <a:pt x="23" y="84"/>
                      <a:pt x="25" y="84"/>
                    </a:cubicBezTo>
                    <a:cubicBezTo>
                      <a:pt x="27" y="84"/>
                      <a:pt x="29" y="84"/>
                      <a:pt x="30" y="84"/>
                    </a:cubicBezTo>
                    <a:cubicBezTo>
                      <a:pt x="29" y="86"/>
                      <a:pt x="28" y="88"/>
                      <a:pt x="27" y="88"/>
                    </a:cubicBezTo>
                    <a:cubicBezTo>
                      <a:pt x="29" y="87"/>
                      <a:pt x="30" y="85"/>
                      <a:pt x="31" y="84"/>
                    </a:cubicBezTo>
                    <a:cubicBezTo>
                      <a:pt x="31" y="84"/>
                      <a:pt x="32" y="84"/>
                      <a:pt x="32" y="83"/>
                    </a:cubicBezTo>
                    <a:cubicBezTo>
                      <a:pt x="29" y="88"/>
                      <a:pt x="25" y="91"/>
                      <a:pt x="23" y="93"/>
                    </a:cubicBezTo>
                    <a:cubicBezTo>
                      <a:pt x="29" y="88"/>
                      <a:pt x="33" y="83"/>
                      <a:pt x="33" y="83"/>
                    </a:cubicBezTo>
                    <a:cubicBezTo>
                      <a:pt x="33" y="83"/>
                      <a:pt x="33" y="83"/>
                      <a:pt x="33" y="83"/>
                    </a:cubicBezTo>
                    <a:cubicBezTo>
                      <a:pt x="32" y="87"/>
                      <a:pt x="30" y="90"/>
                      <a:pt x="28" y="92"/>
                    </a:cubicBezTo>
                    <a:cubicBezTo>
                      <a:pt x="28" y="92"/>
                      <a:pt x="30" y="89"/>
                      <a:pt x="31" y="89"/>
                    </a:cubicBezTo>
                    <a:cubicBezTo>
                      <a:pt x="31" y="89"/>
                      <a:pt x="31" y="89"/>
                      <a:pt x="31" y="89"/>
                    </a:cubicBezTo>
                    <a:cubicBezTo>
                      <a:pt x="32" y="87"/>
                      <a:pt x="33" y="85"/>
                      <a:pt x="33" y="83"/>
                    </a:cubicBezTo>
                    <a:cubicBezTo>
                      <a:pt x="34" y="84"/>
                      <a:pt x="34" y="84"/>
                      <a:pt x="34" y="84"/>
                    </a:cubicBezTo>
                    <a:cubicBezTo>
                      <a:pt x="34" y="87"/>
                      <a:pt x="34" y="88"/>
                      <a:pt x="33" y="90"/>
                    </a:cubicBezTo>
                    <a:cubicBezTo>
                      <a:pt x="33" y="92"/>
                      <a:pt x="32" y="93"/>
                      <a:pt x="32" y="95"/>
                    </a:cubicBezTo>
                    <a:cubicBezTo>
                      <a:pt x="32" y="95"/>
                      <a:pt x="34" y="90"/>
                      <a:pt x="34" y="89"/>
                    </a:cubicBezTo>
                    <a:cubicBezTo>
                      <a:pt x="33" y="96"/>
                      <a:pt x="32" y="104"/>
                      <a:pt x="31" y="110"/>
                    </a:cubicBezTo>
                    <a:cubicBezTo>
                      <a:pt x="33" y="110"/>
                      <a:pt x="34" y="111"/>
                      <a:pt x="36" y="111"/>
                    </a:cubicBezTo>
                    <a:cubicBezTo>
                      <a:pt x="36" y="103"/>
                      <a:pt x="36" y="95"/>
                      <a:pt x="37" y="87"/>
                    </a:cubicBezTo>
                    <a:cubicBezTo>
                      <a:pt x="38" y="87"/>
                      <a:pt x="39" y="88"/>
                      <a:pt x="40" y="89"/>
                    </a:cubicBezTo>
                    <a:cubicBezTo>
                      <a:pt x="39" y="88"/>
                      <a:pt x="38" y="87"/>
                      <a:pt x="37" y="86"/>
                    </a:cubicBezTo>
                    <a:cubicBezTo>
                      <a:pt x="37" y="86"/>
                      <a:pt x="37" y="85"/>
                      <a:pt x="37" y="84"/>
                    </a:cubicBezTo>
                    <a:cubicBezTo>
                      <a:pt x="38" y="85"/>
                      <a:pt x="39" y="86"/>
                      <a:pt x="39" y="86"/>
                    </a:cubicBezTo>
                    <a:cubicBezTo>
                      <a:pt x="41" y="88"/>
                      <a:pt x="40" y="87"/>
                      <a:pt x="41" y="90"/>
                    </a:cubicBezTo>
                    <a:cubicBezTo>
                      <a:pt x="41" y="91"/>
                      <a:pt x="41" y="91"/>
                      <a:pt x="41" y="92"/>
                    </a:cubicBezTo>
                    <a:cubicBezTo>
                      <a:pt x="41" y="92"/>
                      <a:pt x="41" y="90"/>
                      <a:pt x="41" y="88"/>
                    </a:cubicBezTo>
                    <a:cubicBezTo>
                      <a:pt x="41" y="89"/>
                      <a:pt x="42" y="89"/>
                      <a:pt x="43" y="90"/>
                    </a:cubicBezTo>
                    <a:cubicBezTo>
                      <a:pt x="44" y="93"/>
                      <a:pt x="45" y="95"/>
                      <a:pt x="46" y="96"/>
                    </a:cubicBezTo>
                    <a:cubicBezTo>
                      <a:pt x="45" y="94"/>
                      <a:pt x="44" y="92"/>
                      <a:pt x="43" y="90"/>
                    </a:cubicBezTo>
                    <a:cubicBezTo>
                      <a:pt x="43" y="90"/>
                      <a:pt x="44" y="91"/>
                      <a:pt x="44" y="90"/>
                    </a:cubicBezTo>
                    <a:cubicBezTo>
                      <a:pt x="43" y="90"/>
                      <a:pt x="43" y="90"/>
                      <a:pt x="43" y="90"/>
                    </a:cubicBezTo>
                    <a:cubicBezTo>
                      <a:pt x="43" y="89"/>
                      <a:pt x="41" y="84"/>
                      <a:pt x="41" y="82"/>
                    </a:cubicBezTo>
                    <a:cubicBezTo>
                      <a:pt x="41" y="82"/>
                      <a:pt x="41" y="82"/>
                      <a:pt x="41" y="81"/>
                    </a:cubicBezTo>
                    <a:cubicBezTo>
                      <a:pt x="42" y="82"/>
                      <a:pt x="43" y="83"/>
                      <a:pt x="44" y="83"/>
                    </a:cubicBezTo>
                    <a:cubicBezTo>
                      <a:pt x="45" y="84"/>
                      <a:pt x="46" y="85"/>
                      <a:pt x="47" y="86"/>
                    </a:cubicBezTo>
                    <a:cubicBezTo>
                      <a:pt x="47" y="86"/>
                      <a:pt x="48" y="87"/>
                      <a:pt x="49" y="88"/>
                    </a:cubicBezTo>
                    <a:cubicBezTo>
                      <a:pt x="51" y="91"/>
                      <a:pt x="52" y="93"/>
                      <a:pt x="53" y="94"/>
                    </a:cubicBezTo>
                    <a:cubicBezTo>
                      <a:pt x="52" y="92"/>
                      <a:pt x="50" y="90"/>
                      <a:pt x="50" y="88"/>
                    </a:cubicBezTo>
                    <a:cubicBezTo>
                      <a:pt x="53" y="90"/>
                      <a:pt x="53" y="90"/>
                      <a:pt x="55" y="93"/>
                    </a:cubicBezTo>
                    <a:cubicBezTo>
                      <a:pt x="56" y="94"/>
                      <a:pt x="60" y="99"/>
                      <a:pt x="60" y="98"/>
                    </a:cubicBezTo>
                    <a:cubicBezTo>
                      <a:pt x="58" y="96"/>
                      <a:pt x="55" y="93"/>
                      <a:pt x="53" y="90"/>
                    </a:cubicBezTo>
                    <a:cubicBezTo>
                      <a:pt x="54" y="91"/>
                      <a:pt x="55" y="91"/>
                      <a:pt x="55" y="91"/>
                    </a:cubicBezTo>
                    <a:cubicBezTo>
                      <a:pt x="52" y="90"/>
                      <a:pt x="53" y="90"/>
                      <a:pt x="51" y="87"/>
                    </a:cubicBezTo>
                    <a:cubicBezTo>
                      <a:pt x="56" y="88"/>
                      <a:pt x="53" y="87"/>
                      <a:pt x="58" y="89"/>
                    </a:cubicBezTo>
                    <a:cubicBezTo>
                      <a:pt x="61" y="91"/>
                      <a:pt x="64" y="92"/>
                      <a:pt x="67" y="93"/>
                    </a:cubicBezTo>
                    <a:cubicBezTo>
                      <a:pt x="65" y="92"/>
                      <a:pt x="61" y="91"/>
                      <a:pt x="55" y="88"/>
                    </a:cubicBezTo>
                    <a:cubicBezTo>
                      <a:pt x="57" y="88"/>
                      <a:pt x="58" y="88"/>
                      <a:pt x="60" y="89"/>
                    </a:cubicBezTo>
                    <a:cubicBezTo>
                      <a:pt x="60" y="89"/>
                      <a:pt x="60" y="89"/>
                      <a:pt x="60" y="89"/>
                    </a:cubicBezTo>
                    <a:cubicBezTo>
                      <a:pt x="59" y="89"/>
                      <a:pt x="58" y="89"/>
                      <a:pt x="57" y="88"/>
                    </a:cubicBezTo>
                    <a:cubicBezTo>
                      <a:pt x="58" y="88"/>
                      <a:pt x="59" y="88"/>
                      <a:pt x="60" y="89"/>
                    </a:cubicBezTo>
                    <a:cubicBezTo>
                      <a:pt x="62" y="89"/>
                      <a:pt x="63" y="89"/>
                      <a:pt x="65" y="89"/>
                    </a:cubicBezTo>
                    <a:cubicBezTo>
                      <a:pt x="66" y="89"/>
                      <a:pt x="68" y="90"/>
                      <a:pt x="69" y="91"/>
                    </a:cubicBezTo>
                    <a:cubicBezTo>
                      <a:pt x="70" y="91"/>
                      <a:pt x="72" y="92"/>
                      <a:pt x="73" y="92"/>
                    </a:cubicBezTo>
                    <a:cubicBezTo>
                      <a:pt x="70" y="91"/>
                      <a:pt x="68" y="90"/>
                      <a:pt x="65" y="89"/>
                    </a:cubicBezTo>
                    <a:cubicBezTo>
                      <a:pt x="66" y="89"/>
                      <a:pt x="67" y="89"/>
                      <a:pt x="68" y="90"/>
                    </a:cubicBezTo>
                    <a:cubicBezTo>
                      <a:pt x="68" y="90"/>
                      <a:pt x="68" y="90"/>
                      <a:pt x="68" y="90"/>
                    </a:cubicBezTo>
                    <a:cubicBezTo>
                      <a:pt x="66" y="89"/>
                      <a:pt x="65" y="89"/>
                      <a:pt x="64" y="89"/>
                    </a:cubicBezTo>
                    <a:cubicBezTo>
                      <a:pt x="67" y="89"/>
                      <a:pt x="67" y="89"/>
                      <a:pt x="67" y="89"/>
                    </a:cubicBezTo>
                    <a:cubicBezTo>
                      <a:pt x="70" y="89"/>
                      <a:pt x="72" y="89"/>
                      <a:pt x="75" y="89"/>
                    </a:cubicBezTo>
                    <a:cubicBezTo>
                      <a:pt x="73" y="89"/>
                      <a:pt x="70" y="89"/>
                      <a:pt x="68" y="88"/>
                    </a:cubicBezTo>
                    <a:cubicBezTo>
                      <a:pt x="69" y="88"/>
                      <a:pt x="71" y="88"/>
                      <a:pt x="73" y="87"/>
                    </a:cubicBezTo>
                    <a:cubicBezTo>
                      <a:pt x="73" y="87"/>
                      <a:pt x="73" y="87"/>
                      <a:pt x="73" y="87"/>
                    </a:cubicBezTo>
                    <a:cubicBezTo>
                      <a:pt x="74" y="87"/>
                      <a:pt x="75" y="87"/>
                      <a:pt x="76" y="87"/>
                    </a:cubicBezTo>
                    <a:cubicBezTo>
                      <a:pt x="75" y="87"/>
                      <a:pt x="74" y="87"/>
                      <a:pt x="73" y="87"/>
                    </a:cubicBezTo>
                    <a:cubicBezTo>
                      <a:pt x="73" y="87"/>
                      <a:pt x="73" y="87"/>
                      <a:pt x="73" y="87"/>
                    </a:cubicBezTo>
                    <a:cubicBezTo>
                      <a:pt x="73" y="87"/>
                      <a:pt x="72" y="87"/>
                      <a:pt x="71" y="87"/>
                    </a:cubicBezTo>
                    <a:cubicBezTo>
                      <a:pt x="74" y="86"/>
                      <a:pt x="75" y="85"/>
                      <a:pt x="75" y="85"/>
                    </a:cubicBezTo>
                    <a:cubicBezTo>
                      <a:pt x="74" y="85"/>
                      <a:pt x="73" y="86"/>
                      <a:pt x="73" y="86"/>
                    </a:cubicBezTo>
                    <a:cubicBezTo>
                      <a:pt x="71" y="87"/>
                      <a:pt x="71" y="87"/>
                      <a:pt x="69" y="88"/>
                    </a:cubicBezTo>
                    <a:cubicBezTo>
                      <a:pt x="71" y="86"/>
                      <a:pt x="75" y="85"/>
                      <a:pt x="76" y="84"/>
                    </a:cubicBezTo>
                    <a:cubicBezTo>
                      <a:pt x="73" y="85"/>
                      <a:pt x="71" y="86"/>
                      <a:pt x="69" y="87"/>
                    </a:cubicBezTo>
                    <a:cubicBezTo>
                      <a:pt x="68" y="88"/>
                      <a:pt x="68" y="88"/>
                      <a:pt x="67" y="88"/>
                    </a:cubicBezTo>
                    <a:cubicBezTo>
                      <a:pt x="65" y="88"/>
                      <a:pt x="63" y="88"/>
                      <a:pt x="61" y="88"/>
                    </a:cubicBezTo>
                    <a:cubicBezTo>
                      <a:pt x="61" y="88"/>
                      <a:pt x="60" y="87"/>
                      <a:pt x="60" y="87"/>
                    </a:cubicBezTo>
                    <a:cubicBezTo>
                      <a:pt x="60" y="86"/>
                      <a:pt x="61" y="86"/>
                      <a:pt x="61" y="86"/>
                    </a:cubicBezTo>
                    <a:cubicBezTo>
                      <a:pt x="62" y="85"/>
                      <a:pt x="63" y="85"/>
                      <a:pt x="63" y="85"/>
                    </a:cubicBezTo>
                    <a:cubicBezTo>
                      <a:pt x="64" y="85"/>
                      <a:pt x="64" y="85"/>
                      <a:pt x="65" y="85"/>
                    </a:cubicBezTo>
                    <a:cubicBezTo>
                      <a:pt x="64" y="85"/>
                      <a:pt x="64" y="85"/>
                      <a:pt x="63" y="85"/>
                    </a:cubicBezTo>
                    <a:cubicBezTo>
                      <a:pt x="67" y="84"/>
                      <a:pt x="69" y="84"/>
                      <a:pt x="69" y="84"/>
                    </a:cubicBezTo>
                    <a:cubicBezTo>
                      <a:pt x="68" y="84"/>
                      <a:pt x="64" y="85"/>
                      <a:pt x="62" y="85"/>
                    </a:cubicBezTo>
                    <a:cubicBezTo>
                      <a:pt x="64" y="84"/>
                      <a:pt x="66" y="83"/>
                      <a:pt x="66" y="83"/>
                    </a:cubicBezTo>
                    <a:cubicBezTo>
                      <a:pt x="62" y="85"/>
                      <a:pt x="62" y="85"/>
                      <a:pt x="62" y="85"/>
                    </a:cubicBezTo>
                    <a:cubicBezTo>
                      <a:pt x="60" y="85"/>
                      <a:pt x="58" y="84"/>
                      <a:pt x="57" y="84"/>
                    </a:cubicBezTo>
                    <a:cubicBezTo>
                      <a:pt x="57" y="84"/>
                      <a:pt x="57" y="84"/>
                      <a:pt x="57" y="84"/>
                    </a:cubicBezTo>
                    <a:cubicBezTo>
                      <a:pt x="59" y="84"/>
                      <a:pt x="60" y="83"/>
                      <a:pt x="62" y="83"/>
                    </a:cubicBezTo>
                    <a:cubicBezTo>
                      <a:pt x="62" y="83"/>
                      <a:pt x="62" y="83"/>
                      <a:pt x="61" y="83"/>
                    </a:cubicBezTo>
                    <a:cubicBezTo>
                      <a:pt x="61" y="83"/>
                      <a:pt x="61" y="83"/>
                      <a:pt x="62" y="83"/>
                    </a:cubicBezTo>
                    <a:cubicBezTo>
                      <a:pt x="62" y="82"/>
                      <a:pt x="65" y="81"/>
                      <a:pt x="66" y="80"/>
                    </a:cubicBezTo>
                    <a:cubicBezTo>
                      <a:pt x="64" y="81"/>
                      <a:pt x="62" y="82"/>
                      <a:pt x="62" y="82"/>
                    </a:cubicBezTo>
                    <a:cubicBezTo>
                      <a:pt x="61" y="82"/>
                      <a:pt x="61" y="83"/>
                      <a:pt x="60" y="83"/>
                    </a:cubicBezTo>
                    <a:cubicBezTo>
                      <a:pt x="60" y="82"/>
                      <a:pt x="61" y="81"/>
                      <a:pt x="61" y="80"/>
                    </a:cubicBezTo>
                    <a:cubicBezTo>
                      <a:pt x="61" y="80"/>
                      <a:pt x="61" y="80"/>
                      <a:pt x="61" y="80"/>
                    </a:cubicBezTo>
                    <a:cubicBezTo>
                      <a:pt x="60" y="83"/>
                      <a:pt x="60" y="83"/>
                      <a:pt x="60" y="83"/>
                    </a:cubicBezTo>
                    <a:cubicBezTo>
                      <a:pt x="58" y="83"/>
                      <a:pt x="57" y="83"/>
                      <a:pt x="55" y="83"/>
                    </a:cubicBezTo>
                    <a:cubicBezTo>
                      <a:pt x="56" y="82"/>
                      <a:pt x="57" y="81"/>
                      <a:pt x="58" y="81"/>
                    </a:cubicBezTo>
                    <a:cubicBezTo>
                      <a:pt x="58" y="81"/>
                      <a:pt x="59" y="81"/>
                      <a:pt x="59" y="81"/>
                    </a:cubicBezTo>
                    <a:cubicBezTo>
                      <a:pt x="59" y="81"/>
                      <a:pt x="59" y="81"/>
                      <a:pt x="58" y="81"/>
                    </a:cubicBezTo>
                    <a:cubicBezTo>
                      <a:pt x="60" y="80"/>
                      <a:pt x="61" y="80"/>
                      <a:pt x="63" y="79"/>
                    </a:cubicBezTo>
                    <a:cubicBezTo>
                      <a:pt x="63" y="79"/>
                      <a:pt x="63" y="79"/>
                      <a:pt x="63" y="79"/>
                    </a:cubicBezTo>
                    <a:cubicBezTo>
                      <a:pt x="62" y="79"/>
                      <a:pt x="61" y="80"/>
                      <a:pt x="60" y="80"/>
                    </a:cubicBezTo>
                    <a:cubicBezTo>
                      <a:pt x="57" y="81"/>
                      <a:pt x="59" y="81"/>
                      <a:pt x="53" y="81"/>
                    </a:cubicBezTo>
                    <a:cubicBezTo>
                      <a:pt x="55" y="79"/>
                      <a:pt x="55" y="79"/>
                      <a:pt x="55" y="79"/>
                    </a:cubicBezTo>
                    <a:cubicBezTo>
                      <a:pt x="55" y="79"/>
                      <a:pt x="55" y="79"/>
                      <a:pt x="55" y="79"/>
                    </a:cubicBezTo>
                    <a:cubicBezTo>
                      <a:pt x="54" y="80"/>
                      <a:pt x="54" y="80"/>
                      <a:pt x="53" y="81"/>
                    </a:cubicBezTo>
                    <a:cubicBezTo>
                      <a:pt x="50" y="81"/>
                      <a:pt x="48" y="81"/>
                      <a:pt x="45" y="81"/>
                    </a:cubicBezTo>
                    <a:cubicBezTo>
                      <a:pt x="44" y="81"/>
                      <a:pt x="44" y="80"/>
                      <a:pt x="43" y="80"/>
                    </a:cubicBezTo>
                    <a:cubicBezTo>
                      <a:pt x="45" y="79"/>
                      <a:pt x="47" y="79"/>
                      <a:pt x="49" y="79"/>
                    </a:cubicBezTo>
                    <a:cubicBezTo>
                      <a:pt x="47" y="79"/>
                      <a:pt x="45" y="79"/>
                      <a:pt x="43" y="80"/>
                    </a:cubicBezTo>
                    <a:cubicBezTo>
                      <a:pt x="42" y="79"/>
                      <a:pt x="42" y="78"/>
                      <a:pt x="41" y="77"/>
                    </a:cubicBezTo>
                    <a:cubicBezTo>
                      <a:pt x="41" y="76"/>
                      <a:pt x="41" y="75"/>
                      <a:pt x="42" y="73"/>
                    </a:cubicBezTo>
                    <a:cubicBezTo>
                      <a:pt x="42" y="73"/>
                      <a:pt x="42" y="73"/>
                      <a:pt x="42" y="73"/>
                    </a:cubicBezTo>
                    <a:cubicBezTo>
                      <a:pt x="42" y="73"/>
                      <a:pt x="42" y="73"/>
                      <a:pt x="42" y="73"/>
                    </a:cubicBezTo>
                    <a:cubicBezTo>
                      <a:pt x="43" y="74"/>
                      <a:pt x="45" y="74"/>
                      <a:pt x="46" y="75"/>
                    </a:cubicBezTo>
                    <a:cubicBezTo>
                      <a:pt x="47" y="77"/>
                      <a:pt x="47" y="78"/>
                      <a:pt x="48" y="78"/>
                    </a:cubicBezTo>
                    <a:cubicBezTo>
                      <a:pt x="47" y="77"/>
                      <a:pt x="47" y="76"/>
                      <a:pt x="46" y="75"/>
                    </a:cubicBezTo>
                    <a:cubicBezTo>
                      <a:pt x="48" y="76"/>
                      <a:pt x="47" y="76"/>
                      <a:pt x="48" y="77"/>
                    </a:cubicBezTo>
                    <a:cubicBezTo>
                      <a:pt x="49" y="78"/>
                      <a:pt x="50" y="80"/>
                      <a:pt x="51" y="81"/>
                    </a:cubicBezTo>
                    <a:cubicBezTo>
                      <a:pt x="51" y="80"/>
                      <a:pt x="50" y="79"/>
                      <a:pt x="48" y="76"/>
                    </a:cubicBezTo>
                    <a:cubicBezTo>
                      <a:pt x="49" y="77"/>
                      <a:pt x="50" y="77"/>
                      <a:pt x="51" y="78"/>
                    </a:cubicBezTo>
                    <a:cubicBezTo>
                      <a:pt x="51" y="78"/>
                      <a:pt x="51" y="78"/>
                      <a:pt x="51" y="78"/>
                    </a:cubicBezTo>
                    <a:cubicBezTo>
                      <a:pt x="50" y="77"/>
                      <a:pt x="49" y="76"/>
                      <a:pt x="47" y="76"/>
                    </a:cubicBezTo>
                    <a:cubicBezTo>
                      <a:pt x="47" y="76"/>
                      <a:pt x="47" y="75"/>
                      <a:pt x="47" y="75"/>
                    </a:cubicBezTo>
                    <a:cubicBezTo>
                      <a:pt x="48" y="75"/>
                      <a:pt x="49" y="76"/>
                      <a:pt x="50" y="76"/>
                    </a:cubicBezTo>
                    <a:cubicBezTo>
                      <a:pt x="46" y="75"/>
                      <a:pt x="47" y="76"/>
                      <a:pt x="45" y="72"/>
                    </a:cubicBezTo>
                    <a:cubicBezTo>
                      <a:pt x="45" y="72"/>
                      <a:pt x="45" y="72"/>
                      <a:pt x="45" y="71"/>
                    </a:cubicBezTo>
                    <a:cubicBezTo>
                      <a:pt x="45" y="71"/>
                      <a:pt x="45" y="71"/>
                      <a:pt x="45" y="71"/>
                    </a:cubicBezTo>
                    <a:cubicBezTo>
                      <a:pt x="46" y="71"/>
                      <a:pt x="47" y="71"/>
                      <a:pt x="48" y="71"/>
                    </a:cubicBezTo>
                    <a:cubicBezTo>
                      <a:pt x="47" y="71"/>
                      <a:pt x="47" y="71"/>
                      <a:pt x="46" y="71"/>
                    </a:cubicBezTo>
                    <a:cubicBezTo>
                      <a:pt x="46" y="70"/>
                      <a:pt x="47" y="70"/>
                      <a:pt x="48" y="70"/>
                    </a:cubicBezTo>
                    <a:cubicBezTo>
                      <a:pt x="49" y="70"/>
                      <a:pt x="50" y="71"/>
                      <a:pt x="52" y="71"/>
                    </a:cubicBezTo>
                    <a:cubicBezTo>
                      <a:pt x="60" y="74"/>
                      <a:pt x="54" y="71"/>
                      <a:pt x="60" y="77"/>
                    </a:cubicBezTo>
                    <a:cubicBezTo>
                      <a:pt x="60" y="76"/>
                      <a:pt x="59" y="75"/>
                      <a:pt x="57" y="73"/>
                    </a:cubicBezTo>
                    <a:cubicBezTo>
                      <a:pt x="57" y="73"/>
                      <a:pt x="58" y="73"/>
                      <a:pt x="58" y="73"/>
                    </a:cubicBezTo>
                    <a:cubicBezTo>
                      <a:pt x="56" y="73"/>
                      <a:pt x="56" y="73"/>
                      <a:pt x="55" y="71"/>
                    </a:cubicBezTo>
                    <a:cubicBezTo>
                      <a:pt x="55" y="70"/>
                      <a:pt x="54" y="70"/>
                      <a:pt x="54" y="70"/>
                    </a:cubicBezTo>
                    <a:cubicBezTo>
                      <a:pt x="54" y="70"/>
                      <a:pt x="55" y="70"/>
                      <a:pt x="55" y="69"/>
                    </a:cubicBezTo>
                    <a:cubicBezTo>
                      <a:pt x="57" y="70"/>
                      <a:pt x="59" y="71"/>
                      <a:pt x="61" y="71"/>
                    </a:cubicBezTo>
                    <a:cubicBezTo>
                      <a:pt x="62" y="72"/>
                      <a:pt x="64" y="73"/>
                      <a:pt x="65" y="73"/>
                    </a:cubicBezTo>
                    <a:cubicBezTo>
                      <a:pt x="67" y="74"/>
                      <a:pt x="68" y="74"/>
                      <a:pt x="69" y="75"/>
                    </a:cubicBezTo>
                    <a:cubicBezTo>
                      <a:pt x="67" y="74"/>
                      <a:pt x="64" y="73"/>
                      <a:pt x="61" y="71"/>
                    </a:cubicBezTo>
                    <a:cubicBezTo>
                      <a:pt x="62" y="72"/>
                      <a:pt x="63" y="72"/>
                      <a:pt x="64" y="72"/>
                    </a:cubicBezTo>
                    <a:cubicBezTo>
                      <a:pt x="64" y="72"/>
                      <a:pt x="61" y="71"/>
                      <a:pt x="61" y="71"/>
                    </a:cubicBezTo>
                    <a:cubicBezTo>
                      <a:pt x="60" y="71"/>
                      <a:pt x="59" y="70"/>
                      <a:pt x="58" y="69"/>
                    </a:cubicBezTo>
                    <a:cubicBezTo>
                      <a:pt x="62" y="69"/>
                      <a:pt x="61" y="69"/>
                      <a:pt x="66" y="70"/>
                    </a:cubicBezTo>
                    <a:cubicBezTo>
                      <a:pt x="66" y="70"/>
                      <a:pt x="66" y="70"/>
                      <a:pt x="66" y="70"/>
                    </a:cubicBezTo>
                    <a:cubicBezTo>
                      <a:pt x="64" y="69"/>
                      <a:pt x="63" y="69"/>
                      <a:pt x="61" y="69"/>
                    </a:cubicBezTo>
                    <a:cubicBezTo>
                      <a:pt x="62" y="69"/>
                      <a:pt x="69" y="69"/>
                      <a:pt x="71" y="70"/>
                    </a:cubicBezTo>
                    <a:cubicBezTo>
                      <a:pt x="68" y="69"/>
                      <a:pt x="65" y="69"/>
                      <a:pt x="62" y="69"/>
                    </a:cubicBezTo>
                    <a:cubicBezTo>
                      <a:pt x="62" y="68"/>
                      <a:pt x="63" y="68"/>
                      <a:pt x="64" y="68"/>
                    </a:cubicBezTo>
                    <a:cubicBezTo>
                      <a:pt x="67" y="67"/>
                      <a:pt x="68" y="66"/>
                      <a:pt x="71" y="66"/>
                    </a:cubicBezTo>
                    <a:cubicBezTo>
                      <a:pt x="72" y="66"/>
                      <a:pt x="73" y="66"/>
                      <a:pt x="74" y="66"/>
                    </a:cubicBezTo>
                    <a:cubicBezTo>
                      <a:pt x="72" y="66"/>
                      <a:pt x="71" y="66"/>
                      <a:pt x="69" y="66"/>
                    </a:cubicBezTo>
                    <a:cubicBezTo>
                      <a:pt x="71" y="65"/>
                      <a:pt x="71" y="65"/>
                      <a:pt x="73" y="66"/>
                    </a:cubicBezTo>
                    <a:cubicBezTo>
                      <a:pt x="74" y="66"/>
                      <a:pt x="76" y="66"/>
                      <a:pt x="78" y="66"/>
                    </a:cubicBezTo>
                    <a:cubicBezTo>
                      <a:pt x="75" y="66"/>
                      <a:pt x="73" y="65"/>
                      <a:pt x="71" y="65"/>
                    </a:cubicBezTo>
                    <a:cubicBezTo>
                      <a:pt x="74" y="63"/>
                      <a:pt x="74" y="64"/>
                      <a:pt x="78" y="63"/>
                    </a:cubicBezTo>
                    <a:cubicBezTo>
                      <a:pt x="77" y="63"/>
                      <a:pt x="75" y="63"/>
                      <a:pt x="74" y="64"/>
                    </a:cubicBezTo>
                    <a:cubicBezTo>
                      <a:pt x="74" y="64"/>
                      <a:pt x="75" y="63"/>
                      <a:pt x="75" y="63"/>
                    </a:cubicBezTo>
                    <a:cubicBezTo>
                      <a:pt x="75" y="63"/>
                      <a:pt x="75" y="63"/>
                      <a:pt x="75" y="63"/>
                    </a:cubicBezTo>
                    <a:cubicBezTo>
                      <a:pt x="76" y="62"/>
                      <a:pt x="77" y="61"/>
                      <a:pt x="78" y="60"/>
                    </a:cubicBezTo>
                    <a:cubicBezTo>
                      <a:pt x="77" y="61"/>
                      <a:pt x="76" y="61"/>
                      <a:pt x="75" y="63"/>
                    </a:cubicBezTo>
                    <a:cubicBezTo>
                      <a:pt x="75" y="63"/>
                      <a:pt x="75" y="63"/>
                      <a:pt x="75" y="63"/>
                    </a:cubicBezTo>
                    <a:cubicBezTo>
                      <a:pt x="74" y="63"/>
                      <a:pt x="70" y="66"/>
                      <a:pt x="69" y="66"/>
                    </a:cubicBezTo>
                    <a:cubicBezTo>
                      <a:pt x="68" y="65"/>
                      <a:pt x="68" y="65"/>
                      <a:pt x="67" y="65"/>
                    </a:cubicBezTo>
                    <a:cubicBezTo>
                      <a:pt x="68" y="64"/>
                      <a:pt x="69" y="62"/>
                      <a:pt x="70" y="62"/>
                    </a:cubicBezTo>
                    <a:cubicBezTo>
                      <a:pt x="70" y="62"/>
                      <a:pt x="70" y="62"/>
                      <a:pt x="70" y="62"/>
                    </a:cubicBezTo>
                    <a:cubicBezTo>
                      <a:pt x="70" y="62"/>
                      <a:pt x="70" y="62"/>
                      <a:pt x="70" y="62"/>
                    </a:cubicBezTo>
                    <a:cubicBezTo>
                      <a:pt x="71" y="62"/>
                      <a:pt x="71" y="61"/>
                      <a:pt x="71" y="61"/>
                    </a:cubicBezTo>
                    <a:cubicBezTo>
                      <a:pt x="70" y="62"/>
                      <a:pt x="70" y="62"/>
                      <a:pt x="69" y="62"/>
                    </a:cubicBezTo>
                    <a:cubicBezTo>
                      <a:pt x="70" y="62"/>
                      <a:pt x="70" y="62"/>
                      <a:pt x="71" y="61"/>
                    </a:cubicBezTo>
                    <a:cubicBezTo>
                      <a:pt x="71" y="61"/>
                      <a:pt x="71" y="61"/>
                      <a:pt x="71" y="61"/>
                    </a:cubicBezTo>
                    <a:cubicBezTo>
                      <a:pt x="68" y="63"/>
                      <a:pt x="68" y="62"/>
                      <a:pt x="65" y="63"/>
                    </a:cubicBezTo>
                    <a:cubicBezTo>
                      <a:pt x="64" y="63"/>
                      <a:pt x="64" y="64"/>
                      <a:pt x="63" y="64"/>
                    </a:cubicBezTo>
                    <a:cubicBezTo>
                      <a:pt x="65" y="63"/>
                      <a:pt x="66" y="62"/>
                      <a:pt x="68" y="61"/>
                    </a:cubicBezTo>
                    <a:cubicBezTo>
                      <a:pt x="68" y="61"/>
                      <a:pt x="67" y="61"/>
                      <a:pt x="67" y="61"/>
                    </a:cubicBezTo>
                    <a:cubicBezTo>
                      <a:pt x="67" y="61"/>
                      <a:pt x="68" y="61"/>
                      <a:pt x="68" y="60"/>
                    </a:cubicBezTo>
                    <a:cubicBezTo>
                      <a:pt x="68" y="60"/>
                      <a:pt x="70" y="58"/>
                      <a:pt x="70" y="58"/>
                    </a:cubicBezTo>
                    <a:cubicBezTo>
                      <a:pt x="70" y="58"/>
                      <a:pt x="71" y="58"/>
                      <a:pt x="71" y="58"/>
                    </a:cubicBezTo>
                    <a:cubicBezTo>
                      <a:pt x="71" y="58"/>
                      <a:pt x="70" y="58"/>
                      <a:pt x="70" y="58"/>
                    </a:cubicBezTo>
                    <a:cubicBezTo>
                      <a:pt x="71" y="58"/>
                      <a:pt x="71" y="57"/>
                      <a:pt x="72" y="57"/>
                    </a:cubicBezTo>
                    <a:cubicBezTo>
                      <a:pt x="71" y="57"/>
                      <a:pt x="71" y="57"/>
                      <a:pt x="70" y="58"/>
                    </a:cubicBezTo>
                    <a:cubicBezTo>
                      <a:pt x="67" y="56"/>
                      <a:pt x="63" y="55"/>
                      <a:pt x="60" y="53"/>
                    </a:cubicBezTo>
                    <a:cubicBezTo>
                      <a:pt x="62" y="53"/>
                      <a:pt x="65" y="53"/>
                      <a:pt x="67" y="53"/>
                    </a:cubicBezTo>
                    <a:cubicBezTo>
                      <a:pt x="67" y="53"/>
                      <a:pt x="67" y="53"/>
                      <a:pt x="67" y="53"/>
                    </a:cubicBezTo>
                    <a:cubicBezTo>
                      <a:pt x="66" y="53"/>
                      <a:pt x="60" y="53"/>
                      <a:pt x="60" y="53"/>
                    </a:cubicBezTo>
                    <a:cubicBezTo>
                      <a:pt x="59" y="53"/>
                      <a:pt x="59" y="53"/>
                      <a:pt x="59" y="53"/>
                    </a:cubicBezTo>
                    <a:cubicBezTo>
                      <a:pt x="63" y="51"/>
                      <a:pt x="61" y="52"/>
                      <a:pt x="66" y="51"/>
                    </a:cubicBezTo>
                    <a:cubicBezTo>
                      <a:pt x="68" y="50"/>
                      <a:pt x="69" y="50"/>
                      <a:pt x="71" y="50"/>
                    </a:cubicBezTo>
                    <a:cubicBezTo>
                      <a:pt x="70" y="50"/>
                      <a:pt x="67" y="50"/>
                      <a:pt x="63" y="51"/>
                    </a:cubicBezTo>
                    <a:cubicBezTo>
                      <a:pt x="64" y="51"/>
                      <a:pt x="64" y="50"/>
                      <a:pt x="65" y="50"/>
                    </a:cubicBezTo>
                    <a:cubicBezTo>
                      <a:pt x="68" y="48"/>
                      <a:pt x="68" y="48"/>
                      <a:pt x="71" y="47"/>
                    </a:cubicBezTo>
                    <a:cubicBezTo>
                      <a:pt x="73" y="46"/>
                      <a:pt x="74" y="46"/>
                      <a:pt x="75" y="46"/>
                    </a:cubicBezTo>
                    <a:cubicBezTo>
                      <a:pt x="73" y="46"/>
                      <a:pt x="71" y="47"/>
                      <a:pt x="69" y="47"/>
                    </a:cubicBezTo>
                    <a:cubicBezTo>
                      <a:pt x="71" y="46"/>
                      <a:pt x="71" y="46"/>
                      <a:pt x="73" y="46"/>
                    </a:cubicBezTo>
                    <a:cubicBezTo>
                      <a:pt x="75" y="46"/>
                      <a:pt x="76" y="46"/>
                      <a:pt x="78" y="46"/>
                    </a:cubicBezTo>
                    <a:cubicBezTo>
                      <a:pt x="75" y="46"/>
                      <a:pt x="73" y="46"/>
                      <a:pt x="71" y="46"/>
                    </a:cubicBezTo>
                    <a:cubicBezTo>
                      <a:pt x="74" y="44"/>
                      <a:pt x="74" y="43"/>
                      <a:pt x="78" y="42"/>
                    </a:cubicBezTo>
                    <a:cubicBezTo>
                      <a:pt x="77" y="42"/>
                      <a:pt x="76" y="42"/>
                      <a:pt x="74" y="43"/>
                    </a:cubicBezTo>
                    <a:cubicBezTo>
                      <a:pt x="74" y="43"/>
                      <a:pt x="75" y="43"/>
                      <a:pt x="75" y="43"/>
                    </a:cubicBezTo>
                    <a:cubicBezTo>
                      <a:pt x="75" y="43"/>
                      <a:pt x="75" y="43"/>
                      <a:pt x="75" y="43"/>
                    </a:cubicBezTo>
                    <a:cubicBezTo>
                      <a:pt x="75" y="41"/>
                      <a:pt x="76" y="40"/>
                      <a:pt x="77" y="39"/>
                    </a:cubicBezTo>
                    <a:cubicBezTo>
                      <a:pt x="76" y="40"/>
                      <a:pt x="75" y="41"/>
                      <a:pt x="75" y="43"/>
                    </a:cubicBezTo>
                    <a:cubicBezTo>
                      <a:pt x="75" y="43"/>
                      <a:pt x="75" y="43"/>
                      <a:pt x="74" y="43"/>
                    </a:cubicBezTo>
                    <a:cubicBezTo>
                      <a:pt x="71" y="46"/>
                      <a:pt x="70" y="46"/>
                      <a:pt x="66" y="49"/>
                    </a:cubicBezTo>
                    <a:cubicBezTo>
                      <a:pt x="67" y="46"/>
                      <a:pt x="68" y="44"/>
                      <a:pt x="69" y="43"/>
                    </a:cubicBezTo>
                    <a:cubicBezTo>
                      <a:pt x="69" y="43"/>
                      <a:pt x="69" y="43"/>
                      <a:pt x="69" y="43"/>
                    </a:cubicBezTo>
                    <a:cubicBezTo>
                      <a:pt x="69" y="43"/>
                      <a:pt x="69" y="43"/>
                      <a:pt x="69" y="43"/>
                    </a:cubicBezTo>
                    <a:cubicBezTo>
                      <a:pt x="69" y="42"/>
                      <a:pt x="69" y="42"/>
                      <a:pt x="70" y="42"/>
                    </a:cubicBezTo>
                    <a:cubicBezTo>
                      <a:pt x="69" y="42"/>
                      <a:pt x="69" y="42"/>
                      <a:pt x="69" y="42"/>
                    </a:cubicBezTo>
                    <a:cubicBezTo>
                      <a:pt x="69" y="42"/>
                      <a:pt x="69" y="42"/>
                      <a:pt x="69" y="43"/>
                    </a:cubicBezTo>
                    <a:cubicBezTo>
                      <a:pt x="66" y="42"/>
                      <a:pt x="62" y="42"/>
                      <a:pt x="59" y="41"/>
                    </a:cubicBezTo>
                    <a:cubicBezTo>
                      <a:pt x="62" y="40"/>
                      <a:pt x="61" y="40"/>
                      <a:pt x="64" y="40"/>
                    </a:cubicBezTo>
                    <a:cubicBezTo>
                      <a:pt x="63" y="40"/>
                      <a:pt x="63" y="40"/>
                      <a:pt x="62" y="40"/>
                    </a:cubicBezTo>
                    <a:cubicBezTo>
                      <a:pt x="64" y="39"/>
                      <a:pt x="68" y="38"/>
                      <a:pt x="70" y="38"/>
                    </a:cubicBezTo>
                    <a:cubicBezTo>
                      <a:pt x="67" y="38"/>
                      <a:pt x="65" y="39"/>
                      <a:pt x="63" y="39"/>
                    </a:cubicBezTo>
                    <a:cubicBezTo>
                      <a:pt x="64" y="39"/>
                      <a:pt x="67" y="36"/>
                      <a:pt x="68" y="36"/>
                    </a:cubicBezTo>
                    <a:cubicBezTo>
                      <a:pt x="69" y="36"/>
                      <a:pt x="70" y="35"/>
                      <a:pt x="70" y="35"/>
                    </a:cubicBezTo>
                    <a:cubicBezTo>
                      <a:pt x="69" y="35"/>
                      <a:pt x="69" y="36"/>
                      <a:pt x="68" y="36"/>
                    </a:cubicBezTo>
                    <a:cubicBezTo>
                      <a:pt x="69" y="35"/>
                      <a:pt x="69" y="35"/>
                      <a:pt x="71" y="35"/>
                    </a:cubicBezTo>
                    <a:cubicBezTo>
                      <a:pt x="72" y="35"/>
                      <a:pt x="73" y="34"/>
                      <a:pt x="74" y="34"/>
                    </a:cubicBezTo>
                    <a:cubicBezTo>
                      <a:pt x="72" y="34"/>
                      <a:pt x="71" y="35"/>
                      <a:pt x="69" y="35"/>
                    </a:cubicBezTo>
                    <a:cubicBezTo>
                      <a:pt x="70" y="34"/>
                      <a:pt x="70" y="34"/>
                      <a:pt x="71" y="33"/>
                    </a:cubicBezTo>
                    <a:cubicBezTo>
                      <a:pt x="71" y="33"/>
                      <a:pt x="71" y="33"/>
                      <a:pt x="71" y="33"/>
                    </a:cubicBezTo>
                    <a:cubicBezTo>
                      <a:pt x="72" y="33"/>
                      <a:pt x="73" y="32"/>
                      <a:pt x="75" y="32"/>
                    </a:cubicBezTo>
                    <a:cubicBezTo>
                      <a:pt x="73" y="32"/>
                      <a:pt x="72" y="33"/>
                      <a:pt x="71" y="33"/>
                    </a:cubicBezTo>
                    <a:cubicBezTo>
                      <a:pt x="71" y="33"/>
                      <a:pt x="71" y="33"/>
                      <a:pt x="71" y="33"/>
                    </a:cubicBezTo>
                    <a:cubicBezTo>
                      <a:pt x="71" y="33"/>
                      <a:pt x="67" y="36"/>
                      <a:pt x="67" y="36"/>
                    </a:cubicBezTo>
                    <a:cubicBezTo>
                      <a:pt x="66" y="37"/>
                      <a:pt x="66" y="37"/>
                      <a:pt x="65" y="37"/>
                    </a:cubicBezTo>
                    <a:cubicBezTo>
                      <a:pt x="65" y="35"/>
                      <a:pt x="66" y="35"/>
                      <a:pt x="67" y="34"/>
                    </a:cubicBezTo>
                    <a:cubicBezTo>
                      <a:pt x="68" y="33"/>
                      <a:pt x="68" y="33"/>
                      <a:pt x="69" y="32"/>
                    </a:cubicBezTo>
                    <a:cubicBezTo>
                      <a:pt x="68" y="33"/>
                      <a:pt x="67" y="34"/>
                      <a:pt x="66" y="35"/>
                    </a:cubicBezTo>
                    <a:cubicBezTo>
                      <a:pt x="66" y="34"/>
                      <a:pt x="67" y="33"/>
                      <a:pt x="67" y="32"/>
                    </a:cubicBezTo>
                    <a:cubicBezTo>
                      <a:pt x="67" y="32"/>
                      <a:pt x="66" y="33"/>
                      <a:pt x="66" y="35"/>
                    </a:cubicBezTo>
                    <a:cubicBezTo>
                      <a:pt x="65" y="35"/>
                      <a:pt x="64" y="37"/>
                      <a:pt x="63" y="39"/>
                    </a:cubicBezTo>
                    <a:cubicBezTo>
                      <a:pt x="63" y="39"/>
                      <a:pt x="62" y="39"/>
                      <a:pt x="62" y="39"/>
                    </a:cubicBezTo>
                    <a:cubicBezTo>
                      <a:pt x="60" y="39"/>
                      <a:pt x="58" y="39"/>
                      <a:pt x="57" y="38"/>
                    </a:cubicBezTo>
                    <a:cubicBezTo>
                      <a:pt x="58" y="38"/>
                      <a:pt x="62" y="36"/>
                      <a:pt x="62" y="36"/>
                    </a:cubicBezTo>
                    <a:cubicBezTo>
                      <a:pt x="61" y="36"/>
                      <a:pt x="57" y="38"/>
                      <a:pt x="57" y="38"/>
                    </a:cubicBezTo>
                    <a:cubicBezTo>
                      <a:pt x="56" y="38"/>
                      <a:pt x="56" y="38"/>
                      <a:pt x="55" y="38"/>
                    </a:cubicBezTo>
                    <a:cubicBezTo>
                      <a:pt x="56" y="37"/>
                      <a:pt x="56" y="37"/>
                      <a:pt x="57" y="36"/>
                    </a:cubicBezTo>
                    <a:cubicBezTo>
                      <a:pt x="58" y="35"/>
                      <a:pt x="59" y="33"/>
                      <a:pt x="60" y="34"/>
                    </a:cubicBezTo>
                    <a:cubicBezTo>
                      <a:pt x="60" y="34"/>
                      <a:pt x="60" y="34"/>
                      <a:pt x="60" y="33"/>
                    </a:cubicBezTo>
                    <a:cubicBezTo>
                      <a:pt x="61" y="33"/>
                      <a:pt x="61" y="33"/>
                      <a:pt x="61" y="33"/>
                    </a:cubicBezTo>
                    <a:cubicBezTo>
                      <a:pt x="60" y="33"/>
                      <a:pt x="60" y="33"/>
                      <a:pt x="60" y="33"/>
                    </a:cubicBezTo>
                    <a:cubicBezTo>
                      <a:pt x="61" y="32"/>
                      <a:pt x="61" y="31"/>
                      <a:pt x="64" y="31"/>
                    </a:cubicBezTo>
                    <a:cubicBezTo>
                      <a:pt x="64" y="30"/>
                      <a:pt x="65" y="30"/>
                      <a:pt x="66" y="30"/>
                    </a:cubicBezTo>
                    <a:cubicBezTo>
                      <a:pt x="65" y="30"/>
                      <a:pt x="64" y="31"/>
                      <a:pt x="62" y="31"/>
                    </a:cubicBezTo>
                    <a:cubicBezTo>
                      <a:pt x="62" y="31"/>
                      <a:pt x="63" y="30"/>
                      <a:pt x="63" y="30"/>
                    </a:cubicBezTo>
                    <a:cubicBezTo>
                      <a:pt x="63" y="30"/>
                      <a:pt x="63" y="30"/>
                      <a:pt x="63" y="30"/>
                    </a:cubicBezTo>
                    <a:cubicBezTo>
                      <a:pt x="63" y="30"/>
                      <a:pt x="64" y="29"/>
                      <a:pt x="64" y="29"/>
                    </a:cubicBezTo>
                    <a:cubicBezTo>
                      <a:pt x="61" y="31"/>
                      <a:pt x="61" y="32"/>
                      <a:pt x="59" y="33"/>
                    </a:cubicBezTo>
                    <a:cubicBezTo>
                      <a:pt x="59" y="33"/>
                      <a:pt x="58" y="33"/>
                      <a:pt x="58" y="33"/>
                    </a:cubicBezTo>
                    <a:cubicBezTo>
                      <a:pt x="58" y="32"/>
                      <a:pt x="58" y="31"/>
                      <a:pt x="58" y="29"/>
                    </a:cubicBezTo>
                    <a:cubicBezTo>
                      <a:pt x="61" y="28"/>
                      <a:pt x="61" y="28"/>
                      <a:pt x="64" y="29"/>
                    </a:cubicBezTo>
                    <a:cubicBezTo>
                      <a:pt x="65" y="29"/>
                      <a:pt x="66" y="29"/>
                      <a:pt x="67" y="29"/>
                    </a:cubicBezTo>
                    <a:cubicBezTo>
                      <a:pt x="65" y="29"/>
                      <a:pt x="63" y="28"/>
                      <a:pt x="61" y="28"/>
                    </a:cubicBezTo>
                    <a:cubicBezTo>
                      <a:pt x="61" y="28"/>
                      <a:pt x="62" y="28"/>
                      <a:pt x="63" y="28"/>
                    </a:cubicBezTo>
                    <a:cubicBezTo>
                      <a:pt x="63" y="28"/>
                      <a:pt x="63" y="28"/>
                      <a:pt x="63" y="28"/>
                    </a:cubicBezTo>
                    <a:cubicBezTo>
                      <a:pt x="62" y="28"/>
                      <a:pt x="61" y="28"/>
                      <a:pt x="60" y="28"/>
                    </a:cubicBezTo>
                    <a:cubicBezTo>
                      <a:pt x="61" y="27"/>
                      <a:pt x="61" y="27"/>
                      <a:pt x="63" y="26"/>
                    </a:cubicBezTo>
                    <a:cubicBezTo>
                      <a:pt x="63" y="26"/>
                      <a:pt x="62" y="26"/>
                      <a:pt x="62" y="26"/>
                    </a:cubicBezTo>
                    <a:cubicBezTo>
                      <a:pt x="64" y="25"/>
                      <a:pt x="67" y="25"/>
                      <a:pt x="69" y="24"/>
                    </a:cubicBezTo>
                    <a:cubicBezTo>
                      <a:pt x="66" y="25"/>
                      <a:pt x="64" y="25"/>
                      <a:pt x="62" y="26"/>
                    </a:cubicBezTo>
                    <a:cubicBezTo>
                      <a:pt x="64" y="24"/>
                      <a:pt x="65" y="23"/>
                      <a:pt x="67" y="21"/>
                    </a:cubicBezTo>
                    <a:cubicBezTo>
                      <a:pt x="67" y="21"/>
                      <a:pt x="67" y="21"/>
                      <a:pt x="67" y="21"/>
                    </a:cubicBezTo>
                    <a:cubicBezTo>
                      <a:pt x="68" y="21"/>
                      <a:pt x="68" y="21"/>
                      <a:pt x="68" y="21"/>
                    </a:cubicBezTo>
                    <a:cubicBezTo>
                      <a:pt x="68" y="20"/>
                      <a:pt x="67" y="21"/>
                      <a:pt x="67" y="21"/>
                    </a:cubicBezTo>
                    <a:cubicBezTo>
                      <a:pt x="67" y="21"/>
                      <a:pt x="68" y="20"/>
                      <a:pt x="68" y="20"/>
                    </a:cubicBezTo>
                    <a:cubicBezTo>
                      <a:pt x="68" y="20"/>
                      <a:pt x="67" y="20"/>
                      <a:pt x="67" y="21"/>
                    </a:cubicBezTo>
                    <a:cubicBezTo>
                      <a:pt x="67" y="21"/>
                      <a:pt x="67" y="21"/>
                      <a:pt x="67" y="21"/>
                    </a:cubicBezTo>
                    <a:cubicBezTo>
                      <a:pt x="66" y="21"/>
                      <a:pt x="66" y="22"/>
                      <a:pt x="65" y="22"/>
                    </a:cubicBezTo>
                    <a:cubicBezTo>
                      <a:pt x="65" y="21"/>
                      <a:pt x="65" y="21"/>
                      <a:pt x="65" y="20"/>
                    </a:cubicBezTo>
                    <a:cubicBezTo>
                      <a:pt x="65" y="23"/>
                      <a:pt x="66" y="22"/>
                      <a:pt x="64" y="23"/>
                    </a:cubicBezTo>
                    <a:cubicBezTo>
                      <a:pt x="64" y="24"/>
                      <a:pt x="64" y="24"/>
                      <a:pt x="64" y="24"/>
                    </a:cubicBezTo>
                    <a:cubicBezTo>
                      <a:pt x="63" y="25"/>
                      <a:pt x="62" y="26"/>
                      <a:pt x="61" y="27"/>
                    </a:cubicBezTo>
                    <a:cubicBezTo>
                      <a:pt x="60" y="27"/>
                      <a:pt x="58" y="28"/>
                      <a:pt x="57" y="28"/>
                    </a:cubicBezTo>
                    <a:cubicBezTo>
                      <a:pt x="56" y="29"/>
                      <a:pt x="56" y="29"/>
                      <a:pt x="55" y="29"/>
                    </a:cubicBezTo>
                    <a:cubicBezTo>
                      <a:pt x="56" y="29"/>
                      <a:pt x="57" y="26"/>
                      <a:pt x="57" y="26"/>
                    </a:cubicBezTo>
                    <a:cubicBezTo>
                      <a:pt x="57" y="26"/>
                      <a:pt x="58" y="26"/>
                      <a:pt x="58" y="25"/>
                    </a:cubicBezTo>
                    <a:cubicBezTo>
                      <a:pt x="58" y="25"/>
                      <a:pt x="59" y="25"/>
                      <a:pt x="60" y="25"/>
                    </a:cubicBezTo>
                    <a:cubicBezTo>
                      <a:pt x="59" y="25"/>
                      <a:pt x="59" y="25"/>
                      <a:pt x="58" y="25"/>
                    </a:cubicBezTo>
                    <a:cubicBezTo>
                      <a:pt x="58" y="24"/>
                      <a:pt x="59" y="24"/>
                      <a:pt x="59" y="24"/>
                    </a:cubicBezTo>
                    <a:cubicBezTo>
                      <a:pt x="58" y="24"/>
                      <a:pt x="58" y="25"/>
                      <a:pt x="58" y="25"/>
                    </a:cubicBezTo>
                    <a:cubicBezTo>
                      <a:pt x="56" y="25"/>
                      <a:pt x="53" y="26"/>
                      <a:pt x="51" y="26"/>
                    </a:cubicBezTo>
                    <a:cubicBezTo>
                      <a:pt x="53" y="24"/>
                      <a:pt x="54" y="24"/>
                      <a:pt x="56" y="24"/>
                    </a:cubicBezTo>
                    <a:cubicBezTo>
                      <a:pt x="53" y="24"/>
                      <a:pt x="53" y="24"/>
                      <a:pt x="53" y="24"/>
                    </a:cubicBezTo>
                    <a:cubicBezTo>
                      <a:pt x="55" y="23"/>
                      <a:pt x="56" y="22"/>
                      <a:pt x="58" y="21"/>
                    </a:cubicBezTo>
                    <a:cubicBezTo>
                      <a:pt x="58" y="21"/>
                      <a:pt x="57" y="21"/>
                      <a:pt x="57" y="21"/>
                    </a:cubicBezTo>
                    <a:cubicBezTo>
                      <a:pt x="56" y="22"/>
                      <a:pt x="55" y="22"/>
                      <a:pt x="54" y="23"/>
                    </a:cubicBezTo>
                    <a:cubicBezTo>
                      <a:pt x="54" y="23"/>
                      <a:pt x="53" y="24"/>
                      <a:pt x="53" y="24"/>
                    </a:cubicBezTo>
                    <a:cubicBezTo>
                      <a:pt x="53" y="23"/>
                      <a:pt x="54" y="21"/>
                      <a:pt x="55" y="21"/>
                    </a:cubicBezTo>
                    <a:cubicBezTo>
                      <a:pt x="55" y="21"/>
                      <a:pt x="55" y="21"/>
                      <a:pt x="55" y="21"/>
                    </a:cubicBezTo>
                    <a:cubicBezTo>
                      <a:pt x="55" y="21"/>
                      <a:pt x="55" y="21"/>
                      <a:pt x="55" y="21"/>
                    </a:cubicBezTo>
                    <a:cubicBezTo>
                      <a:pt x="56" y="18"/>
                      <a:pt x="56" y="17"/>
                      <a:pt x="59" y="16"/>
                    </a:cubicBezTo>
                    <a:cubicBezTo>
                      <a:pt x="58" y="16"/>
                      <a:pt x="58" y="16"/>
                      <a:pt x="58" y="16"/>
                    </a:cubicBezTo>
                    <a:cubicBezTo>
                      <a:pt x="58" y="16"/>
                      <a:pt x="59" y="16"/>
                      <a:pt x="59" y="16"/>
                    </a:cubicBezTo>
                    <a:cubicBezTo>
                      <a:pt x="58" y="16"/>
                      <a:pt x="57" y="17"/>
                      <a:pt x="57" y="17"/>
                    </a:cubicBezTo>
                    <a:cubicBezTo>
                      <a:pt x="56" y="17"/>
                      <a:pt x="55" y="20"/>
                      <a:pt x="55" y="21"/>
                    </a:cubicBezTo>
                    <a:cubicBezTo>
                      <a:pt x="55" y="20"/>
                      <a:pt x="55" y="17"/>
                      <a:pt x="54" y="16"/>
                    </a:cubicBezTo>
                    <a:cubicBezTo>
                      <a:pt x="55" y="21"/>
                      <a:pt x="55" y="21"/>
                      <a:pt x="53" y="22"/>
                    </a:cubicBezTo>
                    <a:cubicBezTo>
                      <a:pt x="52" y="21"/>
                      <a:pt x="52" y="20"/>
                      <a:pt x="51" y="20"/>
                    </a:cubicBezTo>
                    <a:cubicBezTo>
                      <a:pt x="52" y="20"/>
                      <a:pt x="52" y="21"/>
                      <a:pt x="53" y="22"/>
                    </a:cubicBezTo>
                    <a:cubicBezTo>
                      <a:pt x="51" y="22"/>
                      <a:pt x="50" y="23"/>
                      <a:pt x="48" y="24"/>
                    </a:cubicBezTo>
                    <a:cubicBezTo>
                      <a:pt x="48" y="23"/>
                      <a:pt x="48" y="22"/>
                      <a:pt x="48" y="21"/>
                    </a:cubicBezTo>
                    <a:cubicBezTo>
                      <a:pt x="49" y="20"/>
                      <a:pt x="50" y="19"/>
                      <a:pt x="52" y="17"/>
                    </a:cubicBezTo>
                    <a:cubicBezTo>
                      <a:pt x="50" y="18"/>
                      <a:pt x="49" y="20"/>
                      <a:pt x="48" y="21"/>
                    </a:cubicBezTo>
                    <a:cubicBezTo>
                      <a:pt x="48" y="21"/>
                      <a:pt x="48" y="21"/>
                      <a:pt x="48" y="21"/>
                    </a:cubicBezTo>
                    <a:cubicBezTo>
                      <a:pt x="48" y="21"/>
                      <a:pt x="48" y="21"/>
                      <a:pt x="48" y="20"/>
                    </a:cubicBezTo>
                    <a:cubicBezTo>
                      <a:pt x="48" y="21"/>
                      <a:pt x="48" y="21"/>
                      <a:pt x="48" y="21"/>
                    </a:cubicBezTo>
                    <a:cubicBezTo>
                      <a:pt x="48" y="21"/>
                      <a:pt x="48" y="21"/>
                      <a:pt x="48" y="21"/>
                    </a:cubicBezTo>
                    <a:cubicBezTo>
                      <a:pt x="48" y="21"/>
                      <a:pt x="47" y="21"/>
                      <a:pt x="47" y="21"/>
                    </a:cubicBezTo>
                    <a:cubicBezTo>
                      <a:pt x="48" y="19"/>
                      <a:pt x="48" y="17"/>
                      <a:pt x="49" y="14"/>
                    </a:cubicBezTo>
                    <a:cubicBezTo>
                      <a:pt x="49" y="14"/>
                      <a:pt x="50" y="13"/>
                      <a:pt x="50" y="12"/>
                    </a:cubicBezTo>
                    <a:cubicBezTo>
                      <a:pt x="51" y="11"/>
                      <a:pt x="55" y="9"/>
                      <a:pt x="57" y="8"/>
                    </a:cubicBezTo>
                    <a:cubicBezTo>
                      <a:pt x="54" y="9"/>
                      <a:pt x="52" y="10"/>
                      <a:pt x="50" y="12"/>
                    </a:cubicBezTo>
                    <a:cubicBezTo>
                      <a:pt x="51" y="11"/>
                      <a:pt x="51" y="10"/>
                      <a:pt x="52" y="9"/>
                    </a:cubicBezTo>
                    <a:cubicBezTo>
                      <a:pt x="51" y="10"/>
                      <a:pt x="51" y="11"/>
                      <a:pt x="49" y="12"/>
                    </a:cubicBezTo>
                    <a:cubicBezTo>
                      <a:pt x="50" y="11"/>
                      <a:pt x="50" y="10"/>
                      <a:pt x="51" y="8"/>
                    </a:cubicBezTo>
                    <a:cubicBezTo>
                      <a:pt x="52" y="7"/>
                      <a:pt x="52" y="6"/>
                      <a:pt x="53" y="5"/>
                    </a:cubicBezTo>
                    <a:cubicBezTo>
                      <a:pt x="52" y="7"/>
                      <a:pt x="51" y="8"/>
                      <a:pt x="50" y="9"/>
                    </a:cubicBezTo>
                    <a:cubicBezTo>
                      <a:pt x="50" y="7"/>
                      <a:pt x="51" y="5"/>
                      <a:pt x="51" y="2"/>
                    </a:cubicBezTo>
                    <a:cubicBezTo>
                      <a:pt x="51" y="2"/>
                      <a:pt x="51" y="2"/>
                      <a:pt x="51" y="2"/>
                    </a:cubicBezTo>
                    <a:cubicBezTo>
                      <a:pt x="51" y="1"/>
                      <a:pt x="52" y="1"/>
                      <a:pt x="52" y="0"/>
                    </a:cubicBezTo>
                    <a:cubicBezTo>
                      <a:pt x="52" y="0"/>
                      <a:pt x="51" y="1"/>
                      <a:pt x="51" y="1"/>
                    </a:cubicBezTo>
                    <a:cubicBezTo>
                      <a:pt x="51" y="1"/>
                      <a:pt x="51" y="1"/>
                      <a:pt x="51" y="1"/>
                    </a:cubicBezTo>
                    <a:close/>
                    <a:moveTo>
                      <a:pt x="36" y="8"/>
                    </a:moveTo>
                    <a:cubicBezTo>
                      <a:pt x="36" y="8"/>
                      <a:pt x="36" y="8"/>
                      <a:pt x="36" y="8"/>
                    </a:cubicBezTo>
                    <a:cubicBezTo>
                      <a:pt x="36" y="8"/>
                      <a:pt x="36" y="9"/>
                      <a:pt x="36" y="9"/>
                    </a:cubicBezTo>
                    <a:cubicBezTo>
                      <a:pt x="36" y="9"/>
                      <a:pt x="36" y="8"/>
                      <a:pt x="36" y="8"/>
                    </a:cubicBezTo>
                    <a:cubicBezTo>
                      <a:pt x="36" y="8"/>
                      <a:pt x="36" y="8"/>
                      <a:pt x="36" y="8"/>
                    </a:cubicBezTo>
                    <a:close/>
                    <a:moveTo>
                      <a:pt x="36" y="9"/>
                    </a:moveTo>
                    <a:cubicBezTo>
                      <a:pt x="36" y="10"/>
                      <a:pt x="36" y="10"/>
                      <a:pt x="36" y="11"/>
                    </a:cubicBezTo>
                    <a:cubicBezTo>
                      <a:pt x="36" y="9"/>
                      <a:pt x="36" y="9"/>
                      <a:pt x="36" y="9"/>
                    </a:cubicBezTo>
                    <a:cubicBezTo>
                      <a:pt x="36" y="9"/>
                      <a:pt x="36" y="9"/>
                      <a:pt x="36" y="9"/>
                    </a:cubicBezTo>
                    <a:close/>
                    <a:moveTo>
                      <a:pt x="50" y="12"/>
                    </a:moveTo>
                    <a:cubicBezTo>
                      <a:pt x="49" y="13"/>
                      <a:pt x="49" y="13"/>
                      <a:pt x="49" y="14"/>
                    </a:cubicBezTo>
                    <a:cubicBezTo>
                      <a:pt x="49" y="13"/>
                      <a:pt x="50" y="13"/>
                      <a:pt x="50" y="12"/>
                    </a:cubicBezTo>
                    <a:cubicBezTo>
                      <a:pt x="50" y="12"/>
                      <a:pt x="50" y="12"/>
                      <a:pt x="50" y="12"/>
                    </a:cubicBezTo>
                    <a:close/>
                    <a:moveTo>
                      <a:pt x="57" y="17"/>
                    </a:moveTo>
                    <a:cubicBezTo>
                      <a:pt x="57" y="17"/>
                      <a:pt x="57" y="17"/>
                      <a:pt x="57" y="17"/>
                    </a:cubicBezTo>
                    <a:cubicBezTo>
                      <a:pt x="57" y="17"/>
                      <a:pt x="57" y="17"/>
                      <a:pt x="57" y="18"/>
                    </a:cubicBezTo>
                    <a:cubicBezTo>
                      <a:pt x="57" y="17"/>
                      <a:pt x="57" y="17"/>
                      <a:pt x="57" y="17"/>
                    </a:cubicBezTo>
                    <a:cubicBezTo>
                      <a:pt x="57" y="17"/>
                      <a:pt x="57" y="17"/>
                      <a:pt x="57" y="17"/>
                    </a:cubicBezTo>
                    <a:close/>
                    <a:moveTo>
                      <a:pt x="45" y="14"/>
                    </a:moveTo>
                    <a:cubicBezTo>
                      <a:pt x="45" y="15"/>
                      <a:pt x="47" y="19"/>
                      <a:pt x="47" y="20"/>
                    </a:cubicBezTo>
                    <a:cubicBezTo>
                      <a:pt x="47" y="21"/>
                      <a:pt x="46" y="22"/>
                      <a:pt x="46" y="23"/>
                    </a:cubicBezTo>
                    <a:cubicBezTo>
                      <a:pt x="46" y="24"/>
                      <a:pt x="45" y="25"/>
                      <a:pt x="45" y="26"/>
                    </a:cubicBezTo>
                    <a:cubicBezTo>
                      <a:pt x="45" y="24"/>
                      <a:pt x="45" y="23"/>
                      <a:pt x="45" y="22"/>
                    </a:cubicBezTo>
                    <a:cubicBezTo>
                      <a:pt x="45" y="22"/>
                      <a:pt x="44" y="22"/>
                      <a:pt x="45" y="23"/>
                    </a:cubicBezTo>
                    <a:cubicBezTo>
                      <a:pt x="44" y="22"/>
                      <a:pt x="43" y="22"/>
                      <a:pt x="43" y="21"/>
                    </a:cubicBezTo>
                    <a:cubicBezTo>
                      <a:pt x="43" y="21"/>
                      <a:pt x="43" y="21"/>
                      <a:pt x="43" y="22"/>
                    </a:cubicBezTo>
                    <a:cubicBezTo>
                      <a:pt x="43" y="22"/>
                      <a:pt x="43" y="22"/>
                      <a:pt x="43" y="22"/>
                    </a:cubicBezTo>
                    <a:cubicBezTo>
                      <a:pt x="43" y="22"/>
                      <a:pt x="44" y="24"/>
                      <a:pt x="44" y="24"/>
                    </a:cubicBezTo>
                    <a:cubicBezTo>
                      <a:pt x="44" y="25"/>
                      <a:pt x="44" y="26"/>
                      <a:pt x="44" y="26"/>
                    </a:cubicBezTo>
                    <a:cubicBezTo>
                      <a:pt x="43" y="25"/>
                      <a:pt x="41" y="23"/>
                      <a:pt x="41" y="21"/>
                    </a:cubicBezTo>
                    <a:cubicBezTo>
                      <a:pt x="42" y="18"/>
                      <a:pt x="43" y="16"/>
                      <a:pt x="45" y="14"/>
                    </a:cubicBezTo>
                    <a:cubicBezTo>
                      <a:pt x="45" y="14"/>
                      <a:pt x="45" y="14"/>
                      <a:pt x="45" y="14"/>
                    </a:cubicBezTo>
                    <a:close/>
                    <a:moveTo>
                      <a:pt x="65" y="22"/>
                    </a:moveTo>
                    <a:cubicBezTo>
                      <a:pt x="66" y="22"/>
                      <a:pt x="66" y="22"/>
                      <a:pt x="66" y="22"/>
                    </a:cubicBezTo>
                    <a:cubicBezTo>
                      <a:pt x="66" y="22"/>
                      <a:pt x="66" y="22"/>
                      <a:pt x="65" y="23"/>
                    </a:cubicBezTo>
                    <a:cubicBezTo>
                      <a:pt x="65" y="23"/>
                      <a:pt x="65" y="22"/>
                      <a:pt x="65" y="22"/>
                    </a:cubicBezTo>
                    <a:cubicBezTo>
                      <a:pt x="65" y="22"/>
                      <a:pt x="65" y="22"/>
                      <a:pt x="65" y="22"/>
                    </a:cubicBezTo>
                    <a:close/>
                    <a:moveTo>
                      <a:pt x="65" y="22"/>
                    </a:moveTo>
                    <a:cubicBezTo>
                      <a:pt x="65" y="23"/>
                      <a:pt x="64" y="24"/>
                      <a:pt x="64" y="24"/>
                    </a:cubicBezTo>
                    <a:cubicBezTo>
                      <a:pt x="64" y="23"/>
                      <a:pt x="65" y="23"/>
                      <a:pt x="65" y="22"/>
                    </a:cubicBezTo>
                    <a:cubicBezTo>
                      <a:pt x="65" y="22"/>
                      <a:pt x="65" y="22"/>
                      <a:pt x="65" y="22"/>
                    </a:cubicBezTo>
                    <a:close/>
                    <a:moveTo>
                      <a:pt x="39" y="18"/>
                    </a:moveTo>
                    <a:cubicBezTo>
                      <a:pt x="40" y="19"/>
                      <a:pt x="40" y="19"/>
                      <a:pt x="40" y="20"/>
                    </a:cubicBezTo>
                    <a:cubicBezTo>
                      <a:pt x="40" y="19"/>
                      <a:pt x="39" y="19"/>
                      <a:pt x="39" y="18"/>
                    </a:cubicBezTo>
                    <a:cubicBezTo>
                      <a:pt x="39" y="18"/>
                      <a:pt x="39" y="18"/>
                      <a:pt x="39" y="18"/>
                    </a:cubicBezTo>
                    <a:close/>
                    <a:moveTo>
                      <a:pt x="53" y="22"/>
                    </a:moveTo>
                    <a:cubicBezTo>
                      <a:pt x="53" y="22"/>
                      <a:pt x="54" y="21"/>
                      <a:pt x="54" y="21"/>
                    </a:cubicBezTo>
                    <a:cubicBezTo>
                      <a:pt x="54" y="22"/>
                      <a:pt x="54" y="22"/>
                      <a:pt x="53" y="23"/>
                    </a:cubicBezTo>
                    <a:cubicBezTo>
                      <a:pt x="53" y="22"/>
                      <a:pt x="53" y="22"/>
                      <a:pt x="53" y="22"/>
                    </a:cubicBezTo>
                    <a:cubicBezTo>
                      <a:pt x="53" y="22"/>
                      <a:pt x="53" y="22"/>
                      <a:pt x="53" y="22"/>
                    </a:cubicBezTo>
                    <a:close/>
                    <a:moveTo>
                      <a:pt x="48" y="21"/>
                    </a:moveTo>
                    <a:cubicBezTo>
                      <a:pt x="48" y="21"/>
                      <a:pt x="48" y="21"/>
                      <a:pt x="48" y="21"/>
                    </a:cubicBezTo>
                    <a:cubicBezTo>
                      <a:pt x="47" y="21"/>
                      <a:pt x="47" y="21"/>
                      <a:pt x="47" y="22"/>
                    </a:cubicBezTo>
                    <a:cubicBezTo>
                      <a:pt x="47" y="22"/>
                      <a:pt x="47" y="21"/>
                      <a:pt x="48" y="21"/>
                    </a:cubicBezTo>
                    <a:cubicBezTo>
                      <a:pt x="48" y="21"/>
                      <a:pt x="48" y="21"/>
                      <a:pt x="48" y="21"/>
                    </a:cubicBezTo>
                    <a:close/>
                    <a:moveTo>
                      <a:pt x="53" y="23"/>
                    </a:moveTo>
                    <a:cubicBezTo>
                      <a:pt x="53" y="22"/>
                      <a:pt x="53" y="22"/>
                      <a:pt x="53" y="22"/>
                    </a:cubicBezTo>
                    <a:cubicBezTo>
                      <a:pt x="51" y="22"/>
                      <a:pt x="50" y="23"/>
                      <a:pt x="48" y="24"/>
                    </a:cubicBezTo>
                    <a:cubicBezTo>
                      <a:pt x="48" y="25"/>
                      <a:pt x="48" y="26"/>
                      <a:pt x="48" y="26"/>
                    </a:cubicBezTo>
                    <a:cubicBezTo>
                      <a:pt x="49" y="26"/>
                      <a:pt x="50" y="26"/>
                      <a:pt x="50" y="26"/>
                    </a:cubicBezTo>
                    <a:cubicBezTo>
                      <a:pt x="51" y="26"/>
                      <a:pt x="50" y="26"/>
                      <a:pt x="50" y="26"/>
                    </a:cubicBezTo>
                    <a:cubicBezTo>
                      <a:pt x="50" y="26"/>
                      <a:pt x="50" y="26"/>
                      <a:pt x="50" y="26"/>
                    </a:cubicBezTo>
                    <a:cubicBezTo>
                      <a:pt x="50" y="26"/>
                      <a:pt x="49" y="27"/>
                      <a:pt x="49" y="27"/>
                    </a:cubicBezTo>
                    <a:cubicBezTo>
                      <a:pt x="49" y="28"/>
                      <a:pt x="49" y="28"/>
                      <a:pt x="49" y="28"/>
                    </a:cubicBezTo>
                    <a:cubicBezTo>
                      <a:pt x="50" y="26"/>
                      <a:pt x="52" y="25"/>
                      <a:pt x="53" y="23"/>
                    </a:cubicBezTo>
                    <a:cubicBezTo>
                      <a:pt x="53" y="23"/>
                      <a:pt x="53" y="23"/>
                      <a:pt x="53" y="23"/>
                    </a:cubicBezTo>
                    <a:close/>
                    <a:moveTo>
                      <a:pt x="45" y="21"/>
                    </a:moveTo>
                    <a:cubicBezTo>
                      <a:pt x="45" y="22"/>
                      <a:pt x="45" y="22"/>
                      <a:pt x="45" y="22"/>
                    </a:cubicBezTo>
                    <a:cubicBezTo>
                      <a:pt x="45" y="21"/>
                      <a:pt x="45" y="21"/>
                      <a:pt x="45" y="21"/>
                    </a:cubicBezTo>
                    <a:cubicBezTo>
                      <a:pt x="45" y="21"/>
                      <a:pt x="45" y="21"/>
                      <a:pt x="45" y="21"/>
                    </a:cubicBezTo>
                    <a:cubicBezTo>
                      <a:pt x="45" y="21"/>
                      <a:pt x="45" y="21"/>
                      <a:pt x="45" y="21"/>
                    </a:cubicBezTo>
                    <a:close/>
                    <a:moveTo>
                      <a:pt x="47" y="22"/>
                    </a:moveTo>
                    <a:cubicBezTo>
                      <a:pt x="47" y="22"/>
                      <a:pt x="47" y="22"/>
                      <a:pt x="48" y="21"/>
                    </a:cubicBezTo>
                    <a:cubicBezTo>
                      <a:pt x="48" y="22"/>
                      <a:pt x="48" y="24"/>
                      <a:pt x="48" y="24"/>
                    </a:cubicBezTo>
                    <a:cubicBezTo>
                      <a:pt x="48" y="24"/>
                      <a:pt x="47" y="25"/>
                      <a:pt x="46" y="25"/>
                    </a:cubicBezTo>
                    <a:cubicBezTo>
                      <a:pt x="47" y="24"/>
                      <a:pt x="47" y="23"/>
                      <a:pt x="47" y="22"/>
                    </a:cubicBezTo>
                    <a:cubicBezTo>
                      <a:pt x="47" y="22"/>
                      <a:pt x="47" y="22"/>
                      <a:pt x="47" y="22"/>
                    </a:cubicBezTo>
                    <a:close/>
                    <a:moveTo>
                      <a:pt x="34" y="21"/>
                    </a:moveTo>
                    <a:cubicBezTo>
                      <a:pt x="37" y="22"/>
                      <a:pt x="37" y="22"/>
                      <a:pt x="37" y="22"/>
                    </a:cubicBezTo>
                    <a:cubicBezTo>
                      <a:pt x="36" y="23"/>
                      <a:pt x="36" y="24"/>
                      <a:pt x="35" y="25"/>
                    </a:cubicBezTo>
                    <a:cubicBezTo>
                      <a:pt x="35" y="23"/>
                      <a:pt x="35" y="24"/>
                      <a:pt x="35" y="22"/>
                    </a:cubicBezTo>
                    <a:cubicBezTo>
                      <a:pt x="35" y="22"/>
                      <a:pt x="35" y="23"/>
                      <a:pt x="35" y="23"/>
                    </a:cubicBezTo>
                    <a:cubicBezTo>
                      <a:pt x="35" y="22"/>
                      <a:pt x="34" y="22"/>
                      <a:pt x="34" y="21"/>
                    </a:cubicBezTo>
                    <a:cubicBezTo>
                      <a:pt x="34" y="21"/>
                      <a:pt x="34" y="21"/>
                      <a:pt x="34" y="21"/>
                    </a:cubicBezTo>
                    <a:close/>
                    <a:moveTo>
                      <a:pt x="43" y="22"/>
                    </a:moveTo>
                    <a:cubicBezTo>
                      <a:pt x="44" y="22"/>
                      <a:pt x="44" y="23"/>
                      <a:pt x="45" y="23"/>
                    </a:cubicBezTo>
                    <a:cubicBezTo>
                      <a:pt x="44" y="24"/>
                      <a:pt x="44" y="24"/>
                      <a:pt x="44" y="24"/>
                    </a:cubicBezTo>
                    <a:cubicBezTo>
                      <a:pt x="44" y="24"/>
                      <a:pt x="44" y="23"/>
                      <a:pt x="43" y="22"/>
                    </a:cubicBezTo>
                    <a:cubicBezTo>
                      <a:pt x="43" y="22"/>
                      <a:pt x="43" y="22"/>
                      <a:pt x="43" y="22"/>
                    </a:cubicBezTo>
                    <a:close/>
                    <a:moveTo>
                      <a:pt x="40" y="24"/>
                    </a:moveTo>
                    <a:cubicBezTo>
                      <a:pt x="39" y="23"/>
                      <a:pt x="38" y="23"/>
                      <a:pt x="37" y="22"/>
                    </a:cubicBezTo>
                    <a:cubicBezTo>
                      <a:pt x="37" y="23"/>
                      <a:pt x="35" y="25"/>
                      <a:pt x="35" y="25"/>
                    </a:cubicBezTo>
                    <a:cubicBezTo>
                      <a:pt x="35" y="26"/>
                      <a:pt x="36" y="26"/>
                      <a:pt x="36" y="27"/>
                    </a:cubicBezTo>
                    <a:cubicBezTo>
                      <a:pt x="42" y="27"/>
                      <a:pt x="42" y="27"/>
                      <a:pt x="42" y="27"/>
                    </a:cubicBezTo>
                    <a:cubicBezTo>
                      <a:pt x="41" y="26"/>
                      <a:pt x="41" y="25"/>
                      <a:pt x="40" y="24"/>
                    </a:cubicBezTo>
                    <a:cubicBezTo>
                      <a:pt x="40" y="24"/>
                      <a:pt x="40" y="24"/>
                      <a:pt x="40" y="24"/>
                    </a:cubicBezTo>
                    <a:close/>
                    <a:moveTo>
                      <a:pt x="54" y="26"/>
                    </a:moveTo>
                    <a:cubicBezTo>
                      <a:pt x="50" y="26"/>
                      <a:pt x="52" y="26"/>
                      <a:pt x="49" y="28"/>
                    </a:cubicBezTo>
                    <a:cubicBezTo>
                      <a:pt x="48" y="29"/>
                      <a:pt x="47" y="30"/>
                      <a:pt x="46" y="30"/>
                    </a:cubicBezTo>
                    <a:cubicBezTo>
                      <a:pt x="46" y="31"/>
                      <a:pt x="47" y="31"/>
                      <a:pt x="47" y="32"/>
                    </a:cubicBezTo>
                    <a:cubicBezTo>
                      <a:pt x="49" y="32"/>
                      <a:pt x="51" y="32"/>
                      <a:pt x="53" y="31"/>
                    </a:cubicBezTo>
                    <a:cubicBezTo>
                      <a:pt x="53" y="31"/>
                      <a:pt x="53" y="31"/>
                      <a:pt x="54" y="30"/>
                    </a:cubicBezTo>
                    <a:cubicBezTo>
                      <a:pt x="56" y="29"/>
                      <a:pt x="55" y="30"/>
                      <a:pt x="56" y="27"/>
                    </a:cubicBezTo>
                    <a:cubicBezTo>
                      <a:pt x="57" y="27"/>
                      <a:pt x="57" y="26"/>
                      <a:pt x="58" y="25"/>
                    </a:cubicBezTo>
                    <a:cubicBezTo>
                      <a:pt x="56" y="26"/>
                      <a:pt x="55" y="26"/>
                      <a:pt x="54" y="26"/>
                    </a:cubicBezTo>
                    <a:cubicBezTo>
                      <a:pt x="54" y="26"/>
                      <a:pt x="54" y="26"/>
                      <a:pt x="54" y="26"/>
                    </a:cubicBezTo>
                    <a:close/>
                    <a:moveTo>
                      <a:pt x="42" y="25"/>
                    </a:moveTo>
                    <a:cubicBezTo>
                      <a:pt x="42" y="24"/>
                      <a:pt x="41" y="24"/>
                      <a:pt x="40" y="24"/>
                    </a:cubicBezTo>
                    <a:cubicBezTo>
                      <a:pt x="41" y="25"/>
                      <a:pt x="41" y="26"/>
                      <a:pt x="42" y="27"/>
                    </a:cubicBezTo>
                    <a:cubicBezTo>
                      <a:pt x="42" y="27"/>
                      <a:pt x="43" y="27"/>
                      <a:pt x="43" y="26"/>
                    </a:cubicBezTo>
                    <a:cubicBezTo>
                      <a:pt x="43" y="26"/>
                      <a:pt x="43" y="25"/>
                      <a:pt x="42" y="25"/>
                    </a:cubicBezTo>
                    <a:cubicBezTo>
                      <a:pt x="42" y="25"/>
                      <a:pt x="42" y="25"/>
                      <a:pt x="42" y="25"/>
                    </a:cubicBezTo>
                    <a:close/>
                    <a:moveTo>
                      <a:pt x="47" y="25"/>
                    </a:moveTo>
                    <a:cubicBezTo>
                      <a:pt x="46" y="26"/>
                      <a:pt x="46" y="26"/>
                      <a:pt x="46" y="27"/>
                    </a:cubicBezTo>
                    <a:cubicBezTo>
                      <a:pt x="47" y="27"/>
                      <a:pt x="47" y="27"/>
                      <a:pt x="48" y="26"/>
                    </a:cubicBezTo>
                    <a:cubicBezTo>
                      <a:pt x="48" y="26"/>
                      <a:pt x="48" y="25"/>
                      <a:pt x="48" y="24"/>
                    </a:cubicBezTo>
                    <a:cubicBezTo>
                      <a:pt x="48" y="24"/>
                      <a:pt x="47" y="25"/>
                      <a:pt x="47" y="25"/>
                    </a:cubicBezTo>
                    <a:cubicBezTo>
                      <a:pt x="47" y="25"/>
                      <a:pt x="47" y="25"/>
                      <a:pt x="47" y="25"/>
                    </a:cubicBezTo>
                    <a:close/>
                    <a:moveTo>
                      <a:pt x="48" y="26"/>
                    </a:moveTo>
                    <a:cubicBezTo>
                      <a:pt x="49" y="26"/>
                      <a:pt x="49" y="26"/>
                      <a:pt x="50" y="26"/>
                    </a:cubicBezTo>
                    <a:cubicBezTo>
                      <a:pt x="49" y="26"/>
                      <a:pt x="49" y="27"/>
                      <a:pt x="49" y="27"/>
                    </a:cubicBezTo>
                    <a:cubicBezTo>
                      <a:pt x="49" y="27"/>
                      <a:pt x="48" y="27"/>
                      <a:pt x="48" y="26"/>
                    </a:cubicBezTo>
                    <a:cubicBezTo>
                      <a:pt x="48" y="26"/>
                      <a:pt x="48" y="26"/>
                      <a:pt x="48" y="26"/>
                    </a:cubicBezTo>
                    <a:close/>
                    <a:moveTo>
                      <a:pt x="45" y="26"/>
                    </a:moveTo>
                    <a:cubicBezTo>
                      <a:pt x="45" y="25"/>
                      <a:pt x="46" y="24"/>
                      <a:pt x="46" y="23"/>
                    </a:cubicBezTo>
                    <a:cubicBezTo>
                      <a:pt x="46" y="25"/>
                      <a:pt x="45" y="26"/>
                      <a:pt x="45" y="27"/>
                    </a:cubicBezTo>
                    <a:cubicBezTo>
                      <a:pt x="45" y="27"/>
                      <a:pt x="45" y="26"/>
                      <a:pt x="45" y="26"/>
                    </a:cubicBezTo>
                    <a:cubicBezTo>
                      <a:pt x="45" y="26"/>
                      <a:pt x="45" y="26"/>
                      <a:pt x="45" y="26"/>
                    </a:cubicBezTo>
                    <a:close/>
                    <a:moveTo>
                      <a:pt x="60" y="28"/>
                    </a:moveTo>
                    <a:cubicBezTo>
                      <a:pt x="59" y="28"/>
                      <a:pt x="59" y="28"/>
                      <a:pt x="59" y="29"/>
                    </a:cubicBezTo>
                    <a:cubicBezTo>
                      <a:pt x="59" y="29"/>
                      <a:pt x="60" y="28"/>
                      <a:pt x="60" y="28"/>
                    </a:cubicBezTo>
                    <a:cubicBezTo>
                      <a:pt x="60" y="28"/>
                      <a:pt x="60" y="28"/>
                      <a:pt x="60" y="28"/>
                    </a:cubicBezTo>
                    <a:close/>
                    <a:moveTo>
                      <a:pt x="44" y="27"/>
                    </a:moveTo>
                    <a:cubicBezTo>
                      <a:pt x="43" y="27"/>
                      <a:pt x="43" y="27"/>
                      <a:pt x="43" y="27"/>
                    </a:cubicBezTo>
                    <a:cubicBezTo>
                      <a:pt x="43" y="27"/>
                      <a:pt x="43" y="27"/>
                      <a:pt x="42" y="28"/>
                    </a:cubicBezTo>
                    <a:cubicBezTo>
                      <a:pt x="43" y="29"/>
                      <a:pt x="43" y="29"/>
                      <a:pt x="44" y="30"/>
                    </a:cubicBezTo>
                    <a:cubicBezTo>
                      <a:pt x="44" y="30"/>
                      <a:pt x="44" y="30"/>
                      <a:pt x="44" y="30"/>
                    </a:cubicBezTo>
                    <a:cubicBezTo>
                      <a:pt x="44" y="29"/>
                      <a:pt x="44" y="28"/>
                      <a:pt x="44" y="27"/>
                    </a:cubicBezTo>
                    <a:cubicBezTo>
                      <a:pt x="44" y="27"/>
                      <a:pt x="44" y="27"/>
                      <a:pt x="44" y="27"/>
                    </a:cubicBezTo>
                    <a:cubicBezTo>
                      <a:pt x="44" y="27"/>
                      <a:pt x="44" y="27"/>
                      <a:pt x="44" y="27"/>
                    </a:cubicBezTo>
                    <a:close/>
                    <a:moveTo>
                      <a:pt x="48" y="27"/>
                    </a:moveTo>
                    <a:cubicBezTo>
                      <a:pt x="48" y="27"/>
                      <a:pt x="48" y="27"/>
                      <a:pt x="48" y="26"/>
                    </a:cubicBezTo>
                    <a:cubicBezTo>
                      <a:pt x="47" y="27"/>
                      <a:pt x="47" y="27"/>
                      <a:pt x="46" y="27"/>
                    </a:cubicBezTo>
                    <a:cubicBezTo>
                      <a:pt x="46" y="28"/>
                      <a:pt x="46" y="28"/>
                      <a:pt x="46" y="28"/>
                    </a:cubicBezTo>
                    <a:cubicBezTo>
                      <a:pt x="46" y="28"/>
                      <a:pt x="47" y="28"/>
                      <a:pt x="47" y="29"/>
                    </a:cubicBezTo>
                    <a:cubicBezTo>
                      <a:pt x="47" y="28"/>
                      <a:pt x="48" y="28"/>
                      <a:pt x="48" y="27"/>
                    </a:cubicBezTo>
                    <a:cubicBezTo>
                      <a:pt x="48" y="27"/>
                      <a:pt x="48" y="27"/>
                      <a:pt x="48" y="27"/>
                    </a:cubicBezTo>
                    <a:close/>
                    <a:moveTo>
                      <a:pt x="42" y="27"/>
                    </a:moveTo>
                    <a:cubicBezTo>
                      <a:pt x="42" y="27"/>
                      <a:pt x="43" y="27"/>
                      <a:pt x="43" y="27"/>
                    </a:cubicBezTo>
                    <a:cubicBezTo>
                      <a:pt x="43" y="27"/>
                      <a:pt x="43" y="27"/>
                      <a:pt x="42" y="28"/>
                    </a:cubicBezTo>
                    <a:cubicBezTo>
                      <a:pt x="42" y="27"/>
                      <a:pt x="42" y="27"/>
                      <a:pt x="42" y="27"/>
                    </a:cubicBezTo>
                    <a:cubicBezTo>
                      <a:pt x="42" y="27"/>
                      <a:pt x="42" y="27"/>
                      <a:pt x="42" y="27"/>
                    </a:cubicBezTo>
                    <a:close/>
                    <a:moveTo>
                      <a:pt x="63" y="30"/>
                    </a:moveTo>
                    <a:cubicBezTo>
                      <a:pt x="64" y="30"/>
                      <a:pt x="65" y="30"/>
                      <a:pt x="65" y="30"/>
                    </a:cubicBezTo>
                    <a:cubicBezTo>
                      <a:pt x="65" y="30"/>
                      <a:pt x="64" y="30"/>
                      <a:pt x="63" y="30"/>
                    </a:cubicBezTo>
                    <a:cubicBezTo>
                      <a:pt x="63" y="30"/>
                      <a:pt x="63" y="30"/>
                      <a:pt x="63" y="30"/>
                    </a:cubicBezTo>
                    <a:close/>
                    <a:moveTo>
                      <a:pt x="58" y="29"/>
                    </a:moveTo>
                    <a:cubicBezTo>
                      <a:pt x="58" y="29"/>
                      <a:pt x="58" y="29"/>
                      <a:pt x="58" y="29"/>
                    </a:cubicBezTo>
                    <a:cubicBezTo>
                      <a:pt x="58" y="31"/>
                      <a:pt x="58" y="32"/>
                      <a:pt x="58" y="33"/>
                    </a:cubicBezTo>
                    <a:cubicBezTo>
                      <a:pt x="56" y="33"/>
                      <a:pt x="53" y="33"/>
                      <a:pt x="51" y="32"/>
                    </a:cubicBezTo>
                    <a:cubicBezTo>
                      <a:pt x="52" y="32"/>
                      <a:pt x="52" y="32"/>
                      <a:pt x="53" y="32"/>
                    </a:cubicBezTo>
                    <a:cubicBezTo>
                      <a:pt x="55" y="31"/>
                      <a:pt x="57" y="30"/>
                      <a:pt x="58" y="29"/>
                    </a:cubicBezTo>
                    <a:cubicBezTo>
                      <a:pt x="58" y="29"/>
                      <a:pt x="58" y="29"/>
                      <a:pt x="58" y="29"/>
                    </a:cubicBezTo>
                    <a:close/>
                    <a:moveTo>
                      <a:pt x="48" y="28"/>
                    </a:moveTo>
                    <a:cubicBezTo>
                      <a:pt x="48" y="28"/>
                      <a:pt x="48" y="28"/>
                      <a:pt x="48" y="28"/>
                    </a:cubicBezTo>
                    <a:cubicBezTo>
                      <a:pt x="48" y="28"/>
                      <a:pt x="48" y="28"/>
                      <a:pt x="47" y="29"/>
                    </a:cubicBezTo>
                    <a:cubicBezTo>
                      <a:pt x="48" y="29"/>
                      <a:pt x="48" y="28"/>
                      <a:pt x="48" y="28"/>
                    </a:cubicBezTo>
                    <a:cubicBezTo>
                      <a:pt x="48" y="28"/>
                      <a:pt x="48" y="28"/>
                      <a:pt x="48" y="28"/>
                    </a:cubicBezTo>
                    <a:close/>
                    <a:moveTo>
                      <a:pt x="29" y="26"/>
                    </a:moveTo>
                    <a:cubicBezTo>
                      <a:pt x="31" y="26"/>
                      <a:pt x="31" y="26"/>
                      <a:pt x="32" y="27"/>
                    </a:cubicBezTo>
                    <a:cubicBezTo>
                      <a:pt x="31" y="27"/>
                      <a:pt x="30" y="26"/>
                      <a:pt x="29" y="26"/>
                    </a:cubicBezTo>
                    <a:cubicBezTo>
                      <a:pt x="29" y="26"/>
                      <a:pt x="29" y="26"/>
                      <a:pt x="29" y="26"/>
                    </a:cubicBezTo>
                    <a:close/>
                    <a:moveTo>
                      <a:pt x="39" y="27"/>
                    </a:moveTo>
                    <a:cubicBezTo>
                      <a:pt x="38" y="27"/>
                      <a:pt x="37" y="27"/>
                      <a:pt x="36" y="27"/>
                    </a:cubicBezTo>
                    <a:cubicBezTo>
                      <a:pt x="36" y="29"/>
                      <a:pt x="37" y="31"/>
                      <a:pt x="38" y="33"/>
                    </a:cubicBezTo>
                    <a:cubicBezTo>
                      <a:pt x="39" y="32"/>
                      <a:pt x="39" y="32"/>
                      <a:pt x="40" y="31"/>
                    </a:cubicBezTo>
                    <a:cubicBezTo>
                      <a:pt x="39" y="32"/>
                      <a:pt x="39" y="32"/>
                      <a:pt x="38" y="33"/>
                    </a:cubicBezTo>
                    <a:cubicBezTo>
                      <a:pt x="38" y="33"/>
                      <a:pt x="39" y="34"/>
                      <a:pt x="39" y="34"/>
                    </a:cubicBezTo>
                    <a:cubicBezTo>
                      <a:pt x="39" y="33"/>
                      <a:pt x="40" y="32"/>
                      <a:pt x="40" y="31"/>
                    </a:cubicBezTo>
                    <a:cubicBezTo>
                      <a:pt x="40" y="31"/>
                      <a:pt x="40" y="31"/>
                      <a:pt x="39" y="31"/>
                    </a:cubicBezTo>
                    <a:cubicBezTo>
                      <a:pt x="40" y="30"/>
                      <a:pt x="40" y="31"/>
                      <a:pt x="40" y="31"/>
                    </a:cubicBezTo>
                    <a:cubicBezTo>
                      <a:pt x="40" y="30"/>
                      <a:pt x="40" y="30"/>
                      <a:pt x="40" y="30"/>
                    </a:cubicBezTo>
                    <a:cubicBezTo>
                      <a:pt x="40" y="30"/>
                      <a:pt x="40" y="31"/>
                      <a:pt x="40" y="31"/>
                    </a:cubicBezTo>
                    <a:cubicBezTo>
                      <a:pt x="41" y="31"/>
                      <a:pt x="41" y="30"/>
                      <a:pt x="41" y="30"/>
                    </a:cubicBezTo>
                    <a:cubicBezTo>
                      <a:pt x="40" y="30"/>
                      <a:pt x="39" y="29"/>
                      <a:pt x="38" y="29"/>
                    </a:cubicBezTo>
                    <a:cubicBezTo>
                      <a:pt x="39" y="29"/>
                      <a:pt x="40" y="30"/>
                      <a:pt x="41" y="30"/>
                    </a:cubicBezTo>
                    <a:cubicBezTo>
                      <a:pt x="42" y="29"/>
                      <a:pt x="42" y="28"/>
                      <a:pt x="42" y="28"/>
                    </a:cubicBezTo>
                    <a:cubicBezTo>
                      <a:pt x="42" y="27"/>
                      <a:pt x="42" y="27"/>
                      <a:pt x="42" y="27"/>
                    </a:cubicBezTo>
                    <a:cubicBezTo>
                      <a:pt x="41" y="27"/>
                      <a:pt x="40" y="27"/>
                      <a:pt x="39" y="27"/>
                    </a:cubicBezTo>
                    <a:cubicBezTo>
                      <a:pt x="39" y="27"/>
                      <a:pt x="39" y="27"/>
                      <a:pt x="39" y="27"/>
                    </a:cubicBezTo>
                    <a:close/>
                    <a:moveTo>
                      <a:pt x="46" y="28"/>
                    </a:moveTo>
                    <a:cubicBezTo>
                      <a:pt x="46" y="28"/>
                      <a:pt x="45" y="28"/>
                      <a:pt x="45" y="28"/>
                    </a:cubicBezTo>
                    <a:cubicBezTo>
                      <a:pt x="46" y="28"/>
                      <a:pt x="46" y="28"/>
                      <a:pt x="46" y="28"/>
                    </a:cubicBezTo>
                    <a:cubicBezTo>
                      <a:pt x="46" y="29"/>
                      <a:pt x="46" y="29"/>
                      <a:pt x="46" y="29"/>
                    </a:cubicBezTo>
                    <a:cubicBezTo>
                      <a:pt x="46" y="29"/>
                      <a:pt x="47" y="29"/>
                      <a:pt x="47" y="29"/>
                    </a:cubicBezTo>
                    <a:cubicBezTo>
                      <a:pt x="46" y="29"/>
                      <a:pt x="46" y="28"/>
                      <a:pt x="46" y="28"/>
                    </a:cubicBezTo>
                    <a:cubicBezTo>
                      <a:pt x="46" y="28"/>
                      <a:pt x="46" y="28"/>
                      <a:pt x="46" y="28"/>
                    </a:cubicBezTo>
                    <a:cubicBezTo>
                      <a:pt x="46" y="28"/>
                      <a:pt x="46" y="28"/>
                      <a:pt x="46" y="28"/>
                    </a:cubicBezTo>
                    <a:close/>
                    <a:moveTo>
                      <a:pt x="57" y="29"/>
                    </a:moveTo>
                    <a:cubicBezTo>
                      <a:pt x="56" y="29"/>
                      <a:pt x="55" y="29"/>
                      <a:pt x="55" y="30"/>
                    </a:cubicBezTo>
                    <a:cubicBezTo>
                      <a:pt x="57" y="29"/>
                      <a:pt x="58" y="29"/>
                      <a:pt x="60" y="27"/>
                    </a:cubicBezTo>
                    <a:cubicBezTo>
                      <a:pt x="59" y="28"/>
                      <a:pt x="58" y="28"/>
                      <a:pt x="57" y="29"/>
                    </a:cubicBezTo>
                    <a:cubicBezTo>
                      <a:pt x="57" y="29"/>
                      <a:pt x="57" y="29"/>
                      <a:pt x="57" y="29"/>
                    </a:cubicBezTo>
                    <a:close/>
                    <a:moveTo>
                      <a:pt x="33" y="27"/>
                    </a:moveTo>
                    <a:cubicBezTo>
                      <a:pt x="32" y="27"/>
                      <a:pt x="32" y="27"/>
                      <a:pt x="32" y="27"/>
                    </a:cubicBezTo>
                    <a:cubicBezTo>
                      <a:pt x="33" y="28"/>
                      <a:pt x="33" y="29"/>
                      <a:pt x="34" y="30"/>
                    </a:cubicBezTo>
                    <a:cubicBezTo>
                      <a:pt x="34" y="28"/>
                      <a:pt x="34" y="28"/>
                      <a:pt x="33" y="27"/>
                    </a:cubicBezTo>
                    <a:cubicBezTo>
                      <a:pt x="33" y="27"/>
                      <a:pt x="33" y="27"/>
                      <a:pt x="33" y="27"/>
                    </a:cubicBezTo>
                    <a:close/>
                    <a:moveTo>
                      <a:pt x="55" y="30"/>
                    </a:moveTo>
                    <a:cubicBezTo>
                      <a:pt x="55" y="30"/>
                      <a:pt x="55" y="30"/>
                      <a:pt x="55" y="30"/>
                    </a:cubicBezTo>
                    <a:cubicBezTo>
                      <a:pt x="54" y="30"/>
                      <a:pt x="54" y="31"/>
                      <a:pt x="53" y="31"/>
                    </a:cubicBezTo>
                    <a:cubicBezTo>
                      <a:pt x="54" y="31"/>
                      <a:pt x="54" y="31"/>
                      <a:pt x="55" y="30"/>
                    </a:cubicBezTo>
                    <a:cubicBezTo>
                      <a:pt x="55" y="30"/>
                      <a:pt x="55" y="30"/>
                      <a:pt x="55" y="30"/>
                    </a:cubicBezTo>
                    <a:close/>
                    <a:moveTo>
                      <a:pt x="34" y="27"/>
                    </a:moveTo>
                    <a:cubicBezTo>
                      <a:pt x="34" y="27"/>
                      <a:pt x="34" y="27"/>
                      <a:pt x="34" y="28"/>
                    </a:cubicBezTo>
                    <a:cubicBezTo>
                      <a:pt x="34" y="28"/>
                      <a:pt x="35" y="28"/>
                      <a:pt x="35" y="28"/>
                    </a:cubicBezTo>
                    <a:cubicBezTo>
                      <a:pt x="34" y="27"/>
                      <a:pt x="34" y="25"/>
                      <a:pt x="33" y="24"/>
                    </a:cubicBezTo>
                    <a:cubicBezTo>
                      <a:pt x="33" y="25"/>
                      <a:pt x="33" y="26"/>
                      <a:pt x="34" y="27"/>
                    </a:cubicBezTo>
                    <a:cubicBezTo>
                      <a:pt x="34" y="27"/>
                      <a:pt x="34" y="27"/>
                      <a:pt x="34" y="27"/>
                    </a:cubicBezTo>
                    <a:close/>
                    <a:moveTo>
                      <a:pt x="34" y="28"/>
                    </a:moveTo>
                    <a:cubicBezTo>
                      <a:pt x="34" y="28"/>
                      <a:pt x="33" y="27"/>
                      <a:pt x="33" y="27"/>
                    </a:cubicBezTo>
                    <a:cubicBezTo>
                      <a:pt x="33" y="28"/>
                      <a:pt x="34" y="28"/>
                      <a:pt x="34" y="28"/>
                    </a:cubicBezTo>
                    <a:cubicBezTo>
                      <a:pt x="34" y="28"/>
                      <a:pt x="34" y="28"/>
                      <a:pt x="34" y="28"/>
                    </a:cubicBezTo>
                    <a:cubicBezTo>
                      <a:pt x="34" y="28"/>
                      <a:pt x="34" y="28"/>
                      <a:pt x="34" y="28"/>
                    </a:cubicBezTo>
                    <a:close/>
                    <a:moveTo>
                      <a:pt x="34" y="28"/>
                    </a:moveTo>
                    <a:cubicBezTo>
                      <a:pt x="34" y="28"/>
                      <a:pt x="34" y="28"/>
                      <a:pt x="34" y="28"/>
                    </a:cubicBezTo>
                    <a:cubicBezTo>
                      <a:pt x="35" y="29"/>
                      <a:pt x="35" y="29"/>
                      <a:pt x="36" y="30"/>
                    </a:cubicBezTo>
                    <a:cubicBezTo>
                      <a:pt x="35" y="29"/>
                      <a:pt x="35" y="29"/>
                      <a:pt x="34" y="28"/>
                    </a:cubicBezTo>
                    <a:cubicBezTo>
                      <a:pt x="34" y="28"/>
                      <a:pt x="34" y="28"/>
                      <a:pt x="34" y="28"/>
                    </a:cubicBezTo>
                    <a:close/>
                    <a:moveTo>
                      <a:pt x="62" y="30"/>
                    </a:moveTo>
                    <a:cubicBezTo>
                      <a:pt x="62" y="31"/>
                      <a:pt x="61" y="31"/>
                      <a:pt x="60" y="32"/>
                    </a:cubicBezTo>
                    <a:cubicBezTo>
                      <a:pt x="61" y="32"/>
                      <a:pt x="62" y="31"/>
                      <a:pt x="62" y="30"/>
                    </a:cubicBezTo>
                    <a:cubicBezTo>
                      <a:pt x="62" y="30"/>
                      <a:pt x="62" y="30"/>
                      <a:pt x="62" y="30"/>
                    </a:cubicBezTo>
                    <a:close/>
                    <a:moveTo>
                      <a:pt x="42" y="29"/>
                    </a:moveTo>
                    <a:cubicBezTo>
                      <a:pt x="42" y="29"/>
                      <a:pt x="41" y="29"/>
                      <a:pt x="41" y="30"/>
                    </a:cubicBezTo>
                    <a:cubicBezTo>
                      <a:pt x="41" y="30"/>
                      <a:pt x="41" y="30"/>
                      <a:pt x="42" y="30"/>
                    </a:cubicBezTo>
                    <a:cubicBezTo>
                      <a:pt x="42" y="30"/>
                      <a:pt x="42" y="30"/>
                      <a:pt x="42" y="30"/>
                    </a:cubicBezTo>
                    <a:cubicBezTo>
                      <a:pt x="42" y="30"/>
                      <a:pt x="42" y="30"/>
                      <a:pt x="42" y="30"/>
                    </a:cubicBezTo>
                    <a:cubicBezTo>
                      <a:pt x="42" y="30"/>
                      <a:pt x="43" y="30"/>
                      <a:pt x="43" y="30"/>
                    </a:cubicBezTo>
                    <a:cubicBezTo>
                      <a:pt x="43" y="29"/>
                      <a:pt x="43" y="29"/>
                      <a:pt x="42" y="28"/>
                    </a:cubicBezTo>
                    <a:cubicBezTo>
                      <a:pt x="42" y="28"/>
                      <a:pt x="42" y="29"/>
                      <a:pt x="42" y="29"/>
                    </a:cubicBezTo>
                    <a:cubicBezTo>
                      <a:pt x="42" y="29"/>
                      <a:pt x="42" y="29"/>
                      <a:pt x="42" y="29"/>
                    </a:cubicBezTo>
                    <a:close/>
                    <a:moveTo>
                      <a:pt x="42" y="30"/>
                    </a:moveTo>
                    <a:cubicBezTo>
                      <a:pt x="41" y="30"/>
                      <a:pt x="41" y="30"/>
                      <a:pt x="41" y="30"/>
                    </a:cubicBezTo>
                    <a:cubicBezTo>
                      <a:pt x="41" y="30"/>
                      <a:pt x="41" y="31"/>
                      <a:pt x="40" y="31"/>
                    </a:cubicBezTo>
                    <a:cubicBezTo>
                      <a:pt x="41" y="31"/>
                      <a:pt x="41" y="32"/>
                      <a:pt x="41" y="32"/>
                    </a:cubicBezTo>
                    <a:cubicBezTo>
                      <a:pt x="41" y="31"/>
                      <a:pt x="41" y="30"/>
                      <a:pt x="42" y="30"/>
                    </a:cubicBezTo>
                    <a:cubicBezTo>
                      <a:pt x="42" y="32"/>
                      <a:pt x="42" y="33"/>
                      <a:pt x="42" y="35"/>
                    </a:cubicBezTo>
                    <a:cubicBezTo>
                      <a:pt x="44" y="30"/>
                      <a:pt x="44" y="30"/>
                      <a:pt x="44" y="30"/>
                    </a:cubicBezTo>
                    <a:cubicBezTo>
                      <a:pt x="43" y="30"/>
                      <a:pt x="42" y="30"/>
                      <a:pt x="42" y="30"/>
                    </a:cubicBezTo>
                    <a:cubicBezTo>
                      <a:pt x="42" y="30"/>
                      <a:pt x="42" y="30"/>
                      <a:pt x="42" y="30"/>
                    </a:cubicBezTo>
                    <a:cubicBezTo>
                      <a:pt x="42" y="30"/>
                      <a:pt x="42" y="30"/>
                      <a:pt x="42" y="30"/>
                    </a:cubicBezTo>
                    <a:cubicBezTo>
                      <a:pt x="42" y="30"/>
                      <a:pt x="42" y="30"/>
                      <a:pt x="42" y="30"/>
                    </a:cubicBezTo>
                    <a:close/>
                    <a:moveTo>
                      <a:pt x="44" y="30"/>
                    </a:moveTo>
                    <a:cubicBezTo>
                      <a:pt x="44" y="30"/>
                      <a:pt x="44" y="30"/>
                      <a:pt x="44" y="30"/>
                    </a:cubicBezTo>
                    <a:cubicBezTo>
                      <a:pt x="44" y="30"/>
                      <a:pt x="44" y="30"/>
                      <a:pt x="44" y="30"/>
                    </a:cubicBezTo>
                    <a:cubicBezTo>
                      <a:pt x="44" y="30"/>
                      <a:pt x="44" y="30"/>
                      <a:pt x="44" y="30"/>
                    </a:cubicBezTo>
                    <a:cubicBezTo>
                      <a:pt x="44" y="30"/>
                      <a:pt x="44" y="30"/>
                      <a:pt x="44" y="30"/>
                    </a:cubicBezTo>
                    <a:close/>
                    <a:moveTo>
                      <a:pt x="36" y="29"/>
                    </a:moveTo>
                    <a:cubicBezTo>
                      <a:pt x="36" y="29"/>
                      <a:pt x="36" y="29"/>
                      <a:pt x="35" y="29"/>
                    </a:cubicBezTo>
                    <a:cubicBezTo>
                      <a:pt x="36" y="29"/>
                      <a:pt x="36" y="31"/>
                      <a:pt x="37" y="31"/>
                    </a:cubicBezTo>
                    <a:cubicBezTo>
                      <a:pt x="37" y="31"/>
                      <a:pt x="36" y="30"/>
                      <a:pt x="36" y="29"/>
                    </a:cubicBezTo>
                    <a:cubicBezTo>
                      <a:pt x="36" y="29"/>
                      <a:pt x="36" y="29"/>
                      <a:pt x="36" y="29"/>
                    </a:cubicBezTo>
                    <a:close/>
                    <a:moveTo>
                      <a:pt x="46" y="31"/>
                    </a:moveTo>
                    <a:cubicBezTo>
                      <a:pt x="46" y="31"/>
                      <a:pt x="46" y="30"/>
                      <a:pt x="46" y="30"/>
                    </a:cubicBezTo>
                    <a:cubicBezTo>
                      <a:pt x="46" y="31"/>
                      <a:pt x="47" y="31"/>
                      <a:pt x="47" y="32"/>
                    </a:cubicBezTo>
                    <a:cubicBezTo>
                      <a:pt x="46" y="32"/>
                      <a:pt x="46" y="32"/>
                      <a:pt x="45" y="32"/>
                    </a:cubicBezTo>
                    <a:cubicBezTo>
                      <a:pt x="45" y="32"/>
                      <a:pt x="45" y="31"/>
                      <a:pt x="46" y="31"/>
                    </a:cubicBezTo>
                    <a:cubicBezTo>
                      <a:pt x="46" y="31"/>
                      <a:pt x="46" y="31"/>
                      <a:pt x="46" y="31"/>
                    </a:cubicBezTo>
                    <a:close/>
                    <a:moveTo>
                      <a:pt x="44" y="30"/>
                    </a:moveTo>
                    <a:cubicBezTo>
                      <a:pt x="44" y="31"/>
                      <a:pt x="44" y="31"/>
                      <a:pt x="44" y="31"/>
                    </a:cubicBezTo>
                    <a:cubicBezTo>
                      <a:pt x="44" y="31"/>
                      <a:pt x="44" y="31"/>
                      <a:pt x="44" y="31"/>
                    </a:cubicBezTo>
                    <a:cubicBezTo>
                      <a:pt x="44" y="31"/>
                      <a:pt x="44" y="31"/>
                      <a:pt x="44" y="30"/>
                    </a:cubicBezTo>
                    <a:cubicBezTo>
                      <a:pt x="44" y="30"/>
                      <a:pt x="44" y="30"/>
                      <a:pt x="44" y="30"/>
                    </a:cubicBezTo>
                    <a:close/>
                    <a:moveTo>
                      <a:pt x="44" y="31"/>
                    </a:moveTo>
                    <a:cubicBezTo>
                      <a:pt x="44" y="31"/>
                      <a:pt x="43" y="35"/>
                      <a:pt x="42" y="36"/>
                    </a:cubicBezTo>
                    <a:cubicBezTo>
                      <a:pt x="42" y="36"/>
                      <a:pt x="42" y="36"/>
                      <a:pt x="42" y="36"/>
                    </a:cubicBezTo>
                    <a:cubicBezTo>
                      <a:pt x="42" y="34"/>
                      <a:pt x="43" y="32"/>
                      <a:pt x="44" y="31"/>
                    </a:cubicBezTo>
                    <a:cubicBezTo>
                      <a:pt x="44" y="31"/>
                      <a:pt x="44" y="31"/>
                      <a:pt x="44" y="31"/>
                    </a:cubicBezTo>
                    <a:close/>
                    <a:moveTo>
                      <a:pt x="34" y="30"/>
                    </a:moveTo>
                    <a:cubicBezTo>
                      <a:pt x="34" y="29"/>
                      <a:pt x="34" y="29"/>
                      <a:pt x="34" y="29"/>
                    </a:cubicBezTo>
                    <a:cubicBezTo>
                      <a:pt x="35" y="30"/>
                      <a:pt x="36" y="30"/>
                      <a:pt x="36" y="31"/>
                    </a:cubicBezTo>
                    <a:cubicBezTo>
                      <a:pt x="35" y="31"/>
                      <a:pt x="35" y="30"/>
                      <a:pt x="34" y="30"/>
                    </a:cubicBezTo>
                    <a:cubicBezTo>
                      <a:pt x="34" y="30"/>
                      <a:pt x="34" y="30"/>
                      <a:pt x="34" y="30"/>
                    </a:cubicBezTo>
                    <a:close/>
                    <a:moveTo>
                      <a:pt x="60" y="33"/>
                    </a:moveTo>
                    <a:cubicBezTo>
                      <a:pt x="60" y="33"/>
                      <a:pt x="60" y="33"/>
                      <a:pt x="60" y="33"/>
                    </a:cubicBezTo>
                    <a:cubicBezTo>
                      <a:pt x="60" y="34"/>
                      <a:pt x="60" y="34"/>
                      <a:pt x="59" y="34"/>
                    </a:cubicBezTo>
                    <a:cubicBezTo>
                      <a:pt x="59" y="34"/>
                      <a:pt x="60" y="34"/>
                      <a:pt x="60" y="33"/>
                    </a:cubicBezTo>
                    <a:cubicBezTo>
                      <a:pt x="60" y="33"/>
                      <a:pt x="60" y="33"/>
                      <a:pt x="60" y="33"/>
                    </a:cubicBezTo>
                    <a:close/>
                    <a:moveTo>
                      <a:pt x="59" y="33"/>
                    </a:moveTo>
                    <a:cubicBezTo>
                      <a:pt x="59" y="33"/>
                      <a:pt x="58" y="33"/>
                      <a:pt x="58" y="33"/>
                    </a:cubicBezTo>
                    <a:cubicBezTo>
                      <a:pt x="58" y="35"/>
                      <a:pt x="58" y="35"/>
                      <a:pt x="58" y="35"/>
                    </a:cubicBezTo>
                    <a:cubicBezTo>
                      <a:pt x="58" y="34"/>
                      <a:pt x="59" y="34"/>
                      <a:pt x="59" y="33"/>
                    </a:cubicBezTo>
                    <a:cubicBezTo>
                      <a:pt x="59" y="33"/>
                      <a:pt x="59" y="33"/>
                      <a:pt x="59" y="33"/>
                    </a:cubicBezTo>
                    <a:close/>
                    <a:moveTo>
                      <a:pt x="50" y="32"/>
                    </a:moveTo>
                    <a:cubicBezTo>
                      <a:pt x="53" y="33"/>
                      <a:pt x="55" y="33"/>
                      <a:pt x="58" y="33"/>
                    </a:cubicBezTo>
                    <a:cubicBezTo>
                      <a:pt x="58" y="34"/>
                      <a:pt x="58" y="34"/>
                      <a:pt x="57" y="35"/>
                    </a:cubicBezTo>
                    <a:cubicBezTo>
                      <a:pt x="56" y="35"/>
                      <a:pt x="56" y="36"/>
                      <a:pt x="55" y="36"/>
                    </a:cubicBezTo>
                    <a:cubicBezTo>
                      <a:pt x="55" y="37"/>
                      <a:pt x="54" y="37"/>
                      <a:pt x="53" y="38"/>
                    </a:cubicBezTo>
                    <a:cubicBezTo>
                      <a:pt x="52" y="37"/>
                      <a:pt x="52" y="37"/>
                      <a:pt x="51" y="36"/>
                    </a:cubicBezTo>
                    <a:cubicBezTo>
                      <a:pt x="51" y="35"/>
                      <a:pt x="52" y="35"/>
                      <a:pt x="52" y="34"/>
                    </a:cubicBezTo>
                    <a:cubicBezTo>
                      <a:pt x="51" y="36"/>
                      <a:pt x="51" y="36"/>
                      <a:pt x="51" y="36"/>
                    </a:cubicBezTo>
                    <a:cubicBezTo>
                      <a:pt x="50" y="36"/>
                      <a:pt x="50" y="35"/>
                      <a:pt x="50" y="35"/>
                    </a:cubicBezTo>
                    <a:cubicBezTo>
                      <a:pt x="50" y="35"/>
                      <a:pt x="51" y="35"/>
                      <a:pt x="51" y="35"/>
                    </a:cubicBezTo>
                    <a:cubicBezTo>
                      <a:pt x="51" y="35"/>
                      <a:pt x="51" y="35"/>
                      <a:pt x="51" y="35"/>
                    </a:cubicBezTo>
                    <a:cubicBezTo>
                      <a:pt x="49" y="35"/>
                      <a:pt x="49" y="35"/>
                      <a:pt x="48" y="33"/>
                    </a:cubicBezTo>
                    <a:cubicBezTo>
                      <a:pt x="49" y="33"/>
                      <a:pt x="50" y="33"/>
                      <a:pt x="50" y="32"/>
                    </a:cubicBezTo>
                    <a:cubicBezTo>
                      <a:pt x="50" y="32"/>
                      <a:pt x="50" y="32"/>
                      <a:pt x="50" y="32"/>
                    </a:cubicBezTo>
                    <a:close/>
                    <a:moveTo>
                      <a:pt x="36" y="31"/>
                    </a:moveTo>
                    <a:cubicBezTo>
                      <a:pt x="36" y="31"/>
                      <a:pt x="36" y="31"/>
                      <a:pt x="36" y="31"/>
                    </a:cubicBezTo>
                    <a:cubicBezTo>
                      <a:pt x="36" y="31"/>
                      <a:pt x="36" y="31"/>
                      <a:pt x="36" y="31"/>
                    </a:cubicBezTo>
                    <a:cubicBezTo>
                      <a:pt x="36" y="31"/>
                      <a:pt x="36" y="31"/>
                      <a:pt x="36" y="31"/>
                    </a:cubicBezTo>
                    <a:cubicBezTo>
                      <a:pt x="36" y="31"/>
                      <a:pt x="36" y="31"/>
                      <a:pt x="36" y="31"/>
                    </a:cubicBezTo>
                    <a:close/>
                    <a:moveTo>
                      <a:pt x="36" y="31"/>
                    </a:moveTo>
                    <a:cubicBezTo>
                      <a:pt x="36" y="31"/>
                      <a:pt x="36" y="31"/>
                      <a:pt x="36" y="31"/>
                    </a:cubicBezTo>
                    <a:cubicBezTo>
                      <a:pt x="36" y="31"/>
                      <a:pt x="36" y="31"/>
                      <a:pt x="36" y="32"/>
                    </a:cubicBezTo>
                    <a:cubicBezTo>
                      <a:pt x="36" y="31"/>
                      <a:pt x="36" y="31"/>
                      <a:pt x="36" y="31"/>
                    </a:cubicBezTo>
                    <a:cubicBezTo>
                      <a:pt x="36" y="31"/>
                      <a:pt x="36" y="31"/>
                      <a:pt x="36" y="31"/>
                    </a:cubicBezTo>
                    <a:close/>
                    <a:moveTo>
                      <a:pt x="36" y="31"/>
                    </a:moveTo>
                    <a:cubicBezTo>
                      <a:pt x="37" y="31"/>
                      <a:pt x="37" y="32"/>
                      <a:pt x="38" y="33"/>
                    </a:cubicBezTo>
                    <a:cubicBezTo>
                      <a:pt x="37" y="32"/>
                      <a:pt x="36" y="32"/>
                      <a:pt x="36" y="31"/>
                    </a:cubicBezTo>
                    <a:cubicBezTo>
                      <a:pt x="36" y="31"/>
                      <a:pt x="36" y="31"/>
                      <a:pt x="36" y="31"/>
                    </a:cubicBezTo>
                    <a:close/>
                    <a:moveTo>
                      <a:pt x="37" y="31"/>
                    </a:moveTo>
                    <a:cubicBezTo>
                      <a:pt x="37" y="31"/>
                      <a:pt x="37" y="31"/>
                      <a:pt x="37" y="31"/>
                    </a:cubicBezTo>
                    <a:cubicBezTo>
                      <a:pt x="37" y="31"/>
                      <a:pt x="37" y="32"/>
                      <a:pt x="37" y="32"/>
                    </a:cubicBezTo>
                    <a:cubicBezTo>
                      <a:pt x="37" y="32"/>
                      <a:pt x="37" y="31"/>
                      <a:pt x="37" y="31"/>
                    </a:cubicBezTo>
                    <a:cubicBezTo>
                      <a:pt x="37" y="31"/>
                      <a:pt x="37" y="31"/>
                      <a:pt x="37" y="31"/>
                    </a:cubicBezTo>
                    <a:close/>
                    <a:moveTo>
                      <a:pt x="48" y="33"/>
                    </a:moveTo>
                    <a:cubicBezTo>
                      <a:pt x="47" y="33"/>
                      <a:pt x="47" y="33"/>
                      <a:pt x="47" y="33"/>
                    </a:cubicBezTo>
                    <a:cubicBezTo>
                      <a:pt x="48" y="33"/>
                      <a:pt x="48" y="33"/>
                      <a:pt x="48" y="34"/>
                    </a:cubicBezTo>
                    <a:cubicBezTo>
                      <a:pt x="48" y="33"/>
                      <a:pt x="48" y="33"/>
                      <a:pt x="48" y="33"/>
                    </a:cubicBezTo>
                    <a:cubicBezTo>
                      <a:pt x="48" y="33"/>
                      <a:pt x="48" y="33"/>
                      <a:pt x="48" y="33"/>
                    </a:cubicBezTo>
                    <a:close/>
                    <a:moveTo>
                      <a:pt x="41" y="32"/>
                    </a:moveTo>
                    <a:cubicBezTo>
                      <a:pt x="41" y="32"/>
                      <a:pt x="41" y="32"/>
                      <a:pt x="40" y="31"/>
                    </a:cubicBezTo>
                    <a:cubicBezTo>
                      <a:pt x="41" y="32"/>
                      <a:pt x="41" y="33"/>
                      <a:pt x="41" y="33"/>
                    </a:cubicBezTo>
                    <a:cubicBezTo>
                      <a:pt x="41" y="33"/>
                      <a:pt x="41" y="33"/>
                      <a:pt x="41" y="32"/>
                    </a:cubicBezTo>
                    <a:cubicBezTo>
                      <a:pt x="41" y="32"/>
                      <a:pt x="41" y="32"/>
                      <a:pt x="41" y="32"/>
                    </a:cubicBezTo>
                    <a:close/>
                    <a:moveTo>
                      <a:pt x="58" y="34"/>
                    </a:moveTo>
                    <a:cubicBezTo>
                      <a:pt x="58" y="34"/>
                      <a:pt x="58" y="34"/>
                      <a:pt x="58" y="35"/>
                    </a:cubicBezTo>
                    <a:cubicBezTo>
                      <a:pt x="58" y="35"/>
                      <a:pt x="58" y="35"/>
                      <a:pt x="57" y="35"/>
                    </a:cubicBezTo>
                    <a:cubicBezTo>
                      <a:pt x="58" y="35"/>
                      <a:pt x="58" y="34"/>
                      <a:pt x="58" y="34"/>
                    </a:cubicBezTo>
                    <a:cubicBezTo>
                      <a:pt x="58" y="34"/>
                      <a:pt x="58" y="34"/>
                      <a:pt x="58" y="34"/>
                    </a:cubicBezTo>
                    <a:close/>
                    <a:moveTo>
                      <a:pt x="47" y="33"/>
                    </a:moveTo>
                    <a:cubicBezTo>
                      <a:pt x="46" y="33"/>
                      <a:pt x="46" y="33"/>
                      <a:pt x="45" y="33"/>
                    </a:cubicBezTo>
                    <a:cubicBezTo>
                      <a:pt x="45" y="33"/>
                      <a:pt x="45" y="34"/>
                      <a:pt x="45" y="34"/>
                    </a:cubicBezTo>
                    <a:cubicBezTo>
                      <a:pt x="46" y="34"/>
                      <a:pt x="48" y="35"/>
                      <a:pt x="49" y="35"/>
                    </a:cubicBezTo>
                    <a:cubicBezTo>
                      <a:pt x="47" y="33"/>
                      <a:pt x="47" y="33"/>
                      <a:pt x="47" y="33"/>
                    </a:cubicBezTo>
                    <a:cubicBezTo>
                      <a:pt x="47" y="33"/>
                      <a:pt x="47" y="33"/>
                      <a:pt x="47" y="33"/>
                    </a:cubicBezTo>
                    <a:close/>
                    <a:moveTo>
                      <a:pt x="57" y="35"/>
                    </a:moveTo>
                    <a:cubicBezTo>
                      <a:pt x="57" y="35"/>
                      <a:pt x="58" y="35"/>
                      <a:pt x="58" y="35"/>
                    </a:cubicBezTo>
                    <a:cubicBezTo>
                      <a:pt x="57" y="35"/>
                      <a:pt x="57" y="35"/>
                      <a:pt x="57" y="36"/>
                    </a:cubicBezTo>
                    <a:cubicBezTo>
                      <a:pt x="57" y="35"/>
                      <a:pt x="57" y="35"/>
                      <a:pt x="57" y="35"/>
                    </a:cubicBezTo>
                    <a:cubicBezTo>
                      <a:pt x="57" y="35"/>
                      <a:pt x="57" y="35"/>
                      <a:pt x="57" y="35"/>
                    </a:cubicBezTo>
                    <a:close/>
                    <a:moveTo>
                      <a:pt x="40" y="31"/>
                    </a:moveTo>
                    <a:cubicBezTo>
                      <a:pt x="41" y="33"/>
                      <a:pt x="41" y="33"/>
                      <a:pt x="41" y="35"/>
                    </a:cubicBezTo>
                    <a:cubicBezTo>
                      <a:pt x="41" y="35"/>
                      <a:pt x="40" y="35"/>
                      <a:pt x="39" y="34"/>
                    </a:cubicBezTo>
                    <a:cubicBezTo>
                      <a:pt x="40" y="33"/>
                      <a:pt x="40" y="32"/>
                      <a:pt x="40" y="31"/>
                    </a:cubicBezTo>
                    <a:cubicBezTo>
                      <a:pt x="40" y="31"/>
                      <a:pt x="40" y="31"/>
                      <a:pt x="40" y="31"/>
                    </a:cubicBezTo>
                    <a:close/>
                    <a:moveTo>
                      <a:pt x="57" y="35"/>
                    </a:moveTo>
                    <a:cubicBezTo>
                      <a:pt x="56" y="37"/>
                      <a:pt x="55" y="37"/>
                      <a:pt x="54" y="38"/>
                    </a:cubicBezTo>
                    <a:cubicBezTo>
                      <a:pt x="54" y="38"/>
                      <a:pt x="53" y="38"/>
                      <a:pt x="53" y="38"/>
                    </a:cubicBezTo>
                    <a:cubicBezTo>
                      <a:pt x="54" y="37"/>
                      <a:pt x="56" y="36"/>
                      <a:pt x="57" y="35"/>
                    </a:cubicBezTo>
                    <a:cubicBezTo>
                      <a:pt x="57" y="35"/>
                      <a:pt x="57" y="35"/>
                      <a:pt x="57" y="35"/>
                    </a:cubicBezTo>
                    <a:close/>
                    <a:moveTo>
                      <a:pt x="45" y="34"/>
                    </a:moveTo>
                    <a:cubicBezTo>
                      <a:pt x="46" y="34"/>
                      <a:pt x="48" y="35"/>
                      <a:pt x="49" y="35"/>
                    </a:cubicBezTo>
                    <a:cubicBezTo>
                      <a:pt x="50" y="35"/>
                      <a:pt x="50" y="36"/>
                      <a:pt x="51" y="36"/>
                    </a:cubicBezTo>
                    <a:cubicBezTo>
                      <a:pt x="50" y="38"/>
                      <a:pt x="50" y="39"/>
                      <a:pt x="49" y="40"/>
                    </a:cubicBezTo>
                    <a:cubicBezTo>
                      <a:pt x="47" y="41"/>
                      <a:pt x="46" y="41"/>
                      <a:pt x="44" y="41"/>
                    </a:cubicBezTo>
                    <a:cubicBezTo>
                      <a:pt x="44" y="39"/>
                      <a:pt x="44" y="39"/>
                      <a:pt x="45" y="38"/>
                    </a:cubicBezTo>
                    <a:cubicBezTo>
                      <a:pt x="45" y="37"/>
                      <a:pt x="46" y="36"/>
                      <a:pt x="47" y="35"/>
                    </a:cubicBezTo>
                    <a:cubicBezTo>
                      <a:pt x="47" y="35"/>
                      <a:pt x="47" y="35"/>
                      <a:pt x="47" y="35"/>
                    </a:cubicBezTo>
                    <a:cubicBezTo>
                      <a:pt x="47" y="35"/>
                      <a:pt x="47" y="35"/>
                      <a:pt x="47" y="35"/>
                    </a:cubicBezTo>
                    <a:cubicBezTo>
                      <a:pt x="47" y="35"/>
                      <a:pt x="47" y="35"/>
                      <a:pt x="47" y="35"/>
                    </a:cubicBezTo>
                    <a:cubicBezTo>
                      <a:pt x="46" y="36"/>
                      <a:pt x="45" y="36"/>
                      <a:pt x="44" y="36"/>
                    </a:cubicBezTo>
                    <a:cubicBezTo>
                      <a:pt x="45" y="35"/>
                      <a:pt x="45" y="35"/>
                      <a:pt x="45" y="34"/>
                    </a:cubicBezTo>
                    <a:cubicBezTo>
                      <a:pt x="45" y="34"/>
                      <a:pt x="45" y="34"/>
                      <a:pt x="45" y="34"/>
                    </a:cubicBezTo>
                    <a:close/>
                    <a:moveTo>
                      <a:pt x="65" y="38"/>
                    </a:moveTo>
                    <a:cubicBezTo>
                      <a:pt x="65" y="37"/>
                      <a:pt x="65" y="36"/>
                      <a:pt x="65" y="35"/>
                    </a:cubicBezTo>
                    <a:cubicBezTo>
                      <a:pt x="65" y="36"/>
                      <a:pt x="63" y="37"/>
                      <a:pt x="63" y="38"/>
                    </a:cubicBezTo>
                    <a:cubicBezTo>
                      <a:pt x="64" y="38"/>
                      <a:pt x="64" y="38"/>
                      <a:pt x="65" y="38"/>
                    </a:cubicBezTo>
                    <a:cubicBezTo>
                      <a:pt x="65" y="38"/>
                      <a:pt x="65" y="38"/>
                      <a:pt x="65" y="38"/>
                    </a:cubicBezTo>
                    <a:close/>
                    <a:moveTo>
                      <a:pt x="44" y="36"/>
                    </a:moveTo>
                    <a:cubicBezTo>
                      <a:pt x="45" y="36"/>
                      <a:pt x="46" y="36"/>
                      <a:pt x="46" y="35"/>
                    </a:cubicBezTo>
                    <a:cubicBezTo>
                      <a:pt x="44" y="39"/>
                      <a:pt x="44" y="39"/>
                      <a:pt x="44" y="39"/>
                    </a:cubicBezTo>
                    <a:cubicBezTo>
                      <a:pt x="44" y="38"/>
                      <a:pt x="44" y="37"/>
                      <a:pt x="44" y="36"/>
                    </a:cubicBezTo>
                    <a:cubicBezTo>
                      <a:pt x="44" y="36"/>
                      <a:pt x="44" y="36"/>
                      <a:pt x="44" y="36"/>
                    </a:cubicBezTo>
                    <a:close/>
                    <a:moveTo>
                      <a:pt x="40" y="36"/>
                    </a:moveTo>
                    <a:cubicBezTo>
                      <a:pt x="40" y="36"/>
                      <a:pt x="40" y="36"/>
                      <a:pt x="40" y="35"/>
                    </a:cubicBezTo>
                    <a:cubicBezTo>
                      <a:pt x="40" y="36"/>
                      <a:pt x="40" y="36"/>
                      <a:pt x="40" y="36"/>
                    </a:cubicBezTo>
                    <a:cubicBezTo>
                      <a:pt x="40" y="36"/>
                      <a:pt x="40" y="36"/>
                      <a:pt x="40" y="36"/>
                    </a:cubicBezTo>
                    <a:cubicBezTo>
                      <a:pt x="40" y="36"/>
                      <a:pt x="40" y="36"/>
                      <a:pt x="40" y="36"/>
                    </a:cubicBezTo>
                    <a:close/>
                    <a:moveTo>
                      <a:pt x="40" y="36"/>
                    </a:moveTo>
                    <a:cubicBezTo>
                      <a:pt x="40" y="36"/>
                      <a:pt x="40" y="36"/>
                      <a:pt x="40" y="36"/>
                    </a:cubicBezTo>
                    <a:cubicBezTo>
                      <a:pt x="40" y="36"/>
                      <a:pt x="41" y="37"/>
                      <a:pt x="41" y="37"/>
                    </a:cubicBezTo>
                    <a:cubicBezTo>
                      <a:pt x="41" y="37"/>
                      <a:pt x="41" y="37"/>
                      <a:pt x="41" y="36"/>
                    </a:cubicBezTo>
                    <a:cubicBezTo>
                      <a:pt x="41" y="36"/>
                      <a:pt x="41" y="36"/>
                      <a:pt x="40" y="36"/>
                    </a:cubicBezTo>
                    <a:cubicBezTo>
                      <a:pt x="40" y="36"/>
                      <a:pt x="40" y="36"/>
                      <a:pt x="40" y="36"/>
                    </a:cubicBezTo>
                    <a:close/>
                    <a:moveTo>
                      <a:pt x="55" y="38"/>
                    </a:moveTo>
                    <a:cubicBezTo>
                      <a:pt x="55" y="38"/>
                      <a:pt x="55" y="37"/>
                      <a:pt x="56" y="37"/>
                    </a:cubicBezTo>
                    <a:cubicBezTo>
                      <a:pt x="55" y="38"/>
                      <a:pt x="55" y="38"/>
                      <a:pt x="55" y="38"/>
                    </a:cubicBezTo>
                    <a:cubicBezTo>
                      <a:pt x="55" y="38"/>
                      <a:pt x="55" y="38"/>
                      <a:pt x="55" y="38"/>
                    </a:cubicBezTo>
                    <a:cubicBezTo>
                      <a:pt x="55" y="38"/>
                      <a:pt x="55" y="38"/>
                      <a:pt x="55" y="38"/>
                    </a:cubicBezTo>
                    <a:close/>
                    <a:moveTo>
                      <a:pt x="53" y="38"/>
                    </a:moveTo>
                    <a:cubicBezTo>
                      <a:pt x="52" y="37"/>
                      <a:pt x="52" y="37"/>
                      <a:pt x="51" y="36"/>
                    </a:cubicBezTo>
                    <a:cubicBezTo>
                      <a:pt x="50" y="38"/>
                      <a:pt x="50" y="39"/>
                      <a:pt x="49" y="40"/>
                    </a:cubicBezTo>
                    <a:cubicBezTo>
                      <a:pt x="51" y="40"/>
                      <a:pt x="52" y="39"/>
                      <a:pt x="53" y="38"/>
                    </a:cubicBezTo>
                    <a:cubicBezTo>
                      <a:pt x="53" y="38"/>
                      <a:pt x="53" y="38"/>
                      <a:pt x="53" y="38"/>
                    </a:cubicBezTo>
                    <a:close/>
                    <a:moveTo>
                      <a:pt x="55" y="38"/>
                    </a:moveTo>
                    <a:cubicBezTo>
                      <a:pt x="55" y="38"/>
                      <a:pt x="55" y="38"/>
                      <a:pt x="55" y="38"/>
                    </a:cubicBezTo>
                    <a:cubicBezTo>
                      <a:pt x="54" y="38"/>
                      <a:pt x="54" y="38"/>
                      <a:pt x="54" y="38"/>
                    </a:cubicBezTo>
                    <a:cubicBezTo>
                      <a:pt x="54" y="39"/>
                      <a:pt x="55" y="39"/>
                      <a:pt x="55" y="39"/>
                    </a:cubicBezTo>
                    <a:cubicBezTo>
                      <a:pt x="55" y="39"/>
                      <a:pt x="55" y="38"/>
                      <a:pt x="55" y="38"/>
                    </a:cubicBezTo>
                    <a:cubicBezTo>
                      <a:pt x="55" y="38"/>
                      <a:pt x="55" y="38"/>
                      <a:pt x="55" y="38"/>
                    </a:cubicBezTo>
                    <a:close/>
                    <a:moveTo>
                      <a:pt x="55" y="38"/>
                    </a:moveTo>
                    <a:cubicBezTo>
                      <a:pt x="56" y="38"/>
                      <a:pt x="56" y="38"/>
                      <a:pt x="57" y="38"/>
                    </a:cubicBezTo>
                    <a:cubicBezTo>
                      <a:pt x="56" y="39"/>
                      <a:pt x="56" y="39"/>
                      <a:pt x="55" y="39"/>
                    </a:cubicBezTo>
                    <a:cubicBezTo>
                      <a:pt x="55" y="39"/>
                      <a:pt x="55" y="39"/>
                      <a:pt x="55" y="39"/>
                    </a:cubicBezTo>
                    <a:cubicBezTo>
                      <a:pt x="55" y="39"/>
                      <a:pt x="55" y="38"/>
                      <a:pt x="55" y="38"/>
                    </a:cubicBezTo>
                    <a:cubicBezTo>
                      <a:pt x="55" y="38"/>
                      <a:pt x="55" y="38"/>
                      <a:pt x="55" y="38"/>
                    </a:cubicBezTo>
                    <a:close/>
                    <a:moveTo>
                      <a:pt x="54" y="38"/>
                    </a:moveTo>
                    <a:cubicBezTo>
                      <a:pt x="53" y="38"/>
                      <a:pt x="53" y="38"/>
                      <a:pt x="53" y="38"/>
                    </a:cubicBezTo>
                    <a:cubicBezTo>
                      <a:pt x="53" y="38"/>
                      <a:pt x="52" y="39"/>
                      <a:pt x="52" y="39"/>
                    </a:cubicBezTo>
                    <a:cubicBezTo>
                      <a:pt x="53" y="39"/>
                      <a:pt x="53" y="39"/>
                      <a:pt x="54" y="38"/>
                    </a:cubicBezTo>
                    <a:cubicBezTo>
                      <a:pt x="54" y="38"/>
                      <a:pt x="54" y="38"/>
                      <a:pt x="54" y="38"/>
                    </a:cubicBezTo>
                    <a:close/>
                    <a:moveTo>
                      <a:pt x="61" y="39"/>
                    </a:moveTo>
                    <a:cubicBezTo>
                      <a:pt x="60" y="39"/>
                      <a:pt x="58" y="39"/>
                      <a:pt x="57" y="38"/>
                    </a:cubicBezTo>
                    <a:cubicBezTo>
                      <a:pt x="56" y="39"/>
                      <a:pt x="56" y="39"/>
                      <a:pt x="56" y="39"/>
                    </a:cubicBezTo>
                    <a:cubicBezTo>
                      <a:pt x="57" y="39"/>
                      <a:pt x="59" y="39"/>
                      <a:pt x="61" y="40"/>
                    </a:cubicBezTo>
                    <a:cubicBezTo>
                      <a:pt x="61" y="39"/>
                      <a:pt x="61" y="39"/>
                      <a:pt x="61" y="39"/>
                    </a:cubicBezTo>
                    <a:cubicBezTo>
                      <a:pt x="61" y="39"/>
                      <a:pt x="61" y="39"/>
                      <a:pt x="61" y="39"/>
                    </a:cubicBezTo>
                    <a:close/>
                    <a:moveTo>
                      <a:pt x="42" y="37"/>
                    </a:moveTo>
                    <a:cubicBezTo>
                      <a:pt x="42" y="37"/>
                      <a:pt x="42" y="37"/>
                      <a:pt x="42" y="37"/>
                    </a:cubicBezTo>
                    <a:cubicBezTo>
                      <a:pt x="42" y="37"/>
                      <a:pt x="42" y="37"/>
                      <a:pt x="42" y="37"/>
                    </a:cubicBezTo>
                    <a:cubicBezTo>
                      <a:pt x="42" y="37"/>
                      <a:pt x="42" y="37"/>
                      <a:pt x="42" y="37"/>
                    </a:cubicBezTo>
                    <a:cubicBezTo>
                      <a:pt x="42" y="37"/>
                      <a:pt x="42" y="37"/>
                      <a:pt x="42" y="37"/>
                    </a:cubicBezTo>
                    <a:close/>
                    <a:moveTo>
                      <a:pt x="37" y="36"/>
                    </a:moveTo>
                    <a:cubicBezTo>
                      <a:pt x="38" y="36"/>
                      <a:pt x="39" y="36"/>
                      <a:pt x="39" y="36"/>
                    </a:cubicBezTo>
                    <a:cubicBezTo>
                      <a:pt x="40" y="36"/>
                      <a:pt x="40" y="37"/>
                      <a:pt x="40" y="37"/>
                    </a:cubicBezTo>
                    <a:cubicBezTo>
                      <a:pt x="39" y="37"/>
                      <a:pt x="38" y="37"/>
                      <a:pt x="37" y="36"/>
                    </a:cubicBezTo>
                    <a:cubicBezTo>
                      <a:pt x="37" y="36"/>
                      <a:pt x="37" y="36"/>
                      <a:pt x="37" y="36"/>
                    </a:cubicBezTo>
                    <a:close/>
                    <a:moveTo>
                      <a:pt x="37" y="36"/>
                    </a:moveTo>
                    <a:cubicBezTo>
                      <a:pt x="37" y="36"/>
                      <a:pt x="37" y="36"/>
                      <a:pt x="37" y="36"/>
                    </a:cubicBezTo>
                    <a:cubicBezTo>
                      <a:pt x="37" y="36"/>
                      <a:pt x="37" y="36"/>
                      <a:pt x="37" y="36"/>
                    </a:cubicBezTo>
                    <a:cubicBezTo>
                      <a:pt x="37" y="36"/>
                      <a:pt x="37" y="36"/>
                      <a:pt x="37" y="36"/>
                    </a:cubicBezTo>
                    <a:cubicBezTo>
                      <a:pt x="37" y="36"/>
                      <a:pt x="37" y="36"/>
                      <a:pt x="37" y="36"/>
                    </a:cubicBezTo>
                    <a:close/>
                    <a:moveTo>
                      <a:pt x="55" y="39"/>
                    </a:moveTo>
                    <a:cubicBezTo>
                      <a:pt x="54" y="39"/>
                      <a:pt x="54" y="39"/>
                      <a:pt x="54" y="39"/>
                    </a:cubicBezTo>
                    <a:cubicBezTo>
                      <a:pt x="54" y="39"/>
                      <a:pt x="54" y="39"/>
                      <a:pt x="53" y="39"/>
                    </a:cubicBezTo>
                    <a:cubicBezTo>
                      <a:pt x="54" y="39"/>
                      <a:pt x="54" y="39"/>
                      <a:pt x="55" y="39"/>
                    </a:cubicBezTo>
                    <a:cubicBezTo>
                      <a:pt x="55" y="39"/>
                      <a:pt x="55" y="39"/>
                      <a:pt x="55" y="39"/>
                    </a:cubicBezTo>
                    <a:cubicBezTo>
                      <a:pt x="55" y="39"/>
                      <a:pt x="55" y="39"/>
                      <a:pt x="55" y="39"/>
                    </a:cubicBezTo>
                    <a:close/>
                    <a:moveTo>
                      <a:pt x="40" y="37"/>
                    </a:moveTo>
                    <a:cubicBezTo>
                      <a:pt x="39" y="37"/>
                      <a:pt x="39" y="37"/>
                      <a:pt x="38" y="37"/>
                    </a:cubicBezTo>
                    <a:cubicBezTo>
                      <a:pt x="39" y="38"/>
                      <a:pt x="39" y="39"/>
                      <a:pt x="40" y="40"/>
                    </a:cubicBezTo>
                    <a:cubicBezTo>
                      <a:pt x="40" y="39"/>
                      <a:pt x="41" y="39"/>
                      <a:pt x="41" y="39"/>
                    </a:cubicBezTo>
                    <a:cubicBezTo>
                      <a:pt x="41" y="39"/>
                      <a:pt x="41" y="38"/>
                      <a:pt x="41" y="38"/>
                    </a:cubicBezTo>
                    <a:cubicBezTo>
                      <a:pt x="41" y="38"/>
                      <a:pt x="41" y="38"/>
                      <a:pt x="40" y="37"/>
                    </a:cubicBezTo>
                    <a:cubicBezTo>
                      <a:pt x="40" y="37"/>
                      <a:pt x="40" y="37"/>
                      <a:pt x="40" y="37"/>
                    </a:cubicBezTo>
                    <a:close/>
                    <a:moveTo>
                      <a:pt x="55" y="39"/>
                    </a:moveTo>
                    <a:cubicBezTo>
                      <a:pt x="55" y="39"/>
                      <a:pt x="55" y="39"/>
                      <a:pt x="55" y="39"/>
                    </a:cubicBezTo>
                    <a:cubicBezTo>
                      <a:pt x="55" y="39"/>
                      <a:pt x="55" y="39"/>
                      <a:pt x="55" y="39"/>
                    </a:cubicBezTo>
                    <a:cubicBezTo>
                      <a:pt x="55" y="39"/>
                      <a:pt x="55" y="39"/>
                      <a:pt x="55" y="39"/>
                    </a:cubicBezTo>
                    <a:cubicBezTo>
                      <a:pt x="55" y="39"/>
                      <a:pt x="55" y="39"/>
                      <a:pt x="55" y="39"/>
                    </a:cubicBezTo>
                    <a:close/>
                    <a:moveTo>
                      <a:pt x="42" y="37"/>
                    </a:moveTo>
                    <a:cubicBezTo>
                      <a:pt x="42" y="37"/>
                      <a:pt x="42" y="37"/>
                      <a:pt x="42" y="37"/>
                    </a:cubicBezTo>
                    <a:cubicBezTo>
                      <a:pt x="42" y="37"/>
                      <a:pt x="42" y="38"/>
                      <a:pt x="42" y="38"/>
                    </a:cubicBezTo>
                    <a:cubicBezTo>
                      <a:pt x="42" y="38"/>
                      <a:pt x="42" y="38"/>
                      <a:pt x="42" y="38"/>
                    </a:cubicBezTo>
                    <a:cubicBezTo>
                      <a:pt x="42" y="38"/>
                      <a:pt x="42" y="38"/>
                      <a:pt x="42" y="37"/>
                    </a:cubicBezTo>
                    <a:cubicBezTo>
                      <a:pt x="42" y="37"/>
                      <a:pt x="42" y="37"/>
                      <a:pt x="42" y="37"/>
                    </a:cubicBezTo>
                    <a:close/>
                    <a:moveTo>
                      <a:pt x="55" y="39"/>
                    </a:moveTo>
                    <a:cubicBezTo>
                      <a:pt x="57" y="39"/>
                      <a:pt x="59" y="40"/>
                      <a:pt x="61" y="40"/>
                    </a:cubicBezTo>
                    <a:cubicBezTo>
                      <a:pt x="57" y="41"/>
                      <a:pt x="57" y="41"/>
                      <a:pt x="53" y="42"/>
                    </a:cubicBezTo>
                    <a:cubicBezTo>
                      <a:pt x="54" y="40"/>
                      <a:pt x="54" y="40"/>
                      <a:pt x="55" y="39"/>
                    </a:cubicBezTo>
                    <a:cubicBezTo>
                      <a:pt x="55" y="39"/>
                      <a:pt x="55" y="39"/>
                      <a:pt x="55" y="39"/>
                    </a:cubicBezTo>
                    <a:close/>
                    <a:moveTo>
                      <a:pt x="55" y="39"/>
                    </a:moveTo>
                    <a:cubicBezTo>
                      <a:pt x="55" y="39"/>
                      <a:pt x="55" y="39"/>
                      <a:pt x="55" y="39"/>
                    </a:cubicBezTo>
                    <a:cubicBezTo>
                      <a:pt x="55" y="39"/>
                      <a:pt x="55" y="40"/>
                      <a:pt x="54" y="40"/>
                    </a:cubicBezTo>
                    <a:cubicBezTo>
                      <a:pt x="55" y="40"/>
                      <a:pt x="55" y="39"/>
                      <a:pt x="55" y="39"/>
                    </a:cubicBezTo>
                    <a:cubicBezTo>
                      <a:pt x="55" y="39"/>
                      <a:pt x="55" y="39"/>
                      <a:pt x="55" y="39"/>
                    </a:cubicBezTo>
                    <a:close/>
                    <a:moveTo>
                      <a:pt x="55" y="39"/>
                    </a:moveTo>
                    <a:cubicBezTo>
                      <a:pt x="54" y="39"/>
                      <a:pt x="54" y="39"/>
                      <a:pt x="53" y="39"/>
                    </a:cubicBezTo>
                    <a:cubicBezTo>
                      <a:pt x="52" y="40"/>
                      <a:pt x="51" y="40"/>
                      <a:pt x="50" y="41"/>
                    </a:cubicBezTo>
                    <a:cubicBezTo>
                      <a:pt x="49" y="41"/>
                      <a:pt x="48" y="41"/>
                      <a:pt x="47" y="42"/>
                    </a:cubicBezTo>
                    <a:cubicBezTo>
                      <a:pt x="47" y="42"/>
                      <a:pt x="47" y="43"/>
                      <a:pt x="47" y="43"/>
                    </a:cubicBezTo>
                    <a:cubicBezTo>
                      <a:pt x="48" y="43"/>
                      <a:pt x="51" y="43"/>
                      <a:pt x="51" y="43"/>
                    </a:cubicBezTo>
                    <a:cubicBezTo>
                      <a:pt x="51" y="42"/>
                      <a:pt x="52" y="42"/>
                      <a:pt x="52" y="42"/>
                    </a:cubicBezTo>
                    <a:cubicBezTo>
                      <a:pt x="53" y="41"/>
                      <a:pt x="54" y="41"/>
                      <a:pt x="55" y="39"/>
                    </a:cubicBezTo>
                    <a:cubicBezTo>
                      <a:pt x="55" y="39"/>
                      <a:pt x="55" y="39"/>
                      <a:pt x="55" y="39"/>
                    </a:cubicBezTo>
                    <a:close/>
                    <a:moveTo>
                      <a:pt x="42" y="39"/>
                    </a:moveTo>
                    <a:cubicBezTo>
                      <a:pt x="42" y="39"/>
                      <a:pt x="42" y="39"/>
                      <a:pt x="42" y="39"/>
                    </a:cubicBezTo>
                    <a:cubicBezTo>
                      <a:pt x="42" y="39"/>
                      <a:pt x="42" y="40"/>
                      <a:pt x="42" y="40"/>
                    </a:cubicBezTo>
                    <a:cubicBezTo>
                      <a:pt x="42" y="40"/>
                      <a:pt x="42" y="39"/>
                      <a:pt x="42" y="39"/>
                    </a:cubicBezTo>
                    <a:cubicBezTo>
                      <a:pt x="42" y="39"/>
                      <a:pt x="42" y="39"/>
                      <a:pt x="42" y="39"/>
                    </a:cubicBezTo>
                    <a:close/>
                    <a:moveTo>
                      <a:pt x="69" y="43"/>
                    </a:moveTo>
                    <a:cubicBezTo>
                      <a:pt x="66" y="42"/>
                      <a:pt x="62" y="42"/>
                      <a:pt x="58" y="41"/>
                    </a:cubicBezTo>
                    <a:cubicBezTo>
                      <a:pt x="56" y="42"/>
                      <a:pt x="56" y="42"/>
                      <a:pt x="56" y="42"/>
                    </a:cubicBezTo>
                    <a:cubicBezTo>
                      <a:pt x="58" y="43"/>
                      <a:pt x="59" y="44"/>
                      <a:pt x="61" y="44"/>
                    </a:cubicBezTo>
                    <a:cubicBezTo>
                      <a:pt x="60" y="44"/>
                      <a:pt x="59" y="44"/>
                      <a:pt x="56" y="42"/>
                    </a:cubicBezTo>
                    <a:cubicBezTo>
                      <a:pt x="55" y="43"/>
                      <a:pt x="54" y="43"/>
                      <a:pt x="53" y="43"/>
                    </a:cubicBezTo>
                    <a:cubicBezTo>
                      <a:pt x="52" y="43"/>
                      <a:pt x="51" y="43"/>
                      <a:pt x="50" y="44"/>
                    </a:cubicBezTo>
                    <a:cubicBezTo>
                      <a:pt x="55" y="44"/>
                      <a:pt x="55" y="44"/>
                      <a:pt x="55" y="44"/>
                    </a:cubicBezTo>
                    <a:cubicBezTo>
                      <a:pt x="55" y="44"/>
                      <a:pt x="56" y="44"/>
                      <a:pt x="56" y="43"/>
                    </a:cubicBezTo>
                    <a:cubicBezTo>
                      <a:pt x="56" y="43"/>
                      <a:pt x="56" y="44"/>
                      <a:pt x="55" y="44"/>
                    </a:cubicBezTo>
                    <a:cubicBezTo>
                      <a:pt x="57" y="45"/>
                      <a:pt x="59" y="45"/>
                      <a:pt x="61" y="46"/>
                    </a:cubicBezTo>
                    <a:cubicBezTo>
                      <a:pt x="61" y="46"/>
                      <a:pt x="50" y="44"/>
                      <a:pt x="49" y="44"/>
                    </a:cubicBezTo>
                    <a:cubicBezTo>
                      <a:pt x="49" y="44"/>
                      <a:pt x="48" y="44"/>
                      <a:pt x="47" y="44"/>
                    </a:cubicBezTo>
                    <a:cubicBezTo>
                      <a:pt x="49" y="45"/>
                      <a:pt x="48" y="45"/>
                      <a:pt x="50" y="45"/>
                    </a:cubicBezTo>
                    <a:cubicBezTo>
                      <a:pt x="50" y="45"/>
                      <a:pt x="49" y="45"/>
                      <a:pt x="49" y="45"/>
                    </a:cubicBezTo>
                    <a:cubicBezTo>
                      <a:pt x="49" y="46"/>
                      <a:pt x="51" y="47"/>
                      <a:pt x="52" y="48"/>
                    </a:cubicBezTo>
                    <a:cubicBezTo>
                      <a:pt x="52" y="47"/>
                      <a:pt x="53" y="46"/>
                      <a:pt x="53" y="45"/>
                    </a:cubicBezTo>
                    <a:cubicBezTo>
                      <a:pt x="53" y="45"/>
                      <a:pt x="54" y="45"/>
                      <a:pt x="54" y="45"/>
                    </a:cubicBezTo>
                    <a:cubicBezTo>
                      <a:pt x="53" y="45"/>
                      <a:pt x="53" y="46"/>
                      <a:pt x="53" y="46"/>
                    </a:cubicBezTo>
                    <a:cubicBezTo>
                      <a:pt x="53" y="46"/>
                      <a:pt x="54" y="45"/>
                      <a:pt x="55" y="45"/>
                    </a:cubicBezTo>
                    <a:cubicBezTo>
                      <a:pt x="54" y="45"/>
                      <a:pt x="54" y="45"/>
                      <a:pt x="54" y="45"/>
                    </a:cubicBezTo>
                    <a:cubicBezTo>
                      <a:pt x="54" y="46"/>
                      <a:pt x="53" y="46"/>
                      <a:pt x="53" y="46"/>
                    </a:cubicBezTo>
                    <a:cubicBezTo>
                      <a:pt x="54" y="46"/>
                      <a:pt x="54" y="46"/>
                      <a:pt x="55" y="46"/>
                    </a:cubicBezTo>
                    <a:cubicBezTo>
                      <a:pt x="53" y="46"/>
                      <a:pt x="53" y="46"/>
                      <a:pt x="52" y="48"/>
                    </a:cubicBezTo>
                    <a:cubicBezTo>
                      <a:pt x="52" y="48"/>
                      <a:pt x="52" y="48"/>
                      <a:pt x="52" y="48"/>
                    </a:cubicBezTo>
                    <a:cubicBezTo>
                      <a:pt x="54" y="47"/>
                      <a:pt x="56" y="47"/>
                      <a:pt x="58" y="47"/>
                    </a:cubicBezTo>
                    <a:cubicBezTo>
                      <a:pt x="56" y="47"/>
                      <a:pt x="54" y="47"/>
                      <a:pt x="53" y="48"/>
                    </a:cubicBezTo>
                    <a:cubicBezTo>
                      <a:pt x="53" y="48"/>
                      <a:pt x="54" y="49"/>
                      <a:pt x="55" y="49"/>
                    </a:cubicBezTo>
                    <a:cubicBezTo>
                      <a:pt x="55" y="49"/>
                      <a:pt x="55" y="49"/>
                      <a:pt x="55" y="49"/>
                    </a:cubicBezTo>
                    <a:cubicBezTo>
                      <a:pt x="55" y="49"/>
                      <a:pt x="55" y="49"/>
                      <a:pt x="55" y="49"/>
                    </a:cubicBezTo>
                    <a:cubicBezTo>
                      <a:pt x="55" y="49"/>
                      <a:pt x="56" y="50"/>
                      <a:pt x="56" y="50"/>
                    </a:cubicBezTo>
                    <a:cubicBezTo>
                      <a:pt x="56" y="50"/>
                      <a:pt x="55" y="49"/>
                      <a:pt x="54" y="49"/>
                    </a:cubicBezTo>
                    <a:cubicBezTo>
                      <a:pt x="50" y="51"/>
                      <a:pt x="51" y="50"/>
                      <a:pt x="48" y="53"/>
                    </a:cubicBezTo>
                    <a:cubicBezTo>
                      <a:pt x="48" y="53"/>
                      <a:pt x="48" y="53"/>
                      <a:pt x="48" y="53"/>
                    </a:cubicBezTo>
                    <a:cubicBezTo>
                      <a:pt x="50" y="52"/>
                      <a:pt x="50" y="52"/>
                      <a:pt x="50" y="52"/>
                    </a:cubicBezTo>
                    <a:cubicBezTo>
                      <a:pt x="48" y="53"/>
                      <a:pt x="48" y="53"/>
                      <a:pt x="48" y="53"/>
                    </a:cubicBezTo>
                    <a:cubicBezTo>
                      <a:pt x="49" y="53"/>
                      <a:pt x="49" y="54"/>
                      <a:pt x="50" y="54"/>
                    </a:cubicBezTo>
                    <a:cubicBezTo>
                      <a:pt x="50" y="53"/>
                      <a:pt x="51" y="53"/>
                      <a:pt x="52" y="52"/>
                    </a:cubicBezTo>
                    <a:cubicBezTo>
                      <a:pt x="52" y="52"/>
                      <a:pt x="52" y="52"/>
                      <a:pt x="52" y="52"/>
                    </a:cubicBezTo>
                    <a:cubicBezTo>
                      <a:pt x="50" y="54"/>
                      <a:pt x="50" y="54"/>
                      <a:pt x="50" y="54"/>
                    </a:cubicBezTo>
                    <a:cubicBezTo>
                      <a:pt x="50" y="54"/>
                      <a:pt x="51" y="54"/>
                      <a:pt x="51" y="54"/>
                    </a:cubicBezTo>
                    <a:cubicBezTo>
                      <a:pt x="54" y="52"/>
                      <a:pt x="57" y="50"/>
                      <a:pt x="61" y="48"/>
                    </a:cubicBezTo>
                    <a:cubicBezTo>
                      <a:pt x="61" y="48"/>
                      <a:pt x="61" y="48"/>
                      <a:pt x="61" y="48"/>
                    </a:cubicBezTo>
                    <a:cubicBezTo>
                      <a:pt x="58" y="50"/>
                      <a:pt x="54" y="52"/>
                      <a:pt x="51" y="54"/>
                    </a:cubicBezTo>
                    <a:cubicBezTo>
                      <a:pt x="52" y="54"/>
                      <a:pt x="53" y="54"/>
                      <a:pt x="54" y="54"/>
                    </a:cubicBezTo>
                    <a:cubicBezTo>
                      <a:pt x="55" y="53"/>
                      <a:pt x="55" y="53"/>
                      <a:pt x="56" y="52"/>
                    </a:cubicBezTo>
                    <a:cubicBezTo>
                      <a:pt x="59" y="50"/>
                      <a:pt x="62" y="48"/>
                      <a:pt x="65" y="47"/>
                    </a:cubicBezTo>
                    <a:cubicBezTo>
                      <a:pt x="63" y="48"/>
                      <a:pt x="59" y="50"/>
                      <a:pt x="54" y="54"/>
                    </a:cubicBezTo>
                    <a:cubicBezTo>
                      <a:pt x="56" y="53"/>
                      <a:pt x="58" y="53"/>
                      <a:pt x="59" y="52"/>
                    </a:cubicBezTo>
                    <a:cubicBezTo>
                      <a:pt x="61" y="52"/>
                      <a:pt x="62" y="51"/>
                      <a:pt x="64" y="50"/>
                    </a:cubicBezTo>
                    <a:cubicBezTo>
                      <a:pt x="64" y="50"/>
                      <a:pt x="64" y="49"/>
                      <a:pt x="64" y="49"/>
                    </a:cubicBezTo>
                    <a:cubicBezTo>
                      <a:pt x="66" y="45"/>
                      <a:pt x="67" y="45"/>
                      <a:pt x="69" y="43"/>
                    </a:cubicBezTo>
                    <a:cubicBezTo>
                      <a:pt x="69" y="43"/>
                      <a:pt x="69" y="43"/>
                      <a:pt x="69" y="43"/>
                    </a:cubicBezTo>
                    <a:close/>
                    <a:moveTo>
                      <a:pt x="40" y="40"/>
                    </a:moveTo>
                    <a:cubicBezTo>
                      <a:pt x="41" y="39"/>
                      <a:pt x="41" y="39"/>
                      <a:pt x="41" y="39"/>
                    </a:cubicBezTo>
                    <a:cubicBezTo>
                      <a:pt x="41" y="39"/>
                      <a:pt x="41" y="40"/>
                      <a:pt x="41" y="40"/>
                    </a:cubicBezTo>
                    <a:cubicBezTo>
                      <a:pt x="41" y="40"/>
                      <a:pt x="41" y="40"/>
                      <a:pt x="40" y="40"/>
                    </a:cubicBezTo>
                    <a:cubicBezTo>
                      <a:pt x="40" y="40"/>
                      <a:pt x="40" y="40"/>
                      <a:pt x="40" y="40"/>
                    </a:cubicBezTo>
                    <a:close/>
                    <a:moveTo>
                      <a:pt x="42" y="40"/>
                    </a:moveTo>
                    <a:cubicBezTo>
                      <a:pt x="42" y="40"/>
                      <a:pt x="42" y="40"/>
                      <a:pt x="42" y="40"/>
                    </a:cubicBezTo>
                    <a:cubicBezTo>
                      <a:pt x="42" y="40"/>
                      <a:pt x="42" y="40"/>
                      <a:pt x="42" y="40"/>
                    </a:cubicBezTo>
                    <a:cubicBezTo>
                      <a:pt x="42" y="40"/>
                      <a:pt x="42" y="40"/>
                      <a:pt x="42" y="40"/>
                    </a:cubicBezTo>
                    <a:cubicBezTo>
                      <a:pt x="42" y="40"/>
                      <a:pt x="42" y="40"/>
                      <a:pt x="42" y="40"/>
                    </a:cubicBezTo>
                    <a:close/>
                    <a:moveTo>
                      <a:pt x="40" y="40"/>
                    </a:moveTo>
                    <a:cubicBezTo>
                      <a:pt x="40" y="40"/>
                      <a:pt x="40" y="40"/>
                      <a:pt x="40" y="40"/>
                    </a:cubicBezTo>
                    <a:cubicBezTo>
                      <a:pt x="40" y="40"/>
                      <a:pt x="40" y="40"/>
                      <a:pt x="40" y="40"/>
                    </a:cubicBezTo>
                    <a:cubicBezTo>
                      <a:pt x="40" y="40"/>
                      <a:pt x="40" y="40"/>
                      <a:pt x="40" y="40"/>
                    </a:cubicBezTo>
                    <a:cubicBezTo>
                      <a:pt x="40" y="40"/>
                      <a:pt x="40" y="40"/>
                      <a:pt x="40" y="40"/>
                    </a:cubicBezTo>
                    <a:close/>
                    <a:moveTo>
                      <a:pt x="42" y="40"/>
                    </a:moveTo>
                    <a:cubicBezTo>
                      <a:pt x="42" y="40"/>
                      <a:pt x="42" y="40"/>
                      <a:pt x="42" y="40"/>
                    </a:cubicBezTo>
                    <a:cubicBezTo>
                      <a:pt x="42" y="40"/>
                      <a:pt x="42" y="41"/>
                      <a:pt x="42" y="41"/>
                    </a:cubicBezTo>
                    <a:cubicBezTo>
                      <a:pt x="42" y="41"/>
                      <a:pt x="42" y="41"/>
                      <a:pt x="42" y="40"/>
                    </a:cubicBezTo>
                    <a:cubicBezTo>
                      <a:pt x="42" y="40"/>
                      <a:pt x="42" y="40"/>
                      <a:pt x="42" y="40"/>
                    </a:cubicBezTo>
                    <a:close/>
                    <a:moveTo>
                      <a:pt x="41" y="40"/>
                    </a:moveTo>
                    <a:cubicBezTo>
                      <a:pt x="41" y="41"/>
                      <a:pt x="41" y="41"/>
                      <a:pt x="41" y="41"/>
                    </a:cubicBezTo>
                    <a:cubicBezTo>
                      <a:pt x="41" y="41"/>
                      <a:pt x="41" y="41"/>
                      <a:pt x="41" y="41"/>
                    </a:cubicBezTo>
                    <a:cubicBezTo>
                      <a:pt x="41" y="41"/>
                      <a:pt x="41" y="41"/>
                      <a:pt x="41" y="40"/>
                    </a:cubicBezTo>
                    <a:cubicBezTo>
                      <a:pt x="41" y="40"/>
                      <a:pt x="41" y="40"/>
                      <a:pt x="41" y="40"/>
                    </a:cubicBezTo>
                    <a:close/>
                    <a:moveTo>
                      <a:pt x="53" y="42"/>
                    </a:moveTo>
                    <a:cubicBezTo>
                      <a:pt x="53" y="42"/>
                      <a:pt x="54" y="41"/>
                      <a:pt x="54" y="40"/>
                    </a:cubicBezTo>
                    <a:cubicBezTo>
                      <a:pt x="53" y="41"/>
                      <a:pt x="52" y="42"/>
                      <a:pt x="51" y="42"/>
                    </a:cubicBezTo>
                    <a:cubicBezTo>
                      <a:pt x="52" y="42"/>
                      <a:pt x="53" y="42"/>
                      <a:pt x="53" y="42"/>
                    </a:cubicBezTo>
                    <a:cubicBezTo>
                      <a:pt x="53" y="42"/>
                      <a:pt x="53" y="42"/>
                      <a:pt x="53" y="42"/>
                    </a:cubicBezTo>
                    <a:close/>
                    <a:moveTo>
                      <a:pt x="24" y="39"/>
                    </a:moveTo>
                    <a:cubicBezTo>
                      <a:pt x="24" y="39"/>
                      <a:pt x="24" y="38"/>
                      <a:pt x="24" y="38"/>
                    </a:cubicBezTo>
                    <a:cubicBezTo>
                      <a:pt x="27" y="40"/>
                      <a:pt x="29" y="42"/>
                      <a:pt x="31" y="45"/>
                    </a:cubicBezTo>
                    <a:cubicBezTo>
                      <a:pt x="29" y="43"/>
                      <a:pt x="30" y="44"/>
                      <a:pt x="28" y="42"/>
                    </a:cubicBezTo>
                    <a:cubicBezTo>
                      <a:pt x="29" y="43"/>
                      <a:pt x="29" y="43"/>
                      <a:pt x="29" y="44"/>
                    </a:cubicBezTo>
                    <a:cubicBezTo>
                      <a:pt x="25" y="40"/>
                      <a:pt x="27" y="42"/>
                      <a:pt x="24" y="39"/>
                    </a:cubicBezTo>
                    <a:cubicBezTo>
                      <a:pt x="24" y="39"/>
                      <a:pt x="24" y="39"/>
                      <a:pt x="24" y="39"/>
                    </a:cubicBezTo>
                    <a:close/>
                    <a:moveTo>
                      <a:pt x="24" y="39"/>
                    </a:moveTo>
                    <a:cubicBezTo>
                      <a:pt x="24" y="39"/>
                      <a:pt x="24" y="38"/>
                      <a:pt x="24" y="38"/>
                    </a:cubicBezTo>
                    <a:cubicBezTo>
                      <a:pt x="24" y="38"/>
                      <a:pt x="24" y="39"/>
                      <a:pt x="24" y="39"/>
                    </a:cubicBezTo>
                    <a:cubicBezTo>
                      <a:pt x="24" y="39"/>
                      <a:pt x="24" y="39"/>
                      <a:pt x="24" y="39"/>
                    </a:cubicBezTo>
                    <a:cubicBezTo>
                      <a:pt x="24" y="39"/>
                      <a:pt x="24" y="39"/>
                      <a:pt x="24" y="39"/>
                    </a:cubicBezTo>
                    <a:close/>
                    <a:moveTo>
                      <a:pt x="24" y="39"/>
                    </a:moveTo>
                    <a:cubicBezTo>
                      <a:pt x="24" y="39"/>
                      <a:pt x="24" y="39"/>
                      <a:pt x="24" y="39"/>
                    </a:cubicBezTo>
                    <a:cubicBezTo>
                      <a:pt x="25" y="39"/>
                      <a:pt x="25" y="39"/>
                      <a:pt x="25" y="40"/>
                    </a:cubicBezTo>
                    <a:cubicBezTo>
                      <a:pt x="25" y="39"/>
                      <a:pt x="25" y="39"/>
                      <a:pt x="24" y="39"/>
                    </a:cubicBezTo>
                    <a:cubicBezTo>
                      <a:pt x="24" y="39"/>
                      <a:pt x="24" y="39"/>
                      <a:pt x="24" y="39"/>
                    </a:cubicBezTo>
                    <a:close/>
                    <a:moveTo>
                      <a:pt x="46" y="42"/>
                    </a:moveTo>
                    <a:cubicBezTo>
                      <a:pt x="46" y="42"/>
                      <a:pt x="46" y="42"/>
                      <a:pt x="46" y="42"/>
                    </a:cubicBezTo>
                    <a:cubicBezTo>
                      <a:pt x="46" y="42"/>
                      <a:pt x="46" y="43"/>
                      <a:pt x="46" y="43"/>
                    </a:cubicBezTo>
                    <a:cubicBezTo>
                      <a:pt x="47" y="43"/>
                      <a:pt x="47" y="43"/>
                      <a:pt x="47" y="43"/>
                    </a:cubicBezTo>
                    <a:cubicBezTo>
                      <a:pt x="47" y="43"/>
                      <a:pt x="47" y="42"/>
                      <a:pt x="47" y="42"/>
                    </a:cubicBezTo>
                    <a:cubicBezTo>
                      <a:pt x="47" y="42"/>
                      <a:pt x="47" y="42"/>
                      <a:pt x="46" y="42"/>
                    </a:cubicBezTo>
                    <a:cubicBezTo>
                      <a:pt x="46" y="42"/>
                      <a:pt x="46" y="42"/>
                      <a:pt x="46" y="42"/>
                    </a:cubicBezTo>
                    <a:close/>
                    <a:moveTo>
                      <a:pt x="45" y="42"/>
                    </a:moveTo>
                    <a:cubicBezTo>
                      <a:pt x="45" y="42"/>
                      <a:pt x="44" y="42"/>
                      <a:pt x="44" y="42"/>
                    </a:cubicBezTo>
                    <a:cubicBezTo>
                      <a:pt x="44" y="42"/>
                      <a:pt x="44" y="43"/>
                      <a:pt x="44" y="43"/>
                    </a:cubicBezTo>
                    <a:cubicBezTo>
                      <a:pt x="45" y="43"/>
                      <a:pt x="45" y="43"/>
                      <a:pt x="46" y="43"/>
                    </a:cubicBezTo>
                    <a:cubicBezTo>
                      <a:pt x="46" y="43"/>
                      <a:pt x="46" y="42"/>
                      <a:pt x="45" y="42"/>
                    </a:cubicBezTo>
                    <a:cubicBezTo>
                      <a:pt x="45" y="42"/>
                      <a:pt x="45" y="42"/>
                      <a:pt x="45" y="42"/>
                    </a:cubicBezTo>
                    <a:close/>
                    <a:moveTo>
                      <a:pt x="47" y="44"/>
                    </a:moveTo>
                    <a:cubicBezTo>
                      <a:pt x="47" y="44"/>
                      <a:pt x="47" y="44"/>
                      <a:pt x="46" y="44"/>
                    </a:cubicBezTo>
                    <a:cubicBezTo>
                      <a:pt x="47" y="44"/>
                      <a:pt x="47" y="45"/>
                      <a:pt x="48" y="45"/>
                    </a:cubicBezTo>
                    <a:cubicBezTo>
                      <a:pt x="48" y="45"/>
                      <a:pt x="47" y="44"/>
                      <a:pt x="47" y="44"/>
                    </a:cubicBezTo>
                    <a:cubicBezTo>
                      <a:pt x="47" y="44"/>
                      <a:pt x="47" y="44"/>
                      <a:pt x="47" y="44"/>
                    </a:cubicBezTo>
                    <a:close/>
                    <a:moveTo>
                      <a:pt x="44" y="44"/>
                    </a:moveTo>
                    <a:cubicBezTo>
                      <a:pt x="46" y="44"/>
                      <a:pt x="46" y="44"/>
                      <a:pt x="47" y="45"/>
                    </a:cubicBezTo>
                    <a:cubicBezTo>
                      <a:pt x="46" y="45"/>
                      <a:pt x="45" y="44"/>
                      <a:pt x="44" y="44"/>
                    </a:cubicBezTo>
                    <a:cubicBezTo>
                      <a:pt x="44" y="44"/>
                      <a:pt x="44" y="44"/>
                      <a:pt x="44" y="44"/>
                    </a:cubicBezTo>
                    <a:cubicBezTo>
                      <a:pt x="44" y="44"/>
                      <a:pt x="44" y="44"/>
                      <a:pt x="44" y="44"/>
                    </a:cubicBezTo>
                    <a:close/>
                    <a:moveTo>
                      <a:pt x="49" y="45"/>
                    </a:moveTo>
                    <a:cubicBezTo>
                      <a:pt x="49" y="45"/>
                      <a:pt x="49" y="45"/>
                      <a:pt x="48" y="45"/>
                    </a:cubicBezTo>
                    <a:cubicBezTo>
                      <a:pt x="49" y="45"/>
                      <a:pt x="49" y="45"/>
                      <a:pt x="49" y="45"/>
                    </a:cubicBezTo>
                    <a:cubicBezTo>
                      <a:pt x="49" y="45"/>
                      <a:pt x="49" y="45"/>
                      <a:pt x="49" y="45"/>
                    </a:cubicBezTo>
                    <a:cubicBezTo>
                      <a:pt x="49" y="45"/>
                      <a:pt x="49" y="45"/>
                      <a:pt x="49" y="45"/>
                    </a:cubicBezTo>
                    <a:close/>
                    <a:moveTo>
                      <a:pt x="48" y="45"/>
                    </a:moveTo>
                    <a:cubicBezTo>
                      <a:pt x="48" y="45"/>
                      <a:pt x="49" y="45"/>
                      <a:pt x="49" y="46"/>
                    </a:cubicBezTo>
                    <a:cubicBezTo>
                      <a:pt x="48" y="45"/>
                      <a:pt x="48" y="45"/>
                      <a:pt x="48" y="45"/>
                    </a:cubicBezTo>
                    <a:cubicBezTo>
                      <a:pt x="48" y="45"/>
                      <a:pt x="48" y="45"/>
                      <a:pt x="48" y="45"/>
                    </a:cubicBezTo>
                    <a:close/>
                    <a:moveTo>
                      <a:pt x="47" y="45"/>
                    </a:moveTo>
                    <a:cubicBezTo>
                      <a:pt x="46" y="45"/>
                      <a:pt x="45" y="45"/>
                      <a:pt x="44" y="45"/>
                    </a:cubicBezTo>
                    <a:cubicBezTo>
                      <a:pt x="44" y="46"/>
                      <a:pt x="43" y="47"/>
                      <a:pt x="43" y="48"/>
                    </a:cubicBezTo>
                    <a:cubicBezTo>
                      <a:pt x="44" y="48"/>
                      <a:pt x="45" y="52"/>
                      <a:pt x="45" y="53"/>
                    </a:cubicBezTo>
                    <a:cubicBezTo>
                      <a:pt x="46" y="53"/>
                      <a:pt x="46" y="53"/>
                      <a:pt x="47" y="53"/>
                    </a:cubicBezTo>
                    <a:cubicBezTo>
                      <a:pt x="47" y="53"/>
                      <a:pt x="47" y="52"/>
                      <a:pt x="47" y="52"/>
                    </a:cubicBezTo>
                    <a:cubicBezTo>
                      <a:pt x="47" y="52"/>
                      <a:pt x="47" y="52"/>
                      <a:pt x="47" y="52"/>
                    </a:cubicBezTo>
                    <a:cubicBezTo>
                      <a:pt x="48" y="52"/>
                      <a:pt x="48" y="52"/>
                      <a:pt x="48" y="52"/>
                    </a:cubicBezTo>
                    <a:cubicBezTo>
                      <a:pt x="48" y="52"/>
                      <a:pt x="48" y="52"/>
                      <a:pt x="47" y="51"/>
                    </a:cubicBezTo>
                    <a:cubicBezTo>
                      <a:pt x="47" y="52"/>
                      <a:pt x="47" y="52"/>
                      <a:pt x="47" y="52"/>
                    </a:cubicBezTo>
                    <a:cubicBezTo>
                      <a:pt x="47" y="52"/>
                      <a:pt x="47" y="52"/>
                      <a:pt x="47" y="51"/>
                    </a:cubicBezTo>
                    <a:cubicBezTo>
                      <a:pt x="47" y="51"/>
                      <a:pt x="46" y="51"/>
                      <a:pt x="46" y="51"/>
                    </a:cubicBezTo>
                    <a:cubicBezTo>
                      <a:pt x="46" y="51"/>
                      <a:pt x="47" y="51"/>
                      <a:pt x="47" y="51"/>
                    </a:cubicBezTo>
                    <a:cubicBezTo>
                      <a:pt x="48" y="51"/>
                      <a:pt x="48" y="50"/>
                      <a:pt x="49" y="49"/>
                    </a:cubicBezTo>
                    <a:cubicBezTo>
                      <a:pt x="48" y="50"/>
                      <a:pt x="48" y="51"/>
                      <a:pt x="47" y="51"/>
                    </a:cubicBezTo>
                    <a:cubicBezTo>
                      <a:pt x="49" y="52"/>
                      <a:pt x="49" y="52"/>
                      <a:pt x="50" y="51"/>
                    </a:cubicBezTo>
                    <a:cubicBezTo>
                      <a:pt x="50" y="49"/>
                      <a:pt x="49" y="48"/>
                      <a:pt x="49" y="46"/>
                    </a:cubicBezTo>
                    <a:cubicBezTo>
                      <a:pt x="48" y="46"/>
                      <a:pt x="48" y="45"/>
                      <a:pt x="47" y="45"/>
                    </a:cubicBezTo>
                    <a:cubicBezTo>
                      <a:pt x="47" y="45"/>
                      <a:pt x="47" y="45"/>
                      <a:pt x="47" y="45"/>
                    </a:cubicBezTo>
                    <a:close/>
                    <a:moveTo>
                      <a:pt x="49" y="46"/>
                    </a:moveTo>
                    <a:cubicBezTo>
                      <a:pt x="49" y="46"/>
                      <a:pt x="49" y="46"/>
                      <a:pt x="49" y="46"/>
                    </a:cubicBezTo>
                    <a:cubicBezTo>
                      <a:pt x="49" y="46"/>
                      <a:pt x="50" y="46"/>
                      <a:pt x="50" y="47"/>
                    </a:cubicBezTo>
                    <a:cubicBezTo>
                      <a:pt x="50" y="46"/>
                      <a:pt x="49" y="46"/>
                      <a:pt x="49" y="46"/>
                    </a:cubicBezTo>
                    <a:cubicBezTo>
                      <a:pt x="49" y="46"/>
                      <a:pt x="49" y="46"/>
                      <a:pt x="49" y="46"/>
                    </a:cubicBezTo>
                    <a:close/>
                    <a:moveTo>
                      <a:pt x="24" y="43"/>
                    </a:moveTo>
                    <a:cubicBezTo>
                      <a:pt x="23" y="43"/>
                      <a:pt x="23" y="43"/>
                      <a:pt x="22" y="43"/>
                    </a:cubicBezTo>
                    <a:cubicBezTo>
                      <a:pt x="22" y="43"/>
                      <a:pt x="23" y="43"/>
                      <a:pt x="23" y="43"/>
                    </a:cubicBezTo>
                    <a:cubicBezTo>
                      <a:pt x="23" y="43"/>
                      <a:pt x="23" y="43"/>
                      <a:pt x="23" y="43"/>
                    </a:cubicBezTo>
                    <a:cubicBezTo>
                      <a:pt x="23" y="43"/>
                      <a:pt x="23" y="43"/>
                      <a:pt x="23" y="43"/>
                    </a:cubicBezTo>
                    <a:cubicBezTo>
                      <a:pt x="24" y="44"/>
                      <a:pt x="27" y="44"/>
                      <a:pt x="29" y="44"/>
                    </a:cubicBezTo>
                    <a:cubicBezTo>
                      <a:pt x="27" y="42"/>
                      <a:pt x="28" y="43"/>
                      <a:pt x="24" y="43"/>
                    </a:cubicBezTo>
                    <a:cubicBezTo>
                      <a:pt x="24" y="43"/>
                      <a:pt x="24" y="43"/>
                      <a:pt x="24" y="43"/>
                    </a:cubicBezTo>
                    <a:close/>
                    <a:moveTo>
                      <a:pt x="22" y="43"/>
                    </a:moveTo>
                    <a:cubicBezTo>
                      <a:pt x="22" y="43"/>
                      <a:pt x="21" y="43"/>
                      <a:pt x="21" y="43"/>
                    </a:cubicBezTo>
                    <a:cubicBezTo>
                      <a:pt x="21" y="43"/>
                      <a:pt x="22" y="43"/>
                      <a:pt x="22" y="43"/>
                    </a:cubicBezTo>
                    <a:cubicBezTo>
                      <a:pt x="22" y="43"/>
                      <a:pt x="22" y="43"/>
                      <a:pt x="22" y="43"/>
                    </a:cubicBezTo>
                    <a:cubicBezTo>
                      <a:pt x="22" y="43"/>
                      <a:pt x="22" y="43"/>
                      <a:pt x="22" y="43"/>
                    </a:cubicBezTo>
                    <a:close/>
                    <a:moveTo>
                      <a:pt x="67" y="46"/>
                    </a:moveTo>
                    <a:cubicBezTo>
                      <a:pt x="66" y="49"/>
                      <a:pt x="66" y="49"/>
                      <a:pt x="64" y="50"/>
                    </a:cubicBezTo>
                    <a:cubicBezTo>
                      <a:pt x="64" y="50"/>
                      <a:pt x="64" y="50"/>
                      <a:pt x="64" y="50"/>
                    </a:cubicBezTo>
                    <a:cubicBezTo>
                      <a:pt x="64" y="50"/>
                      <a:pt x="66" y="46"/>
                      <a:pt x="67" y="46"/>
                    </a:cubicBezTo>
                    <a:cubicBezTo>
                      <a:pt x="67" y="45"/>
                      <a:pt x="68" y="44"/>
                      <a:pt x="69" y="43"/>
                    </a:cubicBezTo>
                    <a:cubicBezTo>
                      <a:pt x="68" y="44"/>
                      <a:pt x="67" y="45"/>
                      <a:pt x="67" y="46"/>
                    </a:cubicBezTo>
                    <a:cubicBezTo>
                      <a:pt x="67" y="46"/>
                      <a:pt x="67" y="46"/>
                      <a:pt x="67" y="46"/>
                    </a:cubicBezTo>
                    <a:close/>
                    <a:moveTo>
                      <a:pt x="22" y="43"/>
                    </a:moveTo>
                    <a:cubicBezTo>
                      <a:pt x="22" y="43"/>
                      <a:pt x="22" y="43"/>
                      <a:pt x="22" y="43"/>
                    </a:cubicBezTo>
                    <a:cubicBezTo>
                      <a:pt x="22" y="43"/>
                      <a:pt x="22" y="43"/>
                      <a:pt x="23" y="43"/>
                    </a:cubicBezTo>
                    <a:cubicBezTo>
                      <a:pt x="22" y="43"/>
                      <a:pt x="22" y="43"/>
                      <a:pt x="22" y="43"/>
                    </a:cubicBezTo>
                    <a:cubicBezTo>
                      <a:pt x="22" y="43"/>
                      <a:pt x="22" y="43"/>
                      <a:pt x="22" y="43"/>
                    </a:cubicBezTo>
                    <a:close/>
                    <a:moveTo>
                      <a:pt x="29" y="44"/>
                    </a:moveTo>
                    <a:cubicBezTo>
                      <a:pt x="27" y="44"/>
                      <a:pt x="26" y="44"/>
                      <a:pt x="24" y="44"/>
                    </a:cubicBezTo>
                    <a:cubicBezTo>
                      <a:pt x="26" y="45"/>
                      <a:pt x="29" y="46"/>
                      <a:pt x="31" y="47"/>
                    </a:cubicBezTo>
                    <a:cubicBezTo>
                      <a:pt x="31" y="47"/>
                      <a:pt x="31" y="47"/>
                      <a:pt x="31" y="47"/>
                    </a:cubicBezTo>
                    <a:cubicBezTo>
                      <a:pt x="31" y="46"/>
                      <a:pt x="30" y="45"/>
                      <a:pt x="29" y="44"/>
                    </a:cubicBezTo>
                    <a:cubicBezTo>
                      <a:pt x="29" y="44"/>
                      <a:pt x="29" y="44"/>
                      <a:pt x="29" y="44"/>
                    </a:cubicBezTo>
                    <a:close/>
                    <a:moveTo>
                      <a:pt x="23" y="44"/>
                    </a:moveTo>
                    <a:cubicBezTo>
                      <a:pt x="23" y="44"/>
                      <a:pt x="23" y="44"/>
                      <a:pt x="23" y="44"/>
                    </a:cubicBezTo>
                    <a:cubicBezTo>
                      <a:pt x="23" y="44"/>
                      <a:pt x="24" y="45"/>
                      <a:pt x="24" y="45"/>
                    </a:cubicBezTo>
                    <a:cubicBezTo>
                      <a:pt x="26" y="46"/>
                      <a:pt x="27" y="47"/>
                      <a:pt x="29" y="48"/>
                    </a:cubicBezTo>
                    <a:cubicBezTo>
                      <a:pt x="29" y="48"/>
                      <a:pt x="30" y="48"/>
                      <a:pt x="31" y="49"/>
                    </a:cubicBezTo>
                    <a:cubicBezTo>
                      <a:pt x="31" y="48"/>
                      <a:pt x="31" y="48"/>
                      <a:pt x="31" y="48"/>
                    </a:cubicBezTo>
                    <a:cubicBezTo>
                      <a:pt x="28" y="46"/>
                      <a:pt x="26" y="45"/>
                      <a:pt x="23" y="44"/>
                    </a:cubicBezTo>
                    <a:cubicBezTo>
                      <a:pt x="23" y="44"/>
                      <a:pt x="23" y="44"/>
                      <a:pt x="23" y="44"/>
                    </a:cubicBezTo>
                    <a:close/>
                    <a:moveTo>
                      <a:pt x="22" y="43"/>
                    </a:moveTo>
                    <a:cubicBezTo>
                      <a:pt x="22" y="43"/>
                      <a:pt x="22" y="43"/>
                      <a:pt x="22" y="43"/>
                    </a:cubicBezTo>
                    <a:cubicBezTo>
                      <a:pt x="22" y="44"/>
                      <a:pt x="22" y="44"/>
                      <a:pt x="22" y="44"/>
                    </a:cubicBezTo>
                    <a:cubicBezTo>
                      <a:pt x="22" y="44"/>
                      <a:pt x="22" y="43"/>
                      <a:pt x="22" y="43"/>
                    </a:cubicBezTo>
                    <a:cubicBezTo>
                      <a:pt x="22" y="43"/>
                      <a:pt x="22" y="43"/>
                      <a:pt x="22" y="43"/>
                    </a:cubicBezTo>
                    <a:close/>
                    <a:moveTo>
                      <a:pt x="23" y="43"/>
                    </a:moveTo>
                    <a:cubicBezTo>
                      <a:pt x="23" y="43"/>
                      <a:pt x="22" y="43"/>
                      <a:pt x="22" y="43"/>
                    </a:cubicBezTo>
                    <a:cubicBezTo>
                      <a:pt x="22" y="44"/>
                      <a:pt x="23" y="44"/>
                      <a:pt x="24" y="45"/>
                    </a:cubicBezTo>
                    <a:cubicBezTo>
                      <a:pt x="23" y="44"/>
                      <a:pt x="23" y="44"/>
                      <a:pt x="23" y="43"/>
                    </a:cubicBezTo>
                    <a:cubicBezTo>
                      <a:pt x="23" y="43"/>
                      <a:pt x="23" y="43"/>
                      <a:pt x="23" y="43"/>
                    </a:cubicBezTo>
                    <a:cubicBezTo>
                      <a:pt x="23" y="43"/>
                      <a:pt x="23" y="43"/>
                      <a:pt x="23" y="43"/>
                    </a:cubicBezTo>
                    <a:close/>
                    <a:moveTo>
                      <a:pt x="52" y="47"/>
                    </a:moveTo>
                    <a:cubicBezTo>
                      <a:pt x="51" y="47"/>
                      <a:pt x="50" y="47"/>
                      <a:pt x="49" y="46"/>
                    </a:cubicBezTo>
                    <a:cubicBezTo>
                      <a:pt x="49" y="48"/>
                      <a:pt x="50" y="49"/>
                      <a:pt x="50" y="51"/>
                    </a:cubicBezTo>
                    <a:cubicBezTo>
                      <a:pt x="51" y="50"/>
                      <a:pt x="51" y="49"/>
                      <a:pt x="52" y="48"/>
                    </a:cubicBezTo>
                    <a:cubicBezTo>
                      <a:pt x="52" y="48"/>
                      <a:pt x="52" y="48"/>
                      <a:pt x="52" y="47"/>
                    </a:cubicBezTo>
                    <a:cubicBezTo>
                      <a:pt x="52" y="47"/>
                      <a:pt x="52" y="47"/>
                      <a:pt x="52" y="47"/>
                    </a:cubicBezTo>
                    <a:close/>
                    <a:moveTo>
                      <a:pt x="52" y="48"/>
                    </a:moveTo>
                    <a:cubicBezTo>
                      <a:pt x="52" y="48"/>
                      <a:pt x="52" y="48"/>
                      <a:pt x="52" y="48"/>
                    </a:cubicBezTo>
                    <a:cubicBezTo>
                      <a:pt x="52" y="48"/>
                      <a:pt x="52" y="48"/>
                      <a:pt x="52" y="48"/>
                    </a:cubicBezTo>
                    <a:cubicBezTo>
                      <a:pt x="52" y="48"/>
                      <a:pt x="52" y="48"/>
                      <a:pt x="52" y="48"/>
                    </a:cubicBezTo>
                    <a:cubicBezTo>
                      <a:pt x="52" y="48"/>
                      <a:pt x="52" y="48"/>
                      <a:pt x="52" y="48"/>
                    </a:cubicBezTo>
                    <a:close/>
                    <a:moveTo>
                      <a:pt x="52" y="48"/>
                    </a:moveTo>
                    <a:cubicBezTo>
                      <a:pt x="52" y="48"/>
                      <a:pt x="52" y="48"/>
                      <a:pt x="52" y="48"/>
                    </a:cubicBezTo>
                    <a:cubicBezTo>
                      <a:pt x="53" y="48"/>
                      <a:pt x="53" y="48"/>
                      <a:pt x="53" y="49"/>
                    </a:cubicBezTo>
                    <a:cubicBezTo>
                      <a:pt x="53" y="48"/>
                      <a:pt x="53" y="48"/>
                      <a:pt x="52" y="48"/>
                    </a:cubicBezTo>
                    <a:cubicBezTo>
                      <a:pt x="53" y="48"/>
                      <a:pt x="54" y="49"/>
                      <a:pt x="54" y="49"/>
                    </a:cubicBezTo>
                    <a:cubicBezTo>
                      <a:pt x="53" y="50"/>
                      <a:pt x="52" y="50"/>
                      <a:pt x="50" y="51"/>
                    </a:cubicBezTo>
                    <a:cubicBezTo>
                      <a:pt x="51" y="50"/>
                      <a:pt x="51" y="49"/>
                      <a:pt x="52" y="48"/>
                    </a:cubicBezTo>
                    <a:cubicBezTo>
                      <a:pt x="52" y="48"/>
                      <a:pt x="52" y="48"/>
                      <a:pt x="52" y="48"/>
                    </a:cubicBezTo>
                    <a:close/>
                    <a:moveTo>
                      <a:pt x="31" y="47"/>
                    </a:moveTo>
                    <a:cubicBezTo>
                      <a:pt x="31" y="46"/>
                      <a:pt x="31" y="46"/>
                      <a:pt x="30" y="45"/>
                    </a:cubicBezTo>
                    <a:cubicBezTo>
                      <a:pt x="32" y="46"/>
                      <a:pt x="33" y="46"/>
                      <a:pt x="35" y="47"/>
                    </a:cubicBezTo>
                    <a:cubicBezTo>
                      <a:pt x="34" y="47"/>
                      <a:pt x="33" y="47"/>
                      <a:pt x="33" y="47"/>
                    </a:cubicBezTo>
                    <a:cubicBezTo>
                      <a:pt x="33" y="47"/>
                      <a:pt x="33" y="47"/>
                      <a:pt x="33" y="47"/>
                    </a:cubicBezTo>
                    <a:cubicBezTo>
                      <a:pt x="37" y="48"/>
                      <a:pt x="35" y="47"/>
                      <a:pt x="38" y="48"/>
                    </a:cubicBezTo>
                    <a:cubicBezTo>
                      <a:pt x="38" y="48"/>
                      <a:pt x="39" y="48"/>
                      <a:pt x="39" y="48"/>
                    </a:cubicBezTo>
                    <a:cubicBezTo>
                      <a:pt x="39" y="49"/>
                      <a:pt x="38" y="50"/>
                      <a:pt x="38" y="50"/>
                    </a:cubicBezTo>
                    <a:cubicBezTo>
                      <a:pt x="37" y="50"/>
                      <a:pt x="35" y="50"/>
                      <a:pt x="34" y="50"/>
                    </a:cubicBezTo>
                    <a:cubicBezTo>
                      <a:pt x="33" y="49"/>
                      <a:pt x="33" y="49"/>
                      <a:pt x="32" y="48"/>
                    </a:cubicBezTo>
                    <a:cubicBezTo>
                      <a:pt x="32" y="48"/>
                      <a:pt x="32" y="47"/>
                      <a:pt x="31" y="47"/>
                    </a:cubicBezTo>
                    <a:cubicBezTo>
                      <a:pt x="31" y="47"/>
                      <a:pt x="31" y="47"/>
                      <a:pt x="31" y="47"/>
                    </a:cubicBezTo>
                    <a:cubicBezTo>
                      <a:pt x="31" y="47"/>
                      <a:pt x="31" y="47"/>
                      <a:pt x="31" y="47"/>
                    </a:cubicBezTo>
                    <a:cubicBezTo>
                      <a:pt x="31" y="47"/>
                      <a:pt x="31" y="47"/>
                      <a:pt x="31" y="47"/>
                    </a:cubicBezTo>
                    <a:close/>
                    <a:moveTo>
                      <a:pt x="25" y="46"/>
                    </a:moveTo>
                    <a:cubicBezTo>
                      <a:pt x="25" y="46"/>
                      <a:pt x="25" y="46"/>
                      <a:pt x="25" y="46"/>
                    </a:cubicBezTo>
                    <a:cubicBezTo>
                      <a:pt x="25" y="46"/>
                      <a:pt x="25" y="46"/>
                      <a:pt x="25" y="46"/>
                    </a:cubicBezTo>
                    <a:cubicBezTo>
                      <a:pt x="25" y="46"/>
                      <a:pt x="25" y="46"/>
                      <a:pt x="25" y="46"/>
                    </a:cubicBezTo>
                    <a:cubicBezTo>
                      <a:pt x="25" y="46"/>
                      <a:pt x="25" y="46"/>
                      <a:pt x="25" y="46"/>
                    </a:cubicBezTo>
                    <a:close/>
                    <a:moveTo>
                      <a:pt x="39" y="48"/>
                    </a:moveTo>
                    <a:cubicBezTo>
                      <a:pt x="40" y="48"/>
                      <a:pt x="40" y="49"/>
                      <a:pt x="41" y="49"/>
                    </a:cubicBezTo>
                    <a:cubicBezTo>
                      <a:pt x="41" y="50"/>
                      <a:pt x="41" y="50"/>
                      <a:pt x="41" y="50"/>
                    </a:cubicBezTo>
                    <a:cubicBezTo>
                      <a:pt x="40" y="50"/>
                      <a:pt x="39" y="50"/>
                      <a:pt x="38" y="50"/>
                    </a:cubicBezTo>
                    <a:cubicBezTo>
                      <a:pt x="38" y="50"/>
                      <a:pt x="39" y="49"/>
                      <a:pt x="39" y="48"/>
                    </a:cubicBezTo>
                    <a:cubicBezTo>
                      <a:pt x="39" y="48"/>
                      <a:pt x="39" y="48"/>
                      <a:pt x="39" y="48"/>
                    </a:cubicBezTo>
                    <a:close/>
                    <a:moveTo>
                      <a:pt x="25" y="46"/>
                    </a:moveTo>
                    <a:cubicBezTo>
                      <a:pt x="26" y="47"/>
                      <a:pt x="27" y="47"/>
                      <a:pt x="28" y="48"/>
                    </a:cubicBezTo>
                    <a:cubicBezTo>
                      <a:pt x="27" y="48"/>
                      <a:pt x="26" y="48"/>
                      <a:pt x="26" y="48"/>
                    </a:cubicBezTo>
                    <a:cubicBezTo>
                      <a:pt x="25" y="48"/>
                      <a:pt x="25" y="47"/>
                      <a:pt x="25" y="47"/>
                    </a:cubicBezTo>
                    <a:cubicBezTo>
                      <a:pt x="25" y="47"/>
                      <a:pt x="25" y="47"/>
                      <a:pt x="25" y="46"/>
                    </a:cubicBezTo>
                    <a:cubicBezTo>
                      <a:pt x="25" y="46"/>
                      <a:pt x="25" y="46"/>
                      <a:pt x="25" y="46"/>
                    </a:cubicBezTo>
                    <a:close/>
                    <a:moveTo>
                      <a:pt x="31" y="48"/>
                    </a:moveTo>
                    <a:cubicBezTo>
                      <a:pt x="31" y="47"/>
                      <a:pt x="31" y="47"/>
                      <a:pt x="31" y="47"/>
                    </a:cubicBezTo>
                    <a:cubicBezTo>
                      <a:pt x="31" y="47"/>
                      <a:pt x="32" y="48"/>
                      <a:pt x="32" y="48"/>
                    </a:cubicBezTo>
                    <a:cubicBezTo>
                      <a:pt x="31" y="48"/>
                      <a:pt x="31" y="48"/>
                      <a:pt x="31" y="48"/>
                    </a:cubicBezTo>
                    <a:cubicBezTo>
                      <a:pt x="31" y="48"/>
                      <a:pt x="31" y="48"/>
                      <a:pt x="31" y="48"/>
                    </a:cubicBezTo>
                    <a:close/>
                    <a:moveTo>
                      <a:pt x="31" y="48"/>
                    </a:moveTo>
                    <a:cubicBezTo>
                      <a:pt x="32" y="48"/>
                      <a:pt x="32" y="48"/>
                      <a:pt x="32" y="49"/>
                    </a:cubicBezTo>
                    <a:cubicBezTo>
                      <a:pt x="32" y="49"/>
                      <a:pt x="31" y="49"/>
                      <a:pt x="31" y="49"/>
                    </a:cubicBezTo>
                    <a:cubicBezTo>
                      <a:pt x="31" y="48"/>
                      <a:pt x="31" y="48"/>
                      <a:pt x="31" y="48"/>
                    </a:cubicBezTo>
                    <a:cubicBezTo>
                      <a:pt x="31" y="48"/>
                      <a:pt x="31" y="48"/>
                      <a:pt x="31" y="48"/>
                    </a:cubicBezTo>
                    <a:close/>
                    <a:moveTo>
                      <a:pt x="29" y="49"/>
                    </a:moveTo>
                    <a:cubicBezTo>
                      <a:pt x="27" y="48"/>
                      <a:pt x="27" y="48"/>
                      <a:pt x="26" y="48"/>
                    </a:cubicBezTo>
                    <a:cubicBezTo>
                      <a:pt x="26" y="48"/>
                      <a:pt x="26" y="48"/>
                      <a:pt x="26" y="48"/>
                    </a:cubicBezTo>
                    <a:cubicBezTo>
                      <a:pt x="27" y="49"/>
                      <a:pt x="28" y="49"/>
                      <a:pt x="29" y="49"/>
                    </a:cubicBezTo>
                    <a:cubicBezTo>
                      <a:pt x="29" y="49"/>
                      <a:pt x="29" y="49"/>
                      <a:pt x="29" y="49"/>
                    </a:cubicBezTo>
                    <a:close/>
                    <a:moveTo>
                      <a:pt x="43" y="49"/>
                    </a:moveTo>
                    <a:cubicBezTo>
                      <a:pt x="43" y="51"/>
                      <a:pt x="43" y="51"/>
                      <a:pt x="44" y="53"/>
                    </a:cubicBezTo>
                    <a:cubicBezTo>
                      <a:pt x="44" y="53"/>
                      <a:pt x="45" y="53"/>
                      <a:pt x="45" y="53"/>
                    </a:cubicBezTo>
                    <a:cubicBezTo>
                      <a:pt x="44" y="51"/>
                      <a:pt x="44" y="50"/>
                      <a:pt x="43" y="48"/>
                    </a:cubicBezTo>
                    <a:cubicBezTo>
                      <a:pt x="43" y="48"/>
                      <a:pt x="43" y="49"/>
                      <a:pt x="43" y="49"/>
                    </a:cubicBezTo>
                    <a:cubicBezTo>
                      <a:pt x="43" y="49"/>
                      <a:pt x="43" y="49"/>
                      <a:pt x="43" y="49"/>
                    </a:cubicBezTo>
                    <a:close/>
                    <a:moveTo>
                      <a:pt x="32" y="49"/>
                    </a:moveTo>
                    <a:cubicBezTo>
                      <a:pt x="32" y="49"/>
                      <a:pt x="32" y="49"/>
                      <a:pt x="32" y="48"/>
                    </a:cubicBezTo>
                    <a:cubicBezTo>
                      <a:pt x="33" y="49"/>
                      <a:pt x="33" y="49"/>
                      <a:pt x="34" y="50"/>
                    </a:cubicBezTo>
                    <a:cubicBezTo>
                      <a:pt x="33" y="49"/>
                      <a:pt x="33" y="49"/>
                      <a:pt x="32" y="49"/>
                    </a:cubicBezTo>
                    <a:cubicBezTo>
                      <a:pt x="32" y="49"/>
                      <a:pt x="32" y="49"/>
                      <a:pt x="32" y="49"/>
                    </a:cubicBezTo>
                    <a:close/>
                    <a:moveTo>
                      <a:pt x="26" y="49"/>
                    </a:moveTo>
                    <a:cubicBezTo>
                      <a:pt x="27" y="49"/>
                      <a:pt x="29" y="49"/>
                      <a:pt x="30" y="49"/>
                    </a:cubicBezTo>
                    <a:cubicBezTo>
                      <a:pt x="30" y="50"/>
                      <a:pt x="30" y="51"/>
                      <a:pt x="30" y="51"/>
                    </a:cubicBezTo>
                    <a:cubicBezTo>
                      <a:pt x="29" y="51"/>
                      <a:pt x="29" y="51"/>
                      <a:pt x="29" y="51"/>
                    </a:cubicBezTo>
                    <a:cubicBezTo>
                      <a:pt x="29" y="51"/>
                      <a:pt x="30" y="51"/>
                      <a:pt x="30" y="51"/>
                    </a:cubicBezTo>
                    <a:cubicBezTo>
                      <a:pt x="29" y="51"/>
                      <a:pt x="29" y="51"/>
                      <a:pt x="28" y="52"/>
                    </a:cubicBezTo>
                    <a:cubicBezTo>
                      <a:pt x="28" y="51"/>
                      <a:pt x="28" y="51"/>
                      <a:pt x="28" y="51"/>
                    </a:cubicBezTo>
                    <a:cubicBezTo>
                      <a:pt x="28" y="51"/>
                      <a:pt x="28" y="51"/>
                      <a:pt x="28" y="52"/>
                    </a:cubicBezTo>
                    <a:cubicBezTo>
                      <a:pt x="28" y="52"/>
                      <a:pt x="28" y="52"/>
                      <a:pt x="28" y="52"/>
                    </a:cubicBezTo>
                    <a:cubicBezTo>
                      <a:pt x="26" y="51"/>
                      <a:pt x="26" y="50"/>
                      <a:pt x="26" y="49"/>
                    </a:cubicBezTo>
                    <a:cubicBezTo>
                      <a:pt x="26" y="49"/>
                      <a:pt x="26" y="49"/>
                      <a:pt x="26" y="49"/>
                    </a:cubicBezTo>
                    <a:close/>
                    <a:moveTo>
                      <a:pt x="25" y="49"/>
                    </a:moveTo>
                    <a:cubicBezTo>
                      <a:pt x="25" y="48"/>
                      <a:pt x="25" y="48"/>
                      <a:pt x="25" y="48"/>
                    </a:cubicBezTo>
                    <a:cubicBezTo>
                      <a:pt x="25" y="49"/>
                      <a:pt x="25" y="49"/>
                      <a:pt x="26" y="49"/>
                    </a:cubicBezTo>
                    <a:cubicBezTo>
                      <a:pt x="25" y="49"/>
                      <a:pt x="25" y="49"/>
                      <a:pt x="25" y="49"/>
                    </a:cubicBezTo>
                    <a:cubicBezTo>
                      <a:pt x="25" y="49"/>
                      <a:pt x="25" y="49"/>
                      <a:pt x="25" y="49"/>
                    </a:cubicBezTo>
                    <a:close/>
                    <a:moveTo>
                      <a:pt x="24" y="49"/>
                    </a:moveTo>
                    <a:cubicBezTo>
                      <a:pt x="26" y="48"/>
                      <a:pt x="26" y="49"/>
                      <a:pt x="26" y="50"/>
                    </a:cubicBezTo>
                    <a:cubicBezTo>
                      <a:pt x="26" y="50"/>
                      <a:pt x="25" y="49"/>
                      <a:pt x="24" y="49"/>
                    </a:cubicBezTo>
                    <a:cubicBezTo>
                      <a:pt x="24" y="49"/>
                      <a:pt x="24" y="49"/>
                      <a:pt x="24" y="49"/>
                    </a:cubicBezTo>
                    <a:close/>
                    <a:moveTo>
                      <a:pt x="59" y="53"/>
                    </a:moveTo>
                    <a:cubicBezTo>
                      <a:pt x="59" y="53"/>
                      <a:pt x="59" y="53"/>
                      <a:pt x="59" y="53"/>
                    </a:cubicBezTo>
                    <a:cubicBezTo>
                      <a:pt x="59" y="53"/>
                      <a:pt x="59" y="53"/>
                      <a:pt x="58" y="53"/>
                    </a:cubicBezTo>
                    <a:cubicBezTo>
                      <a:pt x="58" y="53"/>
                      <a:pt x="59" y="53"/>
                      <a:pt x="59" y="53"/>
                    </a:cubicBezTo>
                    <a:cubicBezTo>
                      <a:pt x="59" y="53"/>
                      <a:pt x="59" y="53"/>
                      <a:pt x="59" y="53"/>
                    </a:cubicBezTo>
                    <a:close/>
                    <a:moveTo>
                      <a:pt x="39" y="51"/>
                    </a:moveTo>
                    <a:cubicBezTo>
                      <a:pt x="40" y="51"/>
                      <a:pt x="40" y="51"/>
                      <a:pt x="41" y="51"/>
                    </a:cubicBezTo>
                    <a:cubicBezTo>
                      <a:pt x="41" y="52"/>
                      <a:pt x="41" y="53"/>
                      <a:pt x="40" y="55"/>
                    </a:cubicBezTo>
                    <a:cubicBezTo>
                      <a:pt x="40" y="54"/>
                      <a:pt x="40" y="54"/>
                      <a:pt x="40" y="54"/>
                    </a:cubicBezTo>
                    <a:cubicBezTo>
                      <a:pt x="40" y="54"/>
                      <a:pt x="40" y="54"/>
                      <a:pt x="40" y="55"/>
                    </a:cubicBezTo>
                    <a:cubicBezTo>
                      <a:pt x="39" y="55"/>
                      <a:pt x="38" y="55"/>
                      <a:pt x="37" y="56"/>
                    </a:cubicBezTo>
                    <a:cubicBezTo>
                      <a:pt x="40" y="55"/>
                      <a:pt x="40" y="55"/>
                      <a:pt x="40" y="55"/>
                    </a:cubicBezTo>
                    <a:cubicBezTo>
                      <a:pt x="40" y="56"/>
                      <a:pt x="40" y="58"/>
                      <a:pt x="40" y="59"/>
                    </a:cubicBezTo>
                    <a:cubicBezTo>
                      <a:pt x="38" y="59"/>
                      <a:pt x="37" y="59"/>
                      <a:pt x="35" y="59"/>
                    </a:cubicBezTo>
                    <a:cubicBezTo>
                      <a:pt x="35" y="59"/>
                      <a:pt x="35" y="58"/>
                      <a:pt x="35" y="58"/>
                    </a:cubicBezTo>
                    <a:cubicBezTo>
                      <a:pt x="35" y="57"/>
                      <a:pt x="35" y="55"/>
                      <a:pt x="36" y="54"/>
                    </a:cubicBezTo>
                    <a:cubicBezTo>
                      <a:pt x="35" y="55"/>
                      <a:pt x="35" y="58"/>
                      <a:pt x="35" y="59"/>
                    </a:cubicBezTo>
                    <a:cubicBezTo>
                      <a:pt x="34" y="58"/>
                      <a:pt x="33" y="57"/>
                      <a:pt x="33" y="56"/>
                    </a:cubicBezTo>
                    <a:cubicBezTo>
                      <a:pt x="35" y="55"/>
                      <a:pt x="37" y="53"/>
                      <a:pt x="39" y="51"/>
                    </a:cubicBezTo>
                    <a:cubicBezTo>
                      <a:pt x="39" y="51"/>
                      <a:pt x="39" y="51"/>
                      <a:pt x="39" y="51"/>
                    </a:cubicBezTo>
                    <a:close/>
                    <a:moveTo>
                      <a:pt x="57" y="54"/>
                    </a:moveTo>
                    <a:cubicBezTo>
                      <a:pt x="58" y="54"/>
                      <a:pt x="59" y="54"/>
                      <a:pt x="60" y="53"/>
                    </a:cubicBezTo>
                    <a:cubicBezTo>
                      <a:pt x="60" y="53"/>
                      <a:pt x="68" y="57"/>
                      <a:pt x="70" y="58"/>
                    </a:cubicBezTo>
                    <a:cubicBezTo>
                      <a:pt x="69" y="59"/>
                      <a:pt x="69" y="59"/>
                      <a:pt x="68" y="60"/>
                    </a:cubicBezTo>
                    <a:cubicBezTo>
                      <a:pt x="68" y="60"/>
                      <a:pt x="68" y="60"/>
                      <a:pt x="68" y="60"/>
                    </a:cubicBezTo>
                    <a:cubicBezTo>
                      <a:pt x="66" y="61"/>
                      <a:pt x="66" y="61"/>
                      <a:pt x="66" y="61"/>
                    </a:cubicBezTo>
                    <a:cubicBezTo>
                      <a:pt x="66" y="61"/>
                      <a:pt x="66" y="60"/>
                      <a:pt x="67" y="60"/>
                    </a:cubicBezTo>
                    <a:cubicBezTo>
                      <a:pt x="67" y="60"/>
                      <a:pt x="67" y="60"/>
                      <a:pt x="67" y="59"/>
                    </a:cubicBezTo>
                    <a:cubicBezTo>
                      <a:pt x="67" y="59"/>
                      <a:pt x="67" y="59"/>
                      <a:pt x="67" y="60"/>
                    </a:cubicBezTo>
                    <a:cubicBezTo>
                      <a:pt x="67" y="59"/>
                      <a:pt x="67" y="58"/>
                      <a:pt x="67" y="58"/>
                    </a:cubicBezTo>
                    <a:cubicBezTo>
                      <a:pt x="66" y="61"/>
                      <a:pt x="67" y="59"/>
                      <a:pt x="64" y="61"/>
                    </a:cubicBezTo>
                    <a:cubicBezTo>
                      <a:pt x="60" y="63"/>
                      <a:pt x="63" y="63"/>
                      <a:pt x="57" y="64"/>
                    </a:cubicBezTo>
                    <a:cubicBezTo>
                      <a:pt x="59" y="62"/>
                      <a:pt x="59" y="61"/>
                      <a:pt x="59" y="60"/>
                    </a:cubicBezTo>
                    <a:cubicBezTo>
                      <a:pt x="59" y="61"/>
                      <a:pt x="59" y="61"/>
                      <a:pt x="58" y="62"/>
                    </a:cubicBezTo>
                    <a:cubicBezTo>
                      <a:pt x="58" y="63"/>
                      <a:pt x="58" y="63"/>
                      <a:pt x="57" y="64"/>
                    </a:cubicBezTo>
                    <a:cubicBezTo>
                      <a:pt x="56" y="64"/>
                      <a:pt x="55" y="64"/>
                      <a:pt x="54" y="65"/>
                    </a:cubicBezTo>
                    <a:cubicBezTo>
                      <a:pt x="54" y="65"/>
                      <a:pt x="46" y="61"/>
                      <a:pt x="45" y="60"/>
                    </a:cubicBezTo>
                    <a:cubicBezTo>
                      <a:pt x="45" y="60"/>
                      <a:pt x="45" y="60"/>
                      <a:pt x="45" y="60"/>
                    </a:cubicBezTo>
                    <a:cubicBezTo>
                      <a:pt x="45" y="59"/>
                      <a:pt x="45" y="59"/>
                      <a:pt x="45" y="59"/>
                    </a:cubicBezTo>
                    <a:cubicBezTo>
                      <a:pt x="46" y="59"/>
                      <a:pt x="50" y="59"/>
                      <a:pt x="51" y="59"/>
                    </a:cubicBezTo>
                    <a:cubicBezTo>
                      <a:pt x="52" y="59"/>
                      <a:pt x="53" y="60"/>
                      <a:pt x="54" y="60"/>
                    </a:cubicBezTo>
                    <a:cubicBezTo>
                      <a:pt x="55" y="61"/>
                      <a:pt x="56" y="62"/>
                      <a:pt x="58" y="62"/>
                    </a:cubicBezTo>
                    <a:cubicBezTo>
                      <a:pt x="56" y="61"/>
                      <a:pt x="53" y="60"/>
                      <a:pt x="51" y="59"/>
                    </a:cubicBezTo>
                    <a:cubicBezTo>
                      <a:pt x="52" y="59"/>
                      <a:pt x="52" y="59"/>
                      <a:pt x="53" y="59"/>
                    </a:cubicBezTo>
                    <a:cubicBezTo>
                      <a:pt x="50" y="59"/>
                      <a:pt x="51" y="59"/>
                      <a:pt x="49" y="57"/>
                    </a:cubicBezTo>
                    <a:cubicBezTo>
                      <a:pt x="49" y="57"/>
                      <a:pt x="52" y="57"/>
                      <a:pt x="52" y="57"/>
                    </a:cubicBezTo>
                    <a:cubicBezTo>
                      <a:pt x="51" y="57"/>
                      <a:pt x="50" y="57"/>
                      <a:pt x="49" y="57"/>
                    </a:cubicBezTo>
                    <a:cubicBezTo>
                      <a:pt x="48" y="57"/>
                      <a:pt x="48" y="57"/>
                      <a:pt x="47" y="56"/>
                    </a:cubicBezTo>
                    <a:cubicBezTo>
                      <a:pt x="47" y="56"/>
                      <a:pt x="48" y="56"/>
                      <a:pt x="49" y="56"/>
                    </a:cubicBezTo>
                    <a:cubicBezTo>
                      <a:pt x="56" y="57"/>
                      <a:pt x="60" y="58"/>
                      <a:pt x="61" y="58"/>
                    </a:cubicBezTo>
                    <a:cubicBezTo>
                      <a:pt x="57" y="57"/>
                      <a:pt x="53" y="56"/>
                      <a:pt x="50" y="55"/>
                    </a:cubicBezTo>
                    <a:cubicBezTo>
                      <a:pt x="51" y="55"/>
                      <a:pt x="51" y="55"/>
                      <a:pt x="52" y="56"/>
                    </a:cubicBezTo>
                    <a:cubicBezTo>
                      <a:pt x="52" y="56"/>
                      <a:pt x="52" y="55"/>
                      <a:pt x="51" y="55"/>
                    </a:cubicBezTo>
                    <a:cubicBezTo>
                      <a:pt x="52" y="55"/>
                      <a:pt x="53" y="55"/>
                      <a:pt x="53" y="55"/>
                    </a:cubicBezTo>
                    <a:cubicBezTo>
                      <a:pt x="55" y="55"/>
                      <a:pt x="56" y="56"/>
                      <a:pt x="58" y="56"/>
                    </a:cubicBezTo>
                    <a:cubicBezTo>
                      <a:pt x="58" y="56"/>
                      <a:pt x="58" y="56"/>
                      <a:pt x="58" y="56"/>
                    </a:cubicBezTo>
                    <a:cubicBezTo>
                      <a:pt x="57" y="56"/>
                      <a:pt x="55" y="55"/>
                      <a:pt x="54" y="55"/>
                    </a:cubicBezTo>
                    <a:cubicBezTo>
                      <a:pt x="55" y="54"/>
                      <a:pt x="56" y="54"/>
                      <a:pt x="57" y="54"/>
                    </a:cubicBezTo>
                    <a:cubicBezTo>
                      <a:pt x="57" y="54"/>
                      <a:pt x="57" y="54"/>
                      <a:pt x="57" y="54"/>
                    </a:cubicBezTo>
                    <a:close/>
                    <a:moveTo>
                      <a:pt x="30" y="49"/>
                    </a:moveTo>
                    <a:cubicBezTo>
                      <a:pt x="32" y="50"/>
                      <a:pt x="33" y="50"/>
                      <a:pt x="35" y="51"/>
                    </a:cubicBezTo>
                    <a:cubicBezTo>
                      <a:pt x="33" y="51"/>
                      <a:pt x="31" y="51"/>
                      <a:pt x="30" y="51"/>
                    </a:cubicBezTo>
                    <a:cubicBezTo>
                      <a:pt x="30" y="51"/>
                      <a:pt x="30" y="50"/>
                      <a:pt x="30" y="49"/>
                    </a:cubicBezTo>
                    <a:cubicBezTo>
                      <a:pt x="30" y="49"/>
                      <a:pt x="30" y="49"/>
                      <a:pt x="30" y="49"/>
                    </a:cubicBezTo>
                    <a:close/>
                    <a:moveTo>
                      <a:pt x="37" y="51"/>
                    </a:moveTo>
                    <a:cubicBezTo>
                      <a:pt x="37" y="51"/>
                      <a:pt x="36" y="51"/>
                      <a:pt x="36" y="51"/>
                    </a:cubicBezTo>
                    <a:cubicBezTo>
                      <a:pt x="34" y="51"/>
                      <a:pt x="32" y="51"/>
                      <a:pt x="30" y="51"/>
                    </a:cubicBezTo>
                    <a:cubicBezTo>
                      <a:pt x="30" y="52"/>
                      <a:pt x="29" y="52"/>
                      <a:pt x="29" y="53"/>
                    </a:cubicBezTo>
                    <a:cubicBezTo>
                      <a:pt x="30" y="54"/>
                      <a:pt x="31" y="55"/>
                      <a:pt x="32" y="56"/>
                    </a:cubicBezTo>
                    <a:cubicBezTo>
                      <a:pt x="34" y="55"/>
                      <a:pt x="36" y="53"/>
                      <a:pt x="37" y="51"/>
                    </a:cubicBezTo>
                    <a:cubicBezTo>
                      <a:pt x="37" y="51"/>
                      <a:pt x="37" y="51"/>
                      <a:pt x="37" y="51"/>
                    </a:cubicBezTo>
                    <a:close/>
                    <a:moveTo>
                      <a:pt x="37" y="51"/>
                    </a:moveTo>
                    <a:cubicBezTo>
                      <a:pt x="38" y="51"/>
                      <a:pt x="38" y="51"/>
                      <a:pt x="39" y="51"/>
                    </a:cubicBezTo>
                    <a:cubicBezTo>
                      <a:pt x="37" y="53"/>
                      <a:pt x="35" y="55"/>
                      <a:pt x="33" y="56"/>
                    </a:cubicBezTo>
                    <a:cubicBezTo>
                      <a:pt x="32" y="56"/>
                      <a:pt x="32" y="56"/>
                      <a:pt x="32" y="56"/>
                    </a:cubicBezTo>
                    <a:cubicBezTo>
                      <a:pt x="34" y="54"/>
                      <a:pt x="36" y="53"/>
                      <a:pt x="37" y="51"/>
                    </a:cubicBezTo>
                    <a:cubicBezTo>
                      <a:pt x="37" y="51"/>
                      <a:pt x="37" y="51"/>
                      <a:pt x="37" y="51"/>
                    </a:cubicBezTo>
                    <a:close/>
                    <a:moveTo>
                      <a:pt x="48" y="53"/>
                    </a:moveTo>
                    <a:cubicBezTo>
                      <a:pt x="48" y="53"/>
                      <a:pt x="48" y="53"/>
                      <a:pt x="48" y="53"/>
                    </a:cubicBezTo>
                    <a:cubicBezTo>
                      <a:pt x="48" y="53"/>
                      <a:pt x="48" y="53"/>
                      <a:pt x="48" y="53"/>
                    </a:cubicBezTo>
                    <a:cubicBezTo>
                      <a:pt x="48" y="53"/>
                      <a:pt x="48" y="53"/>
                      <a:pt x="48" y="53"/>
                    </a:cubicBezTo>
                    <a:cubicBezTo>
                      <a:pt x="48" y="53"/>
                      <a:pt x="48" y="53"/>
                      <a:pt x="48" y="53"/>
                    </a:cubicBezTo>
                    <a:close/>
                    <a:moveTo>
                      <a:pt x="48" y="53"/>
                    </a:moveTo>
                    <a:cubicBezTo>
                      <a:pt x="48" y="53"/>
                      <a:pt x="48" y="53"/>
                      <a:pt x="48" y="53"/>
                    </a:cubicBezTo>
                    <a:cubicBezTo>
                      <a:pt x="48" y="53"/>
                      <a:pt x="48" y="53"/>
                      <a:pt x="49" y="53"/>
                    </a:cubicBezTo>
                    <a:cubicBezTo>
                      <a:pt x="48" y="53"/>
                      <a:pt x="48" y="53"/>
                      <a:pt x="48" y="53"/>
                    </a:cubicBezTo>
                    <a:cubicBezTo>
                      <a:pt x="48" y="53"/>
                      <a:pt x="48" y="53"/>
                      <a:pt x="48" y="53"/>
                    </a:cubicBezTo>
                    <a:close/>
                    <a:moveTo>
                      <a:pt x="47" y="53"/>
                    </a:moveTo>
                    <a:cubicBezTo>
                      <a:pt x="47" y="53"/>
                      <a:pt x="47" y="53"/>
                      <a:pt x="47" y="53"/>
                    </a:cubicBezTo>
                    <a:cubicBezTo>
                      <a:pt x="47" y="53"/>
                      <a:pt x="47" y="53"/>
                      <a:pt x="47" y="54"/>
                    </a:cubicBezTo>
                    <a:cubicBezTo>
                      <a:pt x="47" y="53"/>
                      <a:pt x="47" y="53"/>
                      <a:pt x="47" y="53"/>
                    </a:cubicBezTo>
                    <a:cubicBezTo>
                      <a:pt x="47" y="53"/>
                      <a:pt x="47" y="53"/>
                      <a:pt x="47" y="53"/>
                    </a:cubicBezTo>
                    <a:cubicBezTo>
                      <a:pt x="47" y="53"/>
                      <a:pt x="47" y="53"/>
                      <a:pt x="47" y="53"/>
                    </a:cubicBezTo>
                    <a:close/>
                    <a:moveTo>
                      <a:pt x="43" y="53"/>
                    </a:moveTo>
                    <a:cubicBezTo>
                      <a:pt x="43" y="52"/>
                      <a:pt x="43" y="51"/>
                      <a:pt x="43" y="51"/>
                    </a:cubicBezTo>
                    <a:cubicBezTo>
                      <a:pt x="44" y="51"/>
                      <a:pt x="44" y="52"/>
                      <a:pt x="44" y="53"/>
                    </a:cubicBezTo>
                    <a:cubicBezTo>
                      <a:pt x="44" y="53"/>
                      <a:pt x="43" y="53"/>
                      <a:pt x="43" y="53"/>
                    </a:cubicBezTo>
                    <a:cubicBezTo>
                      <a:pt x="43" y="53"/>
                      <a:pt x="43" y="53"/>
                      <a:pt x="43" y="53"/>
                    </a:cubicBezTo>
                    <a:close/>
                    <a:moveTo>
                      <a:pt x="49" y="54"/>
                    </a:moveTo>
                    <a:cubicBezTo>
                      <a:pt x="48" y="54"/>
                      <a:pt x="48" y="53"/>
                      <a:pt x="47" y="53"/>
                    </a:cubicBezTo>
                    <a:cubicBezTo>
                      <a:pt x="47" y="53"/>
                      <a:pt x="47" y="54"/>
                      <a:pt x="47" y="54"/>
                    </a:cubicBezTo>
                    <a:cubicBezTo>
                      <a:pt x="47" y="54"/>
                      <a:pt x="47" y="54"/>
                      <a:pt x="47" y="55"/>
                    </a:cubicBezTo>
                    <a:cubicBezTo>
                      <a:pt x="48" y="55"/>
                      <a:pt x="48" y="55"/>
                      <a:pt x="49" y="54"/>
                    </a:cubicBezTo>
                    <a:cubicBezTo>
                      <a:pt x="49" y="54"/>
                      <a:pt x="49" y="54"/>
                      <a:pt x="49" y="54"/>
                    </a:cubicBezTo>
                    <a:cubicBezTo>
                      <a:pt x="49" y="54"/>
                      <a:pt x="49" y="54"/>
                      <a:pt x="49" y="54"/>
                    </a:cubicBezTo>
                    <a:close/>
                    <a:moveTo>
                      <a:pt x="49" y="54"/>
                    </a:moveTo>
                    <a:cubicBezTo>
                      <a:pt x="49" y="54"/>
                      <a:pt x="49" y="54"/>
                      <a:pt x="49" y="54"/>
                    </a:cubicBezTo>
                    <a:cubicBezTo>
                      <a:pt x="49" y="54"/>
                      <a:pt x="49" y="54"/>
                      <a:pt x="49" y="54"/>
                    </a:cubicBezTo>
                    <a:cubicBezTo>
                      <a:pt x="49" y="54"/>
                      <a:pt x="49" y="54"/>
                      <a:pt x="49" y="54"/>
                    </a:cubicBezTo>
                    <a:cubicBezTo>
                      <a:pt x="49" y="54"/>
                      <a:pt x="49" y="54"/>
                      <a:pt x="49" y="54"/>
                    </a:cubicBezTo>
                    <a:close/>
                    <a:moveTo>
                      <a:pt x="50" y="54"/>
                    </a:moveTo>
                    <a:cubicBezTo>
                      <a:pt x="50" y="54"/>
                      <a:pt x="49" y="54"/>
                      <a:pt x="49" y="54"/>
                    </a:cubicBezTo>
                    <a:cubicBezTo>
                      <a:pt x="50" y="55"/>
                      <a:pt x="50" y="55"/>
                      <a:pt x="51" y="54"/>
                    </a:cubicBezTo>
                    <a:cubicBezTo>
                      <a:pt x="51" y="54"/>
                      <a:pt x="51" y="54"/>
                      <a:pt x="51" y="54"/>
                    </a:cubicBezTo>
                    <a:cubicBezTo>
                      <a:pt x="51" y="54"/>
                      <a:pt x="50" y="54"/>
                      <a:pt x="50" y="54"/>
                    </a:cubicBezTo>
                    <a:cubicBezTo>
                      <a:pt x="50" y="54"/>
                      <a:pt x="50" y="54"/>
                      <a:pt x="50" y="54"/>
                    </a:cubicBezTo>
                    <a:close/>
                    <a:moveTo>
                      <a:pt x="29" y="52"/>
                    </a:moveTo>
                    <a:cubicBezTo>
                      <a:pt x="29" y="52"/>
                      <a:pt x="29" y="51"/>
                      <a:pt x="30" y="51"/>
                    </a:cubicBezTo>
                    <a:cubicBezTo>
                      <a:pt x="29" y="52"/>
                      <a:pt x="29" y="52"/>
                      <a:pt x="29" y="53"/>
                    </a:cubicBezTo>
                    <a:cubicBezTo>
                      <a:pt x="29" y="53"/>
                      <a:pt x="29" y="52"/>
                      <a:pt x="28" y="52"/>
                    </a:cubicBezTo>
                    <a:cubicBezTo>
                      <a:pt x="28" y="52"/>
                      <a:pt x="29" y="52"/>
                      <a:pt x="29" y="52"/>
                    </a:cubicBezTo>
                    <a:cubicBezTo>
                      <a:pt x="29" y="52"/>
                      <a:pt x="29" y="52"/>
                      <a:pt x="29" y="52"/>
                    </a:cubicBezTo>
                    <a:close/>
                    <a:moveTo>
                      <a:pt x="27" y="51"/>
                    </a:moveTo>
                    <a:cubicBezTo>
                      <a:pt x="27" y="51"/>
                      <a:pt x="27" y="51"/>
                      <a:pt x="27" y="51"/>
                    </a:cubicBezTo>
                    <a:cubicBezTo>
                      <a:pt x="27" y="51"/>
                      <a:pt x="27" y="51"/>
                      <a:pt x="28" y="52"/>
                    </a:cubicBezTo>
                    <a:cubicBezTo>
                      <a:pt x="27" y="52"/>
                      <a:pt x="27" y="52"/>
                      <a:pt x="27" y="52"/>
                    </a:cubicBezTo>
                    <a:cubicBezTo>
                      <a:pt x="27" y="51"/>
                      <a:pt x="27" y="51"/>
                      <a:pt x="27" y="51"/>
                    </a:cubicBezTo>
                    <a:cubicBezTo>
                      <a:pt x="27" y="51"/>
                      <a:pt x="27" y="51"/>
                      <a:pt x="27" y="51"/>
                    </a:cubicBezTo>
                    <a:close/>
                    <a:moveTo>
                      <a:pt x="50" y="55"/>
                    </a:moveTo>
                    <a:cubicBezTo>
                      <a:pt x="50" y="54"/>
                      <a:pt x="50" y="54"/>
                      <a:pt x="49" y="54"/>
                    </a:cubicBezTo>
                    <a:cubicBezTo>
                      <a:pt x="49" y="54"/>
                      <a:pt x="49" y="54"/>
                      <a:pt x="49" y="55"/>
                    </a:cubicBezTo>
                    <a:cubicBezTo>
                      <a:pt x="49" y="55"/>
                      <a:pt x="50" y="55"/>
                      <a:pt x="50" y="55"/>
                    </a:cubicBezTo>
                    <a:cubicBezTo>
                      <a:pt x="50" y="55"/>
                      <a:pt x="50" y="55"/>
                      <a:pt x="50" y="55"/>
                    </a:cubicBezTo>
                    <a:close/>
                    <a:moveTo>
                      <a:pt x="29" y="52"/>
                    </a:moveTo>
                    <a:cubicBezTo>
                      <a:pt x="28" y="52"/>
                      <a:pt x="28" y="52"/>
                      <a:pt x="28" y="52"/>
                    </a:cubicBezTo>
                    <a:cubicBezTo>
                      <a:pt x="28" y="52"/>
                      <a:pt x="28" y="52"/>
                      <a:pt x="28" y="52"/>
                    </a:cubicBezTo>
                    <a:cubicBezTo>
                      <a:pt x="28" y="52"/>
                      <a:pt x="28" y="52"/>
                      <a:pt x="29" y="52"/>
                    </a:cubicBezTo>
                    <a:cubicBezTo>
                      <a:pt x="29" y="52"/>
                      <a:pt x="29" y="52"/>
                      <a:pt x="29" y="52"/>
                    </a:cubicBezTo>
                    <a:close/>
                    <a:moveTo>
                      <a:pt x="46" y="54"/>
                    </a:moveTo>
                    <a:cubicBezTo>
                      <a:pt x="45" y="54"/>
                      <a:pt x="45" y="54"/>
                      <a:pt x="45" y="54"/>
                    </a:cubicBezTo>
                    <a:cubicBezTo>
                      <a:pt x="45" y="54"/>
                      <a:pt x="45" y="54"/>
                      <a:pt x="45" y="55"/>
                    </a:cubicBezTo>
                    <a:cubicBezTo>
                      <a:pt x="45" y="55"/>
                      <a:pt x="46" y="55"/>
                      <a:pt x="46" y="55"/>
                    </a:cubicBezTo>
                    <a:cubicBezTo>
                      <a:pt x="46" y="54"/>
                      <a:pt x="46" y="54"/>
                      <a:pt x="47" y="54"/>
                    </a:cubicBezTo>
                    <a:cubicBezTo>
                      <a:pt x="46" y="54"/>
                      <a:pt x="46" y="54"/>
                      <a:pt x="46" y="54"/>
                    </a:cubicBezTo>
                    <a:cubicBezTo>
                      <a:pt x="46" y="54"/>
                      <a:pt x="46" y="54"/>
                      <a:pt x="46" y="54"/>
                    </a:cubicBezTo>
                    <a:close/>
                    <a:moveTo>
                      <a:pt x="28" y="52"/>
                    </a:moveTo>
                    <a:cubicBezTo>
                      <a:pt x="28" y="52"/>
                      <a:pt x="27" y="52"/>
                      <a:pt x="27" y="52"/>
                    </a:cubicBezTo>
                    <a:cubicBezTo>
                      <a:pt x="27" y="52"/>
                      <a:pt x="28" y="52"/>
                      <a:pt x="28" y="52"/>
                    </a:cubicBezTo>
                    <a:cubicBezTo>
                      <a:pt x="28" y="52"/>
                      <a:pt x="28" y="52"/>
                      <a:pt x="28" y="52"/>
                    </a:cubicBezTo>
                    <a:cubicBezTo>
                      <a:pt x="28" y="52"/>
                      <a:pt x="28" y="52"/>
                      <a:pt x="28" y="52"/>
                    </a:cubicBezTo>
                    <a:cubicBezTo>
                      <a:pt x="28" y="52"/>
                      <a:pt x="28" y="52"/>
                      <a:pt x="28" y="52"/>
                    </a:cubicBezTo>
                    <a:close/>
                    <a:moveTo>
                      <a:pt x="43" y="54"/>
                    </a:moveTo>
                    <a:cubicBezTo>
                      <a:pt x="44" y="54"/>
                      <a:pt x="44" y="54"/>
                      <a:pt x="45" y="54"/>
                    </a:cubicBezTo>
                    <a:cubicBezTo>
                      <a:pt x="45" y="54"/>
                      <a:pt x="45" y="54"/>
                      <a:pt x="45" y="55"/>
                    </a:cubicBezTo>
                    <a:cubicBezTo>
                      <a:pt x="44" y="55"/>
                      <a:pt x="44" y="55"/>
                      <a:pt x="43" y="55"/>
                    </a:cubicBezTo>
                    <a:cubicBezTo>
                      <a:pt x="43" y="54"/>
                      <a:pt x="43" y="54"/>
                      <a:pt x="43" y="54"/>
                    </a:cubicBezTo>
                    <a:cubicBezTo>
                      <a:pt x="43" y="54"/>
                      <a:pt x="43" y="54"/>
                      <a:pt x="43" y="54"/>
                    </a:cubicBezTo>
                    <a:cubicBezTo>
                      <a:pt x="43" y="54"/>
                      <a:pt x="43" y="54"/>
                      <a:pt x="43" y="54"/>
                    </a:cubicBezTo>
                    <a:close/>
                    <a:moveTo>
                      <a:pt x="43" y="54"/>
                    </a:moveTo>
                    <a:cubicBezTo>
                      <a:pt x="43" y="54"/>
                      <a:pt x="43" y="54"/>
                      <a:pt x="43" y="54"/>
                    </a:cubicBezTo>
                    <a:cubicBezTo>
                      <a:pt x="43" y="54"/>
                      <a:pt x="43" y="54"/>
                      <a:pt x="43" y="55"/>
                    </a:cubicBezTo>
                    <a:cubicBezTo>
                      <a:pt x="43" y="55"/>
                      <a:pt x="43" y="55"/>
                      <a:pt x="43" y="54"/>
                    </a:cubicBezTo>
                    <a:cubicBezTo>
                      <a:pt x="43" y="54"/>
                      <a:pt x="43" y="54"/>
                      <a:pt x="43" y="54"/>
                    </a:cubicBezTo>
                    <a:cubicBezTo>
                      <a:pt x="43" y="54"/>
                      <a:pt x="43" y="54"/>
                      <a:pt x="43" y="54"/>
                    </a:cubicBezTo>
                    <a:close/>
                    <a:moveTo>
                      <a:pt x="12" y="50"/>
                    </a:moveTo>
                    <a:cubicBezTo>
                      <a:pt x="15" y="51"/>
                      <a:pt x="14" y="50"/>
                      <a:pt x="15" y="52"/>
                    </a:cubicBezTo>
                    <a:cubicBezTo>
                      <a:pt x="14" y="51"/>
                      <a:pt x="13" y="51"/>
                      <a:pt x="12" y="50"/>
                    </a:cubicBezTo>
                    <a:cubicBezTo>
                      <a:pt x="12" y="50"/>
                      <a:pt x="12" y="50"/>
                      <a:pt x="12" y="50"/>
                    </a:cubicBezTo>
                    <a:close/>
                    <a:moveTo>
                      <a:pt x="28" y="53"/>
                    </a:moveTo>
                    <a:cubicBezTo>
                      <a:pt x="28" y="52"/>
                      <a:pt x="28" y="52"/>
                      <a:pt x="28" y="52"/>
                    </a:cubicBezTo>
                    <a:cubicBezTo>
                      <a:pt x="28" y="52"/>
                      <a:pt x="29" y="53"/>
                      <a:pt x="29" y="53"/>
                    </a:cubicBezTo>
                    <a:cubicBezTo>
                      <a:pt x="29" y="53"/>
                      <a:pt x="29" y="54"/>
                      <a:pt x="29" y="54"/>
                    </a:cubicBezTo>
                    <a:cubicBezTo>
                      <a:pt x="29" y="53"/>
                      <a:pt x="28" y="53"/>
                      <a:pt x="28" y="53"/>
                    </a:cubicBezTo>
                    <a:cubicBezTo>
                      <a:pt x="28" y="53"/>
                      <a:pt x="28" y="53"/>
                      <a:pt x="28" y="53"/>
                    </a:cubicBezTo>
                    <a:close/>
                    <a:moveTo>
                      <a:pt x="43" y="55"/>
                    </a:moveTo>
                    <a:cubicBezTo>
                      <a:pt x="43" y="55"/>
                      <a:pt x="43" y="55"/>
                      <a:pt x="43" y="55"/>
                    </a:cubicBezTo>
                    <a:cubicBezTo>
                      <a:pt x="43" y="55"/>
                      <a:pt x="43" y="55"/>
                      <a:pt x="43" y="55"/>
                    </a:cubicBezTo>
                    <a:cubicBezTo>
                      <a:pt x="43" y="55"/>
                      <a:pt x="43" y="55"/>
                      <a:pt x="43" y="55"/>
                    </a:cubicBezTo>
                    <a:cubicBezTo>
                      <a:pt x="43" y="55"/>
                      <a:pt x="43" y="55"/>
                      <a:pt x="43" y="55"/>
                    </a:cubicBezTo>
                    <a:close/>
                    <a:moveTo>
                      <a:pt x="29" y="53"/>
                    </a:moveTo>
                    <a:cubicBezTo>
                      <a:pt x="29" y="53"/>
                      <a:pt x="29" y="53"/>
                      <a:pt x="29" y="53"/>
                    </a:cubicBezTo>
                    <a:cubicBezTo>
                      <a:pt x="29" y="53"/>
                      <a:pt x="29" y="53"/>
                      <a:pt x="29" y="53"/>
                    </a:cubicBezTo>
                    <a:cubicBezTo>
                      <a:pt x="29" y="53"/>
                      <a:pt x="29" y="53"/>
                      <a:pt x="29" y="53"/>
                    </a:cubicBezTo>
                    <a:cubicBezTo>
                      <a:pt x="29" y="53"/>
                      <a:pt x="29" y="53"/>
                      <a:pt x="29" y="53"/>
                    </a:cubicBezTo>
                    <a:close/>
                    <a:moveTo>
                      <a:pt x="18" y="52"/>
                    </a:moveTo>
                    <a:cubicBezTo>
                      <a:pt x="17" y="51"/>
                      <a:pt x="17" y="51"/>
                      <a:pt x="17" y="51"/>
                    </a:cubicBezTo>
                    <a:cubicBezTo>
                      <a:pt x="18" y="51"/>
                      <a:pt x="18" y="51"/>
                      <a:pt x="18" y="52"/>
                    </a:cubicBezTo>
                    <a:cubicBezTo>
                      <a:pt x="18" y="52"/>
                      <a:pt x="18" y="52"/>
                      <a:pt x="18" y="52"/>
                    </a:cubicBezTo>
                    <a:cubicBezTo>
                      <a:pt x="18" y="52"/>
                      <a:pt x="18" y="52"/>
                      <a:pt x="18" y="52"/>
                    </a:cubicBezTo>
                    <a:close/>
                    <a:moveTo>
                      <a:pt x="29" y="53"/>
                    </a:moveTo>
                    <a:cubicBezTo>
                      <a:pt x="29" y="53"/>
                      <a:pt x="29" y="53"/>
                      <a:pt x="29" y="53"/>
                    </a:cubicBezTo>
                    <a:cubicBezTo>
                      <a:pt x="30" y="54"/>
                      <a:pt x="31" y="55"/>
                      <a:pt x="32" y="56"/>
                    </a:cubicBezTo>
                    <a:cubicBezTo>
                      <a:pt x="32" y="56"/>
                      <a:pt x="32" y="56"/>
                      <a:pt x="31" y="56"/>
                    </a:cubicBezTo>
                    <a:cubicBezTo>
                      <a:pt x="32" y="56"/>
                      <a:pt x="32" y="56"/>
                      <a:pt x="32" y="56"/>
                    </a:cubicBezTo>
                    <a:cubicBezTo>
                      <a:pt x="32" y="56"/>
                      <a:pt x="32" y="56"/>
                      <a:pt x="32" y="56"/>
                    </a:cubicBezTo>
                    <a:cubicBezTo>
                      <a:pt x="32" y="56"/>
                      <a:pt x="32" y="57"/>
                      <a:pt x="32" y="57"/>
                    </a:cubicBezTo>
                    <a:cubicBezTo>
                      <a:pt x="31" y="56"/>
                      <a:pt x="30" y="54"/>
                      <a:pt x="29" y="53"/>
                    </a:cubicBezTo>
                    <a:cubicBezTo>
                      <a:pt x="29" y="53"/>
                      <a:pt x="29" y="53"/>
                      <a:pt x="29" y="53"/>
                    </a:cubicBezTo>
                    <a:close/>
                    <a:moveTo>
                      <a:pt x="47" y="56"/>
                    </a:moveTo>
                    <a:cubicBezTo>
                      <a:pt x="47" y="56"/>
                      <a:pt x="47" y="56"/>
                      <a:pt x="47" y="56"/>
                    </a:cubicBezTo>
                    <a:cubicBezTo>
                      <a:pt x="47" y="56"/>
                      <a:pt x="47" y="56"/>
                      <a:pt x="47" y="56"/>
                    </a:cubicBezTo>
                    <a:cubicBezTo>
                      <a:pt x="47" y="56"/>
                      <a:pt x="47" y="56"/>
                      <a:pt x="46" y="56"/>
                    </a:cubicBezTo>
                    <a:cubicBezTo>
                      <a:pt x="46" y="56"/>
                      <a:pt x="47" y="56"/>
                      <a:pt x="47" y="56"/>
                    </a:cubicBezTo>
                    <a:cubicBezTo>
                      <a:pt x="47" y="56"/>
                      <a:pt x="47" y="56"/>
                      <a:pt x="47" y="56"/>
                    </a:cubicBezTo>
                    <a:cubicBezTo>
                      <a:pt x="47" y="56"/>
                      <a:pt x="47" y="56"/>
                      <a:pt x="47" y="56"/>
                    </a:cubicBezTo>
                    <a:cubicBezTo>
                      <a:pt x="47" y="56"/>
                      <a:pt x="47" y="56"/>
                      <a:pt x="47" y="56"/>
                    </a:cubicBezTo>
                    <a:close/>
                    <a:moveTo>
                      <a:pt x="18" y="52"/>
                    </a:moveTo>
                    <a:cubicBezTo>
                      <a:pt x="18" y="52"/>
                      <a:pt x="18" y="52"/>
                      <a:pt x="18" y="52"/>
                    </a:cubicBezTo>
                    <a:cubicBezTo>
                      <a:pt x="18" y="53"/>
                      <a:pt x="18" y="54"/>
                      <a:pt x="20" y="55"/>
                    </a:cubicBezTo>
                    <a:cubicBezTo>
                      <a:pt x="20" y="54"/>
                      <a:pt x="19" y="53"/>
                      <a:pt x="18" y="52"/>
                    </a:cubicBezTo>
                    <a:cubicBezTo>
                      <a:pt x="18" y="52"/>
                      <a:pt x="18" y="52"/>
                      <a:pt x="18" y="52"/>
                    </a:cubicBezTo>
                    <a:close/>
                    <a:moveTo>
                      <a:pt x="46" y="56"/>
                    </a:moveTo>
                    <a:cubicBezTo>
                      <a:pt x="46" y="56"/>
                      <a:pt x="45" y="56"/>
                      <a:pt x="45" y="56"/>
                    </a:cubicBezTo>
                    <a:cubicBezTo>
                      <a:pt x="45" y="56"/>
                      <a:pt x="46" y="56"/>
                      <a:pt x="46" y="56"/>
                    </a:cubicBezTo>
                    <a:cubicBezTo>
                      <a:pt x="46" y="56"/>
                      <a:pt x="46" y="56"/>
                      <a:pt x="46" y="56"/>
                    </a:cubicBezTo>
                    <a:cubicBezTo>
                      <a:pt x="46" y="56"/>
                      <a:pt x="46" y="56"/>
                      <a:pt x="46" y="56"/>
                    </a:cubicBezTo>
                    <a:cubicBezTo>
                      <a:pt x="46" y="56"/>
                      <a:pt x="46" y="56"/>
                      <a:pt x="46" y="56"/>
                    </a:cubicBezTo>
                    <a:close/>
                    <a:moveTo>
                      <a:pt x="45" y="56"/>
                    </a:moveTo>
                    <a:cubicBezTo>
                      <a:pt x="45" y="56"/>
                      <a:pt x="45" y="56"/>
                      <a:pt x="45" y="56"/>
                    </a:cubicBezTo>
                    <a:cubicBezTo>
                      <a:pt x="45" y="56"/>
                      <a:pt x="45" y="56"/>
                      <a:pt x="45" y="56"/>
                    </a:cubicBezTo>
                    <a:cubicBezTo>
                      <a:pt x="45" y="56"/>
                      <a:pt x="45" y="56"/>
                      <a:pt x="45" y="56"/>
                    </a:cubicBezTo>
                    <a:cubicBezTo>
                      <a:pt x="45" y="56"/>
                      <a:pt x="45" y="56"/>
                      <a:pt x="45" y="56"/>
                    </a:cubicBezTo>
                    <a:close/>
                    <a:moveTo>
                      <a:pt x="43" y="56"/>
                    </a:moveTo>
                    <a:cubicBezTo>
                      <a:pt x="44" y="56"/>
                      <a:pt x="45" y="56"/>
                      <a:pt x="45" y="56"/>
                    </a:cubicBezTo>
                    <a:cubicBezTo>
                      <a:pt x="46" y="57"/>
                      <a:pt x="45" y="58"/>
                      <a:pt x="45" y="59"/>
                    </a:cubicBezTo>
                    <a:cubicBezTo>
                      <a:pt x="45" y="59"/>
                      <a:pt x="44" y="59"/>
                      <a:pt x="44" y="59"/>
                    </a:cubicBezTo>
                    <a:cubicBezTo>
                      <a:pt x="43" y="56"/>
                      <a:pt x="43" y="56"/>
                      <a:pt x="43" y="56"/>
                    </a:cubicBezTo>
                    <a:cubicBezTo>
                      <a:pt x="43" y="56"/>
                      <a:pt x="43" y="56"/>
                      <a:pt x="43" y="56"/>
                    </a:cubicBezTo>
                    <a:close/>
                    <a:moveTo>
                      <a:pt x="43" y="56"/>
                    </a:moveTo>
                    <a:cubicBezTo>
                      <a:pt x="43" y="56"/>
                      <a:pt x="43" y="56"/>
                      <a:pt x="43" y="56"/>
                    </a:cubicBezTo>
                    <a:cubicBezTo>
                      <a:pt x="43" y="56"/>
                      <a:pt x="43" y="57"/>
                      <a:pt x="43" y="58"/>
                    </a:cubicBezTo>
                    <a:cubicBezTo>
                      <a:pt x="43" y="58"/>
                      <a:pt x="43" y="59"/>
                      <a:pt x="43" y="59"/>
                    </a:cubicBezTo>
                    <a:cubicBezTo>
                      <a:pt x="44" y="59"/>
                      <a:pt x="44" y="59"/>
                      <a:pt x="44" y="59"/>
                    </a:cubicBezTo>
                    <a:cubicBezTo>
                      <a:pt x="43" y="56"/>
                      <a:pt x="43" y="56"/>
                      <a:pt x="43" y="56"/>
                    </a:cubicBezTo>
                    <a:cubicBezTo>
                      <a:pt x="43" y="56"/>
                      <a:pt x="43" y="56"/>
                      <a:pt x="43" y="56"/>
                    </a:cubicBezTo>
                    <a:close/>
                    <a:moveTo>
                      <a:pt x="47" y="56"/>
                    </a:moveTo>
                    <a:cubicBezTo>
                      <a:pt x="47" y="56"/>
                      <a:pt x="47" y="56"/>
                      <a:pt x="46" y="56"/>
                    </a:cubicBezTo>
                    <a:cubicBezTo>
                      <a:pt x="46" y="57"/>
                      <a:pt x="46" y="57"/>
                      <a:pt x="46" y="57"/>
                    </a:cubicBezTo>
                    <a:cubicBezTo>
                      <a:pt x="46" y="57"/>
                      <a:pt x="47" y="57"/>
                      <a:pt x="47" y="56"/>
                    </a:cubicBezTo>
                    <a:cubicBezTo>
                      <a:pt x="47" y="56"/>
                      <a:pt x="47" y="56"/>
                      <a:pt x="47" y="56"/>
                    </a:cubicBezTo>
                    <a:close/>
                    <a:moveTo>
                      <a:pt x="29" y="54"/>
                    </a:moveTo>
                    <a:cubicBezTo>
                      <a:pt x="29" y="54"/>
                      <a:pt x="29" y="54"/>
                      <a:pt x="29" y="53"/>
                    </a:cubicBezTo>
                    <a:cubicBezTo>
                      <a:pt x="30" y="54"/>
                      <a:pt x="31" y="56"/>
                      <a:pt x="31" y="57"/>
                    </a:cubicBezTo>
                    <a:cubicBezTo>
                      <a:pt x="31" y="57"/>
                      <a:pt x="31" y="57"/>
                      <a:pt x="31" y="57"/>
                    </a:cubicBezTo>
                    <a:cubicBezTo>
                      <a:pt x="30" y="56"/>
                      <a:pt x="30" y="55"/>
                      <a:pt x="29" y="54"/>
                    </a:cubicBezTo>
                    <a:cubicBezTo>
                      <a:pt x="29" y="54"/>
                      <a:pt x="29" y="54"/>
                      <a:pt x="29" y="54"/>
                    </a:cubicBezTo>
                    <a:close/>
                    <a:moveTo>
                      <a:pt x="45" y="56"/>
                    </a:moveTo>
                    <a:cubicBezTo>
                      <a:pt x="46" y="56"/>
                      <a:pt x="46" y="56"/>
                      <a:pt x="46" y="56"/>
                    </a:cubicBezTo>
                    <a:cubicBezTo>
                      <a:pt x="46" y="57"/>
                      <a:pt x="46" y="57"/>
                      <a:pt x="46" y="57"/>
                    </a:cubicBezTo>
                    <a:cubicBezTo>
                      <a:pt x="46" y="57"/>
                      <a:pt x="45" y="56"/>
                      <a:pt x="45" y="56"/>
                    </a:cubicBezTo>
                    <a:cubicBezTo>
                      <a:pt x="45" y="56"/>
                      <a:pt x="45" y="56"/>
                      <a:pt x="45" y="56"/>
                    </a:cubicBezTo>
                    <a:close/>
                    <a:moveTo>
                      <a:pt x="48" y="57"/>
                    </a:moveTo>
                    <a:cubicBezTo>
                      <a:pt x="48" y="57"/>
                      <a:pt x="47" y="57"/>
                      <a:pt x="47" y="57"/>
                    </a:cubicBezTo>
                    <a:cubicBezTo>
                      <a:pt x="46" y="57"/>
                      <a:pt x="46" y="58"/>
                      <a:pt x="46" y="58"/>
                    </a:cubicBezTo>
                    <a:cubicBezTo>
                      <a:pt x="47" y="58"/>
                      <a:pt x="48" y="58"/>
                      <a:pt x="48" y="57"/>
                    </a:cubicBezTo>
                    <a:cubicBezTo>
                      <a:pt x="48" y="57"/>
                      <a:pt x="48" y="57"/>
                      <a:pt x="48" y="57"/>
                    </a:cubicBezTo>
                    <a:close/>
                    <a:moveTo>
                      <a:pt x="51" y="59"/>
                    </a:moveTo>
                    <a:cubicBezTo>
                      <a:pt x="50" y="58"/>
                      <a:pt x="49" y="58"/>
                      <a:pt x="49" y="58"/>
                    </a:cubicBezTo>
                    <a:cubicBezTo>
                      <a:pt x="48" y="58"/>
                      <a:pt x="46" y="58"/>
                      <a:pt x="46" y="59"/>
                    </a:cubicBezTo>
                    <a:cubicBezTo>
                      <a:pt x="46" y="59"/>
                      <a:pt x="45" y="59"/>
                      <a:pt x="45" y="59"/>
                    </a:cubicBezTo>
                    <a:cubicBezTo>
                      <a:pt x="47" y="59"/>
                      <a:pt x="49" y="59"/>
                      <a:pt x="51" y="59"/>
                    </a:cubicBezTo>
                    <a:cubicBezTo>
                      <a:pt x="51" y="59"/>
                      <a:pt x="51" y="59"/>
                      <a:pt x="51" y="59"/>
                    </a:cubicBezTo>
                    <a:close/>
                    <a:moveTo>
                      <a:pt x="21" y="55"/>
                    </a:moveTo>
                    <a:cubicBezTo>
                      <a:pt x="20" y="54"/>
                      <a:pt x="19" y="53"/>
                      <a:pt x="18" y="52"/>
                    </a:cubicBezTo>
                    <a:cubicBezTo>
                      <a:pt x="21" y="53"/>
                      <a:pt x="24" y="55"/>
                      <a:pt x="26" y="56"/>
                    </a:cubicBezTo>
                    <a:cubicBezTo>
                      <a:pt x="23" y="56"/>
                      <a:pt x="23" y="56"/>
                      <a:pt x="21" y="55"/>
                    </a:cubicBezTo>
                    <a:cubicBezTo>
                      <a:pt x="21" y="55"/>
                      <a:pt x="21" y="55"/>
                      <a:pt x="21" y="55"/>
                    </a:cubicBezTo>
                    <a:close/>
                    <a:moveTo>
                      <a:pt x="66" y="61"/>
                    </a:moveTo>
                    <a:cubicBezTo>
                      <a:pt x="66" y="61"/>
                      <a:pt x="66" y="60"/>
                      <a:pt x="66" y="60"/>
                    </a:cubicBezTo>
                    <a:cubicBezTo>
                      <a:pt x="65" y="61"/>
                      <a:pt x="63" y="62"/>
                      <a:pt x="62" y="63"/>
                    </a:cubicBezTo>
                    <a:cubicBezTo>
                      <a:pt x="62" y="63"/>
                      <a:pt x="62" y="63"/>
                      <a:pt x="63" y="63"/>
                    </a:cubicBezTo>
                    <a:cubicBezTo>
                      <a:pt x="61" y="63"/>
                      <a:pt x="61" y="63"/>
                      <a:pt x="59" y="65"/>
                    </a:cubicBezTo>
                    <a:cubicBezTo>
                      <a:pt x="59" y="65"/>
                      <a:pt x="59" y="65"/>
                      <a:pt x="59" y="65"/>
                    </a:cubicBezTo>
                    <a:cubicBezTo>
                      <a:pt x="63" y="63"/>
                      <a:pt x="63" y="64"/>
                      <a:pt x="66" y="61"/>
                    </a:cubicBezTo>
                    <a:cubicBezTo>
                      <a:pt x="66" y="61"/>
                      <a:pt x="66" y="61"/>
                      <a:pt x="66" y="61"/>
                    </a:cubicBezTo>
                    <a:close/>
                    <a:moveTo>
                      <a:pt x="32" y="57"/>
                    </a:moveTo>
                    <a:cubicBezTo>
                      <a:pt x="32" y="57"/>
                      <a:pt x="32" y="56"/>
                      <a:pt x="33" y="56"/>
                    </a:cubicBezTo>
                    <a:cubicBezTo>
                      <a:pt x="33" y="57"/>
                      <a:pt x="34" y="58"/>
                      <a:pt x="35" y="59"/>
                    </a:cubicBezTo>
                    <a:cubicBezTo>
                      <a:pt x="35" y="59"/>
                      <a:pt x="35" y="59"/>
                      <a:pt x="35" y="59"/>
                    </a:cubicBezTo>
                    <a:cubicBezTo>
                      <a:pt x="35" y="59"/>
                      <a:pt x="34" y="59"/>
                      <a:pt x="34" y="59"/>
                    </a:cubicBezTo>
                    <a:cubicBezTo>
                      <a:pt x="33" y="59"/>
                      <a:pt x="33" y="58"/>
                      <a:pt x="32" y="58"/>
                    </a:cubicBezTo>
                    <a:cubicBezTo>
                      <a:pt x="32" y="58"/>
                      <a:pt x="32" y="57"/>
                      <a:pt x="32" y="57"/>
                    </a:cubicBezTo>
                    <a:cubicBezTo>
                      <a:pt x="32" y="57"/>
                      <a:pt x="32" y="57"/>
                      <a:pt x="32" y="57"/>
                    </a:cubicBezTo>
                    <a:close/>
                    <a:moveTo>
                      <a:pt x="31" y="57"/>
                    </a:moveTo>
                    <a:cubicBezTo>
                      <a:pt x="31" y="57"/>
                      <a:pt x="31" y="57"/>
                      <a:pt x="31" y="57"/>
                    </a:cubicBezTo>
                    <a:cubicBezTo>
                      <a:pt x="31" y="57"/>
                      <a:pt x="32" y="57"/>
                      <a:pt x="32" y="57"/>
                    </a:cubicBezTo>
                    <a:cubicBezTo>
                      <a:pt x="32" y="57"/>
                      <a:pt x="31" y="57"/>
                      <a:pt x="31" y="57"/>
                    </a:cubicBezTo>
                    <a:cubicBezTo>
                      <a:pt x="31" y="57"/>
                      <a:pt x="31" y="57"/>
                      <a:pt x="31" y="57"/>
                    </a:cubicBezTo>
                    <a:close/>
                    <a:moveTo>
                      <a:pt x="23" y="56"/>
                    </a:moveTo>
                    <a:cubicBezTo>
                      <a:pt x="26" y="57"/>
                      <a:pt x="26" y="56"/>
                      <a:pt x="29" y="58"/>
                    </a:cubicBezTo>
                    <a:cubicBezTo>
                      <a:pt x="27" y="58"/>
                      <a:pt x="25" y="57"/>
                      <a:pt x="23" y="56"/>
                    </a:cubicBezTo>
                    <a:cubicBezTo>
                      <a:pt x="23" y="56"/>
                      <a:pt x="23" y="56"/>
                      <a:pt x="23" y="56"/>
                    </a:cubicBezTo>
                    <a:close/>
                    <a:moveTo>
                      <a:pt x="27" y="57"/>
                    </a:moveTo>
                    <a:cubicBezTo>
                      <a:pt x="28" y="57"/>
                      <a:pt x="29" y="57"/>
                      <a:pt x="31" y="57"/>
                    </a:cubicBezTo>
                    <a:cubicBezTo>
                      <a:pt x="30" y="58"/>
                      <a:pt x="30" y="58"/>
                      <a:pt x="29" y="58"/>
                    </a:cubicBezTo>
                    <a:cubicBezTo>
                      <a:pt x="30" y="58"/>
                      <a:pt x="30" y="58"/>
                      <a:pt x="31" y="57"/>
                    </a:cubicBezTo>
                    <a:cubicBezTo>
                      <a:pt x="31" y="58"/>
                      <a:pt x="31" y="58"/>
                      <a:pt x="32" y="59"/>
                    </a:cubicBezTo>
                    <a:cubicBezTo>
                      <a:pt x="31" y="59"/>
                      <a:pt x="31" y="59"/>
                      <a:pt x="30" y="59"/>
                    </a:cubicBezTo>
                    <a:cubicBezTo>
                      <a:pt x="29" y="59"/>
                      <a:pt x="28" y="57"/>
                      <a:pt x="27" y="57"/>
                    </a:cubicBezTo>
                    <a:cubicBezTo>
                      <a:pt x="27" y="57"/>
                      <a:pt x="27" y="57"/>
                      <a:pt x="27" y="57"/>
                    </a:cubicBezTo>
                    <a:close/>
                    <a:moveTo>
                      <a:pt x="44" y="59"/>
                    </a:moveTo>
                    <a:cubicBezTo>
                      <a:pt x="44" y="59"/>
                      <a:pt x="44" y="59"/>
                      <a:pt x="45" y="59"/>
                    </a:cubicBezTo>
                    <a:cubicBezTo>
                      <a:pt x="45" y="59"/>
                      <a:pt x="44" y="59"/>
                      <a:pt x="44" y="59"/>
                    </a:cubicBezTo>
                    <a:cubicBezTo>
                      <a:pt x="44" y="59"/>
                      <a:pt x="44" y="59"/>
                      <a:pt x="44" y="59"/>
                    </a:cubicBezTo>
                    <a:cubicBezTo>
                      <a:pt x="44" y="59"/>
                      <a:pt x="44" y="59"/>
                      <a:pt x="44" y="59"/>
                    </a:cubicBezTo>
                    <a:close/>
                    <a:moveTo>
                      <a:pt x="69" y="62"/>
                    </a:moveTo>
                    <a:cubicBezTo>
                      <a:pt x="69" y="62"/>
                      <a:pt x="70" y="62"/>
                      <a:pt x="70" y="62"/>
                    </a:cubicBezTo>
                    <a:cubicBezTo>
                      <a:pt x="69" y="63"/>
                      <a:pt x="68" y="64"/>
                      <a:pt x="67" y="65"/>
                    </a:cubicBezTo>
                    <a:cubicBezTo>
                      <a:pt x="67" y="65"/>
                      <a:pt x="66" y="65"/>
                      <a:pt x="66" y="65"/>
                    </a:cubicBezTo>
                    <a:cubicBezTo>
                      <a:pt x="67" y="64"/>
                      <a:pt x="68" y="63"/>
                      <a:pt x="69" y="62"/>
                    </a:cubicBezTo>
                    <a:cubicBezTo>
                      <a:pt x="69" y="62"/>
                      <a:pt x="69" y="62"/>
                      <a:pt x="69" y="62"/>
                    </a:cubicBezTo>
                    <a:close/>
                    <a:moveTo>
                      <a:pt x="44" y="59"/>
                    </a:moveTo>
                    <a:cubicBezTo>
                      <a:pt x="44" y="59"/>
                      <a:pt x="44" y="59"/>
                      <a:pt x="44" y="59"/>
                    </a:cubicBezTo>
                    <a:cubicBezTo>
                      <a:pt x="44" y="59"/>
                      <a:pt x="44" y="59"/>
                      <a:pt x="44" y="60"/>
                    </a:cubicBezTo>
                    <a:cubicBezTo>
                      <a:pt x="44" y="59"/>
                      <a:pt x="44" y="59"/>
                      <a:pt x="43" y="59"/>
                    </a:cubicBezTo>
                    <a:cubicBezTo>
                      <a:pt x="44" y="59"/>
                      <a:pt x="44" y="59"/>
                      <a:pt x="44" y="59"/>
                    </a:cubicBezTo>
                    <a:cubicBezTo>
                      <a:pt x="44" y="59"/>
                      <a:pt x="44" y="59"/>
                      <a:pt x="44" y="59"/>
                    </a:cubicBezTo>
                    <a:close/>
                    <a:moveTo>
                      <a:pt x="44" y="60"/>
                    </a:moveTo>
                    <a:cubicBezTo>
                      <a:pt x="44" y="60"/>
                      <a:pt x="44" y="60"/>
                      <a:pt x="44" y="60"/>
                    </a:cubicBezTo>
                    <a:cubicBezTo>
                      <a:pt x="44" y="62"/>
                      <a:pt x="45" y="64"/>
                      <a:pt x="45" y="66"/>
                    </a:cubicBezTo>
                    <a:cubicBezTo>
                      <a:pt x="45" y="66"/>
                      <a:pt x="45" y="66"/>
                      <a:pt x="44" y="65"/>
                    </a:cubicBezTo>
                    <a:cubicBezTo>
                      <a:pt x="44" y="65"/>
                      <a:pt x="44" y="65"/>
                      <a:pt x="44" y="65"/>
                    </a:cubicBezTo>
                    <a:cubicBezTo>
                      <a:pt x="44" y="65"/>
                      <a:pt x="44" y="65"/>
                      <a:pt x="44" y="65"/>
                    </a:cubicBezTo>
                    <a:cubicBezTo>
                      <a:pt x="44" y="65"/>
                      <a:pt x="43" y="65"/>
                      <a:pt x="43" y="65"/>
                    </a:cubicBezTo>
                    <a:cubicBezTo>
                      <a:pt x="43" y="63"/>
                      <a:pt x="42" y="62"/>
                      <a:pt x="42" y="60"/>
                    </a:cubicBezTo>
                    <a:cubicBezTo>
                      <a:pt x="43" y="60"/>
                      <a:pt x="43" y="60"/>
                      <a:pt x="43" y="60"/>
                    </a:cubicBezTo>
                    <a:cubicBezTo>
                      <a:pt x="43" y="60"/>
                      <a:pt x="43" y="60"/>
                      <a:pt x="43" y="60"/>
                    </a:cubicBezTo>
                    <a:cubicBezTo>
                      <a:pt x="44" y="60"/>
                      <a:pt x="44" y="60"/>
                      <a:pt x="44" y="60"/>
                    </a:cubicBezTo>
                    <a:cubicBezTo>
                      <a:pt x="44" y="60"/>
                      <a:pt x="44" y="60"/>
                      <a:pt x="44" y="60"/>
                    </a:cubicBezTo>
                    <a:close/>
                    <a:moveTo>
                      <a:pt x="43" y="60"/>
                    </a:moveTo>
                    <a:cubicBezTo>
                      <a:pt x="43" y="60"/>
                      <a:pt x="43" y="60"/>
                      <a:pt x="42" y="60"/>
                    </a:cubicBezTo>
                    <a:cubicBezTo>
                      <a:pt x="42" y="60"/>
                      <a:pt x="42" y="60"/>
                      <a:pt x="42" y="60"/>
                    </a:cubicBezTo>
                    <a:cubicBezTo>
                      <a:pt x="43" y="60"/>
                      <a:pt x="43" y="60"/>
                      <a:pt x="43" y="60"/>
                    </a:cubicBezTo>
                    <a:cubicBezTo>
                      <a:pt x="43" y="60"/>
                      <a:pt x="43" y="60"/>
                      <a:pt x="43" y="60"/>
                    </a:cubicBezTo>
                    <a:close/>
                    <a:moveTo>
                      <a:pt x="44" y="60"/>
                    </a:moveTo>
                    <a:cubicBezTo>
                      <a:pt x="45" y="61"/>
                      <a:pt x="45" y="63"/>
                      <a:pt x="46" y="63"/>
                    </a:cubicBezTo>
                    <a:cubicBezTo>
                      <a:pt x="46" y="63"/>
                      <a:pt x="45" y="62"/>
                      <a:pt x="45" y="60"/>
                    </a:cubicBezTo>
                    <a:cubicBezTo>
                      <a:pt x="47" y="61"/>
                      <a:pt x="49" y="62"/>
                      <a:pt x="51" y="63"/>
                    </a:cubicBezTo>
                    <a:cubicBezTo>
                      <a:pt x="49" y="64"/>
                      <a:pt x="48" y="65"/>
                      <a:pt x="47" y="66"/>
                    </a:cubicBezTo>
                    <a:cubicBezTo>
                      <a:pt x="46" y="66"/>
                      <a:pt x="46" y="66"/>
                      <a:pt x="45" y="66"/>
                    </a:cubicBezTo>
                    <a:cubicBezTo>
                      <a:pt x="45" y="64"/>
                      <a:pt x="45" y="62"/>
                      <a:pt x="44" y="60"/>
                    </a:cubicBezTo>
                    <a:cubicBezTo>
                      <a:pt x="44" y="60"/>
                      <a:pt x="44" y="60"/>
                      <a:pt x="44" y="60"/>
                    </a:cubicBezTo>
                    <a:close/>
                    <a:moveTo>
                      <a:pt x="32" y="59"/>
                    </a:moveTo>
                    <a:cubicBezTo>
                      <a:pt x="32" y="59"/>
                      <a:pt x="32" y="59"/>
                      <a:pt x="32" y="59"/>
                    </a:cubicBezTo>
                    <a:cubicBezTo>
                      <a:pt x="32" y="59"/>
                      <a:pt x="32" y="59"/>
                      <a:pt x="32" y="59"/>
                    </a:cubicBezTo>
                    <a:cubicBezTo>
                      <a:pt x="32" y="59"/>
                      <a:pt x="32" y="59"/>
                      <a:pt x="32" y="59"/>
                    </a:cubicBezTo>
                    <a:cubicBezTo>
                      <a:pt x="32" y="59"/>
                      <a:pt x="32" y="59"/>
                      <a:pt x="32" y="59"/>
                    </a:cubicBezTo>
                    <a:close/>
                    <a:moveTo>
                      <a:pt x="26" y="58"/>
                    </a:moveTo>
                    <a:cubicBezTo>
                      <a:pt x="26" y="58"/>
                      <a:pt x="25" y="58"/>
                      <a:pt x="25" y="58"/>
                    </a:cubicBezTo>
                    <a:cubicBezTo>
                      <a:pt x="25" y="58"/>
                      <a:pt x="24" y="58"/>
                      <a:pt x="24" y="58"/>
                    </a:cubicBezTo>
                    <a:cubicBezTo>
                      <a:pt x="25" y="58"/>
                      <a:pt x="25" y="58"/>
                      <a:pt x="26" y="58"/>
                    </a:cubicBezTo>
                    <a:cubicBezTo>
                      <a:pt x="26" y="58"/>
                      <a:pt x="26" y="58"/>
                      <a:pt x="26" y="58"/>
                    </a:cubicBezTo>
                    <a:close/>
                    <a:moveTo>
                      <a:pt x="40" y="60"/>
                    </a:moveTo>
                    <a:cubicBezTo>
                      <a:pt x="39" y="60"/>
                      <a:pt x="38" y="60"/>
                      <a:pt x="37" y="60"/>
                    </a:cubicBezTo>
                    <a:cubicBezTo>
                      <a:pt x="37" y="60"/>
                      <a:pt x="37" y="61"/>
                      <a:pt x="37" y="61"/>
                    </a:cubicBezTo>
                    <a:cubicBezTo>
                      <a:pt x="38" y="61"/>
                      <a:pt x="39" y="61"/>
                      <a:pt x="40" y="61"/>
                    </a:cubicBezTo>
                    <a:cubicBezTo>
                      <a:pt x="40" y="61"/>
                      <a:pt x="40" y="60"/>
                      <a:pt x="40" y="60"/>
                    </a:cubicBezTo>
                    <a:cubicBezTo>
                      <a:pt x="40" y="60"/>
                      <a:pt x="40" y="60"/>
                      <a:pt x="40" y="60"/>
                    </a:cubicBezTo>
                    <a:close/>
                    <a:moveTo>
                      <a:pt x="37" y="60"/>
                    </a:moveTo>
                    <a:cubicBezTo>
                      <a:pt x="37" y="60"/>
                      <a:pt x="36" y="60"/>
                      <a:pt x="36" y="60"/>
                    </a:cubicBezTo>
                    <a:cubicBezTo>
                      <a:pt x="36" y="61"/>
                      <a:pt x="37" y="61"/>
                      <a:pt x="37" y="61"/>
                    </a:cubicBezTo>
                    <a:cubicBezTo>
                      <a:pt x="37" y="61"/>
                      <a:pt x="37" y="60"/>
                      <a:pt x="37" y="60"/>
                    </a:cubicBezTo>
                    <a:cubicBezTo>
                      <a:pt x="37" y="60"/>
                      <a:pt x="37" y="60"/>
                      <a:pt x="37" y="60"/>
                    </a:cubicBezTo>
                    <a:close/>
                    <a:moveTo>
                      <a:pt x="27" y="59"/>
                    </a:moveTo>
                    <a:cubicBezTo>
                      <a:pt x="28" y="59"/>
                      <a:pt x="29" y="59"/>
                      <a:pt x="30" y="60"/>
                    </a:cubicBezTo>
                    <a:cubicBezTo>
                      <a:pt x="27" y="61"/>
                      <a:pt x="27" y="61"/>
                      <a:pt x="23" y="61"/>
                    </a:cubicBezTo>
                    <a:cubicBezTo>
                      <a:pt x="23" y="61"/>
                      <a:pt x="24" y="61"/>
                      <a:pt x="26" y="61"/>
                    </a:cubicBezTo>
                    <a:cubicBezTo>
                      <a:pt x="26" y="61"/>
                      <a:pt x="26" y="61"/>
                      <a:pt x="25" y="62"/>
                    </a:cubicBezTo>
                    <a:cubicBezTo>
                      <a:pt x="25" y="62"/>
                      <a:pt x="25" y="62"/>
                      <a:pt x="25" y="62"/>
                    </a:cubicBezTo>
                    <a:cubicBezTo>
                      <a:pt x="26" y="61"/>
                      <a:pt x="26" y="61"/>
                      <a:pt x="27" y="61"/>
                    </a:cubicBezTo>
                    <a:cubicBezTo>
                      <a:pt x="28" y="61"/>
                      <a:pt x="30" y="61"/>
                      <a:pt x="32" y="61"/>
                    </a:cubicBezTo>
                    <a:cubicBezTo>
                      <a:pt x="30" y="62"/>
                      <a:pt x="29" y="62"/>
                      <a:pt x="29" y="63"/>
                    </a:cubicBezTo>
                    <a:cubicBezTo>
                      <a:pt x="33" y="61"/>
                      <a:pt x="31" y="61"/>
                      <a:pt x="36" y="62"/>
                    </a:cubicBezTo>
                    <a:cubicBezTo>
                      <a:pt x="35" y="64"/>
                      <a:pt x="33" y="66"/>
                      <a:pt x="31" y="67"/>
                    </a:cubicBezTo>
                    <a:cubicBezTo>
                      <a:pt x="31" y="67"/>
                      <a:pt x="30" y="66"/>
                      <a:pt x="30" y="66"/>
                    </a:cubicBezTo>
                    <a:cubicBezTo>
                      <a:pt x="30" y="66"/>
                      <a:pt x="30" y="67"/>
                      <a:pt x="30" y="67"/>
                    </a:cubicBezTo>
                    <a:cubicBezTo>
                      <a:pt x="29" y="69"/>
                      <a:pt x="28" y="69"/>
                      <a:pt x="28" y="70"/>
                    </a:cubicBezTo>
                    <a:cubicBezTo>
                      <a:pt x="29" y="69"/>
                      <a:pt x="30" y="68"/>
                      <a:pt x="31" y="68"/>
                    </a:cubicBezTo>
                    <a:cubicBezTo>
                      <a:pt x="31" y="69"/>
                      <a:pt x="31" y="70"/>
                      <a:pt x="31" y="72"/>
                    </a:cubicBezTo>
                    <a:cubicBezTo>
                      <a:pt x="28" y="70"/>
                      <a:pt x="26" y="69"/>
                      <a:pt x="23" y="67"/>
                    </a:cubicBezTo>
                    <a:cubicBezTo>
                      <a:pt x="24" y="67"/>
                      <a:pt x="24" y="63"/>
                      <a:pt x="23" y="63"/>
                    </a:cubicBezTo>
                    <a:cubicBezTo>
                      <a:pt x="23" y="67"/>
                      <a:pt x="23" y="67"/>
                      <a:pt x="23" y="67"/>
                    </a:cubicBezTo>
                    <a:cubicBezTo>
                      <a:pt x="23" y="67"/>
                      <a:pt x="23" y="67"/>
                      <a:pt x="22" y="66"/>
                    </a:cubicBezTo>
                    <a:cubicBezTo>
                      <a:pt x="22" y="66"/>
                      <a:pt x="22" y="66"/>
                      <a:pt x="22" y="66"/>
                    </a:cubicBezTo>
                    <a:cubicBezTo>
                      <a:pt x="22" y="66"/>
                      <a:pt x="22" y="66"/>
                      <a:pt x="22" y="66"/>
                    </a:cubicBezTo>
                    <a:cubicBezTo>
                      <a:pt x="21" y="65"/>
                      <a:pt x="19" y="63"/>
                      <a:pt x="18" y="61"/>
                    </a:cubicBezTo>
                    <a:cubicBezTo>
                      <a:pt x="18" y="61"/>
                      <a:pt x="18" y="61"/>
                      <a:pt x="18" y="61"/>
                    </a:cubicBezTo>
                    <a:cubicBezTo>
                      <a:pt x="23" y="59"/>
                      <a:pt x="23" y="59"/>
                      <a:pt x="23" y="59"/>
                    </a:cubicBezTo>
                    <a:cubicBezTo>
                      <a:pt x="25" y="59"/>
                      <a:pt x="26" y="59"/>
                      <a:pt x="27" y="59"/>
                    </a:cubicBezTo>
                    <a:cubicBezTo>
                      <a:pt x="27" y="59"/>
                      <a:pt x="27" y="59"/>
                      <a:pt x="27" y="59"/>
                    </a:cubicBezTo>
                    <a:close/>
                    <a:moveTo>
                      <a:pt x="65" y="63"/>
                    </a:moveTo>
                    <a:cubicBezTo>
                      <a:pt x="64" y="64"/>
                      <a:pt x="64" y="64"/>
                      <a:pt x="63" y="64"/>
                    </a:cubicBezTo>
                    <a:cubicBezTo>
                      <a:pt x="64" y="64"/>
                      <a:pt x="65" y="65"/>
                      <a:pt x="66" y="65"/>
                    </a:cubicBezTo>
                    <a:cubicBezTo>
                      <a:pt x="69" y="63"/>
                      <a:pt x="69" y="63"/>
                      <a:pt x="69" y="63"/>
                    </a:cubicBezTo>
                    <a:cubicBezTo>
                      <a:pt x="67" y="63"/>
                      <a:pt x="66" y="63"/>
                      <a:pt x="65" y="63"/>
                    </a:cubicBezTo>
                    <a:cubicBezTo>
                      <a:pt x="65" y="63"/>
                      <a:pt x="65" y="63"/>
                      <a:pt x="65" y="63"/>
                    </a:cubicBezTo>
                    <a:close/>
                    <a:moveTo>
                      <a:pt x="30" y="60"/>
                    </a:moveTo>
                    <a:cubicBezTo>
                      <a:pt x="32" y="60"/>
                      <a:pt x="33" y="60"/>
                      <a:pt x="34" y="60"/>
                    </a:cubicBezTo>
                    <a:cubicBezTo>
                      <a:pt x="34" y="61"/>
                      <a:pt x="33" y="61"/>
                      <a:pt x="32" y="61"/>
                    </a:cubicBezTo>
                    <a:cubicBezTo>
                      <a:pt x="31" y="61"/>
                      <a:pt x="29" y="61"/>
                      <a:pt x="27" y="61"/>
                    </a:cubicBezTo>
                    <a:cubicBezTo>
                      <a:pt x="28" y="61"/>
                      <a:pt x="29" y="60"/>
                      <a:pt x="30" y="60"/>
                    </a:cubicBezTo>
                    <a:cubicBezTo>
                      <a:pt x="30" y="60"/>
                      <a:pt x="30" y="60"/>
                      <a:pt x="30" y="60"/>
                    </a:cubicBezTo>
                    <a:close/>
                    <a:moveTo>
                      <a:pt x="40" y="61"/>
                    </a:moveTo>
                    <a:cubicBezTo>
                      <a:pt x="40" y="61"/>
                      <a:pt x="40" y="61"/>
                      <a:pt x="40" y="61"/>
                    </a:cubicBezTo>
                    <a:cubicBezTo>
                      <a:pt x="40" y="61"/>
                      <a:pt x="39" y="61"/>
                      <a:pt x="39" y="61"/>
                    </a:cubicBezTo>
                    <a:cubicBezTo>
                      <a:pt x="39" y="61"/>
                      <a:pt x="40" y="61"/>
                      <a:pt x="40" y="61"/>
                    </a:cubicBezTo>
                    <a:cubicBezTo>
                      <a:pt x="40" y="61"/>
                      <a:pt x="40" y="61"/>
                      <a:pt x="40" y="61"/>
                    </a:cubicBezTo>
                    <a:close/>
                    <a:moveTo>
                      <a:pt x="62" y="64"/>
                    </a:moveTo>
                    <a:cubicBezTo>
                      <a:pt x="63" y="64"/>
                      <a:pt x="64" y="65"/>
                      <a:pt x="66" y="65"/>
                    </a:cubicBezTo>
                    <a:cubicBezTo>
                      <a:pt x="65" y="66"/>
                      <a:pt x="64" y="66"/>
                      <a:pt x="63" y="67"/>
                    </a:cubicBezTo>
                    <a:cubicBezTo>
                      <a:pt x="63" y="67"/>
                      <a:pt x="63" y="67"/>
                      <a:pt x="63" y="68"/>
                    </a:cubicBezTo>
                    <a:cubicBezTo>
                      <a:pt x="61" y="68"/>
                      <a:pt x="60" y="68"/>
                      <a:pt x="59" y="68"/>
                    </a:cubicBezTo>
                    <a:cubicBezTo>
                      <a:pt x="58" y="68"/>
                      <a:pt x="57" y="68"/>
                      <a:pt x="56" y="68"/>
                    </a:cubicBezTo>
                    <a:cubicBezTo>
                      <a:pt x="58" y="67"/>
                      <a:pt x="61" y="67"/>
                      <a:pt x="64" y="66"/>
                    </a:cubicBezTo>
                    <a:cubicBezTo>
                      <a:pt x="64" y="66"/>
                      <a:pt x="62" y="66"/>
                      <a:pt x="59" y="67"/>
                    </a:cubicBezTo>
                    <a:cubicBezTo>
                      <a:pt x="58" y="67"/>
                      <a:pt x="57" y="67"/>
                      <a:pt x="55" y="67"/>
                    </a:cubicBezTo>
                    <a:cubicBezTo>
                      <a:pt x="57" y="66"/>
                      <a:pt x="58" y="66"/>
                      <a:pt x="59" y="66"/>
                    </a:cubicBezTo>
                    <a:cubicBezTo>
                      <a:pt x="62" y="65"/>
                      <a:pt x="59" y="65"/>
                      <a:pt x="63" y="64"/>
                    </a:cubicBezTo>
                    <a:cubicBezTo>
                      <a:pt x="63" y="64"/>
                      <a:pt x="61" y="65"/>
                      <a:pt x="61" y="65"/>
                    </a:cubicBezTo>
                    <a:cubicBezTo>
                      <a:pt x="61" y="65"/>
                      <a:pt x="62" y="64"/>
                      <a:pt x="62" y="64"/>
                    </a:cubicBezTo>
                    <a:cubicBezTo>
                      <a:pt x="62" y="64"/>
                      <a:pt x="62" y="64"/>
                      <a:pt x="62" y="64"/>
                    </a:cubicBezTo>
                    <a:close/>
                    <a:moveTo>
                      <a:pt x="67" y="65"/>
                    </a:moveTo>
                    <a:cubicBezTo>
                      <a:pt x="66" y="65"/>
                      <a:pt x="66" y="65"/>
                      <a:pt x="66" y="65"/>
                    </a:cubicBezTo>
                    <a:cubicBezTo>
                      <a:pt x="65" y="66"/>
                      <a:pt x="64" y="67"/>
                      <a:pt x="63" y="68"/>
                    </a:cubicBezTo>
                    <a:cubicBezTo>
                      <a:pt x="65" y="67"/>
                      <a:pt x="65" y="67"/>
                      <a:pt x="67" y="65"/>
                    </a:cubicBezTo>
                    <a:cubicBezTo>
                      <a:pt x="67" y="65"/>
                      <a:pt x="67" y="65"/>
                      <a:pt x="67" y="65"/>
                    </a:cubicBezTo>
                    <a:close/>
                    <a:moveTo>
                      <a:pt x="60" y="63"/>
                    </a:moveTo>
                    <a:cubicBezTo>
                      <a:pt x="59" y="63"/>
                      <a:pt x="58" y="64"/>
                      <a:pt x="57" y="64"/>
                    </a:cubicBezTo>
                    <a:cubicBezTo>
                      <a:pt x="57" y="65"/>
                      <a:pt x="57" y="65"/>
                      <a:pt x="56" y="66"/>
                    </a:cubicBezTo>
                    <a:cubicBezTo>
                      <a:pt x="59" y="65"/>
                      <a:pt x="58" y="65"/>
                      <a:pt x="61" y="63"/>
                    </a:cubicBezTo>
                    <a:cubicBezTo>
                      <a:pt x="61" y="63"/>
                      <a:pt x="60" y="63"/>
                      <a:pt x="60" y="63"/>
                    </a:cubicBezTo>
                    <a:cubicBezTo>
                      <a:pt x="60" y="63"/>
                      <a:pt x="60" y="63"/>
                      <a:pt x="60" y="63"/>
                    </a:cubicBezTo>
                    <a:close/>
                    <a:moveTo>
                      <a:pt x="69" y="66"/>
                    </a:moveTo>
                    <a:cubicBezTo>
                      <a:pt x="68" y="65"/>
                      <a:pt x="68" y="65"/>
                      <a:pt x="67" y="65"/>
                    </a:cubicBezTo>
                    <a:cubicBezTo>
                      <a:pt x="66" y="66"/>
                      <a:pt x="66" y="66"/>
                      <a:pt x="65" y="67"/>
                    </a:cubicBezTo>
                    <a:cubicBezTo>
                      <a:pt x="67" y="67"/>
                      <a:pt x="68" y="66"/>
                      <a:pt x="69" y="66"/>
                    </a:cubicBezTo>
                    <a:cubicBezTo>
                      <a:pt x="69" y="66"/>
                      <a:pt x="69" y="66"/>
                      <a:pt x="69" y="66"/>
                    </a:cubicBezTo>
                    <a:close/>
                    <a:moveTo>
                      <a:pt x="34" y="61"/>
                    </a:moveTo>
                    <a:cubicBezTo>
                      <a:pt x="35" y="61"/>
                      <a:pt x="35" y="61"/>
                      <a:pt x="36" y="61"/>
                    </a:cubicBezTo>
                    <a:cubicBezTo>
                      <a:pt x="35" y="61"/>
                      <a:pt x="34" y="61"/>
                      <a:pt x="33" y="61"/>
                    </a:cubicBezTo>
                    <a:cubicBezTo>
                      <a:pt x="33" y="61"/>
                      <a:pt x="34" y="61"/>
                      <a:pt x="34" y="61"/>
                    </a:cubicBezTo>
                    <a:cubicBezTo>
                      <a:pt x="34" y="61"/>
                      <a:pt x="34" y="61"/>
                      <a:pt x="34" y="61"/>
                    </a:cubicBezTo>
                    <a:close/>
                    <a:moveTo>
                      <a:pt x="39" y="62"/>
                    </a:moveTo>
                    <a:cubicBezTo>
                      <a:pt x="39" y="62"/>
                      <a:pt x="39" y="62"/>
                      <a:pt x="40" y="62"/>
                    </a:cubicBezTo>
                    <a:cubicBezTo>
                      <a:pt x="39" y="65"/>
                      <a:pt x="39" y="68"/>
                      <a:pt x="38" y="70"/>
                    </a:cubicBezTo>
                    <a:cubicBezTo>
                      <a:pt x="38" y="70"/>
                      <a:pt x="37" y="70"/>
                      <a:pt x="37" y="70"/>
                    </a:cubicBezTo>
                    <a:cubicBezTo>
                      <a:pt x="37" y="70"/>
                      <a:pt x="38" y="70"/>
                      <a:pt x="38" y="70"/>
                    </a:cubicBezTo>
                    <a:cubicBezTo>
                      <a:pt x="38" y="70"/>
                      <a:pt x="38" y="70"/>
                      <a:pt x="38" y="70"/>
                    </a:cubicBezTo>
                    <a:cubicBezTo>
                      <a:pt x="36" y="71"/>
                      <a:pt x="33" y="72"/>
                      <a:pt x="31" y="72"/>
                    </a:cubicBezTo>
                    <a:cubicBezTo>
                      <a:pt x="31" y="71"/>
                      <a:pt x="31" y="69"/>
                      <a:pt x="31" y="67"/>
                    </a:cubicBezTo>
                    <a:cubicBezTo>
                      <a:pt x="33" y="66"/>
                      <a:pt x="35" y="64"/>
                      <a:pt x="36" y="62"/>
                    </a:cubicBezTo>
                    <a:cubicBezTo>
                      <a:pt x="37" y="62"/>
                      <a:pt x="38" y="62"/>
                      <a:pt x="39" y="62"/>
                    </a:cubicBezTo>
                    <a:cubicBezTo>
                      <a:pt x="37" y="65"/>
                      <a:pt x="35" y="68"/>
                      <a:pt x="32" y="71"/>
                    </a:cubicBezTo>
                    <a:cubicBezTo>
                      <a:pt x="32" y="71"/>
                      <a:pt x="32" y="71"/>
                      <a:pt x="32" y="71"/>
                    </a:cubicBezTo>
                    <a:cubicBezTo>
                      <a:pt x="35" y="68"/>
                      <a:pt x="37" y="65"/>
                      <a:pt x="39" y="62"/>
                    </a:cubicBezTo>
                    <a:cubicBezTo>
                      <a:pt x="39" y="62"/>
                      <a:pt x="39" y="62"/>
                      <a:pt x="39" y="62"/>
                    </a:cubicBezTo>
                    <a:close/>
                    <a:moveTo>
                      <a:pt x="54" y="65"/>
                    </a:moveTo>
                    <a:cubicBezTo>
                      <a:pt x="53" y="64"/>
                      <a:pt x="52" y="64"/>
                      <a:pt x="51" y="63"/>
                    </a:cubicBezTo>
                    <a:cubicBezTo>
                      <a:pt x="49" y="64"/>
                      <a:pt x="48" y="65"/>
                      <a:pt x="47" y="66"/>
                    </a:cubicBezTo>
                    <a:cubicBezTo>
                      <a:pt x="50" y="67"/>
                      <a:pt x="49" y="66"/>
                      <a:pt x="52" y="65"/>
                    </a:cubicBezTo>
                    <a:cubicBezTo>
                      <a:pt x="53" y="65"/>
                      <a:pt x="54" y="65"/>
                      <a:pt x="54" y="65"/>
                    </a:cubicBezTo>
                    <a:cubicBezTo>
                      <a:pt x="54" y="65"/>
                      <a:pt x="54" y="65"/>
                      <a:pt x="54" y="65"/>
                    </a:cubicBezTo>
                    <a:close/>
                    <a:moveTo>
                      <a:pt x="54" y="65"/>
                    </a:moveTo>
                    <a:cubicBezTo>
                      <a:pt x="55" y="64"/>
                      <a:pt x="56" y="64"/>
                      <a:pt x="57" y="64"/>
                    </a:cubicBezTo>
                    <a:cubicBezTo>
                      <a:pt x="57" y="65"/>
                      <a:pt x="57" y="65"/>
                      <a:pt x="56" y="66"/>
                    </a:cubicBezTo>
                    <a:cubicBezTo>
                      <a:pt x="53" y="67"/>
                      <a:pt x="53" y="66"/>
                      <a:pt x="50" y="67"/>
                    </a:cubicBezTo>
                    <a:cubicBezTo>
                      <a:pt x="50" y="66"/>
                      <a:pt x="54" y="65"/>
                      <a:pt x="54" y="65"/>
                    </a:cubicBezTo>
                    <a:cubicBezTo>
                      <a:pt x="55" y="65"/>
                      <a:pt x="55" y="65"/>
                      <a:pt x="55" y="65"/>
                    </a:cubicBezTo>
                    <a:cubicBezTo>
                      <a:pt x="55" y="65"/>
                      <a:pt x="55" y="65"/>
                      <a:pt x="54" y="65"/>
                    </a:cubicBezTo>
                    <a:cubicBezTo>
                      <a:pt x="54" y="65"/>
                      <a:pt x="54" y="65"/>
                      <a:pt x="54" y="65"/>
                    </a:cubicBezTo>
                    <a:close/>
                    <a:moveTo>
                      <a:pt x="42" y="64"/>
                    </a:moveTo>
                    <a:cubicBezTo>
                      <a:pt x="42" y="63"/>
                      <a:pt x="42" y="62"/>
                      <a:pt x="42" y="62"/>
                    </a:cubicBezTo>
                    <a:cubicBezTo>
                      <a:pt x="42" y="63"/>
                      <a:pt x="42" y="63"/>
                      <a:pt x="43" y="64"/>
                    </a:cubicBezTo>
                    <a:cubicBezTo>
                      <a:pt x="42" y="64"/>
                      <a:pt x="42" y="64"/>
                      <a:pt x="42" y="64"/>
                    </a:cubicBezTo>
                    <a:cubicBezTo>
                      <a:pt x="42" y="64"/>
                      <a:pt x="42" y="64"/>
                      <a:pt x="42" y="64"/>
                    </a:cubicBezTo>
                    <a:close/>
                    <a:moveTo>
                      <a:pt x="18" y="61"/>
                    </a:moveTo>
                    <a:cubicBezTo>
                      <a:pt x="18" y="61"/>
                      <a:pt x="18" y="61"/>
                      <a:pt x="18" y="61"/>
                    </a:cubicBezTo>
                    <a:cubicBezTo>
                      <a:pt x="18" y="61"/>
                      <a:pt x="18" y="61"/>
                      <a:pt x="18" y="61"/>
                    </a:cubicBezTo>
                    <a:cubicBezTo>
                      <a:pt x="18" y="61"/>
                      <a:pt x="18" y="61"/>
                      <a:pt x="18" y="61"/>
                    </a:cubicBezTo>
                    <a:cubicBezTo>
                      <a:pt x="18" y="61"/>
                      <a:pt x="18" y="61"/>
                      <a:pt x="18" y="61"/>
                    </a:cubicBezTo>
                    <a:close/>
                    <a:moveTo>
                      <a:pt x="18" y="61"/>
                    </a:moveTo>
                    <a:cubicBezTo>
                      <a:pt x="18" y="61"/>
                      <a:pt x="18" y="61"/>
                      <a:pt x="17" y="61"/>
                    </a:cubicBezTo>
                    <a:cubicBezTo>
                      <a:pt x="16" y="61"/>
                      <a:pt x="15" y="62"/>
                      <a:pt x="14" y="62"/>
                    </a:cubicBezTo>
                    <a:cubicBezTo>
                      <a:pt x="16" y="63"/>
                      <a:pt x="18" y="64"/>
                      <a:pt x="19" y="65"/>
                    </a:cubicBezTo>
                    <a:cubicBezTo>
                      <a:pt x="19" y="65"/>
                      <a:pt x="17" y="62"/>
                      <a:pt x="18" y="62"/>
                    </a:cubicBezTo>
                    <a:cubicBezTo>
                      <a:pt x="18" y="62"/>
                      <a:pt x="18" y="61"/>
                      <a:pt x="18" y="61"/>
                    </a:cubicBezTo>
                    <a:cubicBezTo>
                      <a:pt x="18" y="61"/>
                      <a:pt x="18" y="61"/>
                      <a:pt x="18" y="61"/>
                    </a:cubicBezTo>
                    <a:close/>
                    <a:moveTo>
                      <a:pt x="18" y="62"/>
                    </a:moveTo>
                    <a:cubicBezTo>
                      <a:pt x="18" y="62"/>
                      <a:pt x="18" y="62"/>
                      <a:pt x="18" y="62"/>
                    </a:cubicBezTo>
                    <a:cubicBezTo>
                      <a:pt x="18" y="62"/>
                      <a:pt x="18" y="62"/>
                      <a:pt x="18" y="63"/>
                    </a:cubicBezTo>
                    <a:cubicBezTo>
                      <a:pt x="18" y="62"/>
                      <a:pt x="18" y="62"/>
                      <a:pt x="18" y="62"/>
                    </a:cubicBezTo>
                    <a:cubicBezTo>
                      <a:pt x="18" y="62"/>
                      <a:pt x="18" y="62"/>
                      <a:pt x="18" y="62"/>
                    </a:cubicBezTo>
                    <a:close/>
                    <a:moveTo>
                      <a:pt x="57" y="67"/>
                    </a:moveTo>
                    <a:cubicBezTo>
                      <a:pt x="54" y="67"/>
                      <a:pt x="55" y="67"/>
                      <a:pt x="54" y="67"/>
                    </a:cubicBezTo>
                    <a:cubicBezTo>
                      <a:pt x="53" y="67"/>
                      <a:pt x="53" y="67"/>
                      <a:pt x="53" y="67"/>
                    </a:cubicBezTo>
                    <a:cubicBezTo>
                      <a:pt x="56" y="68"/>
                      <a:pt x="55" y="68"/>
                      <a:pt x="59" y="67"/>
                    </a:cubicBezTo>
                    <a:cubicBezTo>
                      <a:pt x="58" y="67"/>
                      <a:pt x="57" y="67"/>
                      <a:pt x="57" y="67"/>
                    </a:cubicBezTo>
                    <a:cubicBezTo>
                      <a:pt x="57" y="67"/>
                      <a:pt x="57" y="67"/>
                      <a:pt x="57" y="67"/>
                    </a:cubicBezTo>
                    <a:close/>
                    <a:moveTo>
                      <a:pt x="43" y="66"/>
                    </a:moveTo>
                    <a:cubicBezTo>
                      <a:pt x="42" y="66"/>
                      <a:pt x="42" y="66"/>
                      <a:pt x="41" y="65"/>
                    </a:cubicBezTo>
                    <a:cubicBezTo>
                      <a:pt x="41" y="66"/>
                      <a:pt x="41" y="66"/>
                      <a:pt x="41" y="66"/>
                    </a:cubicBezTo>
                    <a:cubicBezTo>
                      <a:pt x="42" y="66"/>
                      <a:pt x="42" y="67"/>
                      <a:pt x="43" y="67"/>
                    </a:cubicBezTo>
                    <a:cubicBezTo>
                      <a:pt x="43" y="67"/>
                      <a:pt x="43" y="66"/>
                      <a:pt x="43" y="66"/>
                    </a:cubicBezTo>
                    <a:cubicBezTo>
                      <a:pt x="43" y="66"/>
                      <a:pt x="43" y="66"/>
                      <a:pt x="43" y="66"/>
                    </a:cubicBezTo>
                    <a:close/>
                    <a:moveTo>
                      <a:pt x="53" y="67"/>
                    </a:moveTo>
                    <a:cubicBezTo>
                      <a:pt x="53" y="68"/>
                      <a:pt x="54" y="68"/>
                      <a:pt x="55" y="68"/>
                    </a:cubicBezTo>
                    <a:cubicBezTo>
                      <a:pt x="54" y="68"/>
                      <a:pt x="54" y="68"/>
                      <a:pt x="53" y="68"/>
                    </a:cubicBezTo>
                    <a:cubicBezTo>
                      <a:pt x="53" y="68"/>
                      <a:pt x="53" y="68"/>
                      <a:pt x="53" y="67"/>
                    </a:cubicBezTo>
                    <a:cubicBezTo>
                      <a:pt x="53" y="67"/>
                      <a:pt x="53" y="67"/>
                      <a:pt x="53" y="67"/>
                    </a:cubicBezTo>
                    <a:close/>
                    <a:moveTo>
                      <a:pt x="55" y="68"/>
                    </a:moveTo>
                    <a:cubicBezTo>
                      <a:pt x="57" y="68"/>
                      <a:pt x="58" y="68"/>
                      <a:pt x="59" y="68"/>
                    </a:cubicBezTo>
                    <a:cubicBezTo>
                      <a:pt x="57" y="69"/>
                      <a:pt x="55" y="69"/>
                      <a:pt x="53" y="69"/>
                    </a:cubicBezTo>
                    <a:cubicBezTo>
                      <a:pt x="53" y="69"/>
                      <a:pt x="53" y="69"/>
                      <a:pt x="53" y="69"/>
                    </a:cubicBezTo>
                    <a:cubicBezTo>
                      <a:pt x="54" y="68"/>
                      <a:pt x="55" y="68"/>
                      <a:pt x="55" y="68"/>
                    </a:cubicBezTo>
                    <a:cubicBezTo>
                      <a:pt x="55" y="68"/>
                      <a:pt x="55" y="68"/>
                      <a:pt x="55" y="68"/>
                    </a:cubicBezTo>
                    <a:close/>
                    <a:moveTo>
                      <a:pt x="18" y="63"/>
                    </a:moveTo>
                    <a:cubicBezTo>
                      <a:pt x="19" y="63"/>
                      <a:pt x="20" y="65"/>
                      <a:pt x="20" y="66"/>
                    </a:cubicBezTo>
                    <a:cubicBezTo>
                      <a:pt x="21" y="66"/>
                      <a:pt x="22" y="66"/>
                      <a:pt x="22" y="67"/>
                    </a:cubicBezTo>
                    <a:cubicBezTo>
                      <a:pt x="21" y="65"/>
                      <a:pt x="20" y="63"/>
                      <a:pt x="18" y="61"/>
                    </a:cubicBezTo>
                    <a:cubicBezTo>
                      <a:pt x="18" y="62"/>
                      <a:pt x="18" y="62"/>
                      <a:pt x="18" y="63"/>
                    </a:cubicBezTo>
                    <a:cubicBezTo>
                      <a:pt x="18" y="63"/>
                      <a:pt x="18" y="63"/>
                      <a:pt x="18" y="63"/>
                    </a:cubicBezTo>
                    <a:close/>
                    <a:moveTo>
                      <a:pt x="44" y="67"/>
                    </a:moveTo>
                    <a:cubicBezTo>
                      <a:pt x="44" y="67"/>
                      <a:pt x="44" y="66"/>
                      <a:pt x="43" y="66"/>
                    </a:cubicBezTo>
                    <a:cubicBezTo>
                      <a:pt x="43" y="66"/>
                      <a:pt x="43" y="67"/>
                      <a:pt x="43" y="67"/>
                    </a:cubicBezTo>
                    <a:cubicBezTo>
                      <a:pt x="44" y="67"/>
                      <a:pt x="44" y="67"/>
                      <a:pt x="44" y="67"/>
                    </a:cubicBezTo>
                    <a:cubicBezTo>
                      <a:pt x="44" y="67"/>
                      <a:pt x="44" y="67"/>
                      <a:pt x="44" y="67"/>
                    </a:cubicBezTo>
                    <a:cubicBezTo>
                      <a:pt x="44" y="67"/>
                      <a:pt x="44" y="67"/>
                      <a:pt x="44" y="67"/>
                    </a:cubicBezTo>
                    <a:close/>
                    <a:moveTo>
                      <a:pt x="44" y="67"/>
                    </a:moveTo>
                    <a:cubicBezTo>
                      <a:pt x="45" y="67"/>
                      <a:pt x="45" y="67"/>
                      <a:pt x="45" y="67"/>
                    </a:cubicBezTo>
                    <a:cubicBezTo>
                      <a:pt x="45" y="67"/>
                      <a:pt x="45" y="68"/>
                      <a:pt x="46" y="68"/>
                    </a:cubicBezTo>
                    <a:cubicBezTo>
                      <a:pt x="45" y="67"/>
                      <a:pt x="45" y="67"/>
                      <a:pt x="45" y="67"/>
                    </a:cubicBezTo>
                    <a:cubicBezTo>
                      <a:pt x="46" y="67"/>
                      <a:pt x="46" y="67"/>
                      <a:pt x="47" y="67"/>
                    </a:cubicBezTo>
                    <a:cubicBezTo>
                      <a:pt x="47" y="67"/>
                      <a:pt x="46" y="68"/>
                      <a:pt x="46" y="68"/>
                    </a:cubicBezTo>
                    <a:cubicBezTo>
                      <a:pt x="45" y="68"/>
                      <a:pt x="45" y="68"/>
                      <a:pt x="44" y="67"/>
                    </a:cubicBezTo>
                    <a:cubicBezTo>
                      <a:pt x="44" y="67"/>
                      <a:pt x="44" y="67"/>
                      <a:pt x="44" y="67"/>
                    </a:cubicBezTo>
                    <a:cubicBezTo>
                      <a:pt x="44" y="67"/>
                      <a:pt x="44" y="67"/>
                      <a:pt x="44" y="67"/>
                    </a:cubicBezTo>
                    <a:close/>
                    <a:moveTo>
                      <a:pt x="49" y="68"/>
                    </a:moveTo>
                    <a:cubicBezTo>
                      <a:pt x="48" y="67"/>
                      <a:pt x="47" y="67"/>
                      <a:pt x="46" y="68"/>
                    </a:cubicBezTo>
                    <a:cubicBezTo>
                      <a:pt x="49" y="68"/>
                      <a:pt x="48" y="68"/>
                      <a:pt x="52" y="67"/>
                    </a:cubicBezTo>
                    <a:cubicBezTo>
                      <a:pt x="51" y="67"/>
                      <a:pt x="50" y="67"/>
                      <a:pt x="49" y="68"/>
                    </a:cubicBezTo>
                    <a:cubicBezTo>
                      <a:pt x="49" y="68"/>
                      <a:pt x="49" y="68"/>
                      <a:pt x="49" y="68"/>
                    </a:cubicBezTo>
                    <a:close/>
                    <a:moveTo>
                      <a:pt x="53" y="68"/>
                    </a:moveTo>
                    <a:cubicBezTo>
                      <a:pt x="53" y="68"/>
                      <a:pt x="53" y="68"/>
                      <a:pt x="52" y="67"/>
                    </a:cubicBezTo>
                    <a:cubicBezTo>
                      <a:pt x="52" y="68"/>
                      <a:pt x="51" y="68"/>
                      <a:pt x="50" y="68"/>
                    </a:cubicBezTo>
                    <a:cubicBezTo>
                      <a:pt x="51" y="69"/>
                      <a:pt x="52" y="69"/>
                      <a:pt x="53" y="68"/>
                    </a:cubicBezTo>
                    <a:cubicBezTo>
                      <a:pt x="53" y="68"/>
                      <a:pt x="53" y="68"/>
                      <a:pt x="53" y="68"/>
                    </a:cubicBezTo>
                    <a:close/>
                    <a:moveTo>
                      <a:pt x="53" y="69"/>
                    </a:moveTo>
                    <a:cubicBezTo>
                      <a:pt x="53" y="69"/>
                      <a:pt x="53" y="69"/>
                      <a:pt x="53" y="69"/>
                    </a:cubicBezTo>
                    <a:cubicBezTo>
                      <a:pt x="53" y="69"/>
                      <a:pt x="53" y="69"/>
                      <a:pt x="53" y="69"/>
                    </a:cubicBezTo>
                    <a:cubicBezTo>
                      <a:pt x="53" y="69"/>
                      <a:pt x="53" y="69"/>
                      <a:pt x="53" y="69"/>
                    </a:cubicBezTo>
                    <a:cubicBezTo>
                      <a:pt x="53" y="69"/>
                      <a:pt x="53" y="69"/>
                      <a:pt x="53" y="69"/>
                    </a:cubicBezTo>
                    <a:close/>
                    <a:moveTo>
                      <a:pt x="49" y="68"/>
                    </a:moveTo>
                    <a:cubicBezTo>
                      <a:pt x="50" y="68"/>
                      <a:pt x="51" y="68"/>
                      <a:pt x="52" y="67"/>
                    </a:cubicBezTo>
                    <a:cubicBezTo>
                      <a:pt x="51" y="68"/>
                      <a:pt x="50" y="68"/>
                      <a:pt x="49" y="68"/>
                    </a:cubicBezTo>
                    <a:cubicBezTo>
                      <a:pt x="49" y="68"/>
                      <a:pt x="49" y="68"/>
                      <a:pt x="49" y="68"/>
                    </a:cubicBezTo>
                    <a:close/>
                    <a:moveTo>
                      <a:pt x="41" y="67"/>
                    </a:moveTo>
                    <a:cubicBezTo>
                      <a:pt x="41" y="67"/>
                      <a:pt x="41" y="67"/>
                      <a:pt x="41" y="67"/>
                    </a:cubicBezTo>
                    <a:cubicBezTo>
                      <a:pt x="41" y="68"/>
                      <a:pt x="40" y="71"/>
                      <a:pt x="41" y="71"/>
                    </a:cubicBezTo>
                    <a:cubicBezTo>
                      <a:pt x="41" y="71"/>
                      <a:pt x="42" y="71"/>
                      <a:pt x="42" y="71"/>
                    </a:cubicBezTo>
                    <a:cubicBezTo>
                      <a:pt x="42" y="70"/>
                      <a:pt x="42" y="69"/>
                      <a:pt x="41" y="67"/>
                    </a:cubicBezTo>
                    <a:cubicBezTo>
                      <a:pt x="41" y="67"/>
                      <a:pt x="41" y="67"/>
                      <a:pt x="41" y="67"/>
                    </a:cubicBezTo>
                    <a:close/>
                    <a:moveTo>
                      <a:pt x="56" y="69"/>
                    </a:moveTo>
                    <a:cubicBezTo>
                      <a:pt x="58" y="69"/>
                      <a:pt x="57" y="70"/>
                      <a:pt x="60" y="71"/>
                    </a:cubicBezTo>
                    <a:cubicBezTo>
                      <a:pt x="59" y="70"/>
                      <a:pt x="57" y="70"/>
                      <a:pt x="56" y="69"/>
                    </a:cubicBezTo>
                    <a:cubicBezTo>
                      <a:pt x="56" y="69"/>
                      <a:pt x="56" y="69"/>
                      <a:pt x="56" y="69"/>
                    </a:cubicBezTo>
                    <a:close/>
                    <a:moveTo>
                      <a:pt x="43" y="68"/>
                    </a:moveTo>
                    <a:cubicBezTo>
                      <a:pt x="43" y="68"/>
                      <a:pt x="42" y="68"/>
                      <a:pt x="42" y="67"/>
                    </a:cubicBezTo>
                    <a:cubicBezTo>
                      <a:pt x="42" y="69"/>
                      <a:pt x="42" y="70"/>
                      <a:pt x="42" y="71"/>
                    </a:cubicBezTo>
                    <a:cubicBezTo>
                      <a:pt x="43" y="71"/>
                      <a:pt x="43" y="70"/>
                      <a:pt x="43" y="70"/>
                    </a:cubicBezTo>
                    <a:cubicBezTo>
                      <a:pt x="43" y="70"/>
                      <a:pt x="43" y="69"/>
                      <a:pt x="43" y="68"/>
                    </a:cubicBezTo>
                    <a:cubicBezTo>
                      <a:pt x="43" y="68"/>
                      <a:pt x="43" y="68"/>
                      <a:pt x="43" y="68"/>
                    </a:cubicBezTo>
                    <a:close/>
                    <a:moveTo>
                      <a:pt x="44" y="68"/>
                    </a:moveTo>
                    <a:cubicBezTo>
                      <a:pt x="44" y="68"/>
                      <a:pt x="44" y="68"/>
                      <a:pt x="44" y="68"/>
                    </a:cubicBezTo>
                    <a:cubicBezTo>
                      <a:pt x="44" y="68"/>
                      <a:pt x="44" y="69"/>
                      <a:pt x="44" y="69"/>
                    </a:cubicBezTo>
                    <a:cubicBezTo>
                      <a:pt x="44" y="69"/>
                      <a:pt x="44" y="69"/>
                      <a:pt x="44" y="69"/>
                    </a:cubicBezTo>
                    <a:cubicBezTo>
                      <a:pt x="44" y="69"/>
                      <a:pt x="44" y="68"/>
                      <a:pt x="44" y="68"/>
                    </a:cubicBezTo>
                    <a:cubicBezTo>
                      <a:pt x="44" y="68"/>
                      <a:pt x="45" y="69"/>
                      <a:pt x="45" y="69"/>
                    </a:cubicBezTo>
                    <a:cubicBezTo>
                      <a:pt x="45" y="69"/>
                      <a:pt x="44" y="69"/>
                      <a:pt x="44" y="69"/>
                    </a:cubicBezTo>
                    <a:cubicBezTo>
                      <a:pt x="44" y="69"/>
                      <a:pt x="44" y="69"/>
                      <a:pt x="44" y="69"/>
                    </a:cubicBezTo>
                    <a:cubicBezTo>
                      <a:pt x="44" y="69"/>
                      <a:pt x="44" y="69"/>
                      <a:pt x="44" y="69"/>
                    </a:cubicBezTo>
                    <a:cubicBezTo>
                      <a:pt x="44" y="69"/>
                      <a:pt x="44" y="68"/>
                      <a:pt x="44" y="68"/>
                    </a:cubicBezTo>
                    <a:cubicBezTo>
                      <a:pt x="44" y="68"/>
                      <a:pt x="44" y="68"/>
                      <a:pt x="44" y="68"/>
                    </a:cubicBezTo>
                    <a:close/>
                    <a:moveTo>
                      <a:pt x="48" y="69"/>
                    </a:moveTo>
                    <a:cubicBezTo>
                      <a:pt x="48" y="69"/>
                      <a:pt x="48" y="69"/>
                      <a:pt x="49" y="69"/>
                    </a:cubicBezTo>
                    <a:cubicBezTo>
                      <a:pt x="48" y="69"/>
                      <a:pt x="48" y="69"/>
                      <a:pt x="48" y="69"/>
                    </a:cubicBezTo>
                    <a:cubicBezTo>
                      <a:pt x="48" y="69"/>
                      <a:pt x="48" y="69"/>
                      <a:pt x="48" y="69"/>
                    </a:cubicBezTo>
                    <a:cubicBezTo>
                      <a:pt x="48" y="69"/>
                      <a:pt x="48" y="69"/>
                      <a:pt x="48" y="69"/>
                    </a:cubicBezTo>
                    <a:close/>
                    <a:moveTo>
                      <a:pt x="52" y="70"/>
                    </a:moveTo>
                    <a:cubicBezTo>
                      <a:pt x="51" y="70"/>
                      <a:pt x="49" y="69"/>
                      <a:pt x="48" y="69"/>
                    </a:cubicBezTo>
                    <a:cubicBezTo>
                      <a:pt x="51" y="71"/>
                      <a:pt x="54" y="72"/>
                      <a:pt x="56" y="73"/>
                    </a:cubicBezTo>
                    <a:cubicBezTo>
                      <a:pt x="54" y="70"/>
                      <a:pt x="54" y="70"/>
                      <a:pt x="54" y="70"/>
                    </a:cubicBezTo>
                    <a:cubicBezTo>
                      <a:pt x="53" y="70"/>
                      <a:pt x="52" y="70"/>
                      <a:pt x="52" y="70"/>
                    </a:cubicBezTo>
                    <a:cubicBezTo>
                      <a:pt x="52" y="70"/>
                      <a:pt x="52" y="70"/>
                      <a:pt x="52" y="70"/>
                    </a:cubicBezTo>
                    <a:close/>
                    <a:moveTo>
                      <a:pt x="45" y="69"/>
                    </a:moveTo>
                    <a:cubicBezTo>
                      <a:pt x="46" y="69"/>
                      <a:pt x="46" y="69"/>
                      <a:pt x="46" y="69"/>
                    </a:cubicBezTo>
                    <a:cubicBezTo>
                      <a:pt x="46" y="69"/>
                      <a:pt x="45" y="70"/>
                      <a:pt x="44" y="70"/>
                    </a:cubicBezTo>
                    <a:cubicBezTo>
                      <a:pt x="44" y="70"/>
                      <a:pt x="44" y="70"/>
                      <a:pt x="44" y="69"/>
                    </a:cubicBezTo>
                    <a:cubicBezTo>
                      <a:pt x="44" y="69"/>
                      <a:pt x="45" y="69"/>
                      <a:pt x="45" y="69"/>
                    </a:cubicBezTo>
                    <a:cubicBezTo>
                      <a:pt x="45" y="69"/>
                      <a:pt x="45" y="69"/>
                      <a:pt x="45" y="69"/>
                    </a:cubicBezTo>
                    <a:close/>
                    <a:moveTo>
                      <a:pt x="47" y="69"/>
                    </a:moveTo>
                    <a:cubicBezTo>
                      <a:pt x="47" y="69"/>
                      <a:pt x="48" y="69"/>
                      <a:pt x="48" y="69"/>
                    </a:cubicBezTo>
                    <a:cubicBezTo>
                      <a:pt x="48" y="70"/>
                      <a:pt x="46" y="71"/>
                      <a:pt x="45" y="71"/>
                    </a:cubicBezTo>
                    <a:cubicBezTo>
                      <a:pt x="45" y="71"/>
                      <a:pt x="45" y="71"/>
                      <a:pt x="45" y="71"/>
                    </a:cubicBezTo>
                    <a:cubicBezTo>
                      <a:pt x="45" y="71"/>
                      <a:pt x="45" y="70"/>
                      <a:pt x="44" y="70"/>
                    </a:cubicBezTo>
                    <a:cubicBezTo>
                      <a:pt x="45" y="70"/>
                      <a:pt x="46" y="69"/>
                      <a:pt x="47" y="69"/>
                    </a:cubicBezTo>
                    <a:cubicBezTo>
                      <a:pt x="47" y="69"/>
                      <a:pt x="47" y="69"/>
                      <a:pt x="47" y="69"/>
                    </a:cubicBezTo>
                    <a:close/>
                    <a:moveTo>
                      <a:pt x="44" y="69"/>
                    </a:moveTo>
                    <a:cubicBezTo>
                      <a:pt x="44" y="69"/>
                      <a:pt x="44" y="69"/>
                      <a:pt x="44" y="69"/>
                    </a:cubicBezTo>
                    <a:cubicBezTo>
                      <a:pt x="43" y="69"/>
                      <a:pt x="43" y="70"/>
                      <a:pt x="43" y="70"/>
                    </a:cubicBezTo>
                    <a:cubicBezTo>
                      <a:pt x="43" y="70"/>
                      <a:pt x="43" y="70"/>
                      <a:pt x="43" y="70"/>
                    </a:cubicBezTo>
                    <a:cubicBezTo>
                      <a:pt x="44" y="70"/>
                      <a:pt x="44" y="69"/>
                      <a:pt x="44" y="69"/>
                    </a:cubicBezTo>
                    <a:cubicBezTo>
                      <a:pt x="44" y="69"/>
                      <a:pt x="44" y="69"/>
                      <a:pt x="44" y="69"/>
                    </a:cubicBezTo>
                    <a:cubicBezTo>
                      <a:pt x="44" y="69"/>
                      <a:pt x="44" y="69"/>
                      <a:pt x="44" y="69"/>
                    </a:cubicBezTo>
                    <a:cubicBezTo>
                      <a:pt x="44" y="69"/>
                      <a:pt x="44" y="69"/>
                      <a:pt x="44" y="69"/>
                    </a:cubicBezTo>
                    <a:close/>
                    <a:moveTo>
                      <a:pt x="22" y="67"/>
                    </a:moveTo>
                    <a:cubicBezTo>
                      <a:pt x="22" y="66"/>
                      <a:pt x="21" y="66"/>
                      <a:pt x="20" y="66"/>
                    </a:cubicBezTo>
                    <a:cubicBezTo>
                      <a:pt x="21" y="66"/>
                      <a:pt x="22" y="67"/>
                      <a:pt x="22" y="68"/>
                    </a:cubicBezTo>
                    <a:cubicBezTo>
                      <a:pt x="22" y="67"/>
                      <a:pt x="22" y="67"/>
                      <a:pt x="22" y="67"/>
                    </a:cubicBezTo>
                    <a:cubicBezTo>
                      <a:pt x="22" y="67"/>
                      <a:pt x="22" y="67"/>
                      <a:pt x="22" y="67"/>
                    </a:cubicBezTo>
                    <a:close/>
                    <a:moveTo>
                      <a:pt x="22" y="67"/>
                    </a:moveTo>
                    <a:cubicBezTo>
                      <a:pt x="23" y="67"/>
                      <a:pt x="23" y="68"/>
                      <a:pt x="23" y="68"/>
                    </a:cubicBezTo>
                    <a:cubicBezTo>
                      <a:pt x="23" y="69"/>
                      <a:pt x="23" y="69"/>
                      <a:pt x="23" y="69"/>
                    </a:cubicBezTo>
                    <a:cubicBezTo>
                      <a:pt x="23" y="69"/>
                      <a:pt x="23" y="68"/>
                      <a:pt x="22" y="68"/>
                    </a:cubicBezTo>
                    <a:cubicBezTo>
                      <a:pt x="22" y="68"/>
                      <a:pt x="22" y="67"/>
                      <a:pt x="22" y="67"/>
                    </a:cubicBezTo>
                    <a:cubicBezTo>
                      <a:pt x="22" y="67"/>
                      <a:pt x="22" y="67"/>
                      <a:pt x="22" y="67"/>
                    </a:cubicBezTo>
                    <a:close/>
                    <a:moveTo>
                      <a:pt x="44" y="70"/>
                    </a:moveTo>
                    <a:cubicBezTo>
                      <a:pt x="44" y="70"/>
                      <a:pt x="44" y="70"/>
                      <a:pt x="44" y="70"/>
                    </a:cubicBezTo>
                    <a:cubicBezTo>
                      <a:pt x="44" y="70"/>
                      <a:pt x="44" y="71"/>
                      <a:pt x="44" y="71"/>
                    </a:cubicBezTo>
                    <a:cubicBezTo>
                      <a:pt x="44" y="71"/>
                      <a:pt x="44" y="71"/>
                      <a:pt x="45" y="71"/>
                    </a:cubicBezTo>
                    <a:cubicBezTo>
                      <a:pt x="44" y="71"/>
                      <a:pt x="44" y="70"/>
                      <a:pt x="44" y="70"/>
                    </a:cubicBezTo>
                    <a:cubicBezTo>
                      <a:pt x="44" y="70"/>
                      <a:pt x="44" y="70"/>
                      <a:pt x="44" y="70"/>
                    </a:cubicBezTo>
                    <a:close/>
                    <a:moveTo>
                      <a:pt x="23" y="67"/>
                    </a:moveTo>
                    <a:cubicBezTo>
                      <a:pt x="23" y="67"/>
                      <a:pt x="23" y="67"/>
                      <a:pt x="23" y="67"/>
                    </a:cubicBezTo>
                    <a:cubicBezTo>
                      <a:pt x="23" y="67"/>
                      <a:pt x="23" y="68"/>
                      <a:pt x="23" y="68"/>
                    </a:cubicBezTo>
                    <a:cubicBezTo>
                      <a:pt x="23" y="68"/>
                      <a:pt x="23" y="68"/>
                      <a:pt x="23" y="67"/>
                    </a:cubicBezTo>
                    <a:cubicBezTo>
                      <a:pt x="23" y="67"/>
                      <a:pt x="23" y="67"/>
                      <a:pt x="23" y="67"/>
                    </a:cubicBezTo>
                    <a:close/>
                    <a:moveTo>
                      <a:pt x="44" y="70"/>
                    </a:moveTo>
                    <a:cubicBezTo>
                      <a:pt x="44" y="70"/>
                      <a:pt x="44" y="70"/>
                      <a:pt x="44" y="70"/>
                    </a:cubicBezTo>
                    <a:cubicBezTo>
                      <a:pt x="44" y="70"/>
                      <a:pt x="44" y="71"/>
                      <a:pt x="44" y="71"/>
                    </a:cubicBezTo>
                    <a:cubicBezTo>
                      <a:pt x="44" y="71"/>
                      <a:pt x="44" y="71"/>
                      <a:pt x="44" y="71"/>
                    </a:cubicBezTo>
                    <a:cubicBezTo>
                      <a:pt x="44" y="71"/>
                      <a:pt x="44" y="70"/>
                      <a:pt x="44" y="70"/>
                    </a:cubicBezTo>
                    <a:cubicBezTo>
                      <a:pt x="44" y="70"/>
                      <a:pt x="44" y="70"/>
                      <a:pt x="44" y="70"/>
                    </a:cubicBezTo>
                    <a:close/>
                    <a:moveTo>
                      <a:pt x="45" y="71"/>
                    </a:moveTo>
                    <a:cubicBezTo>
                      <a:pt x="45" y="71"/>
                      <a:pt x="45" y="71"/>
                      <a:pt x="45" y="71"/>
                    </a:cubicBezTo>
                    <a:cubicBezTo>
                      <a:pt x="45" y="71"/>
                      <a:pt x="45" y="71"/>
                      <a:pt x="45" y="71"/>
                    </a:cubicBezTo>
                    <a:cubicBezTo>
                      <a:pt x="45" y="71"/>
                      <a:pt x="45" y="71"/>
                      <a:pt x="45" y="71"/>
                    </a:cubicBezTo>
                    <a:cubicBezTo>
                      <a:pt x="45" y="71"/>
                      <a:pt x="45" y="71"/>
                      <a:pt x="45" y="71"/>
                    </a:cubicBezTo>
                    <a:close/>
                    <a:moveTo>
                      <a:pt x="45" y="71"/>
                    </a:moveTo>
                    <a:cubicBezTo>
                      <a:pt x="45" y="71"/>
                      <a:pt x="44" y="71"/>
                      <a:pt x="44" y="71"/>
                    </a:cubicBezTo>
                    <a:cubicBezTo>
                      <a:pt x="44" y="71"/>
                      <a:pt x="45" y="71"/>
                      <a:pt x="45" y="71"/>
                    </a:cubicBezTo>
                    <a:cubicBezTo>
                      <a:pt x="45" y="71"/>
                      <a:pt x="45" y="71"/>
                      <a:pt x="45" y="71"/>
                    </a:cubicBezTo>
                    <a:cubicBezTo>
                      <a:pt x="45" y="71"/>
                      <a:pt x="45" y="71"/>
                      <a:pt x="45" y="71"/>
                    </a:cubicBezTo>
                    <a:cubicBezTo>
                      <a:pt x="45" y="71"/>
                      <a:pt x="45" y="71"/>
                      <a:pt x="45" y="71"/>
                    </a:cubicBezTo>
                    <a:close/>
                    <a:moveTo>
                      <a:pt x="44" y="71"/>
                    </a:moveTo>
                    <a:cubicBezTo>
                      <a:pt x="44" y="71"/>
                      <a:pt x="44" y="71"/>
                      <a:pt x="44" y="71"/>
                    </a:cubicBezTo>
                    <a:cubicBezTo>
                      <a:pt x="44" y="71"/>
                      <a:pt x="43" y="72"/>
                      <a:pt x="43" y="72"/>
                    </a:cubicBezTo>
                    <a:cubicBezTo>
                      <a:pt x="44" y="72"/>
                      <a:pt x="44" y="72"/>
                      <a:pt x="44" y="71"/>
                    </a:cubicBezTo>
                    <a:cubicBezTo>
                      <a:pt x="44" y="71"/>
                      <a:pt x="44" y="71"/>
                      <a:pt x="44" y="71"/>
                    </a:cubicBezTo>
                    <a:cubicBezTo>
                      <a:pt x="44" y="71"/>
                      <a:pt x="44" y="71"/>
                      <a:pt x="44" y="71"/>
                    </a:cubicBezTo>
                    <a:close/>
                    <a:moveTo>
                      <a:pt x="24" y="68"/>
                    </a:moveTo>
                    <a:cubicBezTo>
                      <a:pt x="24" y="68"/>
                      <a:pt x="24" y="68"/>
                      <a:pt x="24" y="67"/>
                    </a:cubicBezTo>
                    <a:cubicBezTo>
                      <a:pt x="26" y="69"/>
                      <a:pt x="28" y="70"/>
                      <a:pt x="31" y="72"/>
                    </a:cubicBezTo>
                    <a:cubicBezTo>
                      <a:pt x="28" y="72"/>
                      <a:pt x="29" y="72"/>
                      <a:pt x="26" y="70"/>
                    </a:cubicBezTo>
                    <a:cubicBezTo>
                      <a:pt x="24" y="69"/>
                      <a:pt x="25" y="70"/>
                      <a:pt x="24" y="68"/>
                    </a:cubicBezTo>
                    <a:cubicBezTo>
                      <a:pt x="24" y="68"/>
                      <a:pt x="24" y="68"/>
                      <a:pt x="24" y="68"/>
                    </a:cubicBezTo>
                    <a:close/>
                    <a:moveTo>
                      <a:pt x="42" y="71"/>
                    </a:moveTo>
                    <a:cubicBezTo>
                      <a:pt x="43" y="71"/>
                      <a:pt x="43" y="71"/>
                      <a:pt x="43" y="70"/>
                    </a:cubicBezTo>
                    <a:cubicBezTo>
                      <a:pt x="43" y="72"/>
                      <a:pt x="43" y="72"/>
                      <a:pt x="43" y="72"/>
                    </a:cubicBezTo>
                    <a:cubicBezTo>
                      <a:pt x="43" y="72"/>
                      <a:pt x="43" y="72"/>
                      <a:pt x="43" y="72"/>
                    </a:cubicBezTo>
                    <a:cubicBezTo>
                      <a:pt x="43" y="72"/>
                      <a:pt x="42" y="71"/>
                      <a:pt x="42" y="71"/>
                    </a:cubicBezTo>
                    <a:cubicBezTo>
                      <a:pt x="42" y="71"/>
                      <a:pt x="42" y="71"/>
                      <a:pt x="42" y="71"/>
                    </a:cubicBezTo>
                    <a:close/>
                    <a:moveTo>
                      <a:pt x="45" y="71"/>
                    </a:moveTo>
                    <a:cubicBezTo>
                      <a:pt x="45" y="71"/>
                      <a:pt x="45" y="71"/>
                      <a:pt x="45" y="71"/>
                    </a:cubicBezTo>
                    <a:cubicBezTo>
                      <a:pt x="45" y="73"/>
                      <a:pt x="46" y="74"/>
                      <a:pt x="46" y="75"/>
                    </a:cubicBezTo>
                    <a:cubicBezTo>
                      <a:pt x="46" y="75"/>
                      <a:pt x="46" y="74"/>
                      <a:pt x="46" y="74"/>
                    </a:cubicBezTo>
                    <a:cubicBezTo>
                      <a:pt x="46" y="74"/>
                      <a:pt x="45" y="73"/>
                      <a:pt x="45" y="73"/>
                    </a:cubicBezTo>
                    <a:cubicBezTo>
                      <a:pt x="45" y="72"/>
                      <a:pt x="45" y="72"/>
                      <a:pt x="45" y="71"/>
                    </a:cubicBezTo>
                    <a:cubicBezTo>
                      <a:pt x="45" y="71"/>
                      <a:pt x="45" y="71"/>
                      <a:pt x="45" y="71"/>
                    </a:cubicBezTo>
                    <a:close/>
                    <a:moveTo>
                      <a:pt x="41" y="71"/>
                    </a:moveTo>
                    <a:cubicBezTo>
                      <a:pt x="42" y="71"/>
                      <a:pt x="42" y="71"/>
                      <a:pt x="42" y="71"/>
                    </a:cubicBezTo>
                    <a:cubicBezTo>
                      <a:pt x="42" y="71"/>
                      <a:pt x="42" y="72"/>
                      <a:pt x="42" y="72"/>
                    </a:cubicBezTo>
                    <a:cubicBezTo>
                      <a:pt x="42" y="72"/>
                      <a:pt x="42" y="71"/>
                      <a:pt x="41" y="71"/>
                    </a:cubicBezTo>
                    <a:cubicBezTo>
                      <a:pt x="41" y="71"/>
                      <a:pt x="41" y="71"/>
                      <a:pt x="41" y="71"/>
                    </a:cubicBezTo>
                    <a:close/>
                    <a:moveTo>
                      <a:pt x="41" y="71"/>
                    </a:moveTo>
                    <a:cubicBezTo>
                      <a:pt x="41" y="71"/>
                      <a:pt x="41" y="71"/>
                      <a:pt x="41" y="71"/>
                    </a:cubicBezTo>
                    <a:cubicBezTo>
                      <a:pt x="42" y="72"/>
                      <a:pt x="42" y="72"/>
                      <a:pt x="42" y="72"/>
                    </a:cubicBezTo>
                    <a:cubicBezTo>
                      <a:pt x="43" y="72"/>
                      <a:pt x="42" y="72"/>
                      <a:pt x="42" y="72"/>
                    </a:cubicBezTo>
                    <a:cubicBezTo>
                      <a:pt x="42" y="72"/>
                      <a:pt x="42" y="72"/>
                      <a:pt x="41" y="71"/>
                    </a:cubicBezTo>
                    <a:cubicBezTo>
                      <a:pt x="41" y="71"/>
                      <a:pt x="41" y="71"/>
                      <a:pt x="41" y="71"/>
                    </a:cubicBezTo>
                    <a:close/>
                    <a:moveTo>
                      <a:pt x="24" y="69"/>
                    </a:moveTo>
                    <a:cubicBezTo>
                      <a:pt x="24" y="69"/>
                      <a:pt x="24" y="69"/>
                      <a:pt x="24" y="69"/>
                    </a:cubicBezTo>
                    <a:cubicBezTo>
                      <a:pt x="24" y="69"/>
                      <a:pt x="24" y="69"/>
                      <a:pt x="24" y="70"/>
                    </a:cubicBezTo>
                    <a:cubicBezTo>
                      <a:pt x="24" y="70"/>
                      <a:pt x="24" y="69"/>
                      <a:pt x="24" y="69"/>
                    </a:cubicBezTo>
                    <a:cubicBezTo>
                      <a:pt x="24" y="69"/>
                      <a:pt x="24" y="69"/>
                      <a:pt x="24" y="69"/>
                    </a:cubicBezTo>
                    <a:close/>
                    <a:moveTo>
                      <a:pt x="44" y="72"/>
                    </a:moveTo>
                    <a:cubicBezTo>
                      <a:pt x="43" y="72"/>
                      <a:pt x="43" y="72"/>
                      <a:pt x="43" y="73"/>
                    </a:cubicBezTo>
                    <a:cubicBezTo>
                      <a:pt x="44" y="73"/>
                      <a:pt x="44" y="74"/>
                      <a:pt x="46" y="74"/>
                    </a:cubicBezTo>
                    <a:cubicBezTo>
                      <a:pt x="45" y="73"/>
                      <a:pt x="45" y="72"/>
                      <a:pt x="44" y="72"/>
                    </a:cubicBezTo>
                    <a:cubicBezTo>
                      <a:pt x="44" y="72"/>
                      <a:pt x="44" y="72"/>
                      <a:pt x="44" y="72"/>
                    </a:cubicBezTo>
                    <a:cubicBezTo>
                      <a:pt x="44" y="72"/>
                      <a:pt x="44" y="72"/>
                      <a:pt x="44" y="72"/>
                    </a:cubicBezTo>
                    <a:close/>
                    <a:moveTo>
                      <a:pt x="15" y="69"/>
                    </a:moveTo>
                    <a:cubicBezTo>
                      <a:pt x="15" y="69"/>
                      <a:pt x="15" y="68"/>
                      <a:pt x="15" y="68"/>
                    </a:cubicBezTo>
                    <a:cubicBezTo>
                      <a:pt x="17" y="68"/>
                      <a:pt x="20" y="70"/>
                      <a:pt x="22" y="71"/>
                    </a:cubicBezTo>
                    <a:cubicBezTo>
                      <a:pt x="20" y="70"/>
                      <a:pt x="18" y="70"/>
                      <a:pt x="15" y="69"/>
                    </a:cubicBezTo>
                    <a:cubicBezTo>
                      <a:pt x="15" y="69"/>
                      <a:pt x="15" y="69"/>
                      <a:pt x="15" y="69"/>
                    </a:cubicBezTo>
                    <a:close/>
                    <a:moveTo>
                      <a:pt x="42" y="73"/>
                    </a:moveTo>
                    <a:cubicBezTo>
                      <a:pt x="42" y="72"/>
                      <a:pt x="42" y="72"/>
                      <a:pt x="41" y="72"/>
                    </a:cubicBezTo>
                    <a:cubicBezTo>
                      <a:pt x="41" y="72"/>
                      <a:pt x="42" y="73"/>
                      <a:pt x="42" y="73"/>
                    </a:cubicBezTo>
                    <a:cubicBezTo>
                      <a:pt x="42" y="73"/>
                      <a:pt x="42" y="73"/>
                      <a:pt x="42" y="73"/>
                    </a:cubicBezTo>
                    <a:close/>
                    <a:moveTo>
                      <a:pt x="41" y="73"/>
                    </a:moveTo>
                    <a:cubicBezTo>
                      <a:pt x="41" y="72"/>
                      <a:pt x="40" y="72"/>
                      <a:pt x="40" y="72"/>
                    </a:cubicBezTo>
                    <a:cubicBezTo>
                      <a:pt x="40" y="72"/>
                      <a:pt x="40" y="72"/>
                      <a:pt x="40" y="73"/>
                    </a:cubicBezTo>
                    <a:cubicBezTo>
                      <a:pt x="40" y="73"/>
                      <a:pt x="41" y="73"/>
                      <a:pt x="41" y="73"/>
                    </a:cubicBezTo>
                    <a:cubicBezTo>
                      <a:pt x="41" y="73"/>
                      <a:pt x="41" y="73"/>
                      <a:pt x="41" y="73"/>
                    </a:cubicBezTo>
                    <a:close/>
                    <a:moveTo>
                      <a:pt x="43" y="73"/>
                    </a:moveTo>
                    <a:cubicBezTo>
                      <a:pt x="43" y="73"/>
                      <a:pt x="43" y="73"/>
                      <a:pt x="43" y="73"/>
                    </a:cubicBezTo>
                    <a:cubicBezTo>
                      <a:pt x="43" y="73"/>
                      <a:pt x="43" y="73"/>
                      <a:pt x="43" y="73"/>
                    </a:cubicBezTo>
                    <a:cubicBezTo>
                      <a:pt x="43" y="73"/>
                      <a:pt x="43" y="73"/>
                      <a:pt x="43" y="73"/>
                    </a:cubicBezTo>
                    <a:cubicBezTo>
                      <a:pt x="43" y="73"/>
                      <a:pt x="43" y="73"/>
                      <a:pt x="43" y="73"/>
                    </a:cubicBezTo>
                    <a:close/>
                    <a:moveTo>
                      <a:pt x="37" y="72"/>
                    </a:moveTo>
                    <a:cubicBezTo>
                      <a:pt x="37" y="72"/>
                      <a:pt x="37" y="72"/>
                      <a:pt x="38" y="72"/>
                    </a:cubicBezTo>
                    <a:cubicBezTo>
                      <a:pt x="37" y="72"/>
                      <a:pt x="35" y="72"/>
                      <a:pt x="34" y="73"/>
                    </a:cubicBezTo>
                    <a:cubicBezTo>
                      <a:pt x="35" y="73"/>
                      <a:pt x="36" y="73"/>
                      <a:pt x="37" y="72"/>
                    </a:cubicBezTo>
                    <a:cubicBezTo>
                      <a:pt x="37" y="72"/>
                      <a:pt x="37" y="72"/>
                      <a:pt x="37" y="72"/>
                    </a:cubicBezTo>
                    <a:close/>
                    <a:moveTo>
                      <a:pt x="40" y="73"/>
                    </a:moveTo>
                    <a:cubicBezTo>
                      <a:pt x="41" y="73"/>
                      <a:pt x="41" y="73"/>
                      <a:pt x="42" y="73"/>
                    </a:cubicBezTo>
                    <a:cubicBezTo>
                      <a:pt x="41" y="75"/>
                      <a:pt x="41" y="76"/>
                      <a:pt x="41" y="77"/>
                    </a:cubicBezTo>
                    <a:cubicBezTo>
                      <a:pt x="40" y="77"/>
                      <a:pt x="40" y="76"/>
                      <a:pt x="39" y="76"/>
                    </a:cubicBezTo>
                    <a:cubicBezTo>
                      <a:pt x="40" y="75"/>
                      <a:pt x="40" y="74"/>
                      <a:pt x="40" y="73"/>
                    </a:cubicBezTo>
                    <a:cubicBezTo>
                      <a:pt x="40" y="73"/>
                      <a:pt x="40" y="73"/>
                      <a:pt x="40" y="73"/>
                    </a:cubicBezTo>
                    <a:close/>
                    <a:moveTo>
                      <a:pt x="23" y="71"/>
                    </a:moveTo>
                    <a:cubicBezTo>
                      <a:pt x="20" y="70"/>
                      <a:pt x="18" y="70"/>
                      <a:pt x="15" y="69"/>
                    </a:cubicBezTo>
                    <a:cubicBezTo>
                      <a:pt x="16" y="70"/>
                      <a:pt x="16" y="70"/>
                      <a:pt x="16" y="71"/>
                    </a:cubicBezTo>
                    <a:cubicBezTo>
                      <a:pt x="21" y="72"/>
                      <a:pt x="21" y="72"/>
                      <a:pt x="26" y="72"/>
                    </a:cubicBezTo>
                    <a:cubicBezTo>
                      <a:pt x="25" y="72"/>
                      <a:pt x="24" y="71"/>
                      <a:pt x="23" y="71"/>
                    </a:cubicBezTo>
                    <a:cubicBezTo>
                      <a:pt x="23" y="71"/>
                      <a:pt x="23" y="71"/>
                      <a:pt x="23" y="71"/>
                    </a:cubicBezTo>
                    <a:close/>
                    <a:moveTo>
                      <a:pt x="24" y="71"/>
                    </a:moveTo>
                    <a:cubicBezTo>
                      <a:pt x="26" y="72"/>
                      <a:pt x="26" y="72"/>
                      <a:pt x="27" y="72"/>
                    </a:cubicBezTo>
                    <a:cubicBezTo>
                      <a:pt x="26" y="72"/>
                      <a:pt x="25" y="71"/>
                      <a:pt x="24" y="71"/>
                    </a:cubicBezTo>
                    <a:cubicBezTo>
                      <a:pt x="24" y="71"/>
                      <a:pt x="24" y="71"/>
                      <a:pt x="24" y="71"/>
                    </a:cubicBezTo>
                    <a:close/>
                    <a:moveTo>
                      <a:pt x="34" y="73"/>
                    </a:moveTo>
                    <a:cubicBezTo>
                      <a:pt x="34" y="73"/>
                      <a:pt x="34" y="73"/>
                      <a:pt x="34" y="73"/>
                    </a:cubicBezTo>
                    <a:cubicBezTo>
                      <a:pt x="34" y="73"/>
                      <a:pt x="34" y="73"/>
                      <a:pt x="34" y="73"/>
                    </a:cubicBezTo>
                    <a:cubicBezTo>
                      <a:pt x="34" y="73"/>
                      <a:pt x="34" y="73"/>
                      <a:pt x="34" y="73"/>
                    </a:cubicBezTo>
                    <a:cubicBezTo>
                      <a:pt x="34" y="73"/>
                      <a:pt x="34" y="73"/>
                      <a:pt x="34" y="73"/>
                    </a:cubicBezTo>
                    <a:close/>
                    <a:moveTo>
                      <a:pt x="27" y="72"/>
                    </a:moveTo>
                    <a:cubicBezTo>
                      <a:pt x="27" y="72"/>
                      <a:pt x="28" y="72"/>
                      <a:pt x="29" y="72"/>
                    </a:cubicBezTo>
                    <a:cubicBezTo>
                      <a:pt x="28" y="71"/>
                      <a:pt x="26" y="71"/>
                      <a:pt x="25" y="70"/>
                    </a:cubicBezTo>
                    <a:cubicBezTo>
                      <a:pt x="25" y="71"/>
                      <a:pt x="26" y="71"/>
                      <a:pt x="27" y="72"/>
                    </a:cubicBezTo>
                    <a:cubicBezTo>
                      <a:pt x="27" y="72"/>
                      <a:pt x="27" y="72"/>
                      <a:pt x="27" y="72"/>
                    </a:cubicBezTo>
                    <a:close/>
                    <a:moveTo>
                      <a:pt x="46" y="74"/>
                    </a:moveTo>
                    <a:cubicBezTo>
                      <a:pt x="45" y="74"/>
                      <a:pt x="45" y="74"/>
                      <a:pt x="45" y="74"/>
                    </a:cubicBezTo>
                    <a:cubicBezTo>
                      <a:pt x="45" y="74"/>
                      <a:pt x="45" y="75"/>
                      <a:pt x="46" y="75"/>
                    </a:cubicBezTo>
                    <a:cubicBezTo>
                      <a:pt x="46" y="75"/>
                      <a:pt x="46" y="75"/>
                      <a:pt x="46" y="74"/>
                    </a:cubicBezTo>
                    <a:cubicBezTo>
                      <a:pt x="46" y="74"/>
                      <a:pt x="46" y="74"/>
                      <a:pt x="46" y="74"/>
                    </a:cubicBezTo>
                    <a:close/>
                    <a:moveTo>
                      <a:pt x="10" y="70"/>
                    </a:moveTo>
                    <a:cubicBezTo>
                      <a:pt x="9" y="69"/>
                      <a:pt x="9" y="69"/>
                      <a:pt x="8" y="69"/>
                    </a:cubicBezTo>
                    <a:cubicBezTo>
                      <a:pt x="6" y="69"/>
                      <a:pt x="4" y="69"/>
                      <a:pt x="2" y="69"/>
                    </a:cubicBezTo>
                    <a:cubicBezTo>
                      <a:pt x="5" y="69"/>
                      <a:pt x="7" y="69"/>
                      <a:pt x="10" y="70"/>
                    </a:cubicBezTo>
                    <a:cubicBezTo>
                      <a:pt x="10" y="70"/>
                      <a:pt x="10" y="70"/>
                      <a:pt x="10" y="70"/>
                    </a:cubicBezTo>
                    <a:close/>
                    <a:moveTo>
                      <a:pt x="47" y="75"/>
                    </a:moveTo>
                    <a:cubicBezTo>
                      <a:pt x="46" y="75"/>
                      <a:pt x="46" y="75"/>
                      <a:pt x="46" y="75"/>
                    </a:cubicBezTo>
                    <a:cubicBezTo>
                      <a:pt x="46" y="75"/>
                      <a:pt x="47" y="75"/>
                      <a:pt x="47" y="76"/>
                    </a:cubicBezTo>
                    <a:cubicBezTo>
                      <a:pt x="47" y="75"/>
                      <a:pt x="47" y="75"/>
                      <a:pt x="47" y="75"/>
                    </a:cubicBezTo>
                    <a:cubicBezTo>
                      <a:pt x="47" y="75"/>
                      <a:pt x="47" y="75"/>
                      <a:pt x="47" y="75"/>
                    </a:cubicBezTo>
                    <a:close/>
                    <a:moveTo>
                      <a:pt x="36" y="74"/>
                    </a:moveTo>
                    <a:cubicBezTo>
                      <a:pt x="36" y="74"/>
                      <a:pt x="37" y="74"/>
                      <a:pt x="37" y="74"/>
                    </a:cubicBezTo>
                    <a:cubicBezTo>
                      <a:pt x="37" y="75"/>
                      <a:pt x="36" y="77"/>
                      <a:pt x="36" y="79"/>
                    </a:cubicBezTo>
                    <a:cubicBezTo>
                      <a:pt x="35" y="79"/>
                      <a:pt x="35" y="80"/>
                      <a:pt x="34" y="80"/>
                    </a:cubicBezTo>
                    <a:cubicBezTo>
                      <a:pt x="33" y="80"/>
                      <a:pt x="33" y="80"/>
                      <a:pt x="32" y="79"/>
                    </a:cubicBezTo>
                    <a:cubicBezTo>
                      <a:pt x="34" y="78"/>
                      <a:pt x="35" y="76"/>
                      <a:pt x="36" y="74"/>
                    </a:cubicBezTo>
                    <a:cubicBezTo>
                      <a:pt x="36" y="74"/>
                      <a:pt x="36" y="74"/>
                      <a:pt x="36" y="74"/>
                    </a:cubicBezTo>
                    <a:close/>
                    <a:moveTo>
                      <a:pt x="35" y="74"/>
                    </a:moveTo>
                    <a:cubicBezTo>
                      <a:pt x="34" y="74"/>
                      <a:pt x="34" y="74"/>
                      <a:pt x="33" y="74"/>
                    </a:cubicBezTo>
                    <a:cubicBezTo>
                      <a:pt x="32" y="75"/>
                      <a:pt x="31" y="76"/>
                      <a:pt x="30" y="76"/>
                    </a:cubicBezTo>
                    <a:cubicBezTo>
                      <a:pt x="30" y="77"/>
                      <a:pt x="30" y="78"/>
                      <a:pt x="31" y="78"/>
                    </a:cubicBezTo>
                    <a:cubicBezTo>
                      <a:pt x="32" y="77"/>
                      <a:pt x="33" y="75"/>
                      <a:pt x="35" y="74"/>
                    </a:cubicBezTo>
                    <a:cubicBezTo>
                      <a:pt x="33" y="75"/>
                      <a:pt x="32" y="77"/>
                      <a:pt x="31" y="78"/>
                    </a:cubicBezTo>
                    <a:cubicBezTo>
                      <a:pt x="31" y="79"/>
                      <a:pt x="32" y="79"/>
                      <a:pt x="32" y="79"/>
                    </a:cubicBezTo>
                    <a:cubicBezTo>
                      <a:pt x="33" y="77"/>
                      <a:pt x="35" y="76"/>
                      <a:pt x="36" y="74"/>
                    </a:cubicBezTo>
                    <a:cubicBezTo>
                      <a:pt x="35" y="74"/>
                      <a:pt x="35" y="74"/>
                      <a:pt x="35" y="74"/>
                    </a:cubicBezTo>
                    <a:cubicBezTo>
                      <a:pt x="35" y="74"/>
                      <a:pt x="35" y="74"/>
                      <a:pt x="35" y="74"/>
                    </a:cubicBezTo>
                    <a:close/>
                    <a:moveTo>
                      <a:pt x="33" y="74"/>
                    </a:moveTo>
                    <a:cubicBezTo>
                      <a:pt x="31" y="74"/>
                      <a:pt x="31" y="74"/>
                      <a:pt x="29" y="75"/>
                    </a:cubicBezTo>
                    <a:cubicBezTo>
                      <a:pt x="30" y="76"/>
                      <a:pt x="30" y="76"/>
                      <a:pt x="30" y="76"/>
                    </a:cubicBezTo>
                    <a:cubicBezTo>
                      <a:pt x="31" y="75"/>
                      <a:pt x="32" y="75"/>
                      <a:pt x="33" y="74"/>
                    </a:cubicBezTo>
                    <a:cubicBezTo>
                      <a:pt x="33" y="74"/>
                      <a:pt x="33" y="74"/>
                      <a:pt x="33" y="74"/>
                    </a:cubicBezTo>
                    <a:close/>
                    <a:moveTo>
                      <a:pt x="29" y="73"/>
                    </a:moveTo>
                    <a:cubicBezTo>
                      <a:pt x="27" y="73"/>
                      <a:pt x="27" y="73"/>
                      <a:pt x="25" y="74"/>
                    </a:cubicBezTo>
                    <a:cubicBezTo>
                      <a:pt x="26" y="74"/>
                      <a:pt x="27" y="74"/>
                      <a:pt x="28" y="74"/>
                    </a:cubicBezTo>
                    <a:cubicBezTo>
                      <a:pt x="28" y="74"/>
                      <a:pt x="28" y="74"/>
                      <a:pt x="28" y="73"/>
                    </a:cubicBezTo>
                    <a:cubicBezTo>
                      <a:pt x="28" y="74"/>
                      <a:pt x="28" y="74"/>
                      <a:pt x="28" y="74"/>
                    </a:cubicBezTo>
                    <a:cubicBezTo>
                      <a:pt x="28" y="74"/>
                      <a:pt x="28" y="74"/>
                      <a:pt x="28" y="74"/>
                    </a:cubicBezTo>
                    <a:cubicBezTo>
                      <a:pt x="28" y="74"/>
                      <a:pt x="28" y="73"/>
                      <a:pt x="28" y="73"/>
                    </a:cubicBezTo>
                    <a:cubicBezTo>
                      <a:pt x="28" y="73"/>
                      <a:pt x="28" y="74"/>
                      <a:pt x="29" y="74"/>
                    </a:cubicBezTo>
                    <a:cubicBezTo>
                      <a:pt x="29" y="74"/>
                      <a:pt x="29" y="73"/>
                      <a:pt x="29" y="73"/>
                    </a:cubicBezTo>
                    <a:cubicBezTo>
                      <a:pt x="29" y="73"/>
                      <a:pt x="29" y="73"/>
                      <a:pt x="29" y="73"/>
                    </a:cubicBezTo>
                    <a:close/>
                    <a:moveTo>
                      <a:pt x="29" y="73"/>
                    </a:moveTo>
                    <a:cubicBezTo>
                      <a:pt x="30" y="73"/>
                      <a:pt x="30" y="74"/>
                      <a:pt x="31" y="74"/>
                    </a:cubicBezTo>
                    <a:cubicBezTo>
                      <a:pt x="31" y="74"/>
                      <a:pt x="29" y="74"/>
                      <a:pt x="29" y="74"/>
                    </a:cubicBezTo>
                    <a:cubicBezTo>
                      <a:pt x="29" y="74"/>
                      <a:pt x="29" y="74"/>
                      <a:pt x="29" y="74"/>
                    </a:cubicBezTo>
                    <a:cubicBezTo>
                      <a:pt x="29" y="74"/>
                      <a:pt x="29" y="73"/>
                      <a:pt x="29" y="73"/>
                    </a:cubicBezTo>
                    <a:cubicBezTo>
                      <a:pt x="29" y="73"/>
                      <a:pt x="29" y="73"/>
                      <a:pt x="29" y="73"/>
                    </a:cubicBezTo>
                    <a:close/>
                    <a:moveTo>
                      <a:pt x="26" y="73"/>
                    </a:moveTo>
                    <a:cubicBezTo>
                      <a:pt x="25" y="73"/>
                      <a:pt x="24" y="73"/>
                      <a:pt x="23" y="73"/>
                    </a:cubicBezTo>
                    <a:cubicBezTo>
                      <a:pt x="22" y="73"/>
                      <a:pt x="22" y="73"/>
                      <a:pt x="21" y="73"/>
                    </a:cubicBezTo>
                    <a:cubicBezTo>
                      <a:pt x="20" y="74"/>
                      <a:pt x="20" y="74"/>
                      <a:pt x="20" y="75"/>
                    </a:cubicBezTo>
                    <a:cubicBezTo>
                      <a:pt x="21" y="75"/>
                      <a:pt x="23" y="75"/>
                      <a:pt x="25" y="74"/>
                    </a:cubicBezTo>
                    <a:cubicBezTo>
                      <a:pt x="25" y="74"/>
                      <a:pt x="26" y="74"/>
                      <a:pt x="26" y="73"/>
                    </a:cubicBezTo>
                    <a:cubicBezTo>
                      <a:pt x="26" y="73"/>
                      <a:pt x="26" y="73"/>
                      <a:pt x="26" y="73"/>
                    </a:cubicBezTo>
                    <a:close/>
                    <a:moveTo>
                      <a:pt x="23" y="73"/>
                    </a:moveTo>
                    <a:cubicBezTo>
                      <a:pt x="22" y="73"/>
                      <a:pt x="22" y="73"/>
                      <a:pt x="22" y="73"/>
                    </a:cubicBezTo>
                    <a:cubicBezTo>
                      <a:pt x="21" y="73"/>
                      <a:pt x="21" y="73"/>
                      <a:pt x="21" y="73"/>
                    </a:cubicBezTo>
                    <a:cubicBezTo>
                      <a:pt x="22" y="73"/>
                      <a:pt x="22" y="73"/>
                      <a:pt x="23" y="73"/>
                    </a:cubicBezTo>
                    <a:cubicBezTo>
                      <a:pt x="23" y="73"/>
                      <a:pt x="23" y="73"/>
                      <a:pt x="23" y="73"/>
                    </a:cubicBezTo>
                    <a:close/>
                    <a:moveTo>
                      <a:pt x="29" y="74"/>
                    </a:moveTo>
                    <a:cubicBezTo>
                      <a:pt x="29" y="74"/>
                      <a:pt x="29" y="74"/>
                      <a:pt x="29" y="74"/>
                    </a:cubicBezTo>
                    <a:cubicBezTo>
                      <a:pt x="29" y="74"/>
                      <a:pt x="29" y="74"/>
                      <a:pt x="28" y="74"/>
                    </a:cubicBezTo>
                    <a:cubicBezTo>
                      <a:pt x="29" y="74"/>
                      <a:pt x="29" y="74"/>
                      <a:pt x="29" y="74"/>
                    </a:cubicBezTo>
                    <a:cubicBezTo>
                      <a:pt x="29" y="74"/>
                      <a:pt x="29" y="74"/>
                      <a:pt x="29" y="74"/>
                    </a:cubicBezTo>
                    <a:close/>
                    <a:moveTo>
                      <a:pt x="29" y="74"/>
                    </a:moveTo>
                    <a:cubicBezTo>
                      <a:pt x="29" y="74"/>
                      <a:pt x="30" y="74"/>
                      <a:pt x="31" y="74"/>
                    </a:cubicBezTo>
                    <a:cubicBezTo>
                      <a:pt x="30" y="74"/>
                      <a:pt x="30" y="75"/>
                      <a:pt x="29" y="75"/>
                    </a:cubicBezTo>
                    <a:cubicBezTo>
                      <a:pt x="29" y="75"/>
                      <a:pt x="29" y="74"/>
                      <a:pt x="29" y="74"/>
                    </a:cubicBezTo>
                    <a:cubicBezTo>
                      <a:pt x="29" y="74"/>
                      <a:pt x="29" y="74"/>
                      <a:pt x="29" y="74"/>
                    </a:cubicBezTo>
                    <a:close/>
                    <a:moveTo>
                      <a:pt x="29" y="74"/>
                    </a:moveTo>
                    <a:cubicBezTo>
                      <a:pt x="29" y="74"/>
                      <a:pt x="29" y="74"/>
                      <a:pt x="28" y="74"/>
                    </a:cubicBezTo>
                    <a:cubicBezTo>
                      <a:pt x="29" y="75"/>
                      <a:pt x="29" y="75"/>
                      <a:pt x="29" y="75"/>
                    </a:cubicBezTo>
                    <a:cubicBezTo>
                      <a:pt x="29" y="75"/>
                      <a:pt x="29" y="75"/>
                      <a:pt x="29" y="75"/>
                    </a:cubicBezTo>
                    <a:cubicBezTo>
                      <a:pt x="29" y="75"/>
                      <a:pt x="29" y="75"/>
                      <a:pt x="29" y="74"/>
                    </a:cubicBezTo>
                    <a:cubicBezTo>
                      <a:pt x="29" y="74"/>
                      <a:pt x="29" y="74"/>
                      <a:pt x="29" y="74"/>
                    </a:cubicBezTo>
                    <a:close/>
                    <a:moveTo>
                      <a:pt x="28" y="74"/>
                    </a:moveTo>
                    <a:cubicBezTo>
                      <a:pt x="28" y="74"/>
                      <a:pt x="28" y="75"/>
                      <a:pt x="28" y="75"/>
                    </a:cubicBezTo>
                    <a:cubicBezTo>
                      <a:pt x="28" y="75"/>
                      <a:pt x="28" y="74"/>
                      <a:pt x="28" y="74"/>
                    </a:cubicBezTo>
                    <a:cubicBezTo>
                      <a:pt x="24" y="75"/>
                      <a:pt x="26" y="74"/>
                      <a:pt x="23" y="76"/>
                    </a:cubicBezTo>
                    <a:cubicBezTo>
                      <a:pt x="22" y="76"/>
                      <a:pt x="21" y="77"/>
                      <a:pt x="20" y="78"/>
                    </a:cubicBezTo>
                    <a:cubicBezTo>
                      <a:pt x="21" y="79"/>
                      <a:pt x="23" y="79"/>
                      <a:pt x="24" y="80"/>
                    </a:cubicBezTo>
                    <a:cubicBezTo>
                      <a:pt x="24" y="80"/>
                      <a:pt x="25" y="80"/>
                      <a:pt x="25" y="80"/>
                    </a:cubicBezTo>
                    <a:cubicBezTo>
                      <a:pt x="24" y="79"/>
                      <a:pt x="23" y="79"/>
                      <a:pt x="22" y="78"/>
                    </a:cubicBezTo>
                    <a:cubicBezTo>
                      <a:pt x="23" y="79"/>
                      <a:pt x="24" y="79"/>
                      <a:pt x="25" y="80"/>
                    </a:cubicBezTo>
                    <a:cubicBezTo>
                      <a:pt x="27" y="79"/>
                      <a:pt x="28" y="78"/>
                      <a:pt x="29" y="77"/>
                    </a:cubicBezTo>
                    <a:cubicBezTo>
                      <a:pt x="29" y="77"/>
                      <a:pt x="29" y="76"/>
                      <a:pt x="28" y="76"/>
                    </a:cubicBezTo>
                    <a:cubicBezTo>
                      <a:pt x="27" y="77"/>
                      <a:pt x="26" y="77"/>
                      <a:pt x="25" y="78"/>
                    </a:cubicBezTo>
                    <a:cubicBezTo>
                      <a:pt x="25" y="78"/>
                      <a:pt x="26" y="77"/>
                      <a:pt x="28" y="76"/>
                    </a:cubicBezTo>
                    <a:cubicBezTo>
                      <a:pt x="28" y="76"/>
                      <a:pt x="28" y="76"/>
                      <a:pt x="28" y="75"/>
                    </a:cubicBezTo>
                    <a:cubicBezTo>
                      <a:pt x="28" y="76"/>
                      <a:pt x="28" y="76"/>
                      <a:pt x="28" y="76"/>
                    </a:cubicBezTo>
                    <a:cubicBezTo>
                      <a:pt x="28" y="76"/>
                      <a:pt x="29" y="76"/>
                      <a:pt x="29" y="76"/>
                    </a:cubicBezTo>
                    <a:cubicBezTo>
                      <a:pt x="28" y="75"/>
                      <a:pt x="28" y="75"/>
                      <a:pt x="27" y="75"/>
                    </a:cubicBezTo>
                    <a:cubicBezTo>
                      <a:pt x="28" y="75"/>
                      <a:pt x="28" y="75"/>
                      <a:pt x="29" y="76"/>
                    </a:cubicBezTo>
                    <a:cubicBezTo>
                      <a:pt x="29" y="75"/>
                      <a:pt x="29" y="75"/>
                      <a:pt x="29" y="75"/>
                    </a:cubicBezTo>
                    <a:cubicBezTo>
                      <a:pt x="29" y="75"/>
                      <a:pt x="29" y="75"/>
                      <a:pt x="28" y="74"/>
                    </a:cubicBezTo>
                    <a:cubicBezTo>
                      <a:pt x="28" y="74"/>
                      <a:pt x="28" y="74"/>
                      <a:pt x="28" y="74"/>
                    </a:cubicBezTo>
                    <a:close/>
                    <a:moveTo>
                      <a:pt x="29" y="75"/>
                    </a:moveTo>
                    <a:cubicBezTo>
                      <a:pt x="29" y="75"/>
                      <a:pt x="29" y="75"/>
                      <a:pt x="29" y="75"/>
                    </a:cubicBezTo>
                    <a:cubicBezTo>
                      <a:pt x="29" y="76"/>
                      <a:pt x="29" y="76"/>
                      <a:pt x="30" y="76"/>
                    </a:cubicBezTo>
                    <a:cubicBezTo>
                      <a:pt x="30" y="76"/>
                      <a:pt x="29" y="76"/>
                      <a:pt x="29" y="75"/>
                    </a:cubicBezTo>
                    <a:cubicBezTo>
                      <a:pt x="29" y="75"/>
                      <a:pt x="29" y="75"/>
                      <a:pt x="29" y="75"/>
                    </a:cubicBezTo>
                    <a:close/>
                    <a:moveTo>
                      <a:pt x="29" y="76"/>
                    </a:moveTo>
                    <a:cubicBezTo>
                      <a:pt x="29" y="76"/>
                      <a:pt x="29" y="76"/>
                      <a:pt x="29" y="75"/>
                    </a:cubicBezTo>
                    <a:cubicBezTo>
                      <a:pt x="29" y="76"/>
                      <a:pt x="29" y="76"/>
                      <a:pt x="29" y="76"/>
                    </a:cubicBezTo>
                    <a:cubicBezTo>
                      <a:pt x="29" y="76"/>
                      <a:pt x="29" y="76"/>
                      <a:pt x="29" y="76"/>
                    </a:cubicBezTo>
                    <a:cubicBezTo>
                      <a:pt x="29" y="76"/>
                      <a:pt x="29" y="76"/>
                      <a:pt x="29" y="76"/>
                    </a:cubicBezTo>
                    <a:close/>
                    <a:moveTo>
                      <a:pt x="39" y="77"/>
                    </a:moveTo>
                    <a:cubicBezTo>
                      <a:pt x="39" y="77"/>
                      <a:pt x="39" y="77"/>
                      <a:pt x="39" y="77"/>
                    </a:cubicBezTo>
                    <a:cubicBezTo>
                      <a:pt x="39" y="77"/>
                      <a:pt x="39" y="77"/>
                      <a:pt x="39" y="78"/>
                    </a:cubicBezTo>
                    <a:cubicBezTo>
                      <a:pt x="39" y="78"/>
                      <a:pt x="39" y="78"/>
                      <a:pt x="39" y="78"/>
                    </a:cubicBezTo>
                    <a:cubicBezTo>
                      <a:pt x="39" y="78"/>
                      <a:pt x="39" y="77"/>
                      <a:pt x="39" y="77"/>
                    </a:cubicBezTo>
                    <a:cubicBezTo>
                      <a:pt x="39" y="77"/>
                      <a:pt x="39" y="77"/>
                      <a:pt x="39" y="77"/>
                    </a:cubicBezTo>
                    <a:close/>
                    <a:moveTo>
                      <a:pt x="29" y="76"/>
                    </a:moveTo>
                    <a:cubicBezTo>
                      <a:pt x="29" y="76"/>
                      <a:pt x="30" y="76"/>
                      <a:pt x="30" y="77"/>
                    </a:cubicBezTo>
                    <a:cubicBezTo>
                      <a:pt x="30" y="77"/>
                      <a:pt x="30" y="77"/>
                      <a:pt x="30" y="77"/>
                    </a:cubicBezTo>
                    <a:cubicBezTo>
                      <a:pt x="29" y="76"/>
                      <a:pt x="29" y="76"/>
                      <a:pt x="28" y="76"/>
                    </a:cubicBezTo>
                    <a:cubicBezTo>
                      <a:pt x="29" y="76"/>
                      <a:pt x="29" y="76"/>
                      <a:pt x="29" y="76"/>
                    </a:cubicBezTo>
                    <a:cubicBezTo>
                      <a:pt x="29" y="76"/>
                      <a:pt x="29" y="76"/>
                      <a:pt x="29" y="76"/>
                    </a:cubicBezTo>
                    <a:close/>
                    <a:moveTo>
                      <a:pt x="30" y="76"/>
                    </a:moveTo>
                    <a:cubicBezTo>
                      <a:pt x="30" y="76"/>
                      <a:pt x="30" y="76"/>
                      <a:pt x="30" y="76"/>
                    </a:cubicBezTo>
                    <a:cubicBezTo>
                      <a:pt x="30" y="76"/>
                      <a:pt x="30" y="76"/>
                      <a:pt x="30" y="77"/>
                    </a:cubicBezTo>
                    <a:cubicBezTo>
                      <a:pt x="30" y="76"/>
                      <a:pt x="30" y="76"/>
                      <a:pt x="30" y="76"/>
                    </a:cubicBezTo>
                    <a:cubicBezTo>
                      <a:pt x="30" y="76"/>
                      <a:pt x="30" y="76"/>
                      <a:pt x="30" y="76"/>
                    </a:cubicBezTo>
                    <a:close/>
                    <a:moveTo>
                      <a:pt x="30" y="76"/>
                    </a:moveTo>
                    <a:cubicBezTo>
                      <a:pt x="30" y="76"/>
                      <a:pt x="30" y="76"/>
                      <a:pt x="30" y="76"/>
                    </a:cubicBezTo>
                    <a:cubicBezTo>
                      <a:pt x="30" y="76"/>
                      <a:pt x="30" y="76"/>
                      <a:pt x="30" y="76"/>
                    </a:cubicBezTo>
                    <a:cubicBezTo>
                      <a:pt x="30" y="76"/>
                      <a:pt x="30" y="76"/>
                      <a:pt x="30" y="76"/>
                    </a:cubicBezTo>
                    <a:cubicBezTo>
                      <a:pt x="30" y="76"/>
                      <a:pt x="30" y="76"/>
                      <a:pt x="30" y="76"/>
                    </a:cubicBezTo>
                    <a:close/>
                    <a:moveTo>
                      <a:pt x="19" y="75"/>
                    </a:moveTo>
                    <a:cubicBezTo>
                      <a:pt x="21" y="75"/>
                      <a:pt x="23" y="75"/>
                      <a:pt x="25" y="75"/>
                    </a:cubicBezTo>
                    <a:cubicBezTo>
                      <a:pt x="23" y="76"/>
                      <a:pt x="21" y="77"/>
                      <a:pt x="20" y="78"/>
                    </a:cubicBezTo>
                    <a:cubicBezTo>
                      <a:pt x="19" y="78"/>
                      <a:pt x="19" y="77"/>
                      <a:pt x="18" y="77"/>
                    </a:cubicBezTo>
                    <a:cubicBezTo>
                      <a:pt x="19" y="77"/>
                      <a:pt x="19" y="78"/>
                      <a:pt x="19" y="78"/>
                    </a:cubicBezTo>
                    <a:cubicBezTo>
                      <a:pt x="19" y="78"/>
                      <a:pt x="19" y="78"/>
                      <a:pt x="19" y="78"/>
                    </a:cubicBezTo>
                    <a:cubicBezTo>
                      <a:pt x="19" y="78"/>
                      <a:pt x="19" y="78"/>
                      <a:pt x="19" y="78"/>
                    </a:cubicBezTo>
                    <a:cubicBezTo>
                      <a:pt x="19" y="78"/>
                      <a:pt x="20" y="78"/>
                      <a:pt x="20" y="78"/>
                    </a:cubicBezTo>
                    <a:cubicBezTo>
                      <a:pt x="24" y="80"/>
                      <a:pt x="24" y="80"/>
                      <a:pt x="24" y="80"/>
                    </a:cubicBezTo>
                    <a:cubicBezTo>
                      <a:pt x="23" y="81"/>
                      <a:pt x="23" y="81"/>
                      <a:pt x="22" y="81"/>
                    </a:cubicBezTo>
                    <a:cubicBezTo>
                      <a:pt x="23" y="81"/>
                      <a:pt x="23" y="81"/>
                      <a:pt x="24" y="80"/>
                    </a:cubicBezTo>
                    <a:cubicBezTo>
                      <a:pt x="25" y="81"/>
                      <a:pt x="27" y="82"/>
                      <a:pt x="28" y="83"/>
                    </a:cubicBezTo>
                    <a:cubicBezTo>
                      <a:pt x="27" y="83"/>
                      <a:pt x="26" y="83"/>
                      <a:pt x="25" y="83"/>
                    </a:cubicBezTo>
                    <a:cubicBezTo>
                      <a:pt x="24" y="83"/>
                      <a:pt x="22" y="82"/>
                      <a:pt x="21" y="82"/>
                    </a:cubicBezTo>
                    <a:cubicBezTo>
                      <a:pt x="19" y="81"/>
                      <a:pt x="17" y="81"/>
                      <a:pt x="15" y="80"/>
                    </a:cubicBezTo>
                    <a:cubicBezTo>
                      <a:pt x="15" y="80"/>
                      <a:pt x="14" y="79"/>
                      <a:pt x="14" y="79"/>
                    </a:cubicBezTo>
                    <a:cubicBezTo>
                      <a:pt x="16" y="78"/>
                      <a:pt x="18" y="77"/>
                      <a:pt x="19" y="75"/>
                    </a:cubicBezTo>
                    <a:cubicBezTo>
                      <a:pt x="19" y="75"/>
                      <a:pt x="19" y="75"/>
                      <a:pt x="19" y="75"/>
                    </a:cubicBezTo>
                    <a:close/>
                    <a:moveTo>
                      <a:pt x="40" y="78"/>
                    </a:moveTo>
                    <a:cubicBezTo>
                      <a:pt x="40" y="78"/>
                      <a:pt x="39" y="78"/>
                      <a:pt x="39" y="77"/>
                    </a:cubicBezTo>
                    <a:cubicBezTo>
                      <a:pt x="39" y="78"/>
                      <a:pt x="39" y="78"/>
                      <a:pt x="39" y="78"/>
                    </a:cubicBezTo>
                    <a:cubicBezTo>
                      <a:pt x="39" y="78"/>
                      <a:pt x="40" y="78"/>
                      <a:pt x="40" y="79"/>
                    </a:cubicBezTo>
                    <a:cubicBezTo>
                      <a:pt x="40" y="78"/>
                      <a:pt x="40" y="78"/>
                      <a:pt x="40" y="78"/>
                    </a:cubicBezTo>
                    <a:cubicBezTo>
                      <a:pt x="40" y="78"/>
                      <a:pt x="40" y="78"/>
                      <a:pt x="40" y="78"/>
                    </a:cubicBezTo>
                    <a:close/>
                    <a:moveTo>
                      <a:pt x="30" y="77"/>
                    </a:moveTo>
                    <a:cubicBezTo>
                      <a:pt x="30" y="77"/>
                      <a:pt x="30" y="77"/>
                      <a:pt x="30" y="77"/>
                    </a:cubicBezTo>
                    <a:cubicBezTo>
                      <a:pt x="30" y="77"/>
                      <a:pt x="30" y="77"/>
                      <a:pt x="30" y="77"/>
                    </a:cubicBezTo>
                    <a:cubicBezTo>
                      <a:pt x="30" y="77"/>
                      <a:pt x="30" y="77"/>
                      <a:pt x="30" y="77"/>
                    </a:cubicBezTo>
                    <a:cubicBezTo>
                      <a:pt x="30" y="77"/>
                      <a:pt x="30" y="77"/>
                      <a:pt x="30" y="77"/>
                    </a:cubicBezTo>
                    <a:close/>
                    <a:moveTo>
                      <a:pt x="40" y="78"/>
                    </a:moveTo>
                    <a:cubicBezTo>
                      <a:pt x="40" y="78"/>
                      <a:pt x="40" y="78"/>
                      <a:pt x="40" y="78"/>
                    </a:cubicBezTo>
                    <a:cubicBezTo>
                      <a:pt x="40" y="78"/>
                      <a:pt x="40" y="79"/>
                      <a:pt x="40" y="79"/>
                    </a:cubicBezTo>
                    <a:cubicBezTo>
                      <a:pt x="40" y="79"/>
                      <a:pt x="40" y="79"/>
                      <a:pt x="40" y="78"/>
                    </a:cubicBezTo>
                    <a:cubicBezTo>
                      <a:pt x="40" y="78"/>
                      <a:pt x="40" y="78"/>
                      <a:pt x="40" y="78"/>
                    </a:cubicBezTo>
                    <a:close/>
                    <a:moveTo>
                      <a:pt x="30" y="77"/>
                    </a:moveTo>
                    <a:cubicBezTo>
                      <a:pt x="30" y="77"/>
                      <a:pt x="30" y="77"/>
                      <a:pt x="30" y="77"/>
                    </a:cubicBezTo>
                    <a:cubicBezTo>
                      <a:pt x="28" y="78"/>
                      <a:pt x="27" y="79"/>
                      <a:pt x="25" y="80"/>
                    </a:cubicBezTo>
                    <a:cubicBezTo>
                      <a:pt x="27" y="80"/>
                      <a:pt x="29" y="81"/>
                      <a:pt x="30" y="81"/>
                    </a:cubicBezTo>
                    <a:cubicBezTo>
                      <a:pt x="30" y="81"/>
                      <a:pt x="31" y="81"/>
                      <a:pt x="31" y="81"/>
                    </a:cubicBezTo>
                    <a:cubicBezTo>
                      <a:pt x="31" y="80"/>
                      <a:pt x="30" y="79"/>
                      <a:pt x="30" y="77"/>
                    </a:cubicBezTo>
                    <a:cubicBezTo>
                      <a:pt x="30" y="77"/>
                      <a:pt x="30" y="77"/>
                      <a:pt x="30" y="77"/>
                    </a:cubicBezTo>
                    <a:close/>
                    <a:moveTo>
                      <a:pt x="40" y="79"/>
                    </a:moveTo>
                    <a:cubicBezTo>
                      <a:pt x="40" y="79"/>
                      <a:pt x="40" y="79"/>
                      <a:pt x="40" y="79"/>
                    </a:cubicBezTo>
                    <a:cubicBezTo>
                      <a:pt x="41" y="79"/>
                      <a:pt x="41" y="79"/>
                      <a:pt x="41" y="79"/>
                    </a:cubicBezTo>
                    <a:cubicBezTo>
                      <a:pt x="41" y="79"/>
                      <a:pt x="41" y="80"/>
                      <a:pt x="41" y="80"/>
                    </a:cubicBezTo>
                    <a:cubicBezTo>
                      <a:pt x="41" y="80"/>
                      <a:pt x="41" y="80"/>
                      <a:pt x="41" y="80"/>
                    </a:cubicBezTo>
                    <a:cubicBezTo>
                      <a:pt x="41" y="79"/>
                      <a:pt x="41" y="79"/>
                      <a:pt x="40" y="79"/>
                    </a:cubicBezTo>
                    <a:cubicBezTo>
                      <a:pt x="40" y="79"/>
                      <a:pt x="40" y="79"/>
                      <a:pt x="40" y="79"/>
                    </a:cubicBezTo>
                    <a:close/>
                    <a:moveTo>
                      <a:pt x="53" y="81"/>
                    </a:moveTo>
                    <a:cubicBezTo>
                      <a:pt x="55" y="81"/>
                      <a:pt x="56" y="81"/>
                      <a:pt x="58" y="81"/>
                    </a:cubicBezTo>
                    <a:cubicBezTo>
                      <a:pt x="54" y="83"/>
                      <a:pt x="56" y="83"/>
                      <a:pt x="52" y="83"/>
                    </a:cubicBezTo>
                    <a:cubicBezTo>
                      <a:pt x="53" y="81"/>
                      <a:pt x="53" y="81"/>
                      <a:pt x="53" y="81"/>
                    </a:cubicBezTo>
                    <a:cubicBezTo>
                      <a:pt x="53" y="81"/>
                      <a:pt x="53" y="81"/>
                      <a:pt x="53" y="81"/>
                    </a:cubicBezTo>
                    <a:close/>
                    <a:moveTo>
                      <a:pt x="31" y="78"/>
                    </a:moveTo>
                    <a:cubicBezTo>
                      <a:pt x="31" y="78"/>
                      <a:pt x="31" y="78"/>
                      <a:pt x="31" y="78"/>
                    </a:cubicBezTo>
                    <a:cubicBezTo>
                      <a:pt x="31" y="78"/>
                      <a:pt x="31" y="78"/>
                      <a:pt x="31" y="78"/>
                    </a:cubicBezTo>
                    <a:cubicBezTo>
                      <a:pt x="31" y="78"/>
                      <a:pt x="31" y="78"/>
                      <a:pt x="31" y="78"/>
                    </a:cubicBezTo>
                    <a:cubicBezTo>
                      <a:pt x="31" y="78"/>
                      <a:pt x="31" y="78"/>
                      <a:pt x="31" y="78"/>
                    </a:cubicBezTo>
                    <a:close/>
                    <a:moveTo>
                      <a:pt x="39" y="79"/>
                    </a:moveTo>
                    <a:cubicBezTo>
                      <a:pt x="39" y="79"/>
                      <a:pt x="39" y="79"/>
                      <a:pt x="38" y="79"/>
                    </a:cubicBezTo>
                    <a:cubicBezTo>
                      <a:pt x="38" y="80"/>
                      <a:pt x="38" y="80"/>
                      <a:pt x="38" y="81"/>
                    </a:cubicBezTo>
                    <a:cubicBezTo>
                      <a:pt x="38" y="80"/>
                      <a:pt x="39" y="80"/>
                      <a:pt x="39" y="80"/>
                    </a:cubicBezTo>
                    <a:cubicBezTo>
                      <a:pt x="39" y="80"/>
                      <a:pt x="39" y="80"/>
                      <a:pt x="39" y="79"/>
                    </a:cubicBezTo>
                    <a:cubicBezTo>
                      <a:pt x="39" y="79"/>
                      <a:pt x="39" y="79"/>
                      <a:pt x="39" y="79"/>
                    </a:cubicBezTo>
                    <a:close/>
                    <a:moveTo>
                      <a:pt x="41" y="80"/>
                    </a:moveTo>
                    <a:cubicBezTo>
                      <a:pt x="41" y="80"/>
                      <a:pt x="41" y="80"/>
                      <a:pt x="41" y="80"/>
                    </a:cubicBezTo>
                    <a:cubicBezTo>
                      <a:pt x="43" y="81"/>
                      <a:pt x="44" y="82"/>
                      <a:pt x="46" y="83"/>
                    </a:cubicBezTo>
                    <a:cubicBezTo>
                      <a:pt x="46" y="83"/>
                      <a:pt x="46" y="83"/>
                      <a:pt x="45" y="83"/>
                    </a:cubicBezTo>
                    <a:cubicBezTo>
                      <a:pt x="44" y="83"/>
                      <a:pt x="42" y="81"/>
                      <a:pt x="41" y="80"/>
                    </a:cubicBezTo>
                    <a:cubicBezTo>
                      <a:pt x="41" y="80"/>
                      <a:pt x="41" y="80"/>
                      <a:pt x="41" y="80"/>
                    </a:cubicBezTo>
                    <a:close/>
                    <a:moveTo>
                      <a:pt x="31" y="79"/>
                    </a:moveTo>
                    <a:cubicBezTo>
                      <a:pt x="31" y="78"/>
                      <a:pt x="31" y="78"/>
                      <a:pt x="31" y="78"/>
                    </a:cubicBezTo>
                    <a:cubicBezTo>
                      <a:pt x="31" y="79"/>
                      <a:pt x="32" y="79"/>
                      <a:pt x="32" y="79"/>
                    </a:cubicBezTo>
                    <a:cubicBezTo>
                      <a:pt x="32" y="80"/>
                      <a:pt x="32" y="80"/>
                      <a:pt x="32" y="80"/>
                    </a:cubicBezTo>
                    <a:cubicBezTo>
                      <a:pt x="32" y="80"/>
                      <a:pt x="32" y="80"/>
                      <a:pt x="31" y="80"/>
                    </a:cubicBezTo>
                    <a:cubicBezTo>
                      <a:pt x="31" y="79"/>
                      <a:pt x="31" y="79"/>
                      <a:pt x="31" y="79"/>
                    </a:cubicBezTo>
                    <a:cubicBezTo>
                      <a:pt x="31" y="79"/>
                      <a:pt x="31" y="79"/>
                      <a:pt x="31" y="79"/>
                    </a:cubicBezTo>
                    <a:close/>
                    <a:moveTo>
                      <a:pt x="40" y="80"/>
                    </a:moveTo>
                    <a:cubicBezTo>
                      <a:pt x="39" y="80"/>
                      <a:pt x="39" y="80"/>
                      <a:pt x="39" y="80"/>
                    </a:cubicBezTo>
                    <a:cubicBezTo>
                      <a:pt x="39" y="80"/>
                      <a:pt x="39" y="80"/>
                      <a:pt x="39" y="80"/>
                    </a:cubicBezTo>
                    <a:cubicBezTo>
                      <a:pt x="39" y="80"/>
                      <a:pt x="39" y="80"/>
                      <a:pt x="40" y="80"/>
                    </a:cubicBezTo>
                    <a:cubicBezTo>
                      <a:pt x="40" y="80"/>
                      <a:pt x="40" y="80"/>
                      <a:pt x="40" y="80"/>
                    </a:cubicBezTo>
                    <a:close/>
                    <a:moveTo>
                      <a:pt x="40" y="80"/>
                    </a:moveTo>
                    <a:cubicBezTo>
                      <a:pt x="40" y="80"/>
                      <a:pt x="40" y="80"/>
                      <a:pt x="40" y="80"/>
                    </a:cubicBezTo>
                    <a:cubicBezTo>
                      <a:pt x="40" y="83"/>
                      <a:pt x="40" y="85"/>
                      <a:pt x="40" y="88"/>
                    </a:cubicBezTo>
                    <a:cubicBezTo>
                      <a:pt x="40" y="87"/>
                      <a:pt x="38" y="85"/>
                      <a:pt x="37" y="84"/>
                    </a:cubicBezTo>
                    <a:cubicBezTo>
                      <a:pt x="37" y="84"/>
                      <a:pt x="38" y="81"/>
                      <a:pt x="38" y="81"/>
                    </a:cubicBezTo>
                    <a:cubicBezTo>
                      <a:pt x="38" y="81"/>
                      <a:pt x="39" y="81"/>
                      <a:pt x="39" y="80"/>
                    </a:cubicBezTo>
                    <a:cubicBezTo>
                      <a:pt x="39" y="81"/>
                      <a:pt x="39" y="82"/>
                      <a:pt x="39" y="83"/>
                    </a:cubicBezTo>
                    <a:cubicBezTo>
                      <a:pt x="39" y="83"/>
                      <a:pt x="39" y="83"/>
                      <a:pt x="39" y="83"/>
                    </a:cubicBezTo>
                    <a:cubicBezTo>
                      <a:pt x="39" y="82"/>
                      <a:pt x="39" y="81"/>
                      <a:pt x="39" y="80"/>
                    </a:cubicBezTo>
                    <a:cubicBezTo>
                      <a:pt x="39" y="80"/>
                      <a:pt x="39" y="80"/>
                      <a:pt x="40" y="80"/>
                    </a:cubicBezTo>
                    <a:cubicBezTo>
                      <a:pt x="39" y="81"/>
                      <a:pt x="39" y="81"/>
                      <a:pt x="39" y="82"/>
                    </a:cubicBezTo>
                    <a:cubicBezTo>
                      <a:pt x="39" y="82"/>
                      <a:pt x="39" y="82"/>
                      <a:pt x="39" y="82"/>
                    </a:cubicBezTo>
                    <a:cubicBezTo>
                      <a:pt x="40" y="80"/>
                      <a:pt x="40" y="80"/>
                      <a:pt x="40" y="80"/>
                    </a:cubicBezTo>
                    <a:cubicBezTo>
                      <a:pt x="40" y="80"/>
                      <a:pt x="40" y="80"/>
                      <a:pt x="40" y="80"/>
                    </a:cubicBezTo>
                    <a:close/>
                    <a:moveTo>
                      <a:pt x="60" y="83"/>
                    </a:moveTo>
                    <a:cubicBezTo>
                      <a:pt x="60" y="83"/>
                      <a:pt x="60" y="83"/>
                      <a:pt x="59" y="83"/>
                    </a:cubicBezTo>
                    <a:cubicBezTo>
                      <a:pt x="59" y="83"/>
                      <a:pt x="59" y="83"/>
                      <a:pt x="59" y="83"/>
                    </a:cubicBezTo>
                    <a:cubicBezTo>
                      <a:pt x="57" y="84"/>
                      <a:pt x="56" y="84"/>
                      <a:pt x="54" y="84"/>
                    </a:cubicBezTo>
                    <a:cubicBezTo>
                      <a:pt x="54" y="83"/>
                      <a:pt x="54" y="83"/>
                      <a:pt x="55" y="83"/>
                    </a:cubicBezTo>
                    <a:cubicBezTo>
                      <a:pt x="56" y="83"/>
                      <a:pt x="58" y="83"/>
                      <a:pt x="60" y="83"/>
                    </a:cubicBezTo>
                    <a:cubicBezTo>
                      <a:pt x="60" y="83"/>
                      <a:pt x="60" y="83"/>
                      <a:pt x="60" y="83"/>
                    </a:cubicBezTo>
                    <a:close/>
                    <a:moveTo>
                      <a:pt x="49" y="81"/>
                    </a:moveTo>
                    <a:cubicBezTo>
                      <a:pt x="48" y="81"/>
                      <a:pt x="46" y="81"/>
                      <a:pt x="45" y="81"/>
                    </a:cubicBezTo>
                    <a:cubicBezTo>
                      <a:pt x="49" y="83"/>
                      <a:pt x="48" y="83"/>
                      <a:pt x="52" y="83"/>
                    </a:cubicBezTo>
                    <a:cubicBezTo>
                      <a:pt x="52" y="82"/>
                      <a:pt x="53" y="82"/>
                      <a:pt x="53" y="81"/>
                    </a:cubicBezTo>
                    <a:cubicBezTo>
                      <a:pt x="52" y="81"/>
                      <a:pt x="50" y="81"/>
                      <a:pt x="49" y="81"/>
                    </a:cubicBezTo>
                    <a:cubicBezTo>
                      <a:pt x="49" y="81"/>
                      <a:pt x="49" y="81"/>
                      <a:pt x="49" y="81"/>
                    </a:cubicBezTo>
                    <a:close/>
                    <a:moveTo>
                      <a:pt x="40" y="81"/>
                    </a:moveTo>
                    <a:cubicBezTo>
                      <a:pt x="40" y="81"/>
                      <a:pt x="40" y="81"/>
                      <a:pt x="40" y="80"/>
                    </a:cubicBezTo>
                    <a:cubicBezTo>
                      <a:pt x="40" y="82"/>
                      <a:pt x="40" y="87"/>
                      <a:pt x="41" y="88"/>
                    </a:cubicBezTo>
                    <a:cubicBezTo>
                      <a:pt x="41" y="88"/>
                      <a:pt x="42" y="89"/>
                      <a:pt x="43" y="90"/>
                    </a:cubicBezTo>
                    <a:cubicBezTo>
                      <a:pt x="42" y="88"/>
                      <a:pt x="41" y="85"/>
                      <a:pt x="41" y="83"/>
                    </a:cubicBezTo>
                    <a:cubicBezTo>
                      <a:pt x="41" y="84"/>
                      <a:pt x="41" y="85"/>
                      <a:pt x="41" y="85"/>
                    </a:cubicBezTo>
                    <a:cubicBezTo>
                      <a:pt x="41" y="83"/>
                      <a:pt x="41" y="83"/>
                      <a:pt x="40" y="81"/>
                    </a:cubicBezTo>
                    <a:cubicBezTo>
                      <a:pt x="40" y="81"/>
                      <a:pt x="40" y="81"/>
                      <a:pt x="40" y="81"/>
                    </a:cubicBezTo>
                    <a:close/>
                    <a:moveTo>
                      <a:pt x="41" y="81"/>
                    </a:moveTo>
                    <a:cubicBezTo>
                      <a:pt x="41" y="81"/>
                      <a:pt x="41" y="81"/>
                      <a:pt x="41" y="81"/>
                    </a:cubicBezTo>
                    <a:cubicBezTo>
                      <a:pt x="41" y="81"/>
                      <a:pt x="41" y="82"/>
                      <a:pt x="41" y="82"/>
                    </a:cubicBezTo>
                    <a:cubicBezTo>
                      <a:pt x="41" y="82"/>
                      <a:pt x="41" y="81"/>
                      <a:pt x="41" y="81"/>
                    </a:cubicBezTo>
                    <a:cubicBezTo>
                      <a:pt x="41" y="81"/>
                      <a:pt x="41" y="81"/>
                      <a:pt x="41" y="81"/>
                    </a:cubicBezTo>
                    <a:close/>
                    <a:moveTo>
                      <a:pt x="32" y="80"/>
                    </a:moveTo>
                    <a:cubicBezTo>
                      <a:pt x="32" y="80"/>
                      <a:pt x="32" y="80"/>
                      <a:pt x="32" y="80"/>
                    </a:cubicBezTo>
                    <a:cubicBezTo>
                      <a:pt x="32" y="80"/>
                      <a:pt x="33" y="80"/>
                      <a:pt x="33" y="80"/>
                    </a:cubicBezTo>
                    <a:cubicBezTo>
                      <a:pt x="32" y="80"/>
                      <a:pt x="32" y="80"/>
                      <a:pt x="32" y="80"/>
                    </a:cubicBezTo>
                    <a:cubicBezTo>
                      <a:pt x="32" y="80"/>
                      <a:pt x="32" y="80"/>
                      <a:pt x="32" y="80"/>
                    </a:cubicBezTo>
                    <a:close/>
                    <a:moveTo>
                      <a:pt x="34" y="80"/>
                    </a:moveTo>
                    <a:cubicBezTo>
                      <a:pt x="35" y="80"/>
                      <a:pt x="35" y="80"/>
                      <a:pt x="36" y="79"/>
                    </a:cubicBezTo>
                    <a:cubicBezTo>
                      <a:pt x="35" y="81"/>
                      <a:pt x="36" y="81"/>
                      <a:pt x="34" y="82"/>
                    </a:cubicBezTo>
                    <a:cubicBezTo>
                      <a:pt x="34" y="81"/>
                      <a:pt x="34" y="81"/>
                      <a:pt x="34" y="81"/>
                    </a:cubicBezTo>
                    <a:cubicBezTo>
                      <a:pt x="34" y="81"/>
                      <a:pt x="34" y="81"/>
                      <a:pt x="34" y="81"/>
                    </a:cubicBezTo>
                    <a:cubicBezTo>
                      <a:pt x="35" y="81"/>
                      <a:pt x="35" y="81"/>
                      <a:pt x="35" y="81"/>
                    </a:cubicBezTo>
                    <a:cubicBezTo>
                      <a:pt x="35" y="81"/>
                      <a:pt x="35" y="80"/>
                      <a:pt x="34" y="80"/>
                    </a:cubicBezTo>
                    <a:cubicBezTo>
                      <a:pt x="34" y="80"/>
                      <a:pt x="34" y="80"/>
                      <a:pt x="34" y="80"/>
                    </a:cubicBezTo>
                    <a:close/>
                    <a:moveTo>
                      <a:pt x="32" y="80"/>
                    </a:moveTo>
                    <a:cubicBezTo>
                      <a:pt x="33" y="80"/>
                      <a:pt x="33" y="80"/>
                      <a:pt x="34" y="81"/>
                    </a:cubicBezTo>
                    <a:cubicBezTo>
                      <a:pt x="33" y="81"/>
                      <a:pt x="33" y="82"/>
                      <a:pt x="33" y="82"/>
                    </a:cubicBezTo>
                    <a:cubicBezTo>
                      <a:pt x="32" y="81"/>
                      <a:pt x="32" y="81"/>
                      <a:pt x="32" y="80"/>
                    </a:cubicBezTo>
                    <a:cubicBezTo>
                      <a:pt x="32" y="80"/>
                      <a:pt x="32" y="80"/>
                      <a:pt x="32" y="80"/>
                    </a:cubicBezTo>
                    <a:cubicBezTo>
                      <a:pt x="32" y="80"/>
                      <a:pt x="32" y="80"/>
                      <a:pt x="32" y="80"/>
                    </a:cubicBezTo>
                    <a:close/>
                    <a:moveTo>
                      <a:pt x="33" y="80"/>
                    </a:moveTo>
                    <a:cubicBezTo>
                      <a:pt x="33" y="80"/>
                      <a:pt x="34" y="80"/>
                      <a:pt x="34" y="80"/>
                    </a:cubicBezTo>
                    <a:cubicBezTo>
                      <a:pt x="34" y="81"/>
                      <a:pt x="34" y="81"/>
                      <a:pt x="34" y="81"/>
                    </a:cubicBezTo>
                    <a:cubicBezTo>
                      <a:pt x="34" y="81"/>
                      <a:pt x="33" y="81"/>
                      <a:pt x="33" y="80"/>
                    </a:cubicBezTo>
                    <a:cubicBezTo>
                      <a:pt x="33" y="80"/>
                      <a:pt x="33" y="80"/>
                      <a:pt x="33" y="80"/>
                    </a:cubicBezTo>
                    <a:close/>
                    <a:moveTo>
                      <a:pt x="52" y="83"/>
                    </a:moveTo>
                    <a:cubicBezTo>
                      <a:pt x="53" y="83"/>
                      <a:pt x="54" y="83"/>
                      <a:pt x="54" y="83"/>
                    </a:cubicBezTo>
                    <a:cubicBezTo>
                      <a:pt x="53" y="84"/>
                      <a:pt x="53" y="84"/>
                      <a:pt x="52" y="84"/>
                    </a:cubicBezTo>
                    <a:cubicBezTo>
                      <a:pt x="52" y="84"/>
                      <a:pt x="51" y="84"/>
                      <a:pt x="51" y="84"/>
                    </a:cubicBezTo>
                    <a:cubicBezTo>
                      <a:pt x="51" y="83"/>
                      <a:pt x="52" y="83"/>
                      <a:pt x="52" y="83"/>
                    </a:cubicBezTo>
                    <a:cubicBezTo>
                      <a:pt x="52" y="83"/>
                      <a:pt x="52" y="83"/>
                      <a:pt x="52" y="83"/>
                    </a:cubicBezTo>
                    <a:close/>
                    <a:moveTo>
                      <a:pt x="49" y="83"/>
                    </a:moveTo>
                    <a:cubicBezTo>
                      <a:pt x="50" y="83"/>
                      <a:pt x="51" y="83"/>
                      <a:pt x="52" y="83"/>
                    </a:cubicBezTo>
                    <a:cubicBezTo>
                      <a:pt x="51" y="83"/>
                      <a:pt x="51" y="83"/>
                      <a:pt x="51" y="84"/>
                    </a:cubicBezTo>
                    <a:cubicBezTo>
                      <a:pt x="50" y="83"/>
                      <a:pt x="49" y="83"/>
                      <a:pt x="49" y="83"/>
                    </a:cubicBezTo>
                    <a:cubicBezTo>
                      <a:pt x="49" y="83"/>
                      <a:pt x="49" y="83"/>
                      <a:pt x="49" y="83"/>
                    </a:cubicBezTo>
                    <a:close/>
                    <a:moveTo>
                      <a:pt x="63" y="85"/>
                    </a:moveTo>
                    <a:cubicBezTo>
                      <a:pt x="62" y="85"/>
                      <a:pt x="62" y="85"/>
                      <a:pt x="62" y="85"/>
                    </a:cubicBezTo>
                    <a:cubicBezTo>
                      <a:pt x="62" y="85"/>
                      <a:pt x="62" y="85"/>
                      <a:pt x="63" y="85"/>
                    </a:cubicBezTo>
                    <a:cubicBezTo>
                      <a:pt x="63" y="85"/>
                      <a:pt x="63" y="85"/>
                      <a:pt x="63" y="85"/>
                    </a:cubicBezTo>
                    <a:close/>
                    <a:moveTo>
                      <a:pt x="53" y="84"/>
                    </a:moveTo>
                    <a:cubicBezTo>
                      <a:pt x="55" y="84"/>
                      <a:pt x="56" y="84"/>
                      <a:pt x="57" y="84"/>
                    </a:cubicBezTo>
                    <a:cubicBezTo>
                      <a:pt x="56" y="84"/>
                      <a:pt x="55" y="84"/>
                      <a:pt x="53" y="84"/>
                    </a:cubicBezTo>
                    <a:cubicBezTo>
                      <a:pt x="53" y="84"/>
                      <a:pt x="53" y="84"/>
                      <a:pt x="53" y="84"/>
                    </a:cubicBezTo>
                    <a:cubicBezTo>
                      <a:pt x="53" y="84"/>
                      <a:pt x="53" y="84"/>
                      <a:pt x="53" y="84"/>
                    </a:cubicBezTo>
                    <a:close/>
                    <a:moveTo>
                      <a:pt x="57" y="84"/>
                    </a:moveTo>
                    <a:cubicBezTo>
                      <a:pt x="59" y="85"/>
                      <a:pt x="60" y="85"/>
                      <a:pt x="62" y="85"/>
                    </a:cubicBezTo>
                    <a:cubicBezTo>
                      <a:pt x="61" y="86"/>
                      <a:pt x="60" y="86"/>
                      <a:pt x="59" y="86"/>
                    </a:cubicBezTo>
                    <a:cubicBezTo>
                      <a:pt x="58" y="86"/>
                      <a:pt x="57" y="85"/>
                      <a:pt x="57" y="84"/>
                    </a:cubicBezTo>
                    <a:cubicBezTo>
                      <a:pt x="57" y="84"/>
                      <a:pt x="57" y="84"/>
                      <a:pt x="57" y="84"/>
                    </a:cubicBezTo>
                    <a:close/>
                    <a:moveTo>
                      <a:pt x="53" y="84"/>
                    </a:moveTo>
                    <a:cubicBezTo>
                      <a:pt x="53" y="84"/>
                      <a:pt x="53" y="84"/>
                      <a:pt x="53" y="84"/>
                    </a:cubicBezTo>
                    <a:cubicBezTo>
                      <a:pt x="53" y="84"/>
                      <a:pt x="53" y="84"/>
                      <a:pt x="53" y="84"/>
                    </a:cubicBezTo>
                    <a:cubicBezTo>
                      <a:pt x="53" y="84"/>
                      <a:pt x="53" y="84"/>
                      <a:pt x="53" y="84"/>
                    </a:cubicBezTo>
                    <a:close/>
                    <a:moveTo>
                      <a:pt x="57" y="84"/>
                    </a:moveTo>
                    <a:cubicBezTo>
                      <a:pt x="55" y="84"/>
                      <a:pt x="54" y="85"/>
                      <a:pt x="53" y="85"/>
                    </a:cubicBezTo>
                    <a:cubicBezTo>
                      <a:pt x="52" y="85"/>
                      <a:pt x="51" y="84"/>
                      <a:pt x="50" y="84"/>
                    </a:cubicBezTo>
                    <a:cubicBezTo>
                      <a:pt x="50" y="84"/>
                      <a:pt x="50" y="84"/>
                      <a:pt x="50" y="85"/>
                    </a:cubicBezTo>
                    <a:cubicBezTo>
                      <a:pt x="52" y="85"/>
                      <a:pt x="53" y="86"/>
                      <a:pt x="54" y="87"/>
                    </a:cubicBezTo>
                    <a:cubicBezTo>
                      <a:pt x="55" y="87"/>
                      <a:pt x="56" y="87"/>
                      <a:pt x="56" y="87"/>
                    </a:cubicBezTo>
                    <a:cubicBezTo>
                      <a:pt x="57" y="87"/>
                      <a:pt x="58" y="87"/>
                      <a:pt x="59" y="86"/>
                    </a:cubicBezTo>
                    <a:cubicBezTo>
                      <a:pt x="58" y="86"/>
                      <a:pt x="57" y="85"/>
                      <a:pt x="57" y="84"/>
                    </a:cubicBezTo>
                    <a:cubicBezTo>
                      <a:pt x="57" y="84"/>
                      <a:pt x="57" y="84"/>
                      <a:pt x="57" y="84"/>
                    </a:cubicBezTo>
                    <a:close/>
                    <a:moveTo>
                      <a:pt x="46" y="83"/>
                    </a:moveTo>
                    <a:cubicBezTo>
                      <a:pt x="46" y="83"/>
                      <a:pt x="47" y="83"/>
                      <a:pt x="48" y="83"/>
                    </a:cubicBezTo>
                    <a:cubicBezTo>
                      <a:pt x="48" y="84"/>
                      <a:pt x="48" y="84"/>
                      <a:pt x="48" y="84"/>
                    </a:cubicBezTo>
                    <a:cubicBezTo>
                      <a:pt x="47" y="84"/>
                      <a:pt x="47" y="84"/>
                      <a:pt x="46" y="83"/>
                    </a:cubicBezTo>
                    <a:cubicBezTo>
                      <a:pt x="46" y="83"/>
                      <a:pt x="46" y="83"/>
                      <a:pt x="46" y="83"/>
                    </a:cubicBezTo>
                    <a:close/>
                    <a:moveTo>
                      <a:pt x="30" y="81"/>
                    </a:moveTo>
                    <a:cubicBezTo>
                      <a:pt x="31" y="81"/>
                      <a:pt x="31" y="81"/>
                      <a:pt x="31" y="81"/>
                    </a:cubicBezTo>
                    <a:cubicBezTo>
                      <a:pt x="31" y="81"/>
                      <a:pt x="31" y="81"/>
                      <a:pt x="31" y="81"/>
                    </a:cubicBezTo>
                    <a:cubicBezTo>
                      <a:pt x="31" y="81"/>
                      <a:pt x="30" y="81"/>
                      <a:pt x="30" y="81"/>
                    </a:cubicBezTo>
                    <a:cubicBezTo>
                      <a:pt x="30" y="81"/>
                      <a:pt x="30" y="81"/>
                      <a:pt x="30" y="81"/>
                    </a:cubicBezTo>
                    <a:close/>
                    <a:moveTo>
                      <a:pt x="30" y="81"/>
                    </a:moveTo>
                    <a:cubicBezTo>
                      <a:pt x="28" y="81"/>
                      <a:pt x="27" y="80"/>
                      <a:pt x="25" y="80"/>
                    </a:cubicBezTo>
                    <a:cubicBezTo>
                      <a:pt x="25" y="80"/>
                      <a:pt x="24" y="80"/>
                      <a:pt x="24" y="80"/>
                    </a:cubicBezTo>
                    <a:cubicBezTo>
                      <a:pt x="25" y="81"/>
                      <a:pt x="28" y="83"/>
                      <a:pt x="28" y="83"/>
                    </a:cubicBezTo>
                    <a:cubicBezTo>
                      <a:pt x="29" y="83"/>
                      <a:pt x="30" y="82"/>
                      <a:pt x="31" y="81"/>
                    </a:cubicBezTo>
                    <a:cubicBezTo>
                      <a:pt x="30" y="81"/>
                      <a:pt x="29" y="81"/>
                      <a:pt x="28" y="81"/>
                    </a:cubicBezTo>
                    <a:cubicBezTo>
                      <a:pt x="28" y="81"/>
                      <a:pt x="29" y="81"/>
                      <a:pt x="30" y="81"/>
                    </a:cubicBezTo>
                    <a:cubicBezTo>
                      <a:pt x="30" y="81"/>
                      <a:pt x="30" y="81"/>
                      <a:pt x="30" y="81"/>
                    </a:cubicBezTo>
                    <a:close/>
                    <a:moveTo>
                      <a:pt x="31" y="81"/>
                    </a:moveTo>
                    <a:cubicBezTo>
                      <a:pt x="31" y="81"/>
                      <a:pt x="31" y="81"/>
                      <a:pt x="31" y="81"/>
                    </a:cubicBezTo>
                    <a:cubicBezTo>
                      <a:pt x="31" y="81"/>
                      <a:pt x="31" y="81"/>
                      <a:pt x="31" y="81"/>
                    </a:cubicBezTo>
                    <a:cubicBezTo>
                      <a:pt x="31" y="81"/>
                      <a:pt x="31" y="81"/>
                      <a:pt x="31" y="81"/>
                    </a:cubicBezTo>
                    <a:cubicBezTo>
                      <a:pt x="31" y="81"/>
                      <a:pt x="31" y="81"/>
                      <a:pt x="31" y="81"/>
                    </a:cubicBezTo>
                    <a:close/>
                    <a:moveTo>
                      <a:pt x="34" y="82"/>
                    </a:moveTo>
                    <a:cubicBezTo>
                      <a:pt x="34" y="82"/>
                      <a:pt x="34" y="81"/>
                      <a:pt x="34" y="81"/>
                    </a:cubicBezTo>
                    <a:cubicBezTo>
                      <a:pt x="33" y="81"/>
                      <a:pt x="33" y="82"/>
                      <a:pt x="33" y="82"/>
                    </a:cubicBezTo>
                    <a:cubicBezTo>
                      <a:pt x="33" y="82"/>
                      <a:pt x="34" y="82"/>
                      <a:pt x="34" y="82"/>
                    </a:cubicBezTo>
                    <a:cubicBezTo>
                      <a:pt x="34" y="82"/>
                      <a:pt x="34" y="82"/>
                      <a:pt x="34" y="82"/>
                    </a:cubicBezTo>
                    <a:close/>
                    <a:moveTo>
                      <a:pt x="31" y="82"/>
                    </a:moveTo>
                    <a:cubicBezTo>
                      <a:pt x="31" y="81"/>
                      <a:pt x="31" y="81"/>
                      <a:pt x="31" y="81"/>
                    </a:cubicBezTo>
                    <a:cubicBezTo>
                      <a:pt x="30" y="82"/>
                      <a:pt x="30" y="82"/>
                      <a:pt x="29" y="83"/>
                    </a:cubicBezTo>
                    <a:cubicBezTo>
                      <a:pt x="30" y="83"/>
                      <a:pt x="31" y="83"/>
                      <a:pt x="32" y="82"/>
                    </a:cubicBezTo>
                    <a:cubicBezTo>
                      <a:pt x="32" y="82"/>
                      <a:pt x="31" y="82"/>
                      <a:pt x="31" y="82"/>
                    </a:cubicBezTo>
                    <a:cubicBezTo>
                      <a:pt x="31" y="82"/>
                      <a:pt x="31" y="82"/>
                      <a:pt x="31" y="82"/>
                    </a:cubicBezTo>
                    <a:close/>
                    <a:moveTo>
                      <a:pt x="49" y="84"/>
                    </a:moveTo>
                    <a:cubicBezTo>
                      <a:pt x="48" y="84"/>
                      <a:pt x="48" y="84"/>
                      <a:pt x="48" y="83"/>
                    </a:cubicBezTo>
                    <a:cubicBezTo>
                      <a:pt x="48" y="84"/>
                      <a:pt x="48" y="84"/>
                      <a:pt x="48" y="84"/>
                    </a:cubicBezTo>
                    <a:cubicBezTo>
                      <a:pt x="48" y="84"/>
                      <a:pt x="48" y="84"/>
                      <a:pt x="49" y="84"/>
                    </a:cubicBezTo>
                    <a:cubicBezTo>
                      <a:pt x="49" y="84"/>
                      <a:pt x="49" y="84"/>
                      <a:pt x="49" y="84"/>
                    </a:cubicBezTo>
                    <a:close/>
                    <a:moveTo>
                      <a:pt x="50" y="84"/>
                    </a:moveTo>
                    <a:cubicBezTo>
                      <a:pt x="49" y="84"/>
                      <a:pt x="49" y="84"/>
                      <a:pt x="49" y="84"/>
                    </a:cubicBezTo>
                    <a:cubicBezTo>
                      <a:pt x="49" y="84"/>
                      <a:pt x="50" y="84"/>
                      <a:pt x="50" y="84"/>
                    </a:cubicBezTo>
                    <a:cubicBezTo>
                      <a:pt x="50" y="84"/>
                      <a:pt x="50" y="84"/>
                      <a:pt x="50" y="84"/>
                    </a:cubicBezTo>
                    <a:cubicBezTo>
                      <a:pt x="50" y="84"/>
                      <a:pt x="50" y="84"/>
                      <a:pt x="50" y="84"/>
                    </a:cubicBezTo>
                    <a:close/>
                    <a:moveTo>
                      <a:pt x="49" y="84"/>
                    </a:moveTo>
                    <a:cubicBezTo>
                      <a:pt x="49" y="84"/>
                      <a:pt x="48" y="84"/>
                      <a:pt x="48" y="84"/>
                    </a:cubicBezTo>
                    <a:cubicBezTo>
                      <a:pt x="48" y="84"/>
                      <a:pt x="48" y="85"/>
                      <a:pt x="48" y="85"/>
                    </a:cubicBezTo>
                    <a:cubicBezTo>
                      <a:pt x="50" y="85"/>
                      <a:pt x="52" y="86"/>
                      <a:pt x="54" y="87"/>
                    </a:cubicBezTo>
                    <a:cubicBezTo>
                      <a:pt x="53" y="86"/>
                      <a:pt x="52" y="86"/>
                      <a:pt x="51" y="85"/>
                    </a:cubicBezTo>
                    <a:cubicBezTo>
                      <a:pt x="51" y="85"/>
                      <a:pt x="51" y="85"/>
                      <a:pt x="51" y="85"/>
                    </a:cubicBezTo>
                    <a:cubicBezTo>
                      <a:pt x="51" y="85"/>
                      <a:pt x="51" y="85"/>
                      <a:pt x="51" y="85"/>
                    </a:cubicBezTo>
                    <a:cubicBezTo>
                      <a:pt x="50" y="85"/>
                      <a:pt x="50" y="85"/>
                      <a:pt x="49" y="84"/>
                    </a:cubicBezTo>
                    <a:cubicBezTo>
                      <a:pt x="49" y="84"/>
                      <a:pt x="49" y="84"/>
                      <a:pt x="49" y="84"/>
                    </a:cubicBezTo>
                    <a:close/>
                    <a:moveTo>
                      <a:pt x="48" y="84"/>
                    </a:moveTo>
                    <a:cubicBezTo>
                      <a:pt x="48" y="84"/>
                      <a:pt x="48" y="84"/>
                      <a:pt x="47" y="84"/>
                    </a:cubicBezTo>
                    <a:cubicBezTo>
                      <a:pt x="48" y="84"/>
                      <a:pt x="48" y="85"/>
                      <a:pt x="48" y="85"/>
                    </a:cubicBezTo>
                    <a:cubicBezTo>
                      <a:pt x="48" y="85"/>
                      <a:pt x="48" y="84"/>
                      <a:pt x="48" y="84"/>
                    </a:cubicBezTo>
                    <a:cubicBezTo>
                      <a:pt x="48" y="84"/>
                      <a:pt x="48" y="84"/>
                      <a:pt x="48" y="84"/>
                    </a:cubicBezTo>
                    <a:close/>
                    <a:moveTo>
                      <a:pt x="13" y="80"/>
                    </a:moveTo>
                    <a:cubicBezTo>
                      <a:pt x="13" y="80"/>
                      <a:pt x="14" y="79"/>
                      <a:pt x="14" y="79"/>
                    </a:cubicBezTo>
                    <a:cubicBezTo>
                      <a:pt x="14" y="79"/>
                      <a:pt x="14" y="80"/>
                      <a:pt x="15" y="80"/>
                    </a:cubicBezTo>
                    <a:cubicBezTo>
                      <a:pt x="14" y="80"/>
                      <a:pt x="14" y="80"/>
                      <a:pt x="13" y="80"/>
                    </a:cubicBezTo>
                    <a:cubicBezTo>
                      <a:pt x="13" y="80"/>
                      <a:pt x="13" y="80"/>
                      <a:pt x="13" y="80"/>
                    </a:cubicBezTo>
                    <a:close/>
                    <a:moveTo>
                      <a:pt x="3" y="77"/>
                    </a:moveTo>
                    <a:cubicBezTo>
                      <a:pt x="3" y="78"/>
                      <a:pt x="4" y="78"/>
                      <a:pt x="4" y="79"/>
                    </a:cubicBezTo>
                    <a:cubicBezTo>
                      <a:pt x="4" y="78"/>
                      <a:pt x="2" y="77"/>
                      <a:pt x="2" y="76"/>
                    </a:cubicBezTo>
                    <a:cubicBezTo>
                      <a:pt x="2" y="77"/>
                      <a:pt x="2" y="77"/>
                      <a:pt x="3" y="77"/>
                    </a:cubicBezTo>
                    <a:cubicBezTo>
                      <a:pt x="3" y="77"/>
                      <a:pt x="3" y="77"/>
                      <a:pt x="3" y="77"/>
                    </a:cubicBezTo>
                    <a:close/>
                    <a:moveTo>
                      <a:pt x="15" y="80"/>
                    </a:moveTo>
                    <a:cubicBezTo>
                      <a:pt x="13" y="80"/>
                      <a:pt x="13" y="80"/>
                      <a:pt x="11" y="81"/>
                    </a:cubicBezTo>
                    <a:cubicBezTo>
                      <a:pt x="14" y="82"/>
                      <a:pt x="14" y="82"/>
                      <a:pt x="17" y="83"/>
                    </a:cubicBezTo>
                    <a:cubicBezTo>
                      <a:pt x="16" y="82"/>
                      <a:pt x="16" y="82"/>
                      <a:pt x="16" y="82"/>
                    </a:cubicBezTo>
                    <a:cubicBezTo>
                      <a:pt x="16" y="82"/>
                      <a:pt x="16" y="82"/>
                      <a:pt x="16" y="82"/>
                    </a:cubicBezTo>
                    <a:cubicBezTo>
                      <a:pt x="16" y="81"/>
                      <a:pt x="15" y="81"/>
                      <a:pt x="15" y="80"/>
                    </a:cubicBezTo>
                    <a:cubicBezTo>
                      <a:pt x="15" y="80"/>
                      <a:pt x="15" y="80"/>
                      <a:pt x="15" y="80"/>
                    </a:cubicBezTo>
                    <a:close/>
                    <a:moveTo>
                      <a:pt x="59" y="86"/>
                    </a:moveTo>
                    <a:cubicBezTo>
                      <a:pt x="60" y="86"/>
                      <a:pt x="60" y="86"/>
                      <a:pt x="61" y="86"/>
                    </a:cubicBezTo>
                    <a:cubicBezTo>
                      <a:pt x="60" y="86"/>
                      <a:pt x="60" y="86"/>
                      <a:pt x="59" y="87"/>
                    </a:cubicBezTo>
                    <a:cubicBezTo>
                      <a:pt x="59" y="87"/>
                      <a:pt x="59" y="86"/>
                      <a:pt x="59" y="86"/>
                    </a:cubicBezTo>
                    <a:cubicBezTo>
                      <a:pt x="59" y="86"/>
                      <a:pt x="59" y="86"/>
                      <a:pt x="59" y="86"/>
                    </a:cubicBezTo>
                    <a:close/>
                    <a:moveTo>
                      <a:pt x="6" y="80"/>
                    </a:moveTo>
                    <a:cubicBezTo>
                      <a:pt x="6" y="79"/>
                      <a:pt x="6" y="79"/>
                      <a:pt x="6" y="78"/>
                    </a:cubicBezTo>
                    <a:cubicBezTo>
                      <a:pt x="8" y="79"/>
                      <a:pt x="9" y="80"/>
                      <a:pt x="11" y="81"/>
                    </a:cubicBezTo>
                    <a:cubicBezTo>
                      <a:pt x="10" y="81"/>
                      <a:pt x="10" y="81"/>
                      <a:pt x="9" y="81"/>
                    </a:cubicBezTo>
                    <a:cubicBezTo>
                      <a:pt x="8" y="80"/>
                      <a:pt x="7" y="80"/>
                      <a:pt x="6" y="80"/>
                    </a:cubicBezTo>
                    <a:cubicBezTo>
                      <a:pt x="6" y="80"/>
                      <a:pt x="6" y="80"/>
                      <a:pt x="6" y="80"/>
                    </a:cubicBezTo>
                    <a:close/>
                    <a:moveTo>
                      <a:pt x="59" y="87"/>
                    </a:moveTo>
                    <a:cubicBezTo>
                      <a:pt x="59" y="87"/>
                      <a:pt x="59" y="87"/>
                      <a:pt x="59" y="86"/>
                    </a:cubicBezTo>
                    <a:cubicBezTo>
                      <a:pt x="57" y="87"/>
                      <a:pt x="57" y="87"/>
                      <a:pt x="57" y="87"/>
                    </a:cubicBezTo>
                    <a:cubicBezTo>
                      <a:pt x="57" y="87"/>
                      <a:pt x="58" y="88"/>
                      <a:pt x="58" y="88"/>
                    </a:cubicBezTo>
                    <a:cubicBezTo>
                      <a:pt x="59" y="87"/>
                      <a:pt x="59" y="87"/>
                      <a:pt x="59" y="87"/>
                    </a:cubicBezTo>
                    <a:cubicBezTo>
                      <a:pt x="59" y="87"/>
                      <a:pt x="59" y="87"/>
                      <a:pt x="59" y="87"/>
                    </a:cubicBezTo>
                    <a:close/>
                    <a:moveTo>
                      <a:pt x="34" y="83"/>
                    </a:moveTo>
                    <a:cubicBezTo>
                      <a:pt x="34" y="83"/>
                      <a:pt x="34" y="83"/>
                      <a:pt x="34" y="83"/>
                    </a:cubicBezTo>
                    <a:cubicBezTo>
                      <a:pt x="34" y="84"/>
                      <a:pt x="34" y="84"/>
                      <a:pt x="34" y="84"/>
                    </a:cubicBezTo>
                    <a:cubicBezTo>
                      <a:pt x="35" y="84"/>
                      <a:pt x="35" y="83"/>
                      <a:pt x="35" y="83"/>
                    </a:cubicBezTo>
                    <a:cubicBezTo>
                      <a:pt x="35" y="83"/>
                      <a:pt x="34" y="83"/>
                      <a:pt x="34" y="83"/>
                    </a:cubicBezTo>
                    <a:cubicBezTo>
                      <a:pt x="34" y="83"/>
                      <a:pt x="34" y="83"/>
                      <a:pt x="34" y="83"/>
                    </a:cubicBezTo>
                    <a:close/>
                    <a:moveTo>
                      <a:pt x="45" y="84"/>
                    </a:moveTo>
                    <a:cubicBezTo>
                      <a:pt x="46" y="85"/>
                      <a:pt x="47" y="85"/>
                      <a:pt x="48" y="86"/>
                    </a:cubicBezTo>
                    <a:cubicBezTo>
                      <a:pt x="49" y="86"/>
                      <a:pt x="49" y="87"/>
                      <a:pt x="49" y="87"/>
                    </a:cubicBezTo>
                    <a:cubicBezTo>
                      <a:pt x="48" y="86"/>
                      <a:pt x="46" y="85"/>
                      <a:pt x="45" y="84"/>
                    </a:cubicBezTo>
                    <a:cubicBezTo>
                      <a:pt x="45" y="84"/>
                      <a:pt x="45" y="84"/>
                      <a:pt x="45" y="84"/>
                    </a:cubicBezTo>
                    <a:close/>
                    <a:moveTo>
                      <a:pt x="49" y="86"/>
                    </a:moveTo>
                    <a:cubicBezTo>
                      <a:pt x="49" y="86"/>
                      <a:pt x="51" y="88"/>
                      <a:pt x="52" y="89"/>
                    </a:cubicBezTo>
                    <a:cubicBezTo>
                      <a:pt x="51" y="89"/>
                      <a:pt x="50" y="88"/>
                      <a:pt x="49" y="87"/>
                    </a:cubicBezTo>
                    <a:cubicBezTo>
                      <a:pt x="49" y="87"/>
                      <a:pt x="49" y="86"/>
                      <a:pt x="49" y="86"/>
                    </a:cubicBezTo>
                    <a:cubicBezTo>
                      <a:pt x="49" y="86"/>
                      <a:pt x="49" y="86"/>
                      <a:pt x="49" y="86"/>
                    </a:cubicBezTo>
                    <a:close/>
                    <a:moveTo>
                      <a:pt x="61" y="88"/>
                    </a:moveTo>
                    <a:cubicBezTo>
                      <a:pt x="61" y="88"/>
                      <a:pt x="60" y="87"/>
                      <a:pt x="60" y="87"/>
                    </a:cubicBezTo>
                    <a:cubicBezTo>
                      <a:pt x="59" y="87"/>
                      <a:pt x="59" y="87"/>
                      <a:pt x="59" y="88"/>
                    </a:cubicBezTo>
                    <a:cubicBezTo>
                      <a:pt x="60" y="88"/>
                      <a:pt x="60" y="88"/>
                      <a:pt x="61" y="88"/>
                    </a:cubicBezTo>
                    <a:cubicBezTo>
                      <a:pt x="61" y="88"/>
                      <a:pt x="61" y="88"/>
                      <a:pt x="61" y="88"/>
                    </a:cubicBezTo>
                    <a:close/>
                    <a:moveTo>
                      <a:pt x="16" y="82"/>
                    </a:moveTo>
                    <a:cubicBezTo>
                      <a:pt x="16" y="81"/>
                      <a:pt x="16" y="81"/>
                      <a:pt x="15" y="80"/>
                    </a:cubicBezTo>
                    <a:cubicBezTo>
                      <a:pt x="18" y="81"/>
                      <a:pt x="21" y="82"/>
                      <a:pt x="25" y="83"/>
                    </a:cubicBezTo>
                    <a:cubicBezTo>
                      <a:pt x="23" y="83"/>
                      <a:pt x="21" y="83"/>
                      <a:pt x="19" y="83"/>
                    </a:cubicBezTo>
                    <a:cubicBezTo>
                      <a:pt x="18" y="83"/>
                      <a:pt x="17" y="82"/>
                      <a:pt x="16" y="82"/>
                    </a:cubicBezTo>
                    <a:cubicBezTo>
                      <a:pt x="16" y="82"/>
                      <a:pt x="16" y="82"/>
                      <a:pt x="16" y="82"/>
                    </a:cubicBezTo>
                    <a:close/>
                    <a:moveTo>
                      <a:pt x="51" y="87"/>
                    </a:moveTo>
                    <a:cubicBezTo>
                      <a:pt x="51" y="87"/>
                      <a:pt x="50" y="86"/>
                      <a:pt x="49" y="86"/>
                    </a:cubicBezTo>
                    <a:cubicBezTo>
                      <a:pt x="50" y="87"/>
                      <a:pt x="52" y="89"/>
                      <a:pt x="53" y="90"/>
                    </a:cubicBezTo>
                    <a:cubicBezTo>
                      <a:pt x="52" y="89"/>
                      <a:pt x="52" y="88"/>
                      <a:pt x="51" y="87"/>
                    </a:cubicBezTo>
                    <a:cubicBezTo>
                      <a:pt x="51" y="87"/>
                      <a:pt x="51" y="87"/>
                      <a:pt x="51" y="87"/>
                    </a:cubicBezTo>
                    <a:close/>
                    <a:moveTo>
                      <a:pt x="10" y="81"/>
                    </a:moveTo>
                    <a:cubicBezTo>
                      <a:pt x="11" y="81"/>
                      <a:pt x="11" y="81"/>
                      <a:pt x="11" y="81"/>
                    </a:cubicBezTo>
                    <a:cubicBezTo>
                      <a:pt x="12" y="81"/>
                      <a:pt x="13" y="82"/>
                      <a:pt x="14" y="82"/>
                    </a:cubicBezTo>
                    <a:cubicBezTo>
                      <a:pt x="13" y="82"/>
                      <a:pt x="11" y="82"/>
                      <a:pt x="10" y="81"/>
                    </a:cubicBezTo>
                    <a:cubicBezTo>
                      <a:pt x="10" y="81"/>
                      <a:pt x="10" y="81"/>
                      <a:pt x="10" y="81"/>
                    </a:cubicBezTo>
                    <a:close/>
                    <a:moveTo>
                      <a:pt x="63" y="89"/>
                    </a:moveTo>
                    <a:cubicBezTo>
                      <a:pt x="63" y="89"/>
                      <a:pt x="64" y="89"/>
                      <a:pt x="64" y="89"/>
                    </a:cubicBezTo>
                    <a:cubicBezTo>
                      <a:pt x="64" y="89"/>
                      <a:pt x="63" y="89"/>
                      <a:pt x="63" y="89"/>
                    </a:cubicBezTo>
                    <a:cubicBezTo>
                      <a:pt x="63" y="89"/>
                      <a:pt x="63" y="89"/>
                      <a:pt x="63" y="89"/>
                    </a:cubicBezTo>
                    <a:close/>
                    <a:moveTo>
                      <a:pt x="18" y="83"/>
                    </a:moveTo>
                    <a:cubicBezTo>
                      <a:pt x="18" y="83"/>
                      <a:pt x="17" y="82"/>
                      <a:pt x="17" y="82"/>
                    </a:cubicBezTo>
                    <a:cubicBezTo>
                      <a:pt x="17" y="82"/>
                      <a:pt x="17" y="82"/>
                      <a:pt x="17" y="83"/>
                    </a:cubicBezTo>
                    <a:cubicBezTo>
                      <a:pt x="17" y="83"/>
                      <a:pt x="18" y="83"/>
                      <a:pt x="18" y="83"/>
                    </a:cubicBezTo>
                    <a:cubicBezTo>
                      <a:pt x="18" y="83"/>
                      <a:pt x="18" y="83"/>
                      <a:pt x="18" y="83"/>
                    </a:cubicBezTo>
                    <a:close/>
                    <a:moveTo>
                      <a:pt x="11" y="82"/>
                    </a:moveTo>
                    <a:cubicBezTo>
                      <a:pt x="10" y="82"/>
                      <a:pt x="10" y="82"/>
                      <a:pt x="8" y="82"/>
                    </a:cubicBezTo>
                    <a:cubicBezTo>
                      <a:pt x="9" y="82"/>
                      <a:pt x="10" y="82"/>
                      <a:pt x="11" y="82"/>
                    </a:cubicBezTo>
                    <a:cubicBezTo>
                      <a:pt x="11" y="82"/>
                      <a:pt x="11" y="82"/>
                      <a:pt x="11" y="82"/>
                    </a:cubicBezTo>
                    <a:close/>
                    <a:moveTo>
                      <a:pt x="23" y="84"/>
                    </a:moveTo>
                    <a:cubicBezTo>
                      <a:pt x="22" y="84"/>
                      <a:pt x="22" y="84"/>
                      <a:pt x="21" y="84"/>
                    </a:cubicBezTo>
                    <a:cubicBezTo>
                      <a:pt x="21" y="84"/>
                      <a:pt x="21" y="85"/>
                      <a:pt x="21" y="85"/>
                    </a:cubicBezTo>
                    <a:cubicBezTo>
                      <a:pt x="21" y="85"/>
                      <a:pt x="22" y="84"/>
                      <a:pt x="23" y="84"/>
                    </a:cubicBezTo>
                    <a:cubicBezTo>
                      <a:pt x="23" y="84"/>
                      <a:pt x="23" y="84"/>
                      <a:pt x="23" y="84"/>
                    </a:cubicBezTo>
                    <a:close/>
                    <a:moveTo>
                      <a:pt x="52" y="90"/>
                    </a:moveTo>
                    <a:cubicBezTo>
                      <a:pt x="53" y="90"/>
                      <a:pt x="53" y="90"/>
                      <a:pt x="53" y="91"/>
                    </a:cubicBezTo>
                    <a:cubicBezTo>
                      <a:pt x="52" y="90"/>
                      <a:pt x="52" y="90"/>
                      <a:pt x="52" y="90"/>
                    </a:cubicBezTo>
                    <a:cubicBezTo>
                      <a:pt x="52" y="90"/>
                      <a:pt x="52" y="90"/>
                      <a:pt x="52" y="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7" name="Freeform 78">
                <a:extLst>
                  <a:ext uri="{FF2B5EF4-FFF2-40B4-BE49-F238E27FC236}">
                    <a16:creationId xmlns:a16="http://schemas.microsoft.com/office/drawing/2014/main" id="{EEDCA7EC-2777-4409-AC37-8E9B74D0D60E}"/>
                  </a:ext>
                </a:extLst>
              </p:cNvPr>
              <p:cNvSpPr>
                <a:spLocks noEditPoints="1"/>
              </p:cNvSpPr>
              <p:nvPr/>
            </p:nvSpPr>
            <p:spPr bwMode="auto">
              <a:xfrm>
                <a:off x="6299250" y="2122250"/>
                <a:ext cx="84934" cy="122025"/>
              </a:xfrm>
              <a:custGeom>
                <a:avLst/>
                <a:gdLst/>
                <a:ahLst/>
                <a:cxnLst>
                  <a:cxn ang="0">
                    <a:pos x="13" y="39"/>
                  </a:cxn>
                  <a:cxn ang="0">
                    <a:pos x="9" y="31"/>
                  </a:cxn>
                  <a:cxn ang="0">
                    <a:pos x="16" y="27"/>
                  </a:cxn>
                  <a:cxn ang="0">
                    <a:pos x="24" y="20"/>
                  </a:cxn>
                  <a:cxn ang="0">
                    <a:pos x="28" y="11"/>
                  </a:cxn>
                  <a:cxn ang="0">
                    <a:pos x="33" y="2"/>
                  </a:cxn>
                  <a:cxn ang="0">
                    <a:pos x="50" y="9"/>
                  </a:cxn>
                  <a:cxn ang="0">
                    <a:pos x="50" y="17"/>
                  </a:cxn>
                  <a:cxn ang="0">
                    <a:pos x="47" y="24"/>
                  </a:cxn>
                  <a:cxn ang="0">
                    <a:pos x="56" y="27"/>
                  </a:cxn>
                  <a:cxn ang="0">
                    <a:pos x="60" y="35"/>
                  </a:cxn>
                  <a:cxn ang="0">
                    <a:pos x="57" y="46"/>
                  </a:cxn>
                  <a:cxn ang="0">
                    <a:pos x="37" y="50"/>
                  </a:cxn>
                  <a:cxn ang="0">
                    <a:pos x="41" y="7"/>
                  </a:cxn>
                  <a:cxn ang="0">
                    <a:pos x="40" y="7"/>
                  </a:cxn>
                  <a:cxn ang="0">
                    <a:pos x="35" y="10"/>
                  </a:cxn>
                  <a:cxn ang="0">
                    <a:pos x="35" y="11"/>
                  </a:cxn>
                  <a:cxn ang="0">
                    <a:pos x="35" y="12"/>
                  </a:cxn>
                  <a:cxn ang="0">
                    <a:pos x="29" y="12"/>
                  </a:cxn>
                  <a:cxn ang="0">
                    <a:pos x="35" y="15"/>
                  </a:cxn>
                  <a:cxn ang="0">
                    <a:pos x="29" y="15"/>
                  </a:cxn>
                  <a:cxn ang="0">
                    <a:pos x="33" y="17"/>
                  </a:cxn>
                  <a:cxn ang="0">
                    <a:pos x="31" y="18"/>
                  </a:cxn>
                  <a:cxn ang="0">
                    <a:pos x="46" y="22"/>
                  </a:cxn>
                  <a:cxn ang="0">
                    <a:pos x="29" y="20"/>
                  </a:cxn>
                  <a:cxn ang="0">
                    <a:pos x="34" y="22"/>
                  </a:cxn>
                  <a:cxn ang="0">
                    <a:pos x="18" y="20"/>
                  </a:cxn>
                  <a:cxn ang="0">
                    <a:pos x="17" y="21"/>
                  </a:cxn>
                  <a:cxn ang="0">
                    <a:pos x="47" y="28"/>
                  </a:cxn>
                  <a:cxn ang="0">
                    <a:pos x="46" y="28"/>
                  </a:cxn>
                  <a:cxn ang="0">
                    <a:pos x="31" y="27"/>
                  </a:cxn>
                  <a:cxn ang="0">
                    <a:pos x="25" y="26"/>
                  </a:cxn>
                  <a:cxn ang="0">
                    <a:pos x="28" y="27"/>
                  </a:cxn>
                  <a:cxn ang="0">
                    <a:pos x="55" y="34"/>
                  </a:cxn>
                  <a:cxn ang="0">
                    <a:pos x="29" y="28"/>
                  </a:cxn>
                  <a:cxn ang="0">
                    <a:pos x="24" y="27"/>
                  </a:cxn>
                  <a:cxn ang="0">
                    <a:pos x="22" y="28"/>
                  </a:cxn>
                  <a:cxn ang="0">
                    <a:pos x="56" y="38"/>
                  </a:cxn>
                  <a:cxn ang="0">
                    <a:pos x="56" y="37"/>
                  </a:cxn>
                  <a:cxn ang="0">
                    <a:pos x="44" y="38"/>
                  </a:cxn>
                  <a:cxn ang="0">
                    <a:pos x="51" y="37"/>
                  </a:cxn>
                  <a:cxn ang="0">
                    <a:pos x="29" y="31"/>
                  </a:cxn>
                  <a:cxn ang="0">
                    <a:pos x="20" y="30"/>
                  </a:cxn>
                  <a:cxn ang="0">
                    <a:pos x="22" y="32"/>
                  </a:cxn>
                  <a:cxn ang="0">
                    <a:pos x="62" y="41"/>
                  </a:cxn>
                  <a:cxn ang="0">
                    <a:pos x="55" y="41"/>
                  </a:cxn>
                  <a:cxn ang="0">
                    <a:pos x="42" y="38"/>
                  </a:cxn>
                  <a:cxn ang="0">
                    <a:pos x="52" y="42"/>
                  </a:cxn>
                  <a:cxn ang="0">
                    <a:pos x="12" y="33"/>
                  </a:cxn>
                  <a:cxn ang="0">
                    <a:pos x="53" y="43"/>
                  </a:cxn>
                  <a:cxn ang="0">
                    <a:pos x="38" y="40"/>
                  </a:cxn>
                  <a:cxn ang="0">
                    <a:pos x="47" y="42"/>
                  </a:cxn>
                  <a:cxn ang="0">
                    <a:pos x="12" y="35"/>
                  </a:cxn>
                  <a:cxn ang="0">
                    <a:pos x="16" y="36"/>
                  </a:cxn>
                  <a:cxn ang="0">
                    <a:pos x="11" y="35"/>
                  </a:cxn>
                  <a:cxn ang="0">
                    <a:pos x="12" y="36"/>
                  </a:cxn>
                  <a:cxn ang="0">
                    <a:pos x="16" y="38"/>
                  </a:cxn>
                  <a:cxn ang="0">
                    <a:pos x="17" y="38"/>
                  </a:cxn>
                  <a:cxn ang="0">
                    <a:pos x="48" y="45"/>
                  </a:cxn>
                  <a:cxn ang="0">
                    <a:pos x="39" y="44"/>
                  </a:cxn>
                  <a:cxn ang="0">
                    <a:pos x="37" y="44"/>
                  </a:cxn>
                  <a:cxn ang="0">
                    <a:pos x="51" y="49"/>
                  </a:cxn>
                  <a:cxn ang="0">
                    <a:pos x="38" y="47"/>
                  </a:cxn>
                </a:cxnLst>
                <a:rect l="0" t="0" r="r" b="b"/>
                <a:pathLst>
                  <a:path w="67" h="96">
                    <a:moveTo>
                      <a:pt x="18" y="95"/>
                    </a:moveTo>
                    <a:cubicBezTo>
                      <a:pt x="18" y="95"/>
                      <a:pt x="23" y="89"/>
                      <a:pt x="25" y="81"/>
                    </a:cubicBezTo>
                    <a:cubicBezTo>
                      <a:pt x="26" y="75"/>
                      <a:pt x="25" y="67"/>
                      <a:pt x="25" y="62"/>
                    </a:cubicBezTo>
                    <a:cubicBezTo>
                      <a:pt x="27" y="53"/>
                      <a:pt x="31" y="47"/>
                      <a:pt x="31" y="46"/>
                    </a:cubicBezTo>
                    <a:cubicBezTo>
                      <a:pt x="30" y="47"/>
                      <a:pt x="28" y="47"/>
                      <a:pt x="28" y="47"/>
                    </a:cubicBezTo>
                    <a:cubicBezTo>
                      <a:pt x="28" y="47"/>
                      <a:pt x="28" y="46"/>
                      <a:pt x="29" y="46"/>
                    </a:cubicBezTo>
                    <a:cubicBezTo>
                      <a:pt x="29" y="46"/>
                      <a:pt x="28" y="47"/>
                      <a:pt x="27" y="46"/>
                    </a:cubicBezTo>
                    <a:cubicBezTo>
                      <a:pt x="28" y="46"/>
                      <a:pt x="29" y="46"/>
                      <a:pt x="30" y="45"/>
                    </a:cubicBezTo>
                    <a:cubicBezTo>
                      <a:pt x="30" y="45"/>
                      <a:pt x="30" y="45"/>
                      <a:pt x="30" y="45"/>
                    </a:cubicBezTo>
                    <a:cubicBezTo>
                      <a:pt x="29" y="45"/>
                      <a:pt x="28" y="45"/>
                      <a:pt x="28" y="45"/>
                    </a:cubicBezTo>
                    <a:cubicBezTo>
                      <a:pt x="28" y="45"/>
                      <a:pt x="28" y="45"/>
                      <a:pt x="28" y="45"/>
                    </a:cubicBezTo>
                    <a:cubicBezTo>
                      <a:pt x="28" y="45"/>
                      <a:pt x="28" y="44"/>
                      <a:pt x="28" y="44"/>
                    </a:cubicBezTo>
                    <a:cubicBezTo>
                      <a:pt x="27" y="44"/>
                      <a:pt x="26" y="46"/>
                      <a:pt x="25" y="46"/>
                    </a:cubicBezTo>
                    <a:cubicBezTo>
                      <a:pt x="25" y="45"/>
                      <a:pt x="27" y="45"/>
                      <a:pt x="28" y="44"/>
                    </a:cubicBezTo>
                    <a:cubicBezTo>
                      <a:pt x="27" y="45"/>
                      <a:pt x="25" y="45"/>
                      <a:pt x="24" y="46"/>
                    </a:cubicBezTo>
                    <a:cubicBezTo>
                      <a:pt x="25" y="45"/>
                      <a:pt x="26" y="45"/>
                      <a:pt x="27" y="45"/>
                    </a:cubicBezTo>
                    <a:cubicBezTo>
                      <a:pt x="26" y="44"/>
                      <a:pt x="24" y="45"/>
                      <a:pt x="24" y="45"/>
                    </a:cubicBezTo>
                    <a:cubicBezTo>
                      <a:pt x="24" y="45"/>
                      <a:pt x="24" y="45"/>
                      <a:pt x="24" y="45"/>
                    </a:cubicBezTo>
                    <a:cubicBezTo>
                      <a:pt x="23" y="45"/>
                      <a:pt x="23" y="45"/>
                      <a:pt x="22" y="45"/>
                    </a:cubicBezTo>
                    <a:cubicBezTo>
                      <a:pt x="22" y="45"/>
                      <a:pt x="23" y="45"/>
                      <a:pt x="23" y="44"/>
                    </a:cubicBezTo>
                    <a:cubicBezTo>
                      <a:pt x="23" y="44"/>
                      <a:pt x="22" y="44"/>
                      <a:pt x="22" y="45"/>
                    </a:cubicBezTo>
                    <a:cubicBezTo>
                      <a:pt x="22" y="44"/>
                      <a:pt x="23" y="44"/>
                      <a:pt x="23" y="44"/>
                    </a:cubicBezTo>
                    <a:cubicBezTo>
                      <a:pt x="23" y="44"/>
                      <a:pt x="23" y="44"/>
                      <a:pt x="23" y="44"/>
                    </a:cubicBezTo>
                    <a:cubicBezTo>
                      <a:pt x="23" y="44"/>
                      <a:pt x="23" y="44"/>
                      <a:pt x="23" y="44"/>
                    </a:cubicBezTo>
                    <a:cubicBezTo>
                      <a:pt x="22" y="43"/>
                      <a:pt x="21" y="45"/>
                      <a:pt x="20" y="45"/>
                    </a:cubicBezTo>
                    <a:cubicBezTo>
                      <a:pt x="20" y="44"/>
                      <a:pt x="22" y="44"/>
                      <a:pt x="22" y="43"/>
                    </a:cubicBezTo>
                    <a:cubicBezTo>
                      <a:pt x="21" y="43"/>
                      <a:pt x="20" y="43"/>
                      <a:pt x="19" y="43"/>
                    </a:cubicBezTo>
                    <a:cubicBezTo>
                      <a:pt x="20" y="43"/>
                      <a:pt x="21" y="43"/>
                      <a:pt x="21" y="43"/>
                    </a:cubicBezTo>
                    <a:cubicBezTo>
                      <a:pt x="21" y="43"/>
                      <a:pt x="21" y="42"/>
                      <a:pt x="20" y="43"/>
                    </a:cubicBezTo>
                    <a:cubicBezTo>
                      <a:pt x="20" y="43"/>
                      <a:pt x="19" y="43"/>
                      <a:pt x="17" y="43"/>
                    </a:cubicBezTo>
                    <a:cubicBezTo>
                      <a:pt x="18" y="43"/>
                      <a:pt x="18" y="43"/>
                      <a:pt x="18" y="43"/>
                    </a:cubicBezTo>
                    <a:cubicBezTo>
                      <a:pt x="18" y="43"/>
                      <a:pt x="17" y="43"/>
                      <a:pt x="17" y="43"/>
                    </a:cubicBezTo>
                    <a:cubicBezTo>
                      <a:pt x="17" y="43"/>
                      <a:pt x="18" y="43"/>
                      <a:pt x="18" y="42"/>
                    </a:cubicBezTo>
                    <a:cubicBezTo>
                      <a:pt x="18" y="42"/>
                      <a:pt x="17" y="42"/>
                      <a:pt x="17" y="42"/>
                    </a:cubicBezTo>
                    <a:cubicBezTo>
                      <a:pt x="17" y="42"/>
                      <a:pt x="18" y="42"/>
                      <a:pt x="18" y="42"/>
                    </a:cubicBezTo>
                    <a:cubicBezTo>
                      <a:pt x="18" y="42"/>
                      <a:pt x="18" y="42"/>
                      <a:pt x="18" y="42"/>
                    </a:cubicBezTo>
                    <a:cubicBezTo>
                      <a:pt x="18" y="42"/>
                      <a:pt x="19" y="42"/>
                      <a:pt x="20" y="42"/>
                    </a:cubicBezTo>
                    <a:cubicBezTo>
                      <a:pt x="20" y="42"/>
                      <a:pt x="20" y="41"/>
                      <a:pt x="20" y="41"/>
                    </a:cubicBezTo>
                    <a:cubicBezTo>
                      <a:pt x="18" y="42"/>
                      <a:pt x="16" y="43"/>
                      <a:pt x="15" y="43"/>
                    </a:cubicBezTo>
                    <a:cubicBezTo>
                      <a:pt x="15" y="43"/>
                      <a:pt x="16" y="42"/>
                      <a:pt x="16" y="42"/>
                    </a:cubicBezTo>
                    <a:cubicBezTo>
                      <a:pt x="16" y="42"/>
                      <a:pt x="15" y="43"/>
                      <a:pt x="15" y="43"/>
                    </a:cubicBezTo>
                    <a:cubicBezTo>
                      <a:pt x="15" y="43"/>
                      <a:pt x="16" y="42"/>
                      <a:pt x="16" y="42"/>
                    </a:cubicBezTo>
                    <a:cubicBezTo>
                      <a:pt x="16" y="42"/>
                      <a:pt x="15" y="42"/>
                      <a:pt x="15" y="42"/>
                    </a:cubicBezTo>
                    <a:cubicBezTo>
                      <a:pt x="15" y="42"/>
                      <a:pt x="16" y="42"/>
                      <a:pt x="16" y="42"/>
                    </a:cubicBezTo>
                    <a:cubicBezTo>
                      <a:pt x="16" y="42"/>
                      <a:pt x="16" y="42"/>
                      <a:pt x="16" y="42"/>
                    </a:cubicBezTo>
                    <a:cubicBezTo>
                      <a:pt x="16" y="41"/>
                      <a:pt x="17" y="41"/>
                      <a:pt x="17" y="41"/>
                    </a:cubicBezTo>
                    <a:cubicBezTo>
                      <a:pt x="16" y="41"/>
                      <a:pt x="14" y="42"/>
                      <a:pt x="13" y="42"/>
                    </a:cubicBezTo>
                    <a:cubicBezTo>
                      <a:pt x="14" y="42"/>
                      <a:pt x="14" y="41"/>
                      <a:pt x="15" y="41"/>
                    </a:cubicBezTo>
                    <a:cubicBezTo>
                      <a:pt x="14" y="41"/>
                      <a:pt x="13" y="41"/>
                      <a:pt x="13" y="42"/>
                    </a:cubicBezTo>
                    <a:cubicBezTo>
                      <a:pt x="13" y="42"/>
                      <a:pt x="13" y="41"/>
                      <a:pt x="14" y="41"/>
                    </a:cubicBezTo>
                    <a:cubicBezTo>
                      <a:pt x="13" y="41"/>
                      <a:pt x="13" y="41"/>
                      <a:pt x="12" y="42"/>
                    </a:cubicBezTo>
                    <a:cubicBezTo>
                      <a:pt x="13" y="41"/>
                      <a:pt x="13" y="41"/>
                      <a:pt x="13" y="41"/>
                    </a:cubicBezTo>
                    <a:cubicBezTo>
                      <a:pt x="13" y="41"/>
                      <a:pt x="12" y="41"/>
                      <a:pt x="12" y="41"/>
                    </a:cubicBezTo>
                    <a:cubicBezTo>
                      <a:pt x="13" y="41"/>
                      <a:pt x="15" y="40"/>
                      <a:pt x="16" y="40"/>
                    </a:cubicBezTo>
                    <a:cubicBezTo>
                      <a:pt x="15" y="40"/>
                      <a:pt x="15" y="40"/>
                      <a:pt x="15" y="40"/>
                    </a:cubicBezTo>
                    <a:cubicBezTo>
                      <a:pt x="15" y="40"/>
                      <a:pt x="16" y="40"/>
                      <a:pt x="16" y="40"/>
                    </a:cubicBezTo>
                    <a:cubicBezTo>
                      <a:pt x="16" y="40"/>
                      <a:pt x="16" y="40"/>
                      <a:pt x="16" y="40"/>
                    </a:cubicBezTo>
                    <a:cubicBezTo>
                      <a:pt x="16" y="40"/>
                      <a:pt x="16" y="40"/>
                      <a:pt x="16" y="40"/>
                    </a:cubicBezTo>
                    <a:cubicBezTo>
                      <a:pt x="15" y="40"/>
                      <a:pt x="16" y="40"/>
                      <a:pt x="15" y="40"/>
                    </a:cubicBezTo>
                    <a:cubicBezTo>
                      <a:pt x="15" y="40"/>
                      <a:pt x="15" y="40"/>
                      <a:pt x="15" y="40"/>
                    </a:cubicBezTo>
                    <a:cubicBezTo>
                      <a:pt x="15" y="40"/>
                      <a:pt x="15" y="40"/>
                      <a:pt x="14" y="40"/>
                    </a:cubicBezTo>
                    <a:cubicBezTo>
                      <a:pt x="13" y="40"/>
                      <a:pt x="12" y="41"/>
                      <a:pt x="10" y="41"/>
                    </a:cubicBezTo>
                    <a:cubicBezTo>
                      <a:pt x="11" y="41"/>
                      <a:pt x="11" y="41"/>
                      <a:pt x="11" y="40"/>
                    </a:cubicBezTo>
                    <a:cubicBezTo>
                      <a:pt x="11" y="41"/>
                      <a:pt x="11" y="41"/>
                      <a:pt x="11" y="41"/>
                    </a:cubicBezTo>
                    <a:cubicBezTo>
                      <a:pt x="11" y="41"/>
                      <a:pt x="11" y="41"/>
                      <a:pt x="11" y="41"/>
                    </a:cubicBezTo>
                    <a:cubicBezTo>
                      <a:pt x="13" y="40"/>
                      <a:pt x="13" y="40"/>
                      <a:pt x="14" y="39"/>
                    </a:cubicBezTo>
                    <a:cubicBezTo>
                      <a:pt x="14" y="39"/>
                      <a:pt x="14" y="39"/>
                      <a:pt x="13" y="39"/>
                    </a:cubicBezTo>
                    <a:cubicBezTo>
                      <a:pt x="13" y="39"/>
                      <a:pt x="12" y="39"/>
                      <a:pt x="12" y="40"/>
                    </a:cubicBezTo>
                    <a:cubicBezTo>
                      <a:pt x="12" y="39"/>
                      <a:pt x="13" y="39"/>
                      <a:pt x="14" y="39"/>
                    </a:cubicBezTo>
                    <a:cubicBezTo>
                      <a:pt x="12" y="40"/>
                      <a:pt x="11" y="40"/>
                      <a:pt x="10" y="41"/>
                    </a:cubicBezTo>
                    <a:cubicBezTo>
                      <a:pt x="10" y="40"/>
                      <a:pt x="11" y="40"/>
                      <a:pt x="11" y="40"/>
                    </a:cubicBezTo>
                    <a:cubicBezTo>
                      <a:pt x="10" y="40"/>
                      <a:pt x="10" y="40"/>
                      <a:pt x="9" y="40"/>
                    </a:cubicBezTo>
                    <a:cubicBezTo>
                      <a:pt x="10" y="40"/>
                      <a:pt x="10" y="40"/>
                      <a:pt x="11" y="40"/>
                    </a:cubicBezTo>
                    <a:cubicBezTo>
                      <a:pt x="10" y="40"/>
                      <a:pt x="10" y="40"/>
                      <a:pt x="10" y="40"/>
                    </a:cubicBezTo>
                    <a:cubicBezTo>
                      <a:pt x="12" y="39"/>
                      <a:pt x="11" y="39"/>
                      <a:pt x="13" y="39"/>
                    </a:cubicBezTo>
                    <a:cubicBezTo>
                      <a:pt x="13" y="39"/>
                      <a:pt x="13" y="39"/>
                      <a:pt x="13" y="39"/>
                    </a:cubicBezTo>
                    <a:cubicBezTo>
                      <a:pt x="13" y="39"/>
                      <a:pt x="13" y="39"/>
                      <a:pt x="13" y="39"/>
                    </a:cubicBezTo>
                    <a:cubicBezTo>
                      <a:pt x="13" y="39"/>
                      <a:pt x="13" y="39"/>
                      <a:pt x="13" y="39"/>
                    </a:cubicBezTo>
                    <a:cubicBezTo>
                      <a:pt x="12" y="38"/>
                      <a:pt x="9" y="39"/>
                      <a:pt x="7" y="39"/>
                    </a:cubicBezTo>
                    <a:cubicBezTo>
                      <a:pt x="8" y="39"/>
                      <a:pt x="8" y="39"/>
                      <a:pt x="9" y="38"/>
                    </a:cubicBezTo>
                    <a:cubicBezTo>
                      <a:pt x="9" y="38"/>
                      <a:pt x="8" y="38"/>
                      <a:pt x="8" y="38"/>
                    </a:cubicBezTo>
                    <a:cubicBezTo>
                      <a:pt x="9" y="38"/>
                      <a:pt x="10" y="38"/>
                      <a:pt x="11" y="38"/>
                    </a:cubicBezTo>
                    <a:cubicBezTo>
                      <a:pt x="11" y="38"/>
                      <a:pt x="11" y="38"/>
                      <a:pt x="11" y="38"/>
                    </a:cubicBezTo>
                    <a:cubicBezTo>
                      <a:pt x="10" y="37"/>
                      <a:pt x="8" y="38"/>
                      <a:pt x="6" y="38"/>
                    </a:cubicBezTo>
                    <a:cubicBezTo>
                      <a:pt x="7" y="38"/>
                      <a:pt x="8" y="38"/>
                      <a:pt x="9" y="38"/>
                    </a:cubicBezTo>
                    <a:cubicBezTo>
                      <a:pt x="6" y="36"/>
                      <a:pt x="8" y="37"/>
                      <a:pt x="5" y="38"/>
                    </a:cubicBezTo>
                    <a:cubicBezTo>
                      <a:pt x="6" y="37"/>
                      <a:pt x="7" y="37"/>
                      <a:pt x="9" y="37"/>
                    </a:cubicBezTo>
                    <a:cubicBezTo>
                      <a:pt x="9" y="37"/>
                      <a:pt x="8" y="37"/>
                      <a:pt x="8" y="37"/>
                    </a:cubicBezTo>
                    <a:cubicBezTo>
                      <a:pt x="9" y="37"/>
                      <a:pt x="9" y="37"/>
                      <a:pt x="10" y="37"/>
                    </a:cubicBezTo>
                    <a:cubicBezTo>
                      <a:pt x="7" y="35"/>
                      <a:pt x="6" y="36"/>
                      <a:pt x="3" y="35"/>
                    </a:cubicBezTo>
                    <a:cubicBezTo>
                      <a:pt x="3" y="35"/>
                      <a:pt x="4" y="35"/>
                      <a:pt x="4" y="35"/>
                    </a:cubicBezTo>
                    <a:cubicBezTo>
                      <a:pt x="4" y="35"/>
                      <a:pt x="4" y="35"/>
                      <a:pt x="4" y="35"/>
                    </a:cubicBezTo>
                    <a:cubicBezTo>
                      <a:pt x="4" y="35"/>
                      <a:pt x="4" y="35"/>
                      <a:pt x="4" y="35"/>
                    </a:cubicBezTo>
                    <a:cubicBezTo>
                      <a:pt x="4" y="35"/>
                      <a:pt x="4" y="34"/>
                      <a:pt x="3" y="34"/>
                    </a:cubicBezTo>
                    <a:cubicBezTo>
                      <a:pt x="4" y="34"/>
                      <a:pt x="5" y="34"/>
                      <a:pt x="6" y="35"/>
                    </a:cubicBezTo>
                    <a:cubicBezTo>
                      <a:pt x="5" y="34"/>
                      <a:pt x="2" y="34"/>
                      <a:pt x="1" y="34"/>
                    </a:cubicBezTo>
                    <a:cubicBezTo>
                      <a:pt x="3" y="34"/>
                      <a:pt x="4" y="34"/>
                      <a:pt x="5" y="34"/>
                    </a:cubicBezTo>
                    <a:cubicBezTo>
                      <a:pt x="4" y="33"/>
                      <a:pt x="1" y="32"/>
                      <a:pt x="0" y="32"/>
                    </a:cubicBezTo>
                    <a:cubicBezTo>
                      <a:pt x="0" y="32"/>
                      <a:pt x="1" y="32"/>
                      <a:pt x="1" y="32"/>
                    </a:cubicBezTo>
                    <a:cubicBezTo>
                      <a:pt x="1" y="32"/>
                      <a:pt x="0" y="32"/>
                      <a:pt x="0" y="32"/>
                    </a:cubicBezTo>
                    <a:cubicBezTo>
                      <a:pt x="0" y="32"/>
                      <a:pt x="1" y="32"/>
                      <a:pt x="1" y="32"/>
                    </a:cubicBezTo>
                    <a:cubicBezTo>
                      <a:pt x="1" y="32"/>
                      <a:pt x="0" y="31"/>
                      <a:pt x="0" y="31"/>
                    </a:cubicBezTo>
                    <a:cubicBezTo>
                      <a:pt x="1" y="31"/>
                      <a:pt x="1" y="31"/>
                      <a:pt x="1" y="31"/>
                    </a:cubicBezTo>
                    <a:cubicBezTo>
                      <a:pt x="1" y="31"/>
                      <a:pt x="1" y="31"/>
                      <a:pt x="0" y="30"/>
                    </a:cubicBezTo>
                    <a:cubicBezTo>
                      <a:pt x="1" y="30"/>
                      <a:pt x="1" y="31"/>
                      <a:pt x="2" y="31"/>
                    </a:cubicBezTo>
                    <a:cubicBezTo>
                      <a:pt x="2" y="31"/>
                      <a:pt x="2" y="31"/>
                      <a:pt x="2" y="30"/>
                    </a:cubicBezTo>
                    <a:cubicBezTo>
                      <a:pt x="2" y="30"/>
                      <a:pt x="2" y="31"/>
                      <a:pt x="2" y="31"/>
                    </a:cubicBezTo>
                    <a:cubicBezTo>
                      <a:pt x="2" y="30"/>
                      <a:pt x="1" y="29"/>
                      <a:pt x="1" y="28"/>
                    </a:cubicBezTo>
                    <a:cubicBezTo>
                      <a:pt x="1" y="28"/>
                      <a:pt x="1" y="28"/>
                      <a:pt x="1" y="28"/>
                    </a:cubicBezTo>
                    <a:cubicBezTo>
                      <a:pt x="2" y="30"/>
                      <a:pt x="6" y="34"/>
                      <a:pt x="7" y="34"/>
                    </a:cubicBezTo>
                    <a:cubicBezTo>
                      <a:pt x="7" y="34"/>
                      <a:pt x="7" y="34"/>
                      <a:pt x="7" y="34"/>
                    </a:cubicBezTo>
                    <a:cubicBezTo>
                      <a:pt x="7" y="34"/>
                      <a:pt x="7" y="34"/>
                      <a:pt x="7" y="34"/>
                    </a:cubicBezTo>
                    <a:cubicBezTo>
                      <a:pt x="7" y="33"/>
                      <a:pt x="7" y="32"/>
                      <a:pt x="6" y="31"/>
                    </a:cubicBezTo>
                    <a:cubicBezTo>
                      <a:pt x="7" y="32"/>
                      <a:pt x="7" y="33"/>
                      <a:pt x="7" y="34"/>
                    </a:cubicBezTo>
                    <a:cubicBezTo>
                      <a:pt x="7" y="34"/>
                      <a:pt x="7" y="34"/>
                      <a:pt x="8" y="34"/>
                    </a:cubicBezTo>
                    <a:cubicBezTo>
                      <a:pt x="7" y="34"/>
                      <a:pt x="7" y="34"/>
                      <a:pt x="7" y="34"/>
                    </a:cubicBezTo>
                    <a:cubicBezTo>
                      <a:pt x="8" y="34"/>
                      <a:pt x="8" y="34"/>
                      <a:pt x="8" y="34"/>
                    </a:cubicBezTo>
                    <a:cubicBezTo>
                      <a:pt x="8" y="34"/>
                      <a:pt x="8" y="34"/>
                      <a:pt x="8" y="34"/>
                    </a:cubicBezTo>
                    <a:cubicBezTo>
                      <a:pt x="8" y="34"/>
                      <a:pt x="8" y="34"/>
                      <a:pt x="8" y="34"/>
                    </a:cubicBezTo>
                    <a:cubicBezTo>
                      <a:pt x="8" y="34"/>
                      <a:pt x="8" y="33"/>
                      <a:pt x="8" y="33"/>
                    </a:cubicBezTo>
                    <a:cubicBezTo>
                      <a:pt x="7" y="33"/>
                      <a:pt x="7" y="33"/>
                      <a:pt x="7" y="33"/>
                    </a:cubicBezTo>
                    <a:cubicBezTo>
                      <a:pt x="7" y="33"/>
                      <a:pt x="7" y="33"/>
                      <a:pt x="8" y="33"/>
                    </a:cubicBezTo>
                    <a:cubicBezTo>
                      <a:pt x="8" y="32"/>
                      <a:pt x="7" y="32"/>
                      <a:pt x="7" y="32"/>
                    </a:cubicBezTo>
                    <a:cubicBezTo>
                      <a:pt x="8" y="32"/>
                      <a:pt x="8" y="32"/>
                      <a:pt x="8" y="33"/>
                    </a:cubicBezTo>
                    <a:cubicBezTo>
                      <a:pt x="8" y="33"/>
                      <a:pt x="8" y="33"/>
                      <a:pt x="8" y="33"/>
                    </a:cubicBezTo>
                    <a:cubicBezTo>
                      <a:pt x="8" y="32"/>
                      <a:pt x="8" y="32"/>
                      <a:pt x="8" y="32"/>
                    </a:cubicBezTo>
                    <a:cubicBezTo>
                      <a:pt x="8" y="32"/>
                      <a:pt x="8" y="32"/>
                      <a:pt x="8" y="32"/>
                    </a:cubicBezTo>
                    <a:cubicBezTo>
                      <a:pt x="8" y="32"/>
                      <a:pt x="8" y="32"/>
                      <a:pt x="8" y="32"/>
                    </a:cubicBezTo>
                    <a:cubicBezTo>
                      <a:pt x="8" y="32"/>
                      <a:pt x="8" y="32"/>
                      <a:pt x="8" y="32"/>
                    </a:cubicBezTo>
                    <a:cubicBezTo>
                      <a:pt x="9" y="32"/>
                      <a:pt x="9" y="32"/>
                      <a:pt x="9" y="32"/>
                    </a:cubicBezTo>
                    <a:cubicBezTo>
                      <a:pt x="9" y="32"/>
                      <a:pt x="9" y="32"/>
                      <a:pt x="9" y="32"/>
                    </a:cubicBezTo>
                    <a:cubicBezTo>
                      <a:pt x="8" y="30"/>
                      <a:pt x="5" y="30"/>
                      <a:pt x="3" y="29"/>
                    </a:cubicBezTo>
                    <a:cubicBezTo>
                      <a:pt x="3" y="29"/>
                      <a:pt x="4" y="29"/>
                      <a:pt x="4" y="29"/>
                    </a:cubicBezTo>
                    <a:cubicBezTo>
                      <a:pt x="4" y="29"/>
                      <a:pt x="4" y="29"/>
                      <a:pt x="4" y="29"/>
                    </a:cubicBezTo>
                    <a:cubicBezTo>
                      <a:pt x="4" y="29"/>
                      <a:pt x="4" y="29"/>
                      <a:pt x="4" y="29"/>
                    </a:cubicBezTo>
                    <a:cubicBezTo>
                      <a:pt x="4" y="29"/>
                      <a:pt x="3" y="29"/>
                      <a:pt x="3" y="28"/>
                    </a:cubicBezTo>
                    <a:cubicBezTo>
                      <a:pt x="3" y="29"/>
                      <a:pt x="3" y="29"/>
                      <a:pt x="4" y="29"/>
                    </a:cubicBezTo>
                    <a:cubicBezTo>
                      <a:pt x="3" y="28"/>
                      <a:pt x="3" y="28"/>
                      <a:pt x="3" y="28"/>
                    </a:cubicBezTo>
                    <a:cubicBezTo>
                      <a:pt x="4" y="28"/>
                      <a:pt x="4" y="29"/>
                      <a:pt x="5" y="29"/>
                    </a:cubicBezTo>
                    <a:cubicBezTo>
                      <a:pt x="5" y="29"/>
                      <a:pt x="5" y="29"/>
                      <a:pt x="5" y="28"/>
                    </a:cubicBezTo>
                    <a:cubicBezTo>
                      <a:pt x="5" y="28"/>
                      <a:pt x="5" y="28"/>
                      <a:pt x="5" y="29"/>
                    </a:cubicBezTo>
                    <a:cubicBezTo>
                      <a:pt x="5" y="28"/>
                      <a:pt x="5" y="28"/>
                      <a:pt x="4" y="27"/>
                    </a:cubicBezTo>
                    <a:cubicBezTo>
                      <a:pt x="5" y="28"/>
                      <a:pt x="5" y="28"/>
                      <a:pt x="5" y="28"/>
                    </a:cubicBezTo>
                    <a:cubicBezTo>
                      <a:pt x="5" y="27"/>
                      <a:pt x="5" y="27"/>
                      <a:pt x="4" y="26"/>
                    </a:cubicBezTo>
                    <a:cubicBezTo>
                      <a:pt x="5" y="26"/>
                      <a:pt x="7" y="29"/>
                      <a:pt x="7" y="30"/>
                    </a:cubicBezTo>
                    <a:cubicBezTo>
                      <a:pt x="7" y="29"/>
                      <a:pt x="7" y="29"/>
                      <a:pt x="7" y="29"/>
                    </a:cubicBezTo>
                    <a:cubicBezTo>
                      <a:pt x="7" y="29"/>
                      <a:pt x="7" y="29"/>
                      <a:pt x="8" y="29"/>
                    </a:cubicBezTo>
                    <a:cubicBezTo>
                      <a:pt x="8" y="29"/>
                      <a:pt x="8" y="28"/>
                      <a:pt x="7" y="28"/>
                    </a:cubicBezTo>
                    <a:cubicBezTo>
                      <a:pt x="7" y="28"/>
                      <a:pt x="7" y="28"/>
                      <a:pt x="7" y="28"/>
                    </a:cubicBezTo>
                    <a:cubicBezTo>
                      <a:pt x="8" y="28"/>
                      <a:pt x="8" y="28"/>
                      <a:pt x="8" y="28"/>
                    </a:cubicBezTo>
                    <a:cubicBezTo>
                      <a:pt x="8" y="28"/>
                      <a:pt x="7" y="27"/>
                      <a:pt x="7" y="27"/>
                    </a:cubicBezTo>
                    <a:cubicBezTo>
                      <a:pt x="7" y="27"/>
                      <a:pt x="7" y="27"/>
                      <a:pt x="7" y="27"/>
                    </a:cubicBezTo>
                    <a:cubicBezTo>
                      <a:pt x="8" y="29"/>
                      <a:pt x="8" y="29"/>
                      <a:pt x="9" y="31"/>
                    </a:cubicBezTo>
                    <a:cubicBezTo>
                      <a:pt x="9" y="31"/>
                      <a:pt x="9" y="31"/>
                      <a:pt x="9" y="31"/>
                    </a:cubicBezTo>
                    <a:cubicBezTo>
                      <a:pt x="10" y="32"/>
                      <a:pt x="10" y="32"/>
                      <a:pt x="11" y="32"/>
                    </a:cubicBezTo>
                    <a:cubicBezTo>
                      <a:pt x="11" y="32"/>
                      <a:pt x="11" y="32"/>
                      <a:pt x="10" y="32"/>
                    </a:cubicBezTo>
                    <a:cubicBezTo>
                      <a:pt x="11" y="32"/>
                      <a:pt x="11" y="32"/>
                      <a:pt x="11" y="32"/>
                    </a:cubicBezTo>
                    <a:cubicBezTo>
                      <a:pt x="11" y="32"/>
                      <a:pt x="11" y="31"/>
                      <a:pt x="11" y="30"/>
                    </a:cubicBezTo>
                    <a:cubicBezTo>
                      <a:pt x="11" y="30"/>
                      <a:pt x="11" y="30"/>
                      <a:pt x="11" y="30"/>
                    </a:cubicBezTo>
                    <a:cubicBezTo>
                      <a:pt x="12" y="32"/>
                      <a:pt x="12" y="33"/>
                      <a:pt x="14" y="34"/>
                    </a:cubicBezTo>
                    <a:cubicBezTo>
                      <a:pt x="14" y="34"/>
                      <a:pt x="14" y="34"/>
                      <a:pt x="13" y="34"/>
                    </a:cubicBezTo>
                    <a:cubicBezTo>
                      <a:pt x="13" y="34"/>
                      <a:pt x="13" y="34"/>
                      <a:pt x="13" y="34"/>
                    </a:cubicBezTo>
                    <a:cubicBezTo>
                      <a:pt x="13" y="32"/>
                      <a:pt x="13" y="34"/>
                      <a:pt x="12" y="31"/>
                    </a:cubicBezTo>
                    <a:cubicBezTo>
                      <a:pt x="12" y="31"/>
                      <a:pt x="12" y="31"/>
                      <a:pt x="12" y="31"/>
                    </a:cubicBezTo>
                    <a:cubicBezTo>
                      <a:pt x="13" y="31"/>
                      <a:pt x="13" y="32"/>
                      <a:pt x="13" y="32"/>
                    </a:cubicBezTo>
                    <a:cubicBezTo>
                      <a:pt x="13" y="31"/>
                      <a:pt x="13" y="31"/>
                      <a:pt x="12" y="30"/>
                    </a:cubicBezTo>
                    <a:cubicBezTo>
                      <a:pt x="12" y="30"/>
                      <a:pt x="12" y="30"/>
                      <a:pt x="12" y="30"/>
                    </a:cubicBezTo>
                    <a:cubicBezTo>
                      <a:pt x="13" y="31"/>
                      <a:pt x="13" y="31"/>
                      <a:pt x="13" y="32"/>
                    </a:cubicBezTo>
                    <a:cubicBezTo>
                      <a:pt x="13" y="32"/>
                      <a:pt x="13" y="32"/>
                      <a:pt x="13" y="32"/>
                    </a:cubicBezTo>
                    <a:cubicBezTo>
                      <a:pt x="13" y="32"/>
                      <a:pt x="13" y="31"/>
                      <a:pt x="13" y="31"/>
                    </a:cubicBezTo>
                    <a:cubicBezTo>
                      <a:pt x="13" y="32"/>
                      <a:pt x="13" y="32"/>
                      <a:pt x="13" y="32"/>
                    </a:cubicBezTo>
                    <a:cubicBezTo>
                      <a:pt x="13" y="32"/>
                      <a:pt x="13" y="31"/>
                      <a:pt x="13" y="31"/>
                    </a:cubicBezTo>
                    <a:cubicBezTo>
                      <a:pt x="13" y="31"/>
                      <a:pt x="13" y="31"/>
                      <a:pt x="13" y="31"/>
                    </a:cubicBezTo>
                    <a:cubicBezTo>
                      <a:pt x="13" y="31"/>
                      <a:pt x="13" y="32"/>
                      <a:pt x="14" y="33"/>
                    </a:cubicBezTo>
                    <a:cubicBezTo>
                      <a:pt x="14" y="32"/>
                      <a:pt x="14" y="32"/>
                      <a:pt x="13" y="31"/>
                    </a:cubicBezTo>
                    <a:cubicBezTo>
                      <a:pt x="13" y="31"/>
                      <a:pt x="13" y="31"/>
                      <a:pt x="13" y="31"/>
                    </a:cubicBezTo>
                    <a:cubicBezTo>
                      <a:pt x="14" y="32"/>
                      <a:pt x="14" y="32"/>
                      <a:pt x="14" y="33"/>
                    </a:cubicBezTo>
                    <a:cubicBezTo>
                      <a:pt x="14" y="33"/>
                      <a:pt x="14" y="33"/>
                      <a:pt x="14" y="33"/>
                    </a:cubicBezTo>
                    <a:cubicBezTo>
                      <a:pt x="14" y="32"/>
                      <a:pt x="14" y="32"/>
                      <a:pt x="14" y="31"/>
                    </a:cubicBezTo>
                    <a:cubicBezTo>
                      <a:pt x="14" y="31"/>
                      <a:pt x="14" y="31"/>
                      <a:pt x="14" y="31"/>
                    </a:cubicBezTo>
                    <a:cubicBezTo>
                      <a:pt x="14" y="31"/>
                      <a:pt x="14" y="32"/>
                      <a:pt x="14" y="32"/>
                    </a:cubicBezTo>
                    <a:cubicBezTo>
                      <a:pt x="14" y="32"/>
                      <a:pt x="14" y="32"/>
                      <a:pt x="14" y="31"/>
                    </a:cubicBezTo>
                    <a:cubicBezTo>
                      <a:pt x="15" y="32"/>
                      <a:pt x="15" y="33"/>
                      <a:pt x="16" y="35"/>
                    </a:cubicBezTo>
                    <a:cubicBezTo>
                      <a:pt x="16" y="35"/>
                      <a:pt x="16" y="35"/>
                      <a:pt x="16" y="35"/>
                    </a:cubicBezTo>
                    <a:cubicBezTo>
                      <a:pt x="16" y="36"/>
                      <a:pt x="17" y="36"/>
                      <a:pt x="17" y="36"/>
                    </a:cubicBezTo>
                    <a:cubicBezTo>
                      <a:pt x="17" y="36"/>
                      <a:pt x="17" y="36"/>
                      <a:pt x="17" y="36"/>
                    </a:cubicBezTo>
                    <a:cubicBezTo>
                      <a:pt x="16" y="35"/>
                      <a:pt x="16" y="34"/>
                      <a:pt x="16" y="33"/>
                    </a:cubicBezTo>
                    <a:cubicBezTo>
                      <a:pt x="16" y="33"/>
                      <a:pt x="16" y="34"/>
                      <a:pt x="16" y="34"/>
                    </a:cubicBezTo>
                    <a:cubicBezTo>
                      <a:pt x="16" y="33"/>
                      <a:pt x="16" y="33"/>
                      <a:pt x="16" y="33"/>
                    </a:cubicBezTo>
                    <a:cubicBezTo>
                      <a:pt x="16" y="33"/>
                      <a:pt x="17" y="35"/>
                      <a:pt x="17" y="35"/>
                    </a:cubicBezTo>
                    <a:cubicBezTo>
                      <a:pt x="18" y="35"/>
                      <a:pt x="18" y="35"/>
                      <a:pt x="18" y="34"/>
                    </a:cubicBezTo>
                    <a:cubicBezTo>
                      <a:pt x="18" y="34"/>
                      <a:pt x="18" y="34"/>
                      <a:pt x="18" y="34"/>
                    </a:cubicBezTo>
                    <a:cubicBezTo>
                      <a:pt x="18" y="34"/>
                      <a:pt x="19" y="34"/>
                      <a:pt x="19" y="33"/>
                    </a:cubicBezTo>
                    <a:cubicBezTo>
                      <a:pt x="19" y="34"/>
                      <a:pt x="19" y="34"/>
                      <a:pt x="19" y="35"/>
                    </a:cubicBezTo>
                    <a:cubicBezTo>
                      <a:pt x="19" y="35"/>
                      <a:pt x="19" y="35"/>
                      <a:pt x="19" y="35"/>
                    </a:cubicBezTo>
                    <a:cubicBezTo>
                      <a:pt x="20" y="34"/>
                      <a:pt x="20" y="34"/>
                      <a:pt x="20" y="34"/>
                    </a:cubicBezTo>
                    <a:cubicBezTo>
                      <a:pt x="20" y="34"/>
                      <a:pt x="20" y="34"/>
                      <a:pt x="20" y="34"/>
                    </a:cubicBezTo>
                    <a:cubicBezTo>
                      <a:pt x="20" y="34"/>
                      <a:pt x="20" y="34"/>
                      <a:pt x="20" y="34"/>
                    </a:cubicBezTo>
                    <a:cubicBezTo>
                      <a:pt x="20" y="34"/>
                      <a:pt x="20" y="34"/>
                      <a:pt x="20" y="34"/>
                    </a:cubicBezTo>
                    <a:cubicBezTo>
                      <a:pt x="20" y="34"/>
                      <a:pt x="20" y="34"/>
                      <a:pt x="20" y="34"/>
                    </a:cubicBezTo>
                    <a:cubicBezTo>
                      <a:pt x="20" y="34"/>
                      <a:pt x="20" y="34"/>
                      <a:pt x="19" y="34"/>
                    </a:cubicBezTo>
                    <a:cubicBezTo>
                      <a:pt x="19" y="33"/>
                      <a:pt x="20" y="33"/>
                      <a:pt x="20" y="33"/>
                    </a:cubicBezTo>
                    <a:cubicBezTo>
                      <a:pt x="20" y="33"/>
                      <a:pt x="20" y="33"/>
                      <a:pt x="20" y="33"/>
                    </a:cubicBezTo>
                    <a:cubicBezTo>
                      <a:pt x="19" y="33"/>
                      <a:pt x="19" y="33"/>
                      <a:pt x="19" y="33"/>
                    </a:cubicBezTo>
                    <a:cubicBezTo>
                      <a:pt x="19" y="33"/>
                      <a:pt x="19" y="33"/>
                      <a:pt x="19" y="33"/>
                    </a:cubicBezTo>
                    <a:cubicBezTo>
                      <a:pt x="19" y="33"/>
                      <a:pt x="19" y="33"/>
                      <a:pt x="19" y="33"/>
                    </a:cubicBezTo>
                    <a:cubicBezTo>
                      <a:pt x="19" y="33"/>
                      <a:pt x="19" y="33"/>
                      <a:pt x="20" y="32"/>
                    </a:cubicBezTo>
                    <a:cubicBezTo>
                      <a:pt x="20" y="32"/>
                      <a:pt x="20" y="32"/>
                      <a:pt x="20" y="32"/>
                    </a:cubicBezTo>
                    <a:cubicBezTo>
                      <a:pt x="19" y="32"/>
                      <a:pt x="19" y="32"/>
                      <a:pt x="18" y="32"/>
                    </a:cubicBezTo>
                    <a:cubicBezTo>
                      <a:pt x="18" y="32"/>
                      <a:pt x="18" y="32"/>
                      <a:pt x="18" y="32"/>
                    </a:cubicBezTo>
                    <a:cubicBezTo>
                      <a:pt x="18" y="32"/>
                      <a:pt x="18" y="32"/>
                      <a:pt x="18" y="32"/>
                    </a:cubicBezTo>
                    <a:cubicBezTo>
                      <a:pt x="18" y="32"/>
                      <a:pt x="19" y="31"/>
                      <a:pt x="19" y="31"/>
                    </a:cubicBezTo>
                    <a:cubicBezTo>
                      <a:pt x="19" y="31"/>
                      <a:pt x="19" y="31"/>
                      <a:pt x="19" y="31"/>
                    </a:cubicBezTo>
                    <a:cubicBezTo>
                      <a:pt x="19" y="31"/>
                      <a:pt x="19" y="31"/>
                      <a:pt x="19" y="31"/>
                    </a:cubicBezTo>
                    <a:cubicBezTo>
                      <a:pt x="19" y="31"/>
                      <a:pt x="19" y="31"/>
                      <a:pt x="19" y="31"/>
                    </a:cubicBezTo>
                    <a:cubicBezTo>
                      <a:pt x="18" y="31"/>
                      <a:pt x="17" y="30"/>
                      <a:pt x="16" y="30"/>
                    </a:cubicBezTo>
                    <a:cubicBezTo>
                      <a:pt x="17" y="30"/>
                      <a:pt x="17" y="30"/>
                      <a:pt x="18" y="30"/>
                    </a:cubicBezTo>
                    <a:cubicBezTo>
                      <a:pt x="18" y="30"/>
                      <a:pt x="17" y="30"/>
                      <a:pt x="17" y="30"/>
                    </a:cubicBezTo>
                    <a:cubicBezTo>
                      <a:pt x="18" y="30"/>
                      <a:pt x="18" y="30"/>
                      <a:pt x="19" y="30"/>
                    </a:cubicBezTo>
                    <a:cubicBezTo>
                      <a:pt x="18" y="29"/>
                      <a:pt x="19" y="29"/>
                      <a:pt x="17" y="29"/>
                    </a:cubicBezTo>
                    <a:cubicBezTo>
                      <a:pt x="17" y="29"/>
                      <a:pt x="18" y="29"/>
                      <a:pt x="18" y="29"/>
                    </a:cubicBezTo>
                    <a:cubicBezTo>
                      <a:pt x="18" y="29"/>
                      <a:pt x="17" y="29"/>
                      <a:pt x="17" y="29"/>
                    </a:cubicBezTo>
                    <a:cubicBezTo>
                      <a:pt x="17" y="29"/>
                      <a:pt x="17" y="29"/>
                      <a:pt x="17" y="29"/>
                    </a:cubicBezTo>
                    <a:cubicBezTo>
                      <a:pt x="17" y="29"/>
                      <a:pt x="16" y="28"/>
                      <a:pt x="16" y="28"/>
                    </a:cubicBezTo>
                    <a:cubicBezTo>
                      <a:pt x="16" y="28"/>
                      <a:pt x="16" y="28"/>
                      <a:pt x="16" y="28"/>
                    </a:cubicBezTo>
                    <a:cubicBezTo>
                      <a:pt x="16" y="28"/>
                      <a:pt x="16" y="28"/>
                      <a:pt x="16" y="28"/>
                    </a:cubicBezTo>
                    <a:cubicBezTo>
                      <a:pt x="16" y="28"/>
                      <a:pt x="17" y="28"/>
                      <a:pt x="17" y="28"/>
                    </a:cubicBezTo>
                    <a:cubicBezTo>
                      <a:pt x="16" y="28"/>
                      <a:pt x="16" y="28"/>
                      <a:pt x="16" y="27"/>
                    </a:cubicBezTo>
                    <a:cubicBezTo>
                      <a:pt x="16" y="27"/>
                      <a:pt x="16" y="28"/>
                      <a:pt x="16" y="28"/>
                    </a:cubicBezTo>
                    <a:cubicBezTo>
                      <a:pt x="16" y="27"/>
                      <a:pt x="16" y="27"/>
                      <a:pt x="16" y="27"/>
                    </a:cubicBezTo>
                    <a:cubicBezTo>
                      <a:pt x="16" y="27"/>
                      <a:pt x="16" y="27"/>
                      <a:pt x="16" y="27"/>
                    </a:cubicBezTo>
                    <a:cubicBezTo>
                      <a:pt x="16" y="27"/>
                      <a:pt x="16" y="27"/>
                      <a:pt x="16" y="27"/>
                    </a:cubicBezTo>
                    <a:cubicBezTo>
                      <a:pt x="16" y="27"/>
                      <a:pt x="17" y="27"/>
                      <a:pt x="17" y="27"/>
                    </a:cubicBezTo>
                    <a:cubicBezTo>
                      <a:pt x="17" y="27"/>
                      <a:pt x="15" y="26"/>
                      <a:pt x="15" y="26"/>
                    </a:cubicBezTo>
                    <a:cubicBezTo>
                      <a:pt x="16" y="26"/>
                      <a:pt x="16" y="26"/>
                      <a:pt x="17" y="26"/>
                    </a:cubicBezTo>
                    <a:cubicBezTo>
                      <a:pt x="17" y="26"/>
                      <a:pt x="17" y="26"/>
                      <a:pt x="17" y="26"/>
                    </a:cubicBezTo>
                    <a:cubicBezTo>
                      <a:pt x="16" y="26"/>
                      <a:pt x="16" y="26"/>
                      <a:pt x="16" y="26"/>
                    </a:cubicBezTo>
                    <a:cubicBezTo>
                      <a:pt x="16" y="26"/>
                      <a:pt x="17" y="26"/>
                      <a:pt x="17" y="26"/>
                    </a:cubicBezTo>
                    <a:cubicBezTo>
                      <a:pt x="17" y="26"/>
                      <a:pt x="17" y="26"/>
                      <a:pt x="17" y="26"/>
                    </a:cubicBezTo>
                    <a:cubicBezTo>
                      <a:pt x="17" y="26"/>
                      <a:pt x="17" y="26"/>
                      <a:pt x="17" y="26"/>
                    </a:cubicBezTo>
                    <a:cubicBezTo>
                      <a:pt x="17" y="26"/>
                      <a:pt x="17" y="26"/>
                      <a:pt x="17" y="26"/>
                    </a:cubicBezTo>
                    <a:cubicBezTo>
                      <a:pt x="17" y="26"/>
                      <a:pt x="17" y="26"/>
                      <a:pt x="17" y="25"/>
                    </a:cubicBezTo>
                    <a:cubicBezTo>
                      <a:pt x="16" y="25"/>
                      <a:pt x="16" y="25"/>
                      <a:pt x="15" y="25"/>
                    </a:cubicBezTo>
                    <a:cubicBezTo>
                      <a:pt x="16" y="25"/>
                      <a:pt x="16" y="25"/>
                      <a:pt x="16" y="25"/>
                    </a:cubicBezTo>
                    <a:cubicBezTo>
                      <a:pt x="16" y="24"/>
                      <a:pt x="16" y="24"/>
                      <a:pt x="16" y="24"/>
                    </a:cubicBezTo>
                    <a:cubicBezTo>
                      <a:pt x="15" y="24"/>
                      <a:pt x="15" y="24"/>
                      <a:pt x="14" y="24"/>
                    </a:cubicBezTo>
                    <a:cubicBezTo>
                      <a:pt x="14" y="24"/>
                      <a:pt x="15" y="23"/>
                      <a:pt x="15" y="23"/>
                    </a:cubicBezTo>
                    <a:cubicBezTo>
                      <a:pt x="15" y="23"/>
                      <a:pt x="14" y="23"/>
                      <a:pt x="14" y="23"/>
                    </a:cubicBezTo>
                    <a:cubicBezTo>
                      <a:pt x="15" y="23"/>
                      <a:pt x="16" y="23"/>
                      <a:pt x="17" y="23"/>
                    </a:cubicBezTo>
                    <a:cubicBezTo>
                      <a:pt x="17" y="23"/>
                      <a:pt x="17" y="23"/>
                      <a:pt x="17" y="23"/>
                    </a:cubicBezTo>
                    <a:cubicBezTo>
                      <a:pt x="17" y="23"/>
                      <a:pt x="14" y="23"/>
                      <a:pt x="13" y="22"/>
                    </a:cubicBezTo>
                    <a:cubicBezTo>
                      <a:pt x="13" y="22"/>
                      <a:pt x="14" y="22"/>
                      <a:pt x="14" y="22"/>
                    </a:cubicBezTo>
                    <a:cubicBezTo>
                      <a:pt x="14" y="22"/>
                      <a:pt x="14" y="22"/>
                      <a:pt x="14" y="22"/>
                    </a:cubicBezTo>
                    <a:cubicBezTo>
                      <a:pt x="14" y="22"/>
                      <a:pt x="14" y="22"/>
                      <a:pt x="14" y="22"/>
                    </a:cubicBezTo>
                    <a:cubicBezTo>
                      <a:pt x="16" y="22"/>
                      <a:pt x="16" y="23"/>
                      <a:pt x="17" y="23"/>
                    </a:cubicBezTo>
                    <a:cubicBezTo>
                      <a:pt x="17" y="23"/>
                      <a:pt x="14" y="21"/>
                      <a:pt x="14" y="21"/>
                    </a:cubicBezTo>
                    <a:cubicBezTo>
                      <a:pt x="14" y="21"/>
                      <a:pt x="14" y="21"/>
                      <a:pt x="14" y="21"/>
                    </a:cubicBezTo>
                    <a:cubicBezTo>
                      <a:pt x="15" y="21"/>
                      <a:pt x="16" y="21"/>
                      <a:pt x="16" y="22"/>
                    </a:cubicBezTo>
                    <a:cubicBezTo>
                      <a:pt x="16" y="21"/>
                      <a:pt x="16" y="21"/>
                      <a:pt x="16" y="21"/>
                    </a:cubicBezTo>
                    <a:cubicBezTo>
                      <a:pt x="15" y="21"/>
                      <a:pt x="15" y="20"/>
                      <a:pt x="14" y="20"/>
                    </a:cubicBezTo>
                    <a:cubicBezTo>
                      <a:pt x="15" y="20"/>
                      <a:pt x="15" y="21"/>
                      <a:pt x="16" y="21"/>
                    </a:cubicBezTo>
                    <a:cubicBezTo>
                      <a:pt x="16" y="21"/>
                      <a:pt x="16" y="20"/>
                      <a:pt x="15" y="20"/>
                    </a:cubicBezTo>
                    <a:cubicBezTo>
                      <a:pt x="16" y="20"/>
                      <a:pt x="16" y="21"/>
                      <a:pt x="16" y="21"/>
                    </a:cubicBezTo>
                    <a:cubicBezTo>
                      <a:pt x="16" y="21"/>
                      <a:pt x="16" y="21"/>
                      <a:pt x="16" y="21"/>
                    </a:cubicBezTo>
                    <a:cubicBezTo>
                      <a:pt x="16" y="21"/>
                      <a:pt x="16" y="20"/>
                      <a:pt x="16" y="20"/>
                    </a:cubicBezTo>
                    <a:cubicBezTo>
                      <a:pt x="16" y="19"/>
                      <a:pt x="16" y="19"/>
                      <a:pt x="15" y="18"/>
                    </a:cubicBezTo>
                    <a:cubicBezTo>
                      <a:pt x="15" y="18"/>
                      <a:pt x="16" y="18"/>
                      <a:pt x="16" y="18"/>
                    </a:cubicBezTo>
                    <a:cubicBezTo>
                      <a:pt x="16" y="18"/>
                      <a:pt x="16" y="18"/>
                      <a:pt x="16" y="18"/>
                    </a:cubicBezTo>
                    <a:cubicBezTo>
                      <a:pt x="16" y="19"/>
                      <a:pt x="17" y="19"/>
                      <a:pt x="17" y="19"/>
                    </a:cubicBezTo>
                    <a:cubicBezTo>
                      <a:pt x="17" y="19"/>
                      <a:pt x="17" y="19"/>
                      <a:pt x="17" y="18"/>
                    </a:cubicBezTo>
                    <a:cubicBezTo>
                      <a:pt x="17" y="19"/>
                      <a:pt x="17" y="20"/>
                      <a:pt x="17" y="20"/>
                    </a:cubicBezTo>
                    <a:cubicBezTo>
                      <a:pt x="17" y="20"/>
                      <a:pt x="17" y="19"/>
                      <a:pt x="17" y="19"/>
                    </a:cubicBezTo>
                    <a:cubicBezTo>
                      <a:pt x="17" y="19"/>
                      <a:pt x="17" y="19"/>
                      <a:pt x="17" y="19"/>
                    </a:cubicBezTo>
                    <a:cubicBezTo>
                      <a:pt x="17" y="20"/>
                      <a:pt x="18" y="21"/>
                      <a:pt x="18" y="22"/>
                    </a:cubicBezTo>
                    <a:cubicBezTo>
                      <a:pt x="18" y="22"/>
                      <a:pt x="18" y="22"/>
                      <a:pt x="18" y="22"/>
                    </a:cubicBezTo>
                    <a:cubicBezTo>
                      <a:pt x="19" y="22"/>
                      <a:pt x="19" y="22"/>
                      <a:pt x="19" y="22"/>
                    </a:cubicBezTo>
                    <a:cubicBezTo>
                      <a:pt x="19" y="22"/>
                      <a:pt x="19" y="21"/>
                      <a:pt x="19" y="20"/>
                    </a:cubicBezTo>
                    <a:cubicBezTo>
                      <a:pt x="19" y="20"/>
                      <a:pt x="19" y="20"/>
                      <a:pt x="19" y="20"/>
                    </a:cubicBezTo>
                    <a:cubicBezTo>
                      <a:pt x="19" y="20"/>
                      <a:pt x="19" y="20"/>
                      <a:pt x="19" y="20"/>
                    </a:cubicBezTo>
                    <a:cubicBezTo>
                      <a:pt x="19" y="20"/>
                      <a:pt x="19" y="20"/>
                      <a:pt x="19" y="19"/>
                    </a:cubicBezTo>
                    <a:cubicBezTo>
                      <a:pt x="19" y="20"/>
                      <a:pt x="19" y="22"/>
                      <a:pt x="20" y="22"/>
                    </a:cubicBezTo>
                    <a:cubicBezTo>
                      <a:pt x="20" y="22"/>
                      <a:pt x="20" y="21"/>
                      <a:pt x="20" y="21"/>
                    </a:cubicBezTo>
                    <a:cubicBezTo>
                      <a:pt x="20" y="21"/>
                      <a:pt x="20" y="21"/>
                      <a:pt x="20" y="21"/>
                    </a:cubicBezTo>
                    <a:cubicBezTo>
                      <a:pt x="20" y="21"/>
                      <a:pt x="20" y="20"/>
                      <a:pt x="20" y="20"/>
                    </a:cubicBezTo>
                    <a:cubicBezTo>
                      <a:pt x="20" y="20"/>
                      <a:pt x="20" y="20"/>
                      <a:pt x="20" y="20"/>
                    </a:cubicBezTo>
                    <a:cubicBezTo>
                      <a:pt x="20" y="21"/>
                      <a:pt x="20" y="22"/>
                      <a:pt x="20" y="23"/>
                    </a:cubicBezTo>
                    <a:cubicBezTo>
                      <a:pt x="20" y="23"/>
                      <a:pt x="20" y="23"/>
                      <a:pt x="20" y="23"/>
                    </a:cubicBezTo>
                    <a:cubicBezTo>
                      <a:pt x="20" y="23"/>
                      <a:pt x="20" y="22"/>
                      <a:pt x="20" y="22"/>
                    </a:cubicBezTo>
                    <a:cubicBezTo>
                      <a:pt x="20" y="22"/>
                      <a:pt x="21" y="23"/>
                      <a:pt x="21" y="23"/>
                    </a:cubicBezTo>
                    <a:cubicBezTo>
                      <a:pt x="21" y="23"/>
                      <a:pt x="21" y="23"/>
                      <a:pt x="21" y="23"/>
                    </a:cubicBezTo>
                    <a:cubicBezTo>
                      <a:pt x="21" y="23"/>
                      <a:pt x="21" y="22"/>
                      <a:pt x="21" y="22"/>
                    </a:cubicBezTo>
                    <a:cubicBezTo>
                      <a:pt x="21" y="22"/>
                      <a:pt x="21" y="22"/>
                      <a:pt x="21" y="21"/>
                    </a:cubicBezTo>
                    <a:cubicBezTo>
                      <a:pt x="21" y="21"/>
                      <a:pt x="21" y="21"/>
                      <a:pt x="21" y="22"/>
                    </a:cubicBezTo>
                    <a:cubicBezTo>
                      <a:pt x="21" y="21"/>
                      <a:pt x="21" y="21"/>
                      <a:pt x="21" y="21"/>
                    </a:cubicBezTo>
                    <a:cubicBezTo>
                      <a:pt x="21" y="21"/>
                      <a:pt x="21" y="21"/>
                      <a:pt x="21" y="21"/>
                    </a:cubicBezTo>
                    <a:cubicBezTo>
                      <a:pt x="21" y="21"/>
                      <a:pt x="21" y="21"/>
                      <a:pt x="21" y="21"/>
                    </a:cubicBezTo>
                    <a:cubicBezTo>
                      <a:pt x="22" y="21"/>
                      <a:pt x="22" y="22"/>
                      <a:pt x="23" y="22"/>
                    </a:cubicBezTo>
                    <a:cubicBezTo>
                      <a:pt x="23" y="22"/>
                      <a:pt x="21" y="21"/>
                      <a:pt x="21" y="20"/>
                    </a:cubicBezTo>
                    <a:cubicBezTo>
                      <a:pt x="22" y="20"/>
                      <a:pt x="22" y="20"/>
                      <a:pt x="23" y="21"/>
                    </a:cubicBezTo>
                    <a:cubicBezTo>
                      <a:pt x="23" y="21"/>
                      <a:pt x="23" y="20"/>
                      <a:pt x="23" y="20"/>
                    </a:cubicBezTo>
                    <a:cubicBezTo>
                      <a:pt x="23" y="20"/>
                      <a:pt x="23" y="20"/>
                      <a:pt x="23" y="20"/>
                    </a:cubicBezTo>
                    <a:cubicBezTo>
                      <a:pt x="23" y="21"/>
                      <a:pt x="23" y="21"/>
                      <a:pt x="23" y="21"/>
                    </a:cubicBezTo>
                    <a:cubicBezTo>
                      <a:pt x="23" y="20"/>
                      <a:pt x="23" y="20"/>
                      <a:pt x="23" y="19"/>
                    </a:cubicBezTo>
                    <a:cubicBezTo>
                      <a:pt x="23" y="19"/>
                      <a:pt x="23" y="20"/>
                      <a:pt x="24" y="20"/>
                    </a:cubicBezTo>
                    <a:cubicBezTo>
                      <a:pt x="24" y="20"/>
                      <a:pt x="24" y="19"/>
                      <a:pt x="24" y="19"/>
                    </a:cubicBezTo>
                    <a:cubicBezTo>
                      <a:pt x="24" y="19"/>
                      <a:pt x="24" y="19"/>
                      <a:pt x="24" y="19"/>
                    </a:cubicBezTo>
                    <a:cubicBezTo>
                      <a:pt x="24" y="19"/>
                      <a:pt x="24" y="19"/>
                      <a:pt x="24" y="19"/>
                    </a:cubicBezTo>
                    <a:cubicBezTo>
                      <a:pt x="24" y="19"/>
                      <a:pt x="24" y="19"/>
                      <a:pt x="24" y="20"/>
                    </a:cubicBezTo>
                    <a:cubicBezTo>
                      <a:pt x="25" y="19"/>
                      <a:pt x="27" y="19"/>
                      <a:pt x="28" y="20"/>
                    </a:cubicBezTo>
                    <a:cubicBezTo>
                      <a:pt x="27" y="20"/>
                      <a:pt x="25" y="20"/>
                      <a:pt x="24" y="20"/>
                    </a:cubicBezTo>
                    <a:cubicBezTo>
                      <a:pt x="24" y="20"/>
                      <a:pt x="24" y="20"/>
                      <a:pt x="24" y="20"/>
                    </a:cubicBezTo>
                    <a:cubicBezTo>
                      <a:pt x="24" y="20"/>
                      <a:pt x="24" y="20"/>
                      <a:pt x="24" y="20"/>
                    </a:cubicBezTo>
                    <a:cubicBezTo>
                      <a:pt x="25" y="20"/>
                      <a:pt x="25" y="21"/>
                      <a:pt x="25" y="21"/>
                    </a:cubicBezTo>
                    <a:cubicBezTo>
                      <a:pt x="25" y="21"/>
                      <a:pt x="25" y="21"/>
                      <a:pt x="25" y="21"/>
                    </a:cubicBezTo>
                    <a:cubicBezTo>
                      <a:pt x="25" y="21"/>
                      <a:pt x="25" y="21"/>
                      <a:pt x="25" y="21"/>
                    </a:cubicBezTo>
                    <a:cubicBezTo>
                      <a:pt x="25" y="21"/>
                      <a:pt x="25" y="21"/>
                      <a:pt x="25" y="21"/>
                    </a:cubicBezTo>
                    <a:cubicBezTo>
                      <a:pt x="25" y="21"/>
                      <a:pt x="25" y="21"/>
                      <a:pt x="25" y="21"/>
                    </a:cubicBezTo>
                    <a:cubicBezTo>
                      <a:pt x="25" y="21"/>
                      <a:pt x="25" y="21"/>
                      <a:pt x="25" y="21"/>
                    </a:cubicBezTo>
                    <a:cubicBezTo>
                      <a:pt x="25" y="21"/>
                      <a:pt x="25" y="22"/>
                      <a:pt x="26" y="22"/>
                    </a:cubicBezTo>
                    <a:cubicBezTo>
                      <a:pt x="26" y="22"/>
                      <a:pt x="26" y="22"/>
                      <a:pt x="26" y="22"/>
                    </a:cubicBezTo>
                    <a:cubicBezTo>
                      <a:pt x="26" y="22"/>
                      <a:pt x="26" y="21"/>
                      <a:pt x="26" y="21"/>
                    </a:cubicBezTo>
                    <a:cubicBezTo>
                      <a:pt x="26" y="21"/>
                      <a:pt x="26" y="22"/>
                      <a:pt x="26" y="22"/>
                    </a:cubicBezTo>
                    <a:cubicBezTo>
                      <a:pt x="26" y="22"/>
                      <a:pt x="26" y="21"/>
                      <a:pt x="26" y="21"/>
                    </a:cubicBezTo>
                    <a:cubicBezTo>
                      <a:pt x="26" y="21"/>
                      <a:pt x="26" y="21"/>
                      <a:pt x="26" y="21"/>
                    </a:cubicBezTo>
                    <a:cubicBezTo>
                      <a:pt x="27" y="21"/>
                      <a:pt x="28" y="21"/>
                      <a:pt x="29" y="21"/>
                    </a:cubicBezTo>
                    <a:cubicBezTo>
                      <a:pt x="29" y="21"/>
                      <a:pt x="28" y="21"/>
                      <a:pt x="28" y="21"/>
                    </a:cubicBezTo>
                    <a:cubicBezTo>
                      <a:pt x="28" y="21"/>
                      <a:pt x="29" y="21"/>
                      <a:pt x="29" y="20"/>
                    </a:cubicBezTo>
                    <a:cubicBezTo>
                      <a:pt x="29" y="20"/>
                      <a:pt x="29" y="20"/>
                      <a:pt x="29" y="20"/>
                    </a:cubicBezTo>
                    <a:cubicBezTo>
                      <a:pt x="29" y="20"/>
                      <a:pt x="28" y="20"/>
                      <a:pt x="28" y="20"/>
                    </a:cubicBezTo>
                    <a:cubicBezTo>
                      <a:pt x="28" y="20"/>
                      <a:pt x="28" y="20"/>
                      <a:pt x="28" y="20"/>
                    </a:cubicBezTo>
                    <a:cubicBezTo>
                      <a:pt x="28" y="20"/>
                      <a:pt x="28" y="20"/>
                      <a:pt x="28" y="20"/>
                    </a:cubicBezTo>
                    <a:cubicBezTo>
                      <a:pt x="28" y="20"/>
                      <a:pt x="28" y="20"/>
                      <a:pt x="29" y="20"/>
                    </a:cubicBezTo>
                    <a:cubicBezTo>
                      <a:pt x="28" y="20"/>
                      <a:pt x="28" y="20"/>
                      <a:pt x="28" y="20"/>
                    </a:cubicBezTo>
                    <a:cubicBezTo>
                      <a:pt x="28" y="20"/>
                      <a:pt x="28" y="20"/>
                      <a:pt x="28" y="20"/>
                    </a:cubicBezTo>
                    <a:cubicBezTo>
                      <a:pt x="28" y="19"/>
                      <a:pt x="28" y="19"/>
                      <a:pt x="28" y="19"/>
                    </a:cubicBezTo>
                    <a:cubicBezTo>
                      <a:pt x="28" y="19"/>
                      <a:pt x="28" y="19"/>
                      <a:pt x="28" y="19"/>
                    </a:cubicBezTo>
                    <a:cubicBezTo>
                      <a:pt x="28" y="19"/>
                      <a:pt x="28" y="19"/>
                      <a:pt x="28" y="19"/>
                    </a:cubicBezTo>
                    <a:cubicBezTo>
                      <a:pt x="26" y="19"/>
                      <a:pt x="25" y="18"/>
                      <a:pt x="24" y="17"/>
                    </a:cubicBezTo>
                    <a:cubicBezTo>
                      <a:pt x="24" y="17"/>
                      <a:pt x="24" y="17"/>
                      <a:pt x="25" y="17"/>
                    </a:cubicBezTo>
                    <a:cubicBezTo>
                      <a:pt x="24" y="17"/>
                      <a:pt x="24" y="16"/>
                      <a:pt x="23" y="16"/>
                    </a:cubicBezTo>
                    <a:cubicBezTo>
                      <a:pt x="23" y="16"/>
                      <a:pt x="24" y="16"/>
                      <a:pt x="24" y="16"/>
                    </a:cubicBezTo>
                    <a:cubicBezTo>
                      <a:pt x="24" y="16"/>
                      <a:pt x="24" y="15"/>
                      <a:pt x="23" y="15"/>
                    </a:cubicBezTo>
                    <a:cubicBezTo>
                      <a:pt x="24" y="15"/>
                      <a:pt x="24" y="15"/>
                      <a:pt x="24" y="15"/>
                    </a:cubicBezTo>
                    <a:cubicBezTo>
                      <a:pt x="24" y="15"/>
                      <a:pt x="24" y="15"/>
                      <a:pt x="24" y="15"/>
                    </a:cubicBezTo>
                    <a:cubicBezTo>
                      <a:pt x="23" y="15"/>
                      <a:pt x="22" y="14"/>
                      <a:pt x="20" y="14"/>
                    </a:cubicBezTo>
                    <a:cubicBezTo>
                      <a:pt x="21" y="14"/>
                      <a:pt x="22" y="14"/>
                      <a:pt x="22" y="14"/>
                    </a:cubicBezTo>
                    <a:cubicBezTo>
                      <a:pt x="22" y="14"/>
                      <a:pt x="22" y="14"/>
                      <a:pt x="21" y="14"/>
                    </a:cubicBezTo>
                    <a:cubicBezTo>
                      <a:pt x="22" y="14"/>
                      <a:pt x="22" y="14"/>
                      <a:pt x="23" y="14"/>
                    </a:cubicBezTo>
                    <a:cubicBezTo>
                      <a:pt x="23" y="14"/>
                      <a:pt x="23" y="14"/>
                      <a:pt x="23" y="14"/>
                    </a:cubicBezTo>
                    <a:cubicBezTo>
                      <a:pt x="22" y="13"/>
                      <a:pt x="20" y="12"/>
                      <a:pt x="19" y="12"/>
                    </a:cubicBezTo>
                    <a:cubicBezTo>
                      <a:pt x="20" y="12"/>
                      <a:pt x="21" y="12"/>
                      <a:pt x="21" y="12"/>
                    </a:cubicBezTo>
                    <a:cubicBezTo>
                      <a:pt x="21" y="12"/>
                      <a:pt x="21" y="12"/>
                      <a:pt x="21" y="12"/>
                    </a:cubicBezTo>
                    <a:cubicBezTo>
                      <a:pt x="21" y="12"/>
                      <a:pt x="21" y="12"/>
                      <a:pt x="21" y="12"/>
                    </a:cubicBezTo>
                    <a:cubicBezTo>
                      <a:pt x="21" y="12"/>
                      <a:pt x="20" y="11"/>
                      <a:pt x="20" y="11"/>
                    </a:cubicBezTo>
                    <a:cubicBezTo>
                      <a:pt x="21" y="11"/>
                      <a:pt x="22" y="12"/>
                      <a:pt x="22" y="13"/>
                    </a:cubicBezTo>
                    <a:cubicBezTo>
                      <a:pt x="23" y="12"/>
                      <a:pt x="23" y="12"/>
                      <a:pt x="23" y="12"/>
                    </a:cubicBezTo>
                    <a:cubicBezTo>
                      <a:pt x="23" y="13"/>
                      <a:pt x="24" y="13"/>
                      <a:pt x="24" y="14"/>
                    </a:cubicBezTo>
                    <a:cubicBezTo>
                      <a:pt x="23" y="12"/>
                      <a:pt x="24" y="12"/>
                      <a:pt x="23" y="10"/>
                    </a:cubicBezTo>
                    <a:cubicBezTo>
                      <a:pt x="23" y="11"/>
                      <a:pt x="24" y="11"/>
                      <a:pt x="24" y="11"/>
                    </a:cubicBezTo>
                    <a:cubicBezTo>
                      <a:pt x="24" y="11"/>
                      <a:pt x="24" y="10"/>
                      <a:pt x="24" y="10"/>
                    </a:cubicBezTo>
                    <a:cubicBezTo>
                      <a:pt x="24" y="11"/>
                      <a:pt x="24" y="12"/>
                      <a:pt x="24" y="13"/>
                    </a:cubicBezTo>
                    <a:cubicBezTo>
                      <a:pt x="24" y="13"/>
                      <a:pt x="24" y="13"/>
                      <a:pt x="24" y="12"/>
                    </a:cubicBezTo>
                    <a:cubicBezTo>
                      <a:pt x="25" y="13"/>
                      <a:pt x="25" y="14"/>
                      <a:pt x="26" y="15"/>
                    </a:cubicBezTo>
                    <a:cubicBezTo>
                      <a:pt x="26" y="14"/>
                      <a:pt x="26" y="12"/>
                      <a:pt x="26" y="12"/>
                    </a:cubicBezTo>
                    <a:cubicBezTo>
                      <a:pt x="26" y="12"/>
                      <a:pt x="26" y="12"/>
                      <a:pt x="26" y="12"/>
                    </a:cubicBezTo>
                    <a:cubicBezTo>
                      <a:pt x="26" y="12"/>
                      <a:pt x="26" y="12"/>
                      <a:pt x="26" y="12"/>
                    </a:cubicBezTo>
                    <a:cubicBezTo>
                      <a:pt x="26" y="12"/>
                      <a:pt x="26" y="12"/>
                      <a:pt x="26" y="12"/>
                    </a:cubicBezTo>
                    <a:cubicBezTo>
                      <a:pt x="26" y="12"/>
                      <a:pt x="26" y="13"/>
                      <a:pt x="26" y="13"/>
                    </a:cubicBezTo>
                    <a:cubicBezTo>
                      <a:pt x="26" y="13"/>
                      <a:pt x="26" y="13"/>
                      <a:pt x="26" y="13"/>
                    </a:cubicBezTo>
                    <a:cubicBezTo>
                      <a:pt x="26" y="13"/>
                      <a:pt x="26" y="13"/>
                      <a:pt x="26" y="13"/>
                    </a:cubicBezTo>
                    <a:cubicBezTo>
                      <a:pt x="26" y="13"/>
                      <a:pt x="26" y="12"/>
                      <a:pt x="26" y="12"/>
                    </a:cubicBezTo>
                    <a:cubicBezTo>
                      <a:pt x="26" y="13"/>
                      <a:pt x="26" y="14"/>
                      <a:pt x="26" y="14"/>
                    </a:cubicBezTo>
                    <a:cubicBezTo>
                      <a:pt x="26" y="14"/>
                      <a:pt x="26" y="14"/>
                      <a:pt x="26" y="14"/>
                    </a:cubicBezTo>
                    <a:cubicBezTo>
                      <a:pt x="26" y="14"/>
                      <a:pt x="26" y="14"/>
                      <a:pt x="26" y="14"/>
                    </a:cubicBezTo>
                    <a:cubicBezTo>
                      <a:pt x="26" y="14"/>
                      <a:pt x="26" y="14"/>
                      <a:pt x="26" y="14"/>
                    </a:cubicBezTo>
                    <a:cubicBezTo>
                      <a:pt x="26" y="14"/>
                      <a:pt x="26" y="14"/>
                      <a:pt x="26" y="14"/>
                    </a:cubicBezTo>
                    <a:cubicBezTo>
                      <a:pt x="26" y="14"/>
                      <a:pt x="27" y="14"/>
                      <a:pt x="27" y="14"/>
                    </a:cubicBezTo>
                    <a:cubicBezTo>
                      <a:pt x="27" y="14"/>
                      <a:pt x="27" y="14"/>
                      <a:pt x="27" y="14"/>
                    </a:cubicBezTo>
                    <a:cubicBezTo>
                      <a:pt x="27" y="14"/>
                      <a:pt x="27" y="14"/>
                      <a:pt x="27" y="15"/>
                    </a:cubicBezTo>
                    <a:cubicBezTo>
                      <a:pt x="27" y="15"/>
                      <a:pt x="28" y="15"/>
                      <a:pt x="28" y="15"/>
                    </a:cubicBezTo>
                    <a:cubicBezTo>
                      <a:pt x="28" y="15"/>
                      <a:pt x="28" y="14"/>
                      <a:pt x="28" y="13"/>
                    </a:cubicBezTo>
                    <a:cubicBezTo>
                      <a:pt x="28" y="14"/>
                      <a:pt x="28" y="14"/>
                      <a:pt x="28" y="14"/>
                    </a:cubicBezTo>
                    <a:cubicBezTo>
                      <a:pt x="28" y="13"/>
                      <a:pt x="28" y="12"/>
                      <a:pt x="28" y="11"/>
                    </a:cubicBezTo>
                    <a:cubicBezTo>
                      <a:pt x="27" y="11"/>
                      <a:pt x="27" y="11"/>
                      <a:pt x="27" y="11"/>
                    </a:cubicBezTo>
                    <a:cubicBezTo>
                      <a:pt x="27" y="11"/>
                      <a:pt x="27" y="11"/>
                      <a:pt x="28" y="11"/>
                    </a:cubicBezTo>
                    <a:cubicBezTo>
                      <a:pt x="27" y="11"/>
                      <a:pt x="27" y="11"/>
                      <a:pt x="27" y="11"/>
                    </a:cubicBezTo>
                    <a:cubicBezTo>
                      <a:pt x="27" y="11"/>
                      <a:pt x="27" y="11"/>
                      <a:pt x="27" y="11"/>
                    </a:cubicBezTo>
                    <a:cubicBezTo>
                      <a:pt x="27" y="11"/>
                      <a:pt x="27" y="10"/>
                      <a:pt x="27" y="10"/>
                    </a:cubicBezTo>
                    <a:cubicBezTo>
                      <a:pt x="27" y="10"/>
                      <a:pt x="27" y="10"/>
                      <a:pt x="27" y="10"/>
                    </a:cubicBezTo>
                    <a:cubicBezTo>
                      <a:pt x="27" y="10"/>
                      <a:pt x="27" y="10"/>
                      <a:pt x="27" y="10"/>
                    </a:cubicBezTo>
                    <a:cubicBezTo>
                      <a:pt x="28" y="10"/>
                      <a:pt x="28" y="10"/>
                      <a:pt x="29" y="10"/>
                    </a:cubicBezTo>
                    <a:cubicBezTo>
                      <a:pt x="29" y="10"/>
                      <a:pt x="29" y="10"/>
                      <a:pt x="29" y="10"/>
                    </a:cubicBezTo>
                    <a:cubicBezTo>
                      <a:pt x="29" y="10"/>
                      <a:pt x="30" y="11"/>
                      <a:pt x="31" y="11"/>
                    </a:cubicBezTo>
                    <a:cubicBezTo>
                      <a:pt x="30" y="9"/>
                      <a:pt x="29" y="10"/>
                      <a:pt x="25" y="9"/>
                    </a:cubicBezTo>
                    <a:cubicBezTo>
                      <a:pt x="26" y="9"/>
                      <a:pt x="26" y="9"/>
                      <a:pt x="26" y="9"/>
                    </a:cubicBezTo>
                    <a:cubicBezTo>
                      <a:pt x="26" y="9"/>
                      <a:pt x="26" y="9"/>
                      <a:pt x="26" y="9"/>
                    </a:cubicBezTo>
                    <a:cubicBezTo>
                      <a:pt x="26" y="9"/>
                      <a:pt x="26" y="8"/>
                      <a:pt x="26" y="8"/>
                    </a:cubicBezTo>
                    <a:cubicBezTo>
                      <a:pt x="27" y="9"/>
                      <a:pt x="28" y="9"/>
                      <a:pt x="30" y="10"/>
                    </a:cubicBezTo>
                    <a:cubicBezTo>
                      <a:pt x="28" y="8"/>
                      <a:pt x="27" y="8"/>
                      <a:pt x="25" y="6"/>
                    </a:cubicBezTo>
                    <a:cubicBezTo>
                      <a:pt x="26" y="7"/>
                      <a:pt x="27" y="7"/>
                      <a:pt x="28" y="8"/>
                    </a:cubicBezTo>
                    <a:cubicBezTo>
                      <a:pt x="28" y="7"/>
                      <a:pt x="28" y="7"/>
                      <a:pt x="28" y="7"/>
                    </a:cubicBezTo>
                    <a:cubicBezTo>
                      <a:pt x="28" y="7"/>
                      <a:pt x="28" y="7"/>
                      <a:pt x="28" y="7"/>
                    </a:cubicBezTo>
                    <a:cubicBezTo>
                      <a:pt x="28" y="6"/>
                      <a:pt x="28" y="6"/>
                      <a:pt x="28" y="5"/>
                    </a:cubicBezTo>
                    <a:cubicBezTo>
                      <a:pt x="28" y="5"/>
                      <a:pt x="28" y="5"/>
                      <a:pt x="28" y="5"/>
                    </a:cubicBezTo>
                    <a:cubicBezTo>
                      <a:pt x="28" y="6"/>
                      <a:pt x="28" y="6"/>
                      <a:pt x="28" y="6"/>
                    </a:cubicBezTo>
                    <a:cubicBezTo>
                      <a:pt x="28" y="6"/>
                      <a:pt x="28" y="6"/>
                      <a:pt x="28" y="5"/>
                    </a:cubicBezTo>
                    <a:cubicBezTo>
                      <a:pt x="28" y="5"/>
                      <a:pt x="28" y="5"/>
                      <a:pt x="28" y="5"/>
                    </a:cubicBezTo>
                    <a:cubicBezTo>
                      <a:pt x="29" y="6"/>
                      <a:pt x="30" y="9"/>
                      <a:pt x="31" y="9"/>
                    </a:cubicBezTo>
                    <a:cubicBezTo>
                      <a:pt x="30" y="8"/>
                      <a:pt x="30" y="7"/>
                      <a:pt x="30" y="6"/>
                    </a:cubicBezTo>
                    <a:cubicBezTo>
                      <a:pt x="30" y="6"/>
                      <a:pt x="30" y="6"/>
                      <a:pt x="30" y="6"/>
                    </a:cubicBezTo>
                    <a:cubicBezTo>
                      <a:pt x="30" y="6"/>
                      <a:pt x="30" y="7"/>
                      <a:pt x="30" y="7"/>
                    </a:cubicBezTo>
                    <a:cubicBezTo>
                      <a:pt x="30" y="7"/>
                      <a:pt x="30" y="6"/>
                      <a:pt x="30" y="6"/>
                    </a:cubicBezTo>
                    <a:cubicBezTo>
                      <a:pt x="30" y="7"/>
                      <a:pt x="32" y="10"/>
                      <a:pt x="32" y="10"/>
                    </a:cubicBezTo>
                    <a:cubicBezTo>
                      <a:pt x="32" y="9"/>
                      <a:pt x="32" y="8"/>
                      <a:pt x="32" y="8"/>
                    </a:cubicBezTo>
                    <a:cubicBezTo>
                      <a:pt x="32" y="8"/>
                      <a:pt x="32" y="8"/>
                      <a:pt x="32" y="8"/>
                    </a:cubicBezTo>
                    <a:cubicBezTo>
                      <a:pt x="32" y="8"/>
                      <a:pt x="32" y="8"/>
                      <a:pt x="32" y="8"/>
                    </a:cubicBezTo>
                    <a:cubicBezTo>
                      <a:pt x="32" y="8"/>
                      <a:pt x="32" y="8"/>
                      <a:pt x="32" y="8"/>
                    </a:cubicBezTo>
                    <a:cubicBezTo>
                      <a:pt x="32" y="8"/>
                      <a:pt x="32" y="8"/>
                      <a:pt x="32" y="8"/>
                    </a:cubicBezTo>
                    <a:cubicBezTo>
                      <a:pt x="32" y="8"/>
                      <a:pt x="32" y="8"/>
                      <a:pt x="32" y="8"/>
                    </a:cubicBezTo>
                    <a:cubicBezTo>
                      <a:pt x="33" y="9"/>
                      <a:pt x="33" y="10"/>
                      <a:pt x="33" y="10"/>
                    </a:cubicBezTo>
                    <a:cubicBezTo>
                      <a:pt x="33" y="10"/>
                      <a:pt x="33" y="9"/>
                      <a:pt x="33" y="8"/>
                    </a:cubicBezTo>
                    <a:cubicBezTo>
                      <a:pt x="34" y="9"/>
                      <a:pt x="33" y="11"/>
                      <a:pt x="34" y="12"/>
                    </a:cubicBezTo>
                    <a:cubicBezTo>
                      <a:pt x="34" y="11"/>
                      <a:pt x="34" y="10"/>
                      <a:pt x="34" y="10"/>
                    </a:cubicBezTo>
                    <a:cubicBezTo>
                      <a:pt x="34" y="9"/>
                      <a:pt x="34" y="9"/>
                      <a:pt x="34" y="9"/>
                    </a:cubicBezTo>
                    <a:cubicBezTo>
                      <a:pt x="34" y="9"/>
                      <a:pt x="34" y="9"/>
                      <a:pt x="34" y="9"/>
                    </a:cubicBezTo>
                    <a:cubicBezTo>
                      <a:pt x="34" y="9"/>
                      <a:pt x="34" y="9"/>
                      <a:pt x="34" y="9"/>
                    </a:cubicBezTo>
                    <a:cubicBezTo>
                      <a:pt x="34" y="10"/>
                      <a:pt x="34" y="10"/>
                      <a:pt x="35" y="10"/>
                    </a:cubicBezTo>
                    <a:cubicBezTo>
                      <a:pt x="35" y="10"/>
                      <a:pt x="35" y="9"/>
                      <a:pt x="34" y="9"/>
                    </a:cubicBezTo>
                    <a:cubicBezTo>
                      <a:pt x="35" y="10"/>
                      <a:pt x="35" y="10"/>
                      <a:pt x="35" y="10"/>
                    </a:cubicBezTo>
                    <a:cubicBezTo>
                      <a:pt x="35" y="10"/>
                      <a:pt x="35" y="9"/>
                      <a:pt x="35" y="9"/>
                    </a:cubicBezTo>
                    <a:cubicBezTo>
                      <a:pt x="35" y="9"/>
                      <a:pt x="35" y="10"/>
                      <a:pt x="35" y="10"/>
                    </a:cubicBezTo>
                    <a:cubicBezTo>
                      <a:pt x="35" y="10"/>
                      <a:pt x="35" y="10"/>
                      <a:pt x="35" y="10"/>
                    </a:cubicBezTo>
                    <a:cubicBezTo>
                      <a:pt x="35" y="9"/>
                      <a:pt x="35" y="9"/>
                      <a:pt x="34" y="9"/>
                    </a:cubicBezTo>
                    <a:cubicBezTo>
                      <a:pt x="35" y="9"/>
                      <a:pt x="35" y="9"/>
                      <a:pt x="35" y="9"/>
                    </a:cubicBezTo>
                    <a:cubicBezTo>
                      <a:pt x="35" y="9"/>
                      <a:pt x="35" y="9"/>
                      <a:pt x="35" y="9"/>
                    </a:cubicBezTo>
                    <a:cubicBezTo>
                      <a:pt x="35" y="9"/>
                      <a:pt x="35" y="9"/>
                      <a:pt x="35" y="9"/>
                    </a:cubicBezTo>
                    <a:cubicBezTo>
                      <a:pt x="35" y="9"/>
                      <a:pt x="35" y="9"/>
                      <a:pt x="34" y="8"/>
                    </a:cubicBezTo>
                    <a:cubicBezTo>
                      <a:pt x="35" y="8"/>
                      <a:pt x="35" y="9"/>
                      <a:pt x="36" y="9"/>
                    </a:cubicBezTo>
                    <a:cubicBezTo>
                      <a:pt x="35" y="8"/>
                      <a:pt x="35" y="8"/>
                      <a:pt x="34" y="7"/>
                    </a:cubicBezTo>
                    <a:cubicBezTo>
                      <a:pt x="34" y="7"/>
                      <a:pt x="35" y="7"/>
                      <a:pt x="35" y="7"/>
                    </a:cubicBezTo>
                    <a:cubicBezTo>
                      <a:pt x="35" y="7"/>
                      <a:pt x="35" y="7"/>
                      <a:pt x="34" y="7"/>
                    </a:cubicBezTo>
                    <a:cubicBezTo>
                      <a:pt x="35" y="7"/>
                      <a:pt x="35" y="7"/>
                      <a:pt x="35" y="8"/>
                    </a:cubicBezTo>
                    <a:cubicBezTo>
                      <a:pt x="35" y="7"/>
                      <a:pt x="35" y="7"/>
                      <a:pt x="35" y="7"/>
                    </a:cubicBezTo>
                    <a:cubicBezTo>
                      <a:pt x="35" y="7"/>
                      <a:pt x="35" y="7"/>
                      <a:pt x="35" y="7"/>
                    </a:cubicBezTo>
                    <a:cubicBezTo>
                      <a:pt x="35" y="7"/>
                      <a:pt x="34" y="6"/>
                      <a:pt x="33" y="6"/>
                    </a:cubicBezTo>
                    <a:cubicBezTo>
                      <a:pt x="34" y="6"/>
                      <a:pt x="35" y="7"/>
                      <a:pt x="35" y="7"/>
                    </a:cubicBezTo>
                    <a:cubicBezTo>
                      <a:pt x="35" y="7"/>
                      <a:pt x="35" y="7"/>
                      <a:pt x="35" y="7"/>
                    </a:cubicBezTo>
                    <a:cubicBezTo>
                      <a:pt x="35" y="7"/>
                      <a:pt x="35" y="7"/>
                      <a:pt x="35" y="7"/>
                    </a:cubicBezTo>
                    <a:cubicBezTo>
                      <a:pt x="35" y="7"/>
                      <a:pt x="35" y="6"/>
                      <a:pt x="35" y="6"/>
                    </a:cubicBezTo>
                    <a:cubicBezTo>
                      <a:pt x="35" y="6"/>
                      <a:pt x="35" y="6"/>
                      <a:pt x="35" y="6"/>
                    </a:cubicBezTo>
                    <a:cubicBezTo>
                      <a:pt x="35" y="6"/>
                      <a:pt x="35" y="6"/>
                      <a:pt x="34" y="6"/>
                    </a:cubicBezTo>
                    <a:cubicBezTo>
                      <a:pt x="34" y="6"/>
                      <a:pt x="35" y="6"/>
                      <a:pt x="35" y="6"/>
                    </a:cubicBezTo>
                    <a:cubicBezTo>
                      <a:pt x="34" y="5"/>
                      <a:pt x="33" y="5"/>
                      <a:pt x="33" y="5"/>
                    </a:cubicBezTo>
                    <a:cubicBezTo>
                      <a:pt x="33" y="5"/>
                      <a:pt x="34" y="5"/>
                      <a:pt x="34" y="5"/>
                    </a:cubicBezTo>
                    <a:cubicBezTo>
                      <a:pt x="34" y="5"/>
                      <a:pt x="33" y="5"/>
                      <a:pt x="33" y="4"/>
                    </a:cubicBezTo>
                    <a:cubicBezTo>
                      <a:pt x="33" y="5"/>
                      <a:pt x="34" y="5"/>
                      <a:pt x="34" y="5"/>
                    </a:cubicBezTo>
                    <a:cubicBezTo>
                      <a:pt x="34" y="5"/>
                      <a:pt x="34" y="5"/>
                      <a:pt x="34" y="4"/>
                    </a:cubicBezTo>
                    <a:cubicBezTo>
                      <a:pt x="34" y="4"/>
                      <a:pt x="34" y="4"/>
                      <a:pt x="34" y="4"/>
                    </a:cubicBezTo>
                    <a:cubicBezTo>
                      <a:pt x="34" y="4"/>
                      <a:pt x="33" y="3"/>
                      <a:pt x="33" y="3"/>
                    </a:cubicBezTo>
                    <a:cubicBezTo>
                      <a:pt x="33" y="3"/>
                      <a:pt x="33" y="3"/>
                      <a:pt x="33" y="3"/>
                    </a:cubicBezTo>
                    <a:cubicBezTo>
                      <a:pt x="33" y="3"/>
                      <a:pt x="34" y="4"/>
                      <a:pt x="34" y="4"/>
                    </a:cubicBezTo>
                    <a:cubicBezTo>
                      <a:pt x="34" y="3"/>
                      <a:pt x="34" y="3"/>
                      <a:pt x="33" y="2"/>
                    </a:cubicBezTo>
                    <a:cubicBezTo>
                      <a:pt x="34" y="2"/>
                      <a:pt x="34" y="2"/>
                      <a:pt x="35" y="3"/>
                    </a:cubicBezTo>
                    <a:cubicBezTo>
                      <a:pt x="35" y="2"/>
                      <a:pt x="35" y="2"/>
                      <a:pt x="35" y="2"/>
                    </a:cubicBezTo>
                    <a:cubicBezTo>
                      <a:pt x="35" y="3"/>
                      <a:pt x="36" y="3"/>
                      <a:pt x="37" y="3"/>
                    </a:cubicBezTo>
                    <a:cubicBezTo>
                      <a:pt x="37" y="3"/>
                      <a:pt x="36" y="3"/>
                      <a:pt x="36" y="3"/>
                    </a:cubicBezTo>
                    <a:cubicBezTo>
                      <a:pt x="37" y="3"/>
                      <a:pt x="37" y="3"/>
                      <a:pt x="37" y="3"/>
                    </a:cubicBezTo>
                    <a:cubicBezTo>
                      <a:pt x="37" y="3"/>
                      <a:pt x="37" y="3"/>
                      <a:pt x="37" y="3"/>
                    </a:cubicBezTo>
                    <a:cubicBezTo>
                      <a:pt x="37" y="3"/>
                      <a:pt x="37" y="3"/>
                      <a:pt x="37" y="4"/>
                    </a:cubicBezTo>
                    <a:cubicBezTo>
                      <a:pt x="37" y="4"/>
                      <a:pt x="37" y="4"/>
                      <a:pt x="38" y="4"/>
                    </a:cubicBezTo>
                    <a:cubicBezTo>
                      <a:pt x="37" y="3"/>
                      <a:pt x="37" y="3"/>
                      <a:pt x="37" y="3"/>
                    </a:cubicBezTo>
                    <a:cubicBezTo>
                      <a:pt x="37" y="3"/>
                      <a:pt x="38" y="3"/>
                      <a:pt x="38" y="3"/>
                    </a:cubicBezTo>
                    <a:cubicBezTo>
                      <a:pt x="38" y="3"/>
                      <a:pt x="37" y="2"/>
                      <a:pt x="37" y="1"/>
                    </a:cubicBezTo>
                    <a:cubicBezTo>
                      <a:pt x="38" y="2"/>
                      <a:pt x="39" y="3"/>
                      <a:pt x="39" y="4"/>
                    </a:cubicBezTo>
                    <a:cubicBezTo>
                      <a:pt x="39" y="3"/>
                      <a:pt x="39" y="3"/>
                      <a:pt x="39" y="3"/>
                    </a:cubicBezTo>
                    <a:cubicBezTo>
                      <a:pt x="39" y="3"/>
                      <a:pt x="39" y="3"/>
                      <a:pt x="39" y="3"/>
                    </a:cubicBezTo>
                    <a:cubicBezTo>
                      <a:pt x="39" y="3"/>
                      <a:pt x="39" y="3"/>
                      <a:pt x="39" y="3"/>
                    </a:cubicBezTo>
                    <a:cubicBezTo>
                      <a:pt x="39" y="3"/>
                      <a:pt x="39" y="3"/>
                      <a:pt x="39" y="2"/>
                    </a:cubicBezTo>
                    <a:cubicBezTo>
                      <a:pt x="39" y="2"/>
                      <a:pt x="39" y="2"/>
                      <a:pt x="39" y="2"/>
                    </a:cubicBezTo>
                    <a:cubicBezTo>
                      <a:pt x="39" y="2"/>
                      <a:pt x="40" y="2"/>
                      <a:pt x="40" y="1"/>
                    </a:cubicBezTo>
                    <a:cubicBezTo>
                      <a:pt x="39" y="1"/>
                      <a:pt x="39" y="1"/>
                      <a:pt x="38" y="1"/>
                    </a:cubicBezTo>
                    <a:cubicBezTo>
                      <a:pt x="39" y="1"/>
                      <a:pt x="39" y="1"/>
                      <a:pt x="40" y="1"/>
                    </a:cubicBezTo>
                    <a:cubicBezTo>
                      <a:pt x="39" y="1"/>
                      <a:pt x="39" y="0"/>
                      <a:pt x="39" y="0"/>
                    </a:cubicBezTo>
                    <a:cubicBezTo>
                      <a:pt x="39" y="0"/>
                      <a:pt x="39" y="0"/>
                      <a:pt x="39" y="0"/>
                    </a:cubicBezTo>
                    <a:cubicBezTo>
                      <a:pt x="40" y="1"/>
                      <a:pt x="41" y="1"/>
                      <a:pt x="42" y="2"/>
                    </a:cubicBezTo>
                    <a:cubicBezTo>
                      <a:pt x="42" y="2"/>
                      <a:pt x="42" y="3"/>
                      <a:pt x="42" y="3"/>
                    </a:cubicBezTo>
                    <a:cubicBezTo>
                      <a:pt x="42" y="3"/>
                      <a:pt x="42" y="3"/>
                      <a:pt x="43" y="3"/>
                    </a:cubicBezTo>
                    <a:cubicBezTo>
                      <a:pt x="43" y="3"/>
                      <a:pt x="43" y="2"/>
                      <a:pt x="43" y="1"/>
                    </a:cubicBezTo>
                    <a:cubicBezTo>
                      <a:pt x="43" y="2"/>
                      <a:pt x="43" y="3"/>
                      <a:pt x="43" y="4"/>
                    </a:cubicBezTo>
                    <a:cubicBezTo>
                      <a:pt x="43" y="4"/>
                      <a:pt x="43" y="4"/>
                      <a:pt x="43" y="4"/>
                    </a:cubicBezTo>
                    <a:cubicBezTo>
                      <a:pt x="43" y="4"/>
                      <a:pt x="43" y="4"/>
                      <a:pt x="43" y="4"/>
                    </a:cubicBezTo>
                    <a:cubicBezTo>
                      <a:pt x="44" y="4"/>
                      <a:pt x="44" y="3"/>
                      <a:pt x="44" y="3"/>
                    </a:cubicBezTo>
                    <a:cubicBezTo>
                      <a:pt x="44" y="3"/>
                      <a:pt x="44" y="3"/>
                      <a:pt x="44" y="4"/>
                    </a:cubicBezTo>
                    <a:cubicBezTo>
                      <a:pt x="44" y="3"/>
                      <a:pt x="44" y="3"/>
                      <a:pt x="45" y="2"/>
                    </a:cubicBezTo>
                    <a:cubicBezTo>
                      <a:pt x="45" y="2"/>
                      <a:pt x="45" y="3"/>
                      <a:pt x="45" y="3"/>
                    </a:cubicBezTo>
                    <a:cubicBezTo>
                      <a:pt x="45" y="3"/>
                      <a:pt x="45" y="3"/>
                      <a:pt x="45" y="3"/>
                    </a:cubicBezTo>
                    <a:cubicBezTo>
                      <a:pt x="45" y="3"/>
                      <a:pt x="45" y="3"/>
                      <a:pt x="45" y="3"/>
                    </a:cubicBezTo>
                    <a:cubicBezTo>
                      <a:pt x="45" y="3"/>
                      <a:pt x="45" y="3"/>
                      <a:pt x="45" y="3"/>
                    </a:cubicBezTo>
                    <a:cubicBezTo>
                      <a:pt x="45" y="3"/>
                      <a:pt x="45" y="3"/>
                      <a:pt x="45" y="3"/>
                    </a:cubicBezTo>
                    <a:cubicBezTo>
                      <a:pt x="45" y="3"/>
                      <a:pt x="45" y="2"/>
                      <a:pt x="46" y="2"/>
                    </a:cubicBezTo>
                    <a:cubicBezTo>
                      <a:pt x="46" y="2"/>
                      <a:pt x="46" y="2"/>
                      <a:pt x="46" y="2"/>
                    </a:cubicBezTo>
                    <a:cubicBezTo>
                      <a:pt x="46" y="2"/>
                      <a:pt x="46" y="2"/>
                      <a:pt x="46" y="2"/>
                    </a:cubicBezTo>
                    <a:cubicBezTo>
                      <a:pt x="46" y="2"/>
                      <a:pt x="46" y="2"/>
                      <a:pt x="46" y="2"/>
                    </a:cubicBezTo>
                    <a:cubicBezTo>
                      <a:pt x="46" y="2"/>
                      <a:pt x="46" y="3"/>
                      <a:pt x="46" y="3"/>
                    </a:cubicBezTo>
                    <a:cubicBezTo>
                      <a:pt x="46" y="3"/>
                      <a:pt x="46" y="3"/>
                      <a:pt x="46" y="3"/>
                    </a:cubicBezTo>
                    <a:cubicBezTo>
                      <a:pt x="46" y="3"/>
                      <a:pt x="46" y="3"/>
                      <a:pt x="46" y="3"/>
                    </a:cubicBezTo>
                    <a:cubicBezTo>
                      <a:pt x="46" y="3"/>
                      <a:pt x="46" y="3"/>
                      <a:pt x="46" y="3"/>
                    </a:cubicBezTo>
                    <a:cubicBezTo>
                      <a:pt x="46" y="4"/>
                      <a:pt x="46" y="4"/>
                      <a:pt x="46" y="4"/>
                    </a:cubicBezTo>
                    <a:cubicBezTo>
                      <a:pt x="46" y="4"/>
                      <a:pt x="46" y="3"/>
                      <a:pt x="47" y="3"/>
                    </a:cubicBezTo>
                    <a:cubicBezTo>
                      <a:pt x="47" y="4"/>
                      <a:pt x="47" y="5"/>
                      <a:pt x="47" y="6"/>
                    </a:cubicBezTo>
                    <a:cubicBezTo>
                      <a:pt x="47" y="6"/>
                      <a:pt x="48" y="6"/>
                      <a:pt x="48" y="6"/>
                    </a:cubicBezTo>
                    <a:cubicBezTo>
                      <a:pt x="47" y="6"/>
                      <a:pt x="47" y="6"/>
                      <a:pt x="47" y="7"/>
                    </a:cubicBezTo>
                    <a:cubicBezTo>
                      <a:pt x="47" y="7"/>
                      <a:pt x="47" y="7"/>
                      <a:pt x="48"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8"/>
                      <a:pt x="47" y="8"/>
                    </a:cubicBezTo>
                    <a:cubicBezTo>
                      <a:pt x="48" y="8"/>
                      <a:pt x="48" y="7"/>
                      <a:pt x="48" y="7"/>
                    </a:cubicBezTo>
                    <a:cubicBezTo>
                      <a:pt x="48" y="7"/>
                      <a:pt x="48" y="7"/>
                      <a:pt x="48" y="8"/>
                    </a:cubicBezTo>
                    <a:cubicBezTo>
                      <a:pt x="48" y="8"/>
                      <a:pt x="48" y="8"/>
                      <a:pt x="48" y="8"/>
                    </a:cubicBezTo>
                    <a:cubicBezTo>
                      <a:pt x="48" y="8"/>
                      <a:pt x="48" y="8"/>
                      <a:pt x="48" y="8"/>
                    </a:cubicBezTo>
                    <a:cubicBezTo>
                      <a:pt x="48" y="8"/>
                      <a:pt x="48" y="8"/>
                      <a:pt x="48" y="8"/>
                    </a:cubicBezTo>
                    <a:cubicBezTo>
                      <a:pt x="48" y="8"/>
                      <a:pt x="48" y="8"/>
                      <a:pt x="48" y="8"/>
                    </a:cubicBezTo>
                    <a:cubicBezTo>
                      <a:pt x="48" y="8"/>
                      <a:pt x="48" y="8"/>
                      <a:pt x="48" y="8"/>
                    </a:cubicBezTo>
                    <a:cubicBezTo>
                      <a:pt x="48" y="8"/>
                      <a:pt x="48" y="8"/>
                      <a:pt x="48" y="8"/>
                    </a:cubicBezTo>
                    <a:cubicBezTo>
                      <a:pt x="48" y="8"/>
                      <a:pt x="48" y="8"/>
                      <a:pt x="48" y="8"/>
                    </a:cubicBezTo>
                    <a:cubicBezTo>
                      <a:pt x="48" y="8"/>
                      <a:pt x="48" y="8"/>
                      <a:pt x="48" y="8"/>
                    </a:cubicBezTo>
                    <a:cubicBezTo>
                      <a:pt x="48" y="9"/>
                      <a:pt x="48" y="9"/>
                      <a:pt x="48" y="9"/>
                    </a:cubicBezTo>
                    <a:cubicBezTo>
                      <a:pt x="48" y="9"/>
                      <a:pt x="49" y="8"/>
                      <a:pt x="49" y="8"/>
                    </a:cubicBezTo>
                    <a:cubicBezTo>
                      <a:pt x="49" y="8"/>
                      <a:pt x="49" y="9"/>
                      <a:pt x="49" y="9"/>
                    </a:cubicBezTo>
                    <a:cubicBezTo>
                      <a:pt x="49" y="9"/>
                      <a:pt x="50" y="8"/>
                      <a:pt x="50" y="8"/>
                    </a:cubicBezTo>
                    <a:cubicBezTo>
                      <a:pt x="50" y="9"/>
                      <a:pt x="50" y="9"/>
                      <a:pt x="50" y="9"/>
                    </a:cubicBezTo>
                    <a:cubicBezTo>
                      <a:pt x="50" y="9"/>
                      <a:pt x="50" y="9"/>
                      <a:pt x="50" y="9"/>
                    </a:cubicBezTo>
                    <a:cubicBezTo>
                      <a:pt x="50" y="9"/>
                      <a:pt x="50" y="9"/>
                      <a:pt x="49" y="10"/>
                    </a:cubicBezTo>
                    <a:cubicBezTo>
                      <a:pt x="50" y="10"/>
                      <a:pt x="51" y="10"/>
                      <a:pt x="51" y="10"/>
                    </a:cubicBezTo>
                    <a:cubicBezTo>
                      <a:pt x="51" y="10"/>
                      <a:pt x="51" y="10"/>
                      <a:pt x="51" y="10"/>
                    </a:cubicBezTo>
                    <a:cubicBezTo>
                      <a:pt x="51" y="10"/>
                      <a:pt x="51" y="10"/>
                      <a:pt x="52" y="10"/>
                    </a:cubicBezTo>
                    <a:cubicBezTo>
                      <a:pt x="49" y="11"/>
                      <a:pt x="50" y="10"/>
                      <a:pt x="48" y="10"/>
                    </a:cubicBezTo>
                    <a:cubicBezTo>
                      <a:pt x="48" y="10"/>
                      <a:pt x="48" y="10"/>
                      <a:pt x="48" y="10"/>
                    </a:cubicBezTo>
                    <a:cubicBezTo>
                      <a:pt x="48" y="10"/>
                      <a:pt x="48" y="11"/>
                      <a:pt x="48" y="11"/>
                    </a:cubicBezTo>
                    <a:cubicBezTo>
                      <a:pt x="49" y="11"/>
                      <a:pt x="50" y="11"/>
                      <a:pt x="51" y="11"/>
                    </a:cubicBezTo>
                    <a:cubicBezTo>
                      <a:pt x="50" y="11"/>
                      <a:pt x="50" y="11"/>
                      <a:pt x="50" y="11"/>
                    </a:cubicBezTo>
                    <a:cubicBezTo>
                      <a:pt x="50" y="11"/>
                      <a:pt x="51" y="12"/>
                      <a:pt x="51" y="12"/>
                    </a:cubicBezTo>
                    <a:cubicBezTo>
                      <a:pt x="50" y="11"/>
                      <a:pt x="49" y="11"/>
                      <a:pt x="47" y="11"/>
                    </a:cubicBezTo>
                    <a:cubicBezTo>
                      <a:pt x="47" y="11"/>
                      <a:pt x="47" y="11"/>
                      <a:pt x="47" y="11"/>
                    </a:cubicBezTo>
                    <a:cubicBezTo>
                      <a:pt x="47" y="11"/>
                      <a:pt x="47" y="11"/>
                      <a:pt x="47" y="11"/>
                    </a:cubicBezTo>
                    <a:cubicBezTo>
                      <a:pt x="47" y="11"/>
                      <a:pt x="47" y="11"/>
                      <a:pt x="47" y="11"/>
                    </a:cubicBezTo>
                    <a:cubicBezTo>
                      <a:pt x="47" y="11"/>
                      <a:pt x="48" y="11"/>
                      <a:pt x="48" y="12"/>
                    </a:cubicBezTo>
                    <a:cubicBezTo>
                      <a:pt x="48" y="12"/>
                      <a:pt x="48" y="12"/>
                      <a:pt x="47" y="12"/>
                    </a:cubicBezTo>
                    <a:cubicBezTo>
                      <a:pt x="48" y="12"/>
                      <a:pt x="49" y="12"/>
                      <a:pt x="49" y="12"/>
                    </a:cubicBezTo>
                    <a:cubicBezTo>
                      <a:pt x="48" y="12"/>
                      <a:pt x="47" y="12"/>
                      <a:pt x="45" y="12"/>
                    </a:cubicBezTo>
                    <a:cubicBezTo>
                      <a:pt x="45" y="12"/>
                      <a:pt x="45" y="12"/>
                      <a:pt x="45" y="12"/>
                    </a:cubicBezTo>
                    <a:cubicBezTo>
                      <a:pt x="46" y="12"/>
                      <a:pt x="47" y="13"/>
                      <a:pt x="48" y="13"/>
                    </a:cubicBezTo>
                    <a:cubicBezTo>
                      <a:pt x="47" y="13"/>
                      <a:pt x="47" y="13"/>
                      <a:pt x="46" y="13"/>
                    </a:cubicBezTo>
                    <a:cubicBezTo>
                      <a:pt x="46" y="13"/>
                      <a:pt x="46" y="13"/>
                      <a:pt x="45" y="13"/>
                    </a:cubicBezTo>
                    <a:cubicBezTo>
                      <a:pt x="46" y="13"/>
                      <a:pt x="46" y="13"/>
                      <a:pt x="47" y="14"/>
                    </a:cubicBezTo>
                    <a:cubicBezTo>
                      <a:pt x="46" y="14"/>
                      <a:pt x="46" y="13"/>
                      <a:pt x="45" y="14"/>
                    </a:cubicBezTo>
                    <a:cubicBezTo>
                      <a:pt x="46" y="14"/>
                      <a:pt x="46" y="14"/>
                      <a:pt x="46" y="14"/>
                    </a:cubicBezTo>
                    <a:cubicBezTo>
                      <a:pt x="45" y="14"/>
                      <a:pt x="45" y="14"/>
                      <a:pt x="45" y="15"/>
                    </a:cubicBezTo>
                    <a:cubicBezTo>
                      <a:pt x="45" y="15"/>
                      <a:pt x="45" y="15"/>
                      <a:pt x="45" y="15"/>
                    </a:cubicBezTo>
                    <a:cubicBezTo>
                      <a:pt x="45" y="15"/>
                      <a:pt x="45" y="15"/>
                      <a:pt x="45" y="15"/>
                    </a:cubicBezTo>
                    <a:cubicBezTo>
                      <a:pt x="45" y="15"/>
                      <a:pt x="45" y="15"/>
                      <a:pt x="45" y="15"/>
                    </a:cubicBezTo>
                    <a:cubicBezTo>
                      <a:pt x="45" y="15"/>
                      <a:pt x="46" y="15"/>
                      <a:pt x="46" y="15"/>
                    </a:cubicBezTo>
                    <a:cubicBezTo>
                      <a:pt x="46" y="15"/>
                      <a:pt x="46" y="15"/>
                      <a:pt x="46" y="15"/>
                    </a:cubicBezTo>
                    <a:cubicBezTo>
                      <a:pt x="46" y="15"/>
                      <a:pt x="46" y="15"/>
                      <a:pt x="46" y="15"/>
                    </a:cubicBezTo>
                    <a:cubicBezTo>
                      <a:pt x="46" y="15"/>
                      <a:pt x="45" y="16"/>
                      <a:pt x="45" y="16"/>
                    </a:cubicBezTo>
                    <a:cubicBezTo>
                      <a:pt x="45" y="16"/>
                      <a:pt x="46" y="16"/>
                      <a:pt x="46" y="16"/>
                    </a:cubicBezTo>
                    <a:cubicBezTo>
                      <a:pt x="45" y="16"/>
                      <a:pt x="45" y="16"/>
                      <a:pt x="45" y="16"/>
                    </a:cubicBezTo>
                    <a:cubicBezTo>
                      <a:pt x="45" y="16"/>
                      <a:pt x="45" y="16"/>
                      <a:pt x="45" y="16"/>
                    </a:cubicBezTo>
                    <a:cubicBezTo>
                      <a:pt x="44" y="16"/>
                      <a:pt x="44" y="16"/>
                      <a:pt x="44" y="16"/>
                    </a:cubicBezTo>
                    <a:cubicBezTo>
                      <a:pt x="44" y="16"/>
                      <a:pt x="44" y="16"/>
                      <a:pt x="45" y="16"/>
                    </a:cubicBezTo>
                    <a:cubicBezTo>
                      <a:pt x="44" y="16"/>
                      <a:pt x="44" y="16"/>
                      <a:pt x="44" y="16"/>
                    </a:cubicBezTo>
                    <a:cubicBezTo>
                      <a:pt x="44" y="16"/>
                      <a:pt x="44" y="16"/>
                      <a:pt x="44" y="16"/>
                    </a:cubicBezTo>
                    <a:cubicBezTo>
                      <a:pt x="44" y="16"/>
                      <a:pt x="44" y="16"/>
                      <a:pt x="44" y="16"/>
                    </a:cubicBezTo>
                    <a:cubicBezTo>
                      <a:pt x="44" y="16"/>
                      <a:pt x="44" y="16"/>
                      <a:pt x="44" y="17"/>
                    </a:cubicBezTo>
                    <a:cubicBezTo>
                      <a:pt x="44" y="17"/>
                      <a:pt x="45" y="17"/>
                      <a:pt x="46" y="17"/>
                    </a:cubicBezTo>
                    <a:cubicBezTo>
                      <a:pt x="45" y="17"/>
                      <a:pt x="45" y="17"/>
                      <a:pt x="44" y="17"/>
                    </a:cubicBezTo>
                    <a:cubicBezTo>
                      <a:pt x="45" y="17"/>
                      <a:pt x="45" y="18"/>
                      <a:pt x="46" y="17"/>
                    </a:cubicBezTo>
                    <a:cubicBezTo>
                      <a:pt x="46" y="17"/>
                      <a:pt x="46" y="17"/>
                      <a:pt x="46" y="17"/>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7" y="18"/>
                      <a:pt x="47" y="18"/>
                      <a:pt x="47" y="17"/>
                    </a:cubicBezTo>
                    <a:cubicBezTo>
                      <a:pt x="47" y="17"/>
                      <a:pt x="47" y="17"/>
                      <a:pt x="47" y="18"/>
                    </a:cubicBezTo>
                    <a:cubicBezTo>
                      <a:pt x="47" y="18"/>
                      <a:pt x="47" y="17"/>
                      <a:pt x="47" y="17"/>
                    </a:cubicBezTo>
                    <a:cubicBezTo>
                      <a:pt x="47" y="17"/>
                      <a:pt x="47" y="17"/>
                      <a:pt x="47" y="17"/>
                    </a:cubicBezTo>
                    <a:cubicBezTo>
                      <a:pt x="47" y="17"/>
                      <a:pt x="47" y="17"/>
                      <a:pt x="47" y="17"/>
                    </a:cubicBezTo>
                    <a:cubicBezTo>
                      <a:pt x="47" y="17"/>
                      <a:pt x="47" y="17"/>
                      <a:pt x="47" y="18"/>
                    </a:cubicBezTo>
                    <a:cubicBezTo>
                      <a:pt x="48" y="17"/>
                      <a:pt x="48" y="17"/>
                      <a:pt x="48" y="17"/>
                    </a:cubicBezTo>
                    <a:cubicBezTo>
                      <a:pt x="48" y="17"/>
                      <a:pt x="48" y="17"/>
                      <a:pt x="48" y="16"/>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50" y="16"/>
                    </a:cubicBezTo>
                    <a:cubicBezTo>
                      <a:pt x="49" y="17"/>
                      <a:pt x="49" y="18"/>
                      <a:pt x="49" y="18"/>
                    </a:cubicBezTo>
                    <a:cubicBezTo>
                      <a:pt x="49" y="18"/>
                      <a:pt x="49" y="18"/>
                      <a:pt x="49" y="18"/>
                    </a:cubicBezTo>
                    <a:cubicBezTo>
                      <a:pt x="49" y="19"/>
                      <a:pt x="49" y="19"/>
                      <a:pt x="49" y="19"/>
                    </a:cubicBezTo>
                    <a:cubicBezTo>
                      <a:pt x="49" y="19"/>
                      <a:pt x="49" y="19"/>
                      <a:pt x="49" y="19"/>
                    </a:cubicBezTo>
                    <a:cubicBezTo>
                      <a:pt x="49" y="19"/>
                      <a:pt x="49" y="19"/>
                      <a:pt x="50" y="19"/>
                    </a:cubicBezTo>
                    <a:cubicBezTo>
                      <a:pt x="50" y="18"/>
                      <a:pt x="50" y="18"/>
                      <a:pt x="50" y="18"/>
                    </a:cubicBezTo>
                    <a:cubicBezTo>
                      <a:pt x="50" y="18"/>
                      <a:pt x="50" y="18"/>
                      <a:pt x="50" y="19"/>
                    </a:cubicBezTo>
                    <a:cubicBezTo>
                      <a:pt x="50" y="18"/>
                      <a:pt x="50" y="17"/>
                      <a:pt x="50" y="17"/>
                    </a:cubicBezTo>
                    <a:cubicBezTo>
                      <a:pt x="50" y="17"/>
                      <a:pt x="50" y="17"/>
                      <a:pt x="50" y="17"/>
                    </a:cubicBezTo>
                    <a:cubicBezTo>
                      <a:pt x="51" y="17"/>
                      <a:pt x="51" y="16"/>
                      <a:pt x="51" y="16"/>
                    </a:cubicBezTo>
                    <a:cubicBezTo>
                      <a:pt x="51" y="16"/>
                      <a:pt x="51" y="17"/>
                      <a:pt x="51" y="17"/>
                    </a:cubicBezTo>
                    <a:cubicBezTo>
                      <a:pt x="51" y="17"/>
                      <a:pt x="51" y="17"/>
                      <a:pt x="51" y="16"/>
                    </a:cubicBezTo>
                    <a:cubicBezTo>
                      <a:pt x="51" y="16"/>
                      <a:pt x="51" y="16"/>
                      <a:pt x="51" y="16"/>
                    </a:cubicBezTo>
                    <a:cubicBezTo>
                      <a:pt x="51" y="16"/>
                      <a:pt x="52" y="16"/>
                      <a:pt x="52" y="16"/>
                    </a:cubicBezTo>
                    <a:cubicBezTo>
                      <a:pt x="52" y="16"/>
                      <a:pt x="52" y="16"/>
                      <a:pt x="52" y="16"/>
                    </a:cubicBezTo>
                    <a:cubicBezTo>
                      <a:pt x="52" y="16"/>
                      <a:pt x="52" y="16"/>
                      <a:pt x="52" y="15"/>
                    </a:cubicBezTo>
                    <a:cubicBezTo>
                      <a:pt x="52" y="16"/>
                      <a:pt x="52" y="16"/>
                      <a:pt x="52" y="17"/>
                    </a:cubicBezTo>
                    <a:cubicBezTo>
                      <a:pt x="52" y="16"/>
                      <a:pt x="53" y="15"/>
                      <a:pt x="53" y="15"/>
                    </a:cubicBezTo>
                    <a:cubicBezTo>
                      <a:pt x="53" y="15"/>
                      <a:pt x="53" y="16"/>
                      <a:pt x="53" y="16"/>
                    </a:cubicBezTo>
                    <a:cubicBezTo>
                      <a:pt x="53" y="16"/>
                      <a:pt x="53" y="16"/>
                      <a:pt x="53" y="16"/>
                    </a:cubicBezTo>
                    <a:cubicBezTo>
                      <a:pt x="53" y="16"/>
                      <a:pt x="53" y="16"/>
                      <a:pt x="53" y="15"/>
                    </a:cubicBezTo>
                    <a:cubicBezTo>
                      <a:pt x="53" y="16"/>
                      <a:pt x="53" y="16"/>
                      <a:pt x="53" y="16"/>
                    </a:cubicBezTo>
                    <a:cubicBezTo>
                      <a:pt x="54" y="15"/>
                      <a:pt x="54" y="15"/>
                      <a:pt x="55" y="14"/>
                    </a:cubicBezTo>
                    <a:cubicBezTo>
                      <a:pt x="54" y="15"/>
                      <a:pt x="54" y="16"/>
                      <a:pt x="54" y="16"/>
                    </a:cubicBezTo>
                    <a:cubicBezTo>
                      <a:pt x="55" y="16"/>
                      <a:pt x="55" y="15"/>
                      <a:pt x="56" y="15"/>
                    </a:cubicBezTo>
                    <a:cubicBezTo>
                      <a:pt x="56" y="15"/>
                      <a:pt x="56" y="15"/>
                      <a:pt x="55" y="16"/>
                    </a:cubicBezTo>
                    <a:cubicBezTo>
                      <a:pt x="56" y="16"/>
                      <a:pt x="56" y="15"/>
                      <a:pt x="57" y="15"/>
                    </a:cubicBezTo>
                    <a:cubicBezTo>
                      <a:pt x="56" y="16"/>
                      <a:pt x="56" y="16"/>
                      <a:pt x="56" y="16"/>
                    </a:cubicBezTo>
                    <a:cubicBezTo>
                      <a:pt x="56" y="16"/>
                      <a:pt x="56" y="16"/>
                      <a:pt x="56" y="16"/>
                    </a:cubicBezTo>
                    <a:cubicBezTo>
                      <a:pt x="56" y="16"/>
                      <a:pt x="56" y="16"/>
                      <a:pt x="56" y="16"/>
                    </a:cubicBezTo>
                    <a:cubicBezTo>
                      <a:pt x="57" y="16"/>
                      <a:pt x="57" y="16"/>
                      <a:pt x="58" y="16"/>
                    </a:cubicBezTo>
                    <a:cubicBezTo>
                      <a:pt x="58" y="16"/>
                      <a:pt x="57" y="17"/>
                      <a:pt x="57" y="17"/>
                    </a:cubicBezTo>
                    <a:cubicBezTo>
                      <a:pt x="57" y="17"/>
                      <a:pt x="57" y="17"/>
                      <a:pt x="58" y="17"/>
                    </a:cubicBezTo>
                    <a:cubicBezTo>
                      <a:pt x="58" y="17"/>
                      <a:pt x="58" y="17"/>
                      <a:pt x="57" y="17"/>
                    </a:cubicBezTo>
                    <a:cubicBezTo>
                      <a:pt x="58" y="17"/>
                      <a:pt x="58" y="17"/>
                      <a:pt x="58" y="17"/>
                    </a:cubicBezTo>
                    <a:cubicBezTo>
                      <a:pt x="57" y="17"/>
                      <a:pt x="56" y="17"/>
                      <a:pt x="56" y="18"/>
                    </a:cubicBezTo>
                    <a:cubicBezTo>
                      <a:pt x="56" y="18"/>
                      <a:pt x="57" y="18"/>
                      <a:pt x="57" y="18"/>
                    </a:cubicBezTo>
                    <a:cubicBezTo>
                      <a:pt x="57" y="18"/>
                      <a:pt x="56" y="18"/>
                      <a:pt x="56" y="18"/>
                    </a:cubicBezTo>
                    <a:cubicBezTo>
                      <a:pt x="56" y="18"/>
                      <a:pt x="57" y="18"/>
                      <a:pt x="57" y="18"/>
                    </a:cubicBezTo>
                    <a:cubicBezTo>
                      <a:pt x="57" y="18"/>
                      <a:pt x="56" y="18"/>
                      <a:pt x="55" y="18"/>
                    </a:cubicBezTo>
                    <a:cubicBezTo>
                      <a:pt x="56" y="18"/>
                      <a:pt x="57" y="18"/>
                      <a:pt x="57" y="19"/>
                    </a:cubicBezTo>
                    <a:cubicBezTo>
                      <a:pt x="57" y="19"/>
                      <a:pt x="56" y="18"/>
                      <a:pt x="56" y="19"/>
                    </a:cubicBezTo>
                    <a:cubicBezTo>
                      <a:pt x="56" y="19"/>
                      <a:pt x="57" y="19"/>
                      <a:pt x="57" y="19"/>
                    </a:cubicBezTo>
                    <a:cubicBezTo>
                      <a:pt x="56" y="19"/>
                      <a:pt x="56" y="19"/>
                      <a:pt x="55" y="19"/>
                    </a:cubicBezTo>
                    <a:cubicBezTo>
                      <a:pt x="55" y="19"/>
                      <a:pt x="55" y="19"/>
                      <a:pt x="56" y="19"/>
                    </a:cubicBezTo>
                    <a:cubicBezTo>
                      <a:pt x="55" y="19"/>
                      <a:pt x="53" y="18"/>
                      <a:pt x="52" y="19"/>
                    </a:cubicBezTo>
                    <a:cubicBezTo>
                      <a:pt x="53" y="19"/>
                      <a:pt x="54" y="20"/>
                      <a:pt x="55" y="20"/>
                    </a:cubicBezTo>
                    <a:cubicBezTo>
                      <a:pt x="54" y="20"/>
                      <a:pt x="52" y="19"/>
                      <a:pt x="51" y="19"/>
                    </a:cubicBezTo>
                    <a:cubicBezTo>
                      <a:pt x="51" y="19"/>
                      <a:pt x="51" y="19"/>
                      <a:pt x="52" y="19"/>
                    </a:cubicBezTo>
                    <a:cubicBezTo>
                      <a:pt x="52" y="19"/>
                      <a:pt x="51" y="19"/>
                      <a:pt x="51" y="19"/>
                    </a:cubicBezTo>
                    <a:cubicBezTo>
                      <a:pt x="52" y="19"/>
                      <a:pt x="53" y="20"/>
                      <a:pt x="54" y="20"/>
                    </a:cubicBezTo>
                    <a:cubicBezTo>
                      <a:pt x="54" y="20"/>
                      <a:pt x="54" y="20"/>
                      <a:pt x="54" y="20"/>
                    </a:cubicBezTo>
                    <a:cubicBezTo>
                      <a:pt x="54" y="20"/>
                      <a:pt x="55" y="20"/>
                      <a:pt x="55" y="21"/>
                    </a:cubicBezTo>
                    <a:cubicBezTo>
                      <a:pt x="55" y="20"/>
                      <a:pt x="54" y="20"/>
                      <a:pt x="54" y="20"/>
                    </a:cubicBezTo>
                    <a:cubicBezTo>
                      <a:pt x="54" y="20"/>
                      <a:pt x="54" y="20"/>
                      <a:pt x="54" y="20"/>
                    </a:cubicBezTo>
                    <a:cubicBezTo>
                      <a:pt x="53" y="20"/>
                      <a:pt x="53" y="20"/>
                      <a:pt x="53" y="20"/>
                    </a:cubicBezTo>
                    <a:cubicBezTo>
                      <a:pt x="53" y="21"/>
                      <a:pt x="54" y="21"/>
                      <a:pt x="54" y="21"/>
                    </a:cubicBezTo>
                    <a:cubicBezTo>
                      <a:pt x="54" y="21"/>
                      <a:pt x="53" y="21"/>
                      <a:pt x="53" y="21"/>
                    </a:cubicBezTo>
                    <a:cubicBezTo>
                      <a:pt x="53" y="21"/>
                      <a:pt x="53" y="21"/>
                      <a:pt x="53" y="21"/>
                    </a:cubicBezTo>
                    <a:cubicBezTo>
                      <a:pt x="53" y="21"/>
                      <a:pt x="53" y="21"/>
                      <a:pt x="53" y="21"/>
                    </a:cubicBezTo>
                    <a:cubicBezTo>
                      <a:pt x="53" y="21"/>
                      <a:pt x="52" y="21"/>
                      <a:pt x="52" y="21"/>
                    </a:cubicBezTo>
                    <a:cubicBezTo>
                      <a:pt x="52" y="21"/>
                      <a:pt x="52" y="21"/>
                      <a:pt x="53" y="22"/>
                    </a:cubicBezTo>
                    <a:cubicBezTo>
                      <a:pt x="52" y="21"/>
                      <a:pt x="51" y="21"/>
                      <a:pt x="51" y="21"/>
                    </a:cubicBezTo>
                    <a:cubicBezTo>
                      <a:pt x="51" y="21"/>
                      <a:pt x="52" y="22"/>
                      <a:pt x="52" y="22"/>
                    </a:cubicBezTo>
                    <a:cubicBezTo>
                      <a:pt x="51" y="22"/>
                      <a:pt x="50" y="21"/>
                      <a:pt x="49" y="21"/>
                    </a:cubicBezTo>
                    <a:cubicBezTo>
                      <a:pt x="49" y="21"/>
                      <a:pt x="49" y="21"/>
                      <a:pt x="49" y="21"/>
                    </a:cubicBezTo>
                    <a:cubicBezTo>
                      <a:pt x="49" y="21"/>
                      <a:pt x="51" y="22"/>
                      <a:pt x="51" y="22"/>
                    </a:cubicBezTo>
                    <a:cubicBezTo>
                      <a:pt x="51" y="22"/>
                      <a:pt x="51" y="22"/>
                      <a:pt x="50" y="22"/>
                    </a:cubicBezTo>
                    <a:cubicBezTo>
                      <a:pt x="51" y="22"/>
                      <a:pt x="51" y="22"/>
                      <a:pt x="51" y="22"/>
                    </a:cubicBezTo>
                    <a:cubicBezTo>
                      <a:pt x="51" y="22"/>
                      <a:pt x="50" y="22"/>
                      <a:pt x="50" y="22"/>
                    </a:cubicBezTo>
                    <a:cubicBezTo>
                      <a:pt x="50" y="22"/>
                      <a:pt x="51" y="22"/>
                      <a:pt x="51" y="22"/>
                    </a:cubicBezTo>
                    <a:cubicBezTo>
                      <a:pt x="50" y="22"/>
                      <a:pt x="50" y="22"/>
                      <a:pt x="49" y="22"/>
                    </a:cubicBezTo>
                    <a:cubicBezTo>
                      <a:pt x="49" y="22"/>
                      <a:pt x="50" y="22"/>
                      <a:pt x="50" y="22"/>
                    </a:cubicBezTo>
                    <a:cubicBezTo>
                      <a:pt x="49" y="22"/>
                      <a:pt x="48" y="21"/>
                      <a:pt x="47" y="21"/>
                    </a:cubicBezTo>
                    <a:cubicBezTo>
                      <a:pt x="47" y="22"/>
                      <a:pt x="47" y="22"/>
                      <a:pt x="47" y="22"/>
                    </a:cubicBezTo>
                    <a:cubicBezTo>
                      <a:pt x="47" y="22"/>
                      <a:pt x="47" y="22"/>
                      <a:pt x="46" y="22"/>
                    </a:cubicBezTo>
                    <a:cubicBezTo>
                      <a:pt x="47" y="22"/>
                      <a:pt x="47" y="22"/>
                      <a:pt x="48" y="22"/>
                    </a:cubicBezTo>
                    <a:cubicBezTo>
                      <a:pt x="48" y="22"/>
                      <a:pt x="48" y="22"/>
                      <a:pt x="48" y="22"/>
                    </a:cubicBezTo>
                    <a:cubicBezTo>
                      <a:pt x="48" y="23"/>
                      <a:pt x="49" y="23"/>
                      <a:pt x="49" y="23"/>
                    </a:cubicBezTo>
                    <a:cubicBezTo>
                      <a:pt x="48" y="23"/>
                      <a:pt x="47" y="22"/>
                      <a:pt x="46" y="22"/>
                    </a:cubicBezTo>
                    <a:cubicBezTo>
                      <a:pt x="47" y="23"/>
                      <a:pt x="48" y="23"/>
                      <a:pt x="48" y="23"/>
                    </a:cubicBezTo>
                    <a:cubicBezTo>
                      <a:pt x="47" y="23"/>
                      <a:pt x="47" y="23"/>
                      <a:pt x="46" y="23"/>
                    </a:cubicBezTo>
                    <a:cubicBezTo>
                      <a:pt x="46" y="23"/>
                      <a:pt x="46" y="23"/>
                      <a:pt x="46" y="23"/>
                    </a:cubicBezTo>
                    <a:cubicBezTo>
                      <a:pt x="46" y="23"/>
                      <a:pt x="46" y="23"/>
                      <a:pt x="46" y="23"/>
                    </a:cubicBezTo>
                    <a:cubicBezTo>
                      <a:pt x="46" y="23"/>
                      <a:pt x="47" y="24"/>
                      <a:pt x="47" y="24"/>
                    </a:cubicBezTo>
                    <a:cubicBezTo>
                      <a:pt x="47" y="24"/>
                      <a:pt x="47" y="24"/>
                      <a:pt x="46" y="24"/>
                    </a:cubicBezTo>
                    <a:cubicBezTo>
                      <a:pt x="47" y="24"/>
                      <a:pt x="47" y="24"/>
                      <a:pt x="47" y="24"/>
                    </a:cubicBezTo>
                    <a:cubicBezTo>
                      <a:pt x="43" y="23"/>
                      <a:pt x="43" y="22"/>
                      <a:pt x="42" y="23"/>
                    </a:cubicBezTo>
                    <a:cubicBezTo>
                      <a:pt x="43" y="23"/>
                      <a:pt x="44" y="24"/>
                      <a:pt x="45" y="25"/>
                    </a:cubicBezTo>
                    <a:cubicBezTo>
                      <a:pt x="45" y="24"/>
                      <a:pt x="44" y="24"/>
                      <a:pt x="43" y="24"/>
                    </a:cubicBezTo>
                    <a:cubicBezTo>
                      <a:pt x="44" y="24"/>
                      <a:pt x="44" y="25"/>
                      <a:pt x="44" y="25"/>
                    </a:cubicBezTo>
                    <a:cubicBezTo>
                      <a:pt x="44" y="25"/>
                      <a:pt x="43" y="24"/>
                      <a:pt x="42" y="24"/>
                    </a:cubicBezTo>
                    <a:cubicBezTo>
                      <a:pt x="43" y="25"/>
                      <a:pt x="43" y="25"/>
                      <a:pt x="44" y="25"/>
                    </a:cubicBezTo>
                    <a:cubicBezTo>
                      <a:pt x="43" y="25"/>
                      <a:pt x="42" y="24"/>
                      <a:pt x="41" y="24"/>
                    </a:cubicBezTo>
                    <a:cubicBezTo>
                      <a:pt x="41" y="24"/>
                      <a:pt x="41" y="24"/>
                      <a:pt x="41" y="24"/>
                    </a:cubicBezTo>
                    <a:cubicBezTo>
                      <a:pt x="41" y="24"/>
                      <a:pt x="40" y="24"/>
                      <a:pt x="40" y="24"/>
                    </a:cubicBezTo>
                    <a:cubicBezTo>
                      <a:pt x="40" y="24"/>
                      <a:pt x="40" y="24"/>
                      <a:pt x="40" y="24"/>
                    </a:cubicBezTo>
                    <a:cubicBezTo>
                      <a:pt x="41" y="24"/>
                      <a:pt x="42" y="25"/>
                      <a:pt x="42" y="25"/>
                    </a:cubicBezTo>
                    <a:cubicBezTo>
                      <a:pt x="42" y="25"/>
                      <a:pt x="41" y="25"/>
                      <a:pt x="40" y="25"/>
                    </a:cubicBezTo>
                    <a:cubicBezTo>
                      <a:pt x="40" y="25"/>
                      <a:pt x="40" y="26"/>
                      <a:pt x="40" y="26"/>
                    </a:cubicBezTo>
                    <a:cubicBezTo>
                      <a:pt x="40" y="26"/>
                      <a:pt x="40" y="26"/>
                      <a:pt x="40" y="26"/>
                    </a:cubicBezTo>
                    <a:cubicBezTo>
                      <a:pt x="40" y="26"/>
                      <a:pt x="40" y="26"/>
                      <a:pt x="40" y="26"/>
                    </a:cubicBezTo>
                    <a:cubicBezTo>
                      <a:pt x="40" y="26"/>
                      <a:pt x="40" y="26"/>
                      <a:pt x="40" y="26"/>
                    </a:cubicBezTo>
                    <a:cubicBezTo>
                      <a:pt x="40" y="26"/>
                      <a:pt x="40" y="26"/>
                      <a:pt x="40" y="27"/>
                    </a:cubicBezTo>
                    <a:cubicBezTo>
                      <a:pt x="40" y="27"/>
                      <a:pt x="40" y="27"/>
                      <a:pt x="40" y="27"/>
                    </a:cubicBezTo>
                    <a:cubicBezTo>
                      <a:pt x="40" y="26"/>
                      <a:pt x="40" y="26"/>
                      <a:pt x="40" y="26"/>
                    </a:cubicBezTo>
                    <a:cubicBezTo>
                      <a:pt x="40" y="26"/>
                      <a:pt x="40" y="26"/>
                      <a:pt x="40" y="26"/>
                    </a:cubicBezTo>
                    <a:cubicBezTo>
                      <a:pt x="40" y="26"/>
                      <a:pt x="40" y="26"/>
                      <a:pt x="41" y="27"/>
                    </a:cubicBezTo>
                    <a:cubicBezTo>
                      <a:pt x="41" y="26"/>
                      <a:pt x="41" y="26"/>
                      <a:pt x="41" y="26"/>
                    </a:cubicBezTo>
                    <a:cubicBezTo>
                      <a:pt x="41" y="26"/>
                      <a:pt x="41" y="26"/>
                      <a:pt x="41" y="25"/>
                    </a:cubicBezTo>
                    <a:cubicBezTo>
                      <a:pt x="41" y="26"/>
                      <a:pt x="41" y="26"/>
                      <a:pt x="41" y="26"/>
                    </a:cubicBezTo>
                    <a:cubicBezTo>
                      <a:pt x="41" y="26"/>
                      <a:pt x="41" y="26"/>
                      <a:pt x="41" y="26"/>
                    </a:cubicBezTo>
                    <a:cubicBezTo>
                      <a:pt x="41" y="27"/>
                      <a:pt x="41" y="27"/>
                      <a:pt x="41" y="27"/>
                    </a:cubicBezTo>
                    <a:cubicBezTo>
                      <a:pt x="41" y="27"/>
                      <a:pt x="41" y="27"/>
                      <a:pt x="41" y="27"/>
                    </a:cubicBezTo>
                    <a:cubicBezTo>
                      <a:pt x="41" y="27"/>
                      <a:pt x="41" y="27"/>
                      <a:pt x="41" y="27"/>
                    </a:cubicBezTo>
                    <a:cubicBezTo>
                      <a:pt x="41" y="27"/>
                      <a:pt x="41" y="26"/>
                      <a:pt x="42" y="26"/>
                    </a:cubicBezTo>
                    <a:cubicBezTo>
                      <a:pt x="42" y="26"/>
                      <a:pt x="42" y="27"/>
                      <a:pt x="42" y="27"/>
                    </a:cubicBezTo>
                    <a:cubicBezTo>
                      <a:pt x="43" y="27"/>
                      <a:pt x="43" y="27"/>
                      <a:pt x="43" y="27"/>
                    </a:cubicBezTo>
                    <a:cubicBezTo>
                      <a:pt x="43" y="27"/>
                      <a:pt x="43" y="27"/>
                      <a:pt x="43" y="27"/>
                    </a:cubicBezTo>
                    <a:cubicBezTo>
                      <a:pt x="43" y="27"/>
                      <a:pt x="43" y="27"/>
                      <a:pt x="43" y="27"/>
                    </a:cubicBezTo>
                    <a:cubicBezTo>
                      <a:pt x="43" y="27"/>
                      <a:pt x="43" y="26"/>
                      <a:pt x="43" y="26"/>
                    </a:cubicBezTo>
                    <a:cubicBezTo>
                      <a:pt x="43" y="26"/>
                      <a:pt x="43" y="26"/>
                      <a:pt x="44" y="26"/>
                    </a:cubicBezTo>
                    <a:cubicBezTo>
                      <a:pt x="44" y="26"/>
                      <a:pt x="44" y="26"/>
                      <a:pt x="44" y="26"/>
                    </a:cubicBezTo>
                    <a:cubicBezTo>
                      <a:pt x="44" y="26"/>
                      <a:pt x="44" y="26"/>
                      <a:pt x="44" y="26"/>
                    </a:cubicBezTo>
                    <a:cubicBezTo>
                      <a:pt x="44" y="26"/>
                      <a:pt x="44" y="26"/>
                      <a:pt x="44" y="27"/>
                    </a:cubicBezTo>
                    <a:cubicBezTo>
                      <a:pt x="44" y="27"/>
                      <a:pt x="44" y="27"/>
                      <a:pt x="44" y="27"/>
                    </a:cubicBezTo>
                    <a:cubicBezTo>
                      <a:pt x="44" y="27"/>
                      <a:pt x="44" y="27"/>
                      <a:pt x="44" y="27"/>
                    </a:cubicBezTo>
                    <a:cubicBezTo>
                      <a:pt x="44" y="27"/>
                      <a:pt x="45" y="27"/>
                      <a:pt x="45" y="27"/>
                    </a:cubicBezTo>
                    <a:cubicBezTo>
                      <a:pt x="45" y="27"/>
                      <a:pt x="45" y="26"/>
                      <a:pt x="45" y="26"/>
                    </a:cubicBezTo>
                    <a:cubicBezTo>
                      <a:pt x="45" y="26"/>
                      <a:pt x="45" y="27"/>
                      <a:pt x="45" y="27"/>
                    </a:cubicBezTo>
                    <a:cubicBezTo>
                      <a:pt x="46" y="27"/>
                      <a:pt x="46" y="27"/>
                      <a:pt x="46" y="27"/>
                    </a:cubicBezTo>
                    <a:cubicBezTo>
                      <a:pt x="46" y="27"/>
                      <a:pt x="46" y="27"/>
                      <a:pt x="46" y="27"/>
                    </a:cubicBezTo>
                    <a:cubicBezTo>
                      <a:pt x="46" y="27"/>
                      <a:pt x="46" y="27"/>
                      <a:pt x="46" y="27"/>
                    </a:cubicBezTo>
                    <a:cubicBezTo>
                      <a:pt x="46" y="27"/>
                      <a:pt x="47" y="27"/>
                      <a:pt x="47" y="27"/>
                    </a:cubicBezTo>
                    <a:cubicBezTo>
                      <a:pt x="47" y="26"/>
                      <a:pt x="47" y="26"/>
                      <a:pt x="48" y="25"/>
                    </a:cubicBezTo>
                    <a:cubicBezTo>
                      <a:pt x="48" y="25"/>
                      <a:pt x="48" y="25"/>
                      <a:pt x="48" y="25"/>
                    </a:cubicBezTo>
                    <a:cubicBezTo>
                      <a:pt x="48" y="26"/>
                      <a:pt x="47" y="26"/>
                      <a:pt x="47" y="26"/>
                    </a:cubicBezTo>
                    <a:cubicBezTo>
                      <a:pt x="48" y="26"/>
                      <a:pt x="48" y="25"/>
                      <a:pt x="48" y="24"/>
                    </a:cubicBezTo>
                    <a:cubicBezTo>
                      <a:pt x="48" y="25"/>
                      <a:pt x="49" y="25"/>
                      <a:pt x="49" y="26"/>
                    </a:cubicBezTo>
                    <a:cubicBezTo>
                      <a:pt x="49" y="26"/>
                      <a:pt x="49" y="26"/>
                      <a:pt x="49" y="26"/>
                    </a:cubicBezTo>
                    <a:cubicBezTo>
                      <a:pt x="49" y="26"/>
                      <a:pt x="50" y="26"/>
                      <a:pt x="50" y="26"/>
                    </a:cubicBezTo>
                    <a:cubicBezTo>
                      <a:pt x="50" y="26"/>
                      <a:pt x="50" y="26"/>
                      <a:pt x="50" y="26"/>
                    </a:cubicBezTo>
                    <a:cubicBezTo>
                      <a:pt x="50" y="26"/>
                      <a:pt x="50" y="26"/>
                      <a:pt x="50" y="26"/>
                    </a:cubicBezTo>
                    <a:cubicBezTo>
                      <a:pt x="50" y="26"/>
                      <a:pt x="50" y="26"/>
                      <a:pt x="49" y="27"/>
                    </a:cubicBezTo>
                    <a:cubicBezTo>
                      <a:pt x="50" y="27"/>
                      <a:pt x="51" y="27"/>
                      <a:pt x="52" y="26"/>
                    </a:cubicBezTo>
                    <a:cubicBezTo>
                      <a:pt x="52" y="26"/>
                      <a:pt x="52" y="26"/>
                      <a:pt x="52" y="26"/>
                    </a:cubicBezTo>
                    <a:cubicBezTo>
                      <a:pt x="52" y="26"/>
                      <a:pt x="52" y="26"/>
                      <a:pt x="52" y="26"/>
                    </a:cubicBezTo>
                    <a:cubicBezTo>
                      <a:pt x="52" y="26"/>
                      <a:pt x="52" y="26"/>
                      <a:pt x="52" y="26"/>
                    </a:cubicBezTo>
                    <a:cubicBezTo>
                      <a:pt x="52" y="25"/>
                      <a:pt x="52" y="24"/>
                      <a:pt x="52" y="23"/>
                    </a:cubicBezTo>
                    <a:cubicBezTo>
                      <a:pt x="52" y="23"/>
                      <a:pt x="52" y="23"/>
                      <a:pt x="52" y="23"/>
                    </a:cubicBezTo>
                    <a:cubicBezTo>
                      <a:pt x="52" y="24"/>
                      <a:pt x="52" y="25"/>
                      <a:pt x="52" y="26"/>
                    </a:cubicBezTo>
                    <a:cubicBezTo>
                      <a:pt x="53" y="26"/>
                      <a:pt x="53" y="26"/>
                      <a:pt x="53" y="26"/>
                    </a:cubicBezTo>
                    <a:cubicBezTo>
                      <a:pt x="53" y="26"/>
                      <a:pt x="53" y="26"/>
                      <a:pt x="53" y="26"/>
                    </a:cubicBezTo>
                    <a:cubicBezTo>
                      <a:pt x="53" y="26"/>
                      <a:pt x="53" y="26"/>
                      <a:pt x="53" y="25"/>
                    </a:cubicBezTo>
                    <a:cubicBezTo>
                      <a:pt x="53" y="26"/>
                      <a:pt x="53" y="26"/>
                      <a:pt x="53" y="26"/>
                    </a:cubicBezTo>
                    <a:cubicBezTo>
                      <a:pt x="54" y="25"/>
                      <a:pt x="54" y="25"/>
                      <a:pt x="54" y="24"/>
                    </a:cubicBezTo>
                    <a:cubicBezTo>
                      <a:pt x="54" y="25"/>
                      <a:pt x="54" y="25"/>
                      <a:pt x="54" y="25"/>
                    </a:cubicBezTo>
                    <a:cubicBezTo>
                      <a:pt x="55" y="24"/>
                      <a:pt x="55" y="24"/>
                      <a:pt x="56" y="23"/>
                    </a:cubicBezTo>
                    <a:cubicBezTo>
                      <a:pt x="55" y="24"/>
                      <a:pt x="54" y="25"/>
                      <a:pt x="53" y="26"/>
                    </a:cubicBezTo>
                    <a:cubicBezTo>
                      <a:pt x="53" y="26"/>
                      <a:pt x="53" y="26"/>
                      <a:pt x="53" y="25"/>
                    </a:cubicBezTo>
                    <a:cubicBezTo>
                      <a:pt x="53" y="26"/>
                      <a:pt x="53" y="26"/>
                      <a:pt x="53" y="26"/>
                    </a:cubicBezTo>
                    <a:cubicBezTo>
                      <a:pt x="54" y="26"/>
                      <a:pt x="55" y="26"/>
                      <a:pt x="56" y="27"/>
                    </a:cubicBezTo>
                    <a:cubicBezTo>
                      <a:pt x="56" y="27"/>
                      <a:pt x="55" y="27"/>
                      <a:pt x="55" y="26"/>
                    </a:cubicBezTo>
                    <a:cubicBezTo>
                      <a:pt x="55" y="26"/>
                      <a:pt x="55" y="26"/>
                      <a:pt x="55" y="26"/>
                    </a:cubicBezTo>
                    <a:cubicBezTo>
                      <a:pt x="54" y="27"/>
                      <a:pt x="54" y="27"/>
                      <a:pt x="54" y="27"/>
                    </a:cubicBezTo>
                    <a:cubicBezTo>
                      <a:pt x="53" y="27"/>
                      <a:pt x="53" y="27"/>
                      <a:pt x="52" y="27"/>
                    </a:cubicBezTo>
                    <a:cubicBezTo>
                      <a:pt x="53" y="27"/>
                      <a:pt x="53" y="27"/>
                      <a:pt x="53" y="27"/>
                    </a:cubicBezTo>
                    <a:cubicBezTo>
                      <a:pt x="53" y="27"/>
                      <a:pt x="53" y="27"/>
                      <a:pt x="53" y="27"/>
                    </a:cubicBezTo>
                    <a:cubicBezTo>
                      <a:pt x="53" y="27"/>
                      <a:pt x="53" y="27"/>
                      <a:pt x="53" y="27"/>
                    </a:cubicBezTo>
                    <a:cubicBezTo>
                      <a:pt x="53" y="27"/>
                      <a:pt x="53" y="27"/>
                      <a:pt x="53" y="27"/>
                    </a:cubicBezTo>
                    <a:cubicBezTo>
                      <a:pt x="53" y="27"/>
                      <a:pt x="53" y="27"/>
                      <a:pt x="53" y="28"/>
                    </a:cubicBezTo>
                    <a:cubicBezTo>
                      <a:pt x="53" y="28"/>
                      <a:pt x="53" y="28"/>
                      <a:pt x="53" y="28"/>
                    </a:cubicBezTo>
                    <a:cubicBezTo>
                      <a:pt x="53" y="28"/>
                      <a:pt x="53" y="28"/>
                      <a:pt x="53" y="28"/>
                    </a:cubicBezTo>
                    <a:cubicBezTo>
                      <a:pt x="53" y="28"/>
                      <a:pt x="53" y="28"/>
                      <a:pt x="53" y="28"/>
                    </a:cubicBezTo>
                    <a:cubicBezTo>
                      <a:pt x="53" y="28"/>
                      <a:pt x="53" y="28"/>
                      <a:pt x="54" y="28"/>
                    </a:cubicBezTo>
                    <a:cubicBezTo>
                      <a:pt x="53" y="28"/>
                      <a:pt x="53" y="28"/>
                      <a:pt x="53" y="28"/>
                    </a:cubicBezTo>
                    <a:cubicBezTo>
                      <a:pt x="53" y="28"/>
                      <a:pt x="53" y="28"/>
                      <a:pt x="53" y="28"/>
                    </a:cubicBezTo>
                    <a:cubicBezTo>
                      <a:pt x="54" y="28"/>
                      <a:pt x="54" y="28"/>
                      <a:pt x="54" y="28"/>
                    </a:cubicBezTo>
                    <a:cubicBezTo>
                      <a:pt x="54" y="28"/>
                      <a:pt x="54" y="28"/>
                      <a:pt x="53" y="28"/>
                    </a:cubicBezTo>
                    <a:cubicBezTo>
                      <a:pt x="54" y="28"/>
                      <a:pt x="54" y="29"/>
                      <a:pt x="54" y="29"/>
                    </a:cubicBezTo>
                    <a:cubicBezTo>
                      <a:pt x="54" y="29"/>
                      <a:pt x="53" y="28"/>
                      <a:pt x="53" y="28"/>
                    </a:cubicBezTo>
                    <a:cubicBezTo>
                      <a:pt x="53" y="28"/>
                      <a:pt x="53" y="28"/>
                      <a:pt x="53" y="28"/>
                    </a:cubicBezTo>
                    <a:cubicBezTo>
                      <a:pt x="53" y="29"/>
                      <a:pt x="53" y="29"/>
                      <a:pt x="54" y="29"/>
                    </a:cubicBezTo>
                    <a:cubicBezTo>
                      <a:pt x="54" y="29"/>
                      <a:pt x="54" y="29"/>
                      <a:pt x="54" y="29"/>
                    </a:cubicBezTo>
                    <a:cubicBezTo>
                      <a:pt x="54" y="29"/>
                      <a:pt x="54" y="29"/>
                      <a:pt x="54" y="29"/>
                    </a:cubicBezTo>
                    <a:cubicBezTo>
                      <a:pt x="54" y="29"/>
                      <a:pt x="54" y="29"/>
                      <a:pt x="54" y="30"/>
                    </a:cubicBezTo>
                    <a:cubicBezTo>
                      <a:pt x="54" y="29"/>
                      <a:pt x="54" y="29"/>
                      <a:pt x="54" y="29"/>
                    </a:cubicBezTo>
                    <a:cubicBezTo>
                      <a:pt x="53" y="29"/>
                      <a:pt x="53" y="30"/>
                      <a:pt x="52" y="30"/>
                    </a:cubicBezTo>
                    <a:cubicBezTo>
                      <a:pt x="52" y="30"/>
                      <a:pt x="53" y="30"/>
                      <a:pt x="53" y="30"/>
                    </a:cubicBezTo>
                    <a:cubicBezTo>
                      <a:pt x="53" y="30"/>
                      <a:pt x="53" y="30"/>
                      <a:pt x="53" y="30"/>
                    </a:cubicBezTo>
                    <a:cubicBezTo>
                      <a:pt x="54" y="30"/>
                      <a:pt x="54" y="30"/>
                      <a:pt x="55" y="29"/>
                    </a:cubicBezTo>
                    <a:cubicBezTo>
                      <a:pt x="55" y="29"/>
                      <a:pt x="54" y="30"/>
                      <a:pt x="54" y="30"/>
                    </a:cubicBezTo>
                    <a:cubicBezTo>
                      <a:pt x="55" y="30"/>
                      <a:pt x="55" y="29"/>
                      <a:pt x="56" y="29"/>
                    </a:cubicBezTo>
                    <a:cubicBezTo>
                      <a:pt x="56" y="29"/>
                      <a:pt x="56" y="29"/>
                      <a:pt x="56" y="29"/>
                    </a:cubicBezTo>
                    <a:cubicBezTo>
                      <a:pt x="56" y="29"/>
                      <a:pt x="56" y="29"/>
                      <a:pt x="56" y="29"/>
                    </a:cubicBezTo>
                    <a:cubicBezTo>
                      <a:pt x="56" y="29"/>
                      <a:pt x="55" y="30"/>
                      <a:pt x="55" y="30"/>
                    </a:cubicBezTo>
                    <a:cubicBezTo>
                      <a:pt x="55" y="30"/>
                      <a:pt x="55" y="30"/>
                      <a:pt x="55" y="30"/>
                    </a:cubicBezTo>
                    <a:cubicBezTo>
                      <a:pt x="55" y="30"/>
                      <a:pt x="56" y="29"/>
                      <a:pt x="57" y="29"/>
                    </a:cubicBezTo>
                    <a:cubicBezTo>
                      <a:pt x="56" y="29"/>
                      <a:pt x="56" y="30"/>
                      <a:pt x="55" y="30"/>
                    </a:cubicBezTo>
                    <a:cubicBezTo>
                      <a:pt x="56" y="30"/>
                      <a:pt x="57" y="30"/>
                      <a:pt x="58" y="29"/>
                    </a:cubicBezTo>
                    <a:cubicBezTo>
                      <a:pt x="58" y="30"/>
                      <a:pt x="57" y="30"/>
                      <a:pt x="57" y="30"/>
                    </a:cubicBezTo>
                    <a:cubicBezTo>
                      <a:pt x="57" y="30"/>
                      <a:pt x="58" y="30"/>
                      <a:pt x="59" y="30"/>
                    </a:cubicBezTo>
                    <a:cubicBezTo>
                      <a:pt x="58" y="30"/>
                      <a:pt x="58" y="30"/>
                      <a:pt x="58" y="30"/>
                    </a:cubicBezTo>
                    <a:cubicBezTo>
                      <a:pt x="58" y="30"/>
                      <a:pt x="58" y="30"/>
                      <a:pt x="58" y="30"/>
                    </a:cubicBezTo>
                    <a:cubicBezTo>
                      <a:pt x="58" y="31"/>
                      <a:pt x="57" y="31"/>
                      <a:pt x="57" y="31"/>
                    </a:cubicBezTo>
                    <a:cubicBezTo>
                      <a:pt x="58" y="31"/>
                      <a:pt x="60" y="29"/>
                      <a:pt x="60" y="29"/>
                    </a:cubicBezTo>
                    <a:cubicBezTo>
                      <a:pt x="60" y="29"/>
                      <a:pt x="60" y="29"/>
                      <a:pt x="60" y="29"/>
                    </a:cubicBezTo>
                    <a:cubicBezTo>
                      <a:pt x="59" y="30"/>
                      <a:pt x="59" y="30"/>
                      <a:pt x="58" y="31"/>
                    </a:cubicBezTo>
                    <a:cubicBezTo>
                      <a:pt x="58" y="31"/>
                      <a:pt x="58" y="31"/>
                      <a:pt x="58" y="31"/>
                    </a:cubicBezTo>
                    <a:cubicBezTo>
                      <a:pt x="58" y="31"/>
                      <a:pt x="57" y="31"/>
                      <a:pt x="57" y="31"/>
                    </a:cubicBezTo>
                    <a:cubicBezTo>
                      <a:pt x="57" y="31"/>
                      <a:pt x="57" y="31"/>
                      <a:pt x="57" y="31"/>
                    </a:cubicBezTo>
                    <a:cubicBezTo>
                      <a:pt x="57" y="31"/>
                      <a:pt x="57" y="32"/>
                      <a:pt x="57" y="32"/>
                    </a:cubicBezTo>
                    <a:cubicBezTo>
                      <a:pt x="58" y="31"/>
                      <a:pt x="60" y="30"/>
                      <a:pt x="62" y="29"/>
                    </a:cubicBezTo>
                    <a:cubicBezTo>
                      <a:pt x="61" y="30"/>
                      <a:pt x="60" y="31"/>
                      <a:pt x="58" y="31"/>
                    </a:cubicBezTo>
                    <a:cubicBezTo>
                      <a:pt x="58" y="31"/>
                      <a:pt x="59" y="31"/>
                      <a:pt x="59" y="30"/>
                    </a:cubicBezTo>
                    <a:cubicBezTo>
                      <a:pt x="59" y="31"/>
                      <a:pt x="58" y="31"/>
                      <a:pt x="57" y="32"/>
                    </a:cubicBezTo>
                    <a:cubicBezTo>
                      <a:pt x="59" y="31"/>
                      <a:pt x="60" y="32"/>
                      <a:pt x="62" y="31"/>
                    </a:cubicBezTo>
                    <a:cubicBezTo>
                      <a:pt x="62" y="31"/>
                      <a:pt x="61" y="32"/>
                      <a:pt x="61" y="32"/>
                    </a:cubicBezTo>
                    <a:cubicBezTo>
                      <a:pt x="61" y="32"/>
                      <a:pt x="62" y="32"/>
                      <a:pt x="62" y="33"/>
                    </a:cubicBezTo>
                    <a:cubicBezTo>
                      <a:pt x="62" y="33"/>
                      <a:pt x="61" y="32"/>
                      <a:pt x="61" y="32"/>
                    </a:cubicBezTo>
                    <a:cubicBezTo>
                      <a:pt x="60" y="33"/>
                      <a:pt x="60" y="33"/>
                      <a:pt x="59" y="33"/>
                    </a:cubicBezTo>
                    <a:cubicBezTo>
                      <a:pt x="59" y="33"/>
                      <a:pt x="59" y="33"/>
                      <a:pt x="60" y="33"/>
                    </a:cubicBezTo>
                    <a:cubicBezTo>
                      <a:pt x="60" y="33"/>
                      <a:pt x="62" y="33"/>
                      <a:pt x="62" y="33"/>
                    </a:cubicBezTo>
                    <a:cubicBezTo>
                      <a:pt x="62" y="33"/>
                      <a:pt x="62" y="33"/>
                      <a:pt x="62" y="33"/>
                    </a:cubicBezTo>
                    <a:cubicBezTo>
                      <a:pt x="62" y="33"/>
                      <a:pt x="63" y="33"/>
                      <a:pt x="63" y="34"/>
                    </a:cubicBezTo>
                    <a:cubicBezTo>
                      <a:pt x="62" y="34"/>
                      <a:pt x="62" y="34"/>
                      <a:pt x="62" y="34"/>
                    </a:cubicBezTo>
                    <a:cubicBezTo>
                      <a:pt x="62" y="34"/>
                      <a:pt x="62" y="34"/>
                      <a:pt x="62" y="34"/>
                    </a:cubicBezTo>
                    <a:cubicBezTo>
                      <a:pt x="61" y="34"/>
                      <a:pt x="60" y="34"/>
                      <a:pt x="59" y="34"/>
                    </a:cubicBezTo>
                    <a:cubicBezTo>
                      <a:pt x="60" y="34"/>
                      <a:pt x="60" y="34"/>
                      <a:pt x="60" y="34"/>
                    </a:cubicBezTo>
                    <a:cubicBezTo>
                      <a:pt x="59" y="35"/>
                      <a:pt x="58" y="35"/>
                      <a:pt x="57" y="34"/>
                    </a:cubicBezTo>
                    <a:cubicBezTo>
                      <a:pt x="57" y="35"/>
                      <a:pt x="58" y="35"/>
                      <a:pt x="58" y="36"/>
                    </a:cubicBezTo>
                    <a:cubicBezTo>
                      <a:pt x="58" y="35"/>
                      <a:pt x="58" y="35"/>
                      <a:pt x="59" y="35"/>
                    </a:cubicBezTo>
                    <a:cubicBezTo>
                      <a:pt x="58" y="35"/>
                      <a:pt x="58" y="36"/>
                      <a:pt x="58" y="36"/>
                    </a:cubicBezTo>
                    <a:cubicBezTo>
                      <a:pt x="58" y="36"/>
                      <a:pt x="59" y="36"/>
                      <a:pt x="59" y="36"/>
                    </a:cubicBezTo>
                    <a:cubicBezTo>
                      <a:pt x="59" y="36"/>
                      <a:pt x="60" y="35"/>
                      <a:pt x="61" y="34"/>
                    </a:cubicBezTo>
                    <a:cubicBezTo>
                      <a:pt x="60" y="35"/>
                      <a:pt x="60" y="35"/>
                      <a:pt x="60" y="35"/>
                    </a:cubicBezTo>
                    <a:cubicBezTo>
                      <a:pt x="60" y="35"/>
                      <a:pt x="61" y="35"/>
                      <a:pt x="61" y="35"/>
                    </a:cubicBezTo>
                    <a:cubicBezTo>
                      <a:pt x="61" y="35"/>
                      <a:pt x="61" y="35"/>
                      <a:pt x="61" y="35"/>
                    </a:cubicBezTo>
                    <a:cubicBezTo>
                      <a:pt x="61" y="35"/>
                      <a:pt x="61" y="35"/>
                      <a:pt x="60" y="35"/>
                    </a:cubicBezTo>
                    <a:cubicBezTo>
                      <a:pt x="60" y="35"/>
                      <a:pt x="61" y="35"/>
                      <a:pt x="61" y="35"/>
                    </a:cubicBezTo>
                    <a:cubicBezTo>
                      <a:pt x="60" y="36"/>
                      <a:pt x="60" y="36"/>
                      <a:pt x="60" y="36"/>
                    </a:cubicBezTo>
                    <a:cubicBezTo>
                      <a:pt x="60" y="36"/>
                      <a:pt x="61" y="36"/>
                      <a:pt x="61" y="36"/>
                    </a:cubicBezTo>
                    <a:cubicBezTo>
                      <a:pt x="61" y="36"/>
                      <a:pt x="60" y="37"/>
                      <a:pt x="60" y="37"/>
                    </a:cubicBezTo>
                    <a:cubicBezTo>
                      <a:pt x="60" y="37"/>
                      <a:pt x="60" y="37"/>
                      <a:pt x="61" y="37"/>
                    </a:cubicBezTo>
                    <a:cubicBezTo>
                      <a:pt x="60" y="37"/>
                      <a:pt x="60" y="37"/>
                      <a:pt x="60" y="38"/>
                    </a:cubicBezTo>
                    <a:cubicBezTo>
                      <a:pt x="60" y="38"/>
                      <a:pt x="60" y="38"/>
                      <a:pt x="61" y="38"/>
                    </a:cubicBezTo>
                    <a:cubicBezTo>
                      <a:pt x="60" y="38"/>
                      <a:pt x="60" y="38"/>
                      <a:pt x="60" y="38"/>
                    </a:cubicBezTo>
                    <a:cubicBezTo>
                      <a:pt x="60" y="38"/>
                      <a:pt x="61" y="38"/>
                      <a:pt x="61" y="38"/>
                    </a:cubicBezTo>
                    <a:cubicBezTo>
                      <a:pt x="61" y="38"/>
                      <a:pt x="61" y="38"/>
                      <a:pt x="62" y="37"/>
                    </a:cubicBezTo>
                    <a:cubicBezTo>
                      <a:pt x="61" y="38"/>
                      <a:pt x="61" y="38"/>
                      <a:pt x="61" y="38"/>
                    </a:cubicBezTo>
                    <a:cubicBezTo>
                      <a:pt x="61" y="38"/>
                      <a:pt x="61" y="38"/>
                      <a:pt x="61" y="38"/>
                    </a:cubicBezTo>
                    <a:cubicBezTo>
                      <a:pt x="61" y="38"/>
                      <a:pt x="61" y="38"/>
                      <a:pt x="61" y="38"/>
                    </a:cubicBezTo>
                    <a:cubicBezTo>
                      <a:pt x="61" y="38"/>
                      <a:pt x="61" y="38"/>
                      <a:pt x="61" y="38"/>
                    </a:cubicBezTo>
                    <a:cubicBezTo>
                      <a:pt x="61" y="38"/>
                      <a:pt x="62" y="38"/>
                      <a:pt x="62" y="38"/>
                    </a:cubicBezTo>
                    <a:cubicBezTo>
                      <a:pt x="62" y="38"/>
                      <a:pt x="61" y="38"/>
                      <a:pt x="61" y="38"/>
                    </a:cubicBezTo>
                    <a:cubicBezTo>
                      <a:pt x="61" y="39"/>
                      <a:pt x="61" y="39"/>
                      <a:pt x="60" y="39"/>
                    </a:cubicBezTo>
                    <a:cubicBezTo>
                      <a:pt x="61" y="39"/>
                      <a:pt x="61" y="39"/>
                      <a:pt x="61" y="39"/>
                    </a:cubicBezTo>
                    <a:cubicBezTo>
                      <a:pt x="61" y="39"/>
                      <a:pt x="61" y="39"/>
                      <a:pt x="60" y="39"/>
                    </a:cubicBezTo>
                    <a:cubicBezTo>
                      <a:pt x="60" y="39"/>
                      <a:pt x="60" y="39"/>
                      <a:pt x="60" y="39"/>
                    </a:cubicBezTo>
                    <a:cubicBezTo>
                      <a:pt x="60" y="39"/>
                      <a:pt x="60" y="39"/>
                      <a:pt x="61" y="39"/>
                    </a:cubicBezTo>
                    <a:cubicBezTo>
                      <a:pt x="60" y="39"/>
                      <a:pt x="60" y="39"/>
                      <a:pt x="60" y="39"/>
                    </a:cubicBezTo>
                    <a:cubicBezTo>
                      <a:pt x="60" y="40"/>
                      <a:pt x="60" y="40"/>
                      <a:pt x="60" y="40"/>
                    </a:cubicBezTo>
                    <a:cubicBezTo>
                      <a:pt x="60" y="40"/>
                      <a:pt x="60" y="40"/>
                      <a:pt x="61" y="40"/>
                    </a:cubicBezTo>
                    <a:cubicBezTo>
                      <a:pt x="61" y="40"/>
                      <a:pt x="61" y="39"/>
                      <a:pt x="61" y="39"/>
                    </a:cubicBezTo>
                    <a:cubicBezTo>
                      <a:pt x="61" y="39"/>
                      <a:pt x="61" y="39"/>
                      <a:pt x="61" y="39"/>
                    </a:cubicBezTo>
                    <a:cubicBezTo>
                      <a:pt x="61" y="39"/>
                      <a:pt x="61" y="40"/>
                      <a:pt x="61" y="40"/>
                    </a:cubicBezTo>
                    <a:cubicBezTo>
                      <a:pt x="61" y="40"/>
                      <a:pt x="61" y="40"/>
                      <a:pt x="61" y="40"/>
                    </a:cubicBezTo>
                    <a:cubicBezTo>
                      <a:pt x="60" y="40"/>
                      <a:pt x="60" y="40"/>
                      <a:pt x="60" y="40"/>
                    </a:cubicBezTo>
                    <a:cubicBezTo>
                      <a:pt x="61" y="40"/>
                      <a:pt x="61" y="40"/>
                      <a:pt x="62" y="39"/>
                    </a:cubicBezTo>
                    <a:cubicBezTo>
                      <a:pt x="62" y="40"/>
                      <a:pt x="62" y="40"/>
                      <a:pt x="62" y="40"/>
                    </a:cubicBezTo>
                    <a:cubicBezTo>
                      <a:pt x="63" y="40"/>
                      <a:pt x="63" y="40"/>
                      <a:pt x="64" y="39"/>
                    </a:cubicBezTo>
                    <a:cubicBezTo>
                      <a:pt x="64" y="40"/>
                      <a:pt x="64" y="40"/>
                      <a:pt x="64" y="40"/>
                    </a:cubicBezTo>
                    <a:cubicBezTo>
                      <a:pt x="64" y="40"/>
                      <a:pt x="64" y="40"/>
                      <a:pt x="64" y="40"/>
                    </a:cubicBezTo>
                    <a:cubicBezTo>
                      <a:pt x="65" y="40"/>
                      <a:pt x="65" y="39"/>
                      <a:pt x="65" y="39"/>
                    </a:cubicBezTo>
                    <a:cubicBezTo>
                      <a:pt x="65" y="39"/>
                      <a:pt x="65" y="39"/>
                      <a:pt x="65" y="39"/>
                    </a:cubicBezTo>
                    <a:cubicBezTo>
                      <a:pt x="65" y="39"/>
                      <a:pt x="66" y="39"/>
                      <a:pt x="66" y="39"/>
                    </a:cubicBezTo>
                    <a:cubicBezTo>
                      <a:pt x="65" y="39"/>
                      <a:pt x="65" y="40"/>
                      <a:pt x="65" y="40"/>
                    </a:cubicBezTo>
                    <a:cubicBezTo>
                      <a:pt x="65" y="40"/>
                      <a:pt x="66" y="40"/>
                      <a:pt x="67" y="40"/>
                    </a:cubicBezTo>
                    <a:cubicBezTo>
                      <a:pt x="66" y="40"/>
                      <a:pt x="66" y="40"/>
                      <a:pt x="66" y="41"/>
                    </a:cubicBezTo>
                    <a:cubicBezTo>
                      <a:pt x="66" y="41"/>
                      <a:pt x="67" y="41"/>
                      <a:pt x="67" y="41"/>
                    </a:cubicBezTo>
                    <a:cubicBezTo>
                      <a:pt x="64" y="42"/>
                      <a:pt x="64" y="42"/>
                      <a:pt x="64" y="42"/>
                    </a:cubicBezTo>
                    <a:cubicBezTo>
                      <a:pt x="65" y="42"/>
                      <a:pt x="66" y="42"/>
                      <a:pt x="67" y="42"/>
                    </a:cubicBezTo>
                    <a:cubicBezTo>
                      <a:pt x="66" y="42"/>
                      <a:pt x="64" y="43"/>
                      <a:pt x="63" y="43"/>
                    </a:cubicBezTo>
                    <a:cubicBezTo>
                      <a:pt x="63" y="43"/>
                      <a:pt x="62" y="43"/>
                      <a:pt x="61" y="43"/>
                    </a:cubicBezTo>
                    <a:cubicBezTo>
                      <a:pt x="63" y="43"/>
                      <a:pt x="64" y="43"/>
                      <a:pt x="65" y="43"/>
                    </a:cubicBezTo>
                    <a:cubicBezTo>
                      <a:pt x="65" y="43"/>
                      <a:pt x="65" y="44"/>
                      <a:pt x="65" y="44"/>
                    </a:cubicBezTo>
                    <a:cubicBezTo>
                      <a:pt x="65" y="44"/>
                      <a:pt x="65" y="44"/>
                      <a:pt x="65" y="44"/>
                    </a:cubicBezTo>
                    <a:cubicBezTo>
                      <a:pt x="65" y="44"/>
                      <a:pt x="64" y="44"/>
                      <a:pt x="63" y="43"/>
                    </a:cubicBezTo>
                    <a:cubicBezTo>
                      <a:pt x="64" y="44"/>
                      <a:pt x="64" y="44"/>
                      <a:pt x="64" y="44"/>
                    </a:cubicBezTo>
                    <a:cubicBezTo>
                      <a:pt x="64" y="44"/>
                      <a:pt x="63" y="44"/>
                      <a:pt x="63" y="44"/>
                    </a:cubicBezTo>
                    <a:cubicBezTo>
                      <a:pt x="63" y="44"/>
                      <a:pt x="64" y="44"/>
                      <a:pt x="64" y="45"/>
                    </a:cubicBezTo>
                    <a:cubicBezTo>
                      <a:pt x="64" y="45"/>
                      <a:pt x="63" y="44"/>
                      <a:pt x="62" y="44"/>
                    </a:cubicBezTo>
                    <a:cubicBezTo>
                      <a:pt x="62" y="44"/>
                      <a:pt x="62" y="44"/>
                      <a:pt x="63" y="44"/>
                    </a:cubicBezTo>
                    <a:cubicBezTo>
                      <a:pt x="62" y="44"/>
                      <a:pt x="62" y="44"/>
                      <a:pt x="62" y="44"/>
                    </a:cubicBezTo>
                    <a:cubicBezTo>
                      <a:pt x="62" y="45"/>
                      <a:pt x="63" y="45"/>
                      <a:pt x="63" y="45"/>
                    </a:cubicBezTo>
                    <a:cubicBezTo>
                      <a:pt x="63" y="45"/>
                      <a:pt x="62" y="45"/>
                      <a:pt x="62" y="45"/>
                    </a:cubicBezTo>
                    <a:cubicBezTo>
                      <a:pt x="62" y="45"/>
                      <a:pt x="62" y="45"/>
                      <a:pt x="63" y="45"/>
                    </a:cubicBezTo>
                    <a:cubicBezTo>
                      <a:pt x="63" y="45"/>
                      <a:pt x="63" y="45"/>
                      <a:pt x="63" y="45"/>
                    </a:cubicBezTo>
                    <a:cubicBezTo>
                      <a:pt x="63" y="45"/>
                      <a:pt x="63" y="45"/>
                      <a:pt x="63" y="45"/>
                    </a:cubicBezTo>
                    <a:cubicBezTo>
                      <a:pt x="63" y="45"/>
                      <a:pt x="63" y="45"/>
                      <a:pt x="63" y="45"/>
                    </a:cubicBezTo>
                    <a:cubicBezTo>
                      <a:pt x="63" y="45"/>
                      <a:pt x="63" y="45"/>
                      <a:pt x="63" y="45"/>
                    </a:cubicBezTo>
                    <a:cubicBezTo>
                      <a:pt x="63" y="45"/>
                      <a:pt x="63" y="45"/>
                      <a:pt x="64" y="45"/>
                    </a:cubicBezTo>
                    <a:cubicBezTo>
                      <a:pt x="63" y="46"/>
                      <a:pt x="63" y="46"/>
                      <a:pt x="63" y="46"/>
                    </a:cubicBezTo>
                    <a:cubicBezTo>
                      <a:pt x="63" y="47"/>
                      <a:pt x="63" y="47"/>
                      <a:pt x="64" y="48"/>
                    </a:cubicBezTo>
                    <a:cubicBezTo>
                      <a:pt x="63" y="48"/>
                      <a:pt x="63" y="48"/>
                      <a:pt x="62" y="48"/>
                    </a:cubicBezTo>
                    <a:cubicBezTo>
                      <a:pt x="62" y="48"/>
                      <a:pt x="62" y="48"/>
                      <a:pt x="62" y="49"/>
                    </a:cubicBezTo>
                    <a:cubicBezTo>
                      <a:pt x="62" y="49"/>
                      <a:pt x="62" y="49"/>
                      <a:pt x="62" y="49"/>
                    </a:cubicBezTo>
                    <a:cubicBezTo>
                      <a:pt x="62" y="48"/>
                      <a:pt x="61" y="48"/>
                      <a:pt x="60" y="48"/>
                    </a:cubicBezTo>
                    <a:cubicBezTo>
                      <a:pt x="61" y="48"/>
                      <a:pt x="61" y="48"/>
                      <a:pt x="61" y="47"/>
                    </a:cubicBezTo>
                    <a:cubicBezTo>
                      <a:pt x="61" y="47"/>
                      <a:pt x="60" y="47"/>
                      <a:pt x="60" y="47"/>
                    </a:cubicBezTo>
                    <a:cubicBezTo>
                      <a:pt x="60" y="47"/>
                      <a:pt x="60" y="47"/>
                      <a:pt x="60" y="47"/>
                    </a:cubicBezTo>
                    <a:cubicBezTo>
                      <a:pt x="60" y="47"/>
                      <a:pt x="59" y="47"/>
                      <a:pt x="59" y="47"/>
                    </a:cubicBezTo>
                    <a:cubicBezTo>
                      <a:pt x="59" y="47"/>
                      <a:pt x="59" y="47"/>
                      <a:pt x="59" y="46"/>
                    </a:cubicBezTo>
                    <a:cubicBezTo>
                      <a:pt x="59" y="46"/>
                      <a:pt x="58" y="46"/>
                      <a:pt x="58" y="46"/>
                    </a:cubicBezTo>
                    <a:cubicBezTo>
                      <a:pt x="58" y="46"/>
                      <a:pt x="57" y="46"/>
                      <a:pt x="57" y="46"/>
                    </a:cubicBezTo>
                    <a:cubicBezTo>
                      <a:pt x="57" y="46"/>
                      <a:pt x="57" y="46"/>
                      <a:pt x="57" y="46"/>
                    </a:cubicBezTo>
                    <a:cubicBezTo>
                      <a:pt x="57" y="46"/>
                      <a:pt x="57" y="46"/>
                      <a:pt x="57" y="46"/>
                    </a:cubicBezTo>
                    <a:cubicBezTo>
                      <a:pt x="57" y="46"/>
                      <a:pt x="58" y="46"/>
                      <a:pt x="58" y="47"/>
                    </a:cubicBezTo>
                    <a:cubicBezTo>
                      <a:pt x="57" y="47"/>
                      <a:pt x="56" y="47"/>
                      <a:pt x="55" y="47"/>
                    </a:cubicBezTo>
                    <a:cubicBezTo>
                      <a:pt x="56" y="47"/>
                      <a:pt x="56" y="47"/>
                      <a:pt x="57" y="47"/>
                    </a:cubicBezTo>
                    <a:cubicBezTo>
                      <a:pt x="57" y="47"/>
                      <a:pt x="57" y="47"/>
                      <a:pt x="57" y="47"/>
                    </a:cubicBezTo>
                    <a:cubicBezTo>
                      <a:pt x="57" y="48"/>
                      <a:pt x="57" y="48"/>
                      <a:pt x="57" y="48"/>
                    </a:cubicBezTo>
                    <a:cubicBezTo>
                      <a:pt x="57" y="48"/>
                      <a:pt x="57" y="48"/>
                      <a:pt x="56" y="48"/>
                    </a:cubicBezTo>
                    <a:cubicBezTo>
                      <a:pt x="56" y="48"/>
                      <a:pt x="56" y="48"/>
                      <a:pt x="56" y="48"/>
                    </a:cubicBezTo>
                    <a:cubicBezTo>
                      <a:pt x="56" y="48"/>
                      <a:pt x="56" y="48"/>
                      <a:pt x="56" y="48"/>
                    </a:cubicBezTo>
                    <a:cubicBezTo>
                      <a:pt x="56" y="48"/>
                      <a:pt x="57" y="48"/>
                      <a:pt x="57" y="49"/>
                    </a:cubicBezTo>
                    <a:cubicBezTo>
                      <a:pt x="57" y="49"/>
                      <a:pt x="57" y="49"/>
                      <a:pt x="57" y="49"/>
                    </a:cubicBezTo>
                    <a:cubicBezTo>
                      <a:pt x="56" y="48"/>
                      <a:pt x="55" y="47"/>
                      <a:pt x="53" y="47"/>
                    </a:cubicBezTo>
                    <a:cubicBezTo>
                      <a:pt x="54" y="47"/>
                      <a:pt x="54" y="47"/>
                      <a:pt x="54" y="47"/>
                    </a:cubicBezTo>
                    <a:cubicBezTo>
                      <a:pt x="54" y="47"/>
                      <a:pt x="54" y="47"/>
                      <a:pt x="54" y="47"/>
                    </a:cubicBezTo>
                    <a:cubicBezTo>
                      <a:pt x="54" y="47"/>
                      <a:pt x="54" y="47"/>
                      <a:pt x="53" y="47"/>
                    </a:cubicBezTo>
                    <a:cubicBezTo>
                      <a:pt x="53" y="47"/>
                      <a:pt x="53" y="47"/>
                      <a:pt x="53" y="47"/>
                    </a:cubicBezTo>
                    <a:cubicBezTo>
                      <a:pt x="53" y="47"/>
                      <a:pt x="53" y="47"/>
                      <a:pt x="53" y="47"/>
                    </a:cubicBezTo>
                    <a:cubicBezTo>
                      <a:pt x="53" y="47"/>
                      <a:pt x="53" y="47"/>
                      <a:pt x="53" y="47"/>
                    </a:cubicBezTo>
                    <a:cubicBezTo>
                      <a:pt x="54" y="48"/>
                      <a:pt x="54" y="48"/>
                      <a:pt x="55" y="48"/>
                    </a:cubicBezTo>
                    <a:cubicBezTo>
                      <a:pt x="55" y="48"/>
                      <a:pt x="55" y="48"/>
                      <a:pt x="55" y="48"/>
                    </a:cubicBezTo>
                    <a:cubicBezTo>
                      <a:pt x="55" y="48"/>
                      <a:pt x="54" y="48"/>
                      <a:pt x="54" y="48"/>
                    </a:cubicBezTo>
                    <a:cubicBezTo>
                      <a:pt x="55" y="48"/>
                      <a:pt x="55" y="49"/>
                      <a:pt x="55" y="49"/>
                    </a:cubicBezTo>
                    <a:cubicBezTo>
                      <a:pt x="54" y="48"/>
                      <a:pt x="52" y="48"/>
                      <a:pt x="51" y="48"/>
                    </a:cubicBezTo>
                    <a:cubicBezTo>
                      <a:pt x="51" y="48"/>
                      <a:pt x="52" y="49"/>
                      <a:pt x="53" y="50"/>
                    </a:cubicBezTo>
                    <a:cubicBezTo>
                      <a:pt x="52" y="49"/>
                      <a:pt x="52" y="49"/>
                      <a:pt x="51" y="49"/>
                    </a:cubicBezTo>
                    <a:cubicBezTo>
                      <a:pt x="51" y="49"/>
                      <a:pt x="51" y="49"/>
                      <a:pt x="51" y="49"/>
                    </a:cubicBezTo>
                    <a:cubicBezTo>
                      <a:pt x="50" y="49"/>
                      <a:pt x="49" y="49"/>
                      <a:pt x="48" y="48"/>
                    </a:cubicBezTo>
                    <a:cubicBezTo>
                      <a:pt x="49" y="49"/>
                      <a:pt x="50" y="49"/>
                      <a:pt x="50" y="50"/>
                    </a:cubicBezTo>
                    <a:cubicBezTo>
                      <a:pt x="49" y="50"/>
                      <a:pt x="49" y="48"/>
                      <a:pt x="47" y="48"/>
                    </a:cubicBezTo>
                    <a:cubicBezTo>
                      <a:pt x="47" y="49"/>
                      <a:pt x="48" y="49"/>
                      <a:pt x="49" y="50"/>
                    </a:cubicBezTo>
                    <a:cubicBezTo>
                      <a:pt x="48" y="50"/>
                      <a:pt x="48" y="49"/>
                      <a:pt x="47" y="49"/>
                    </a:cubicBezTo>
                    <a:cubicBezTo>
                      <a:pt x="48" y="49"/>
                      <a:pt x="48" y="49"/>
                      <a:pt x="48" y="50"/>
                    </a:cubicBezTo>
                    <a:cubicBezTo>
                      <a:pt x="48" y="50"/>
                      <a:pt x="47" y="49"/>
                      <a:pt x="47" y="49"/>
                    </a:cubicBezTo>
                    <a:cubicBezTo>
                      <a:pt x="47" y="50"/>
                      <a:pt x="47" y="50"/>
                      <a:pt x="48" y="50"/>
                    </a:cubicBezTo>
                    <a:cubicBezTo>
                      <a:pt x="48" y="50"/>
                      <a:pt x="48" y="51"/>
                      <a:pt x="48" y="51"/>
                    </a:cubicBezTo>
                    <a:cubicBezTo>
                      <a:pt x="47" y="50"/>
                      <a:pt x="47" y="49"/>
                      <a:pt x="46" y="49"/>
                    </a:cubicBezTo>
                    <a:cubicBezTo>
                      <a:pt x="46" y="49"/>
                      <a:pt x="46" y="49"/>
                      <a:pt x="47" y="49"/>
                    </a:cubicBezTo>
                    <a:cubicBezTo>
                      <a:pt x="47" y="49"/>
                      <a:pt x="47" y="49"/>
                      <a:pt x="47" y="49"/>
                    </a:cubicBezTo>
                    <a:cubicBezTo>
                      <a:pt x="46" y="49"/>
                      <a:pt x="46" y="49"/>
                      <a:pt x="45" y="48"/>
                    </a:cubicBezTo>
                    <a:cubicBezTo>
                      <a:pt x="45" y="49"/>
                      <a:pt x="46" y="49"/>
                      <a:pt x="46" y="50"/>
                    </a:cubicBezTo>
                    <a:cubicBezTo>
                      <a:pt x="46" y="50"/>
                      <a:pt x="46" y="49"/>
                      <a:pt x="46" y="49"/>
                    </a:cubicBezTo>
                    <a:cubicBezTo>
                      <a:pt x="46" y="50"/>
                      <a:pt x="46" y="50"/>
                      <a:pt x="46" y="50"/>
                    </a:cubicBezTo>
                    <a:cubicBezTo>
                      <a:pt x="46" y="50"/>
                      <a:pt x="46" y="50"/>
                      <a:pt x="46" y="50"/>
                    </a:cubicBezTo>
                    <a:cubicBezTo>
                      <a:pt x="46" y="50"/>
                      <a:pt x="46" y="49"/>
                      <a:pt x="46" y="49"/>
                    </a:cubicBezTo>
                    <a:cubicBezTo>
                      <a:pt x="46" y="50"/>
                      <a:pt x="46" y="50"/>
                      <a:pt x="46" y="51"/>
                    </a:cubicBezTo>
                    <a:cubicBezTo>
                      <a:pt x="46" y="51"/>
                      <a:pt x="46" y="51"/>
                      <a:pt x="46" y="51"/>
                    </a:cubicBezTo>
                    <a:cubicBezTo>
                      <a:pt x="46" y="50"/>
                      <a:pt x="45" y="49"/>
                      <a:pt x="45" y="49"/>
                    </a:cubicBezTo>
                    <a:cubicBezTo>
                      <a:pt x="45" y="49"/>
                      <a:pt x="45" y="50"/>
                      <a:pt x="46" y="51"/>
                    </a:cubicBezTo>
                    <a:cubicBezTo>
                      <a:pt x="46" y="51"/>
                      <a:pt x="46" y="51"/>
                      <a:pt x="46" y="51"/>
                    </a:cubicBezTo>
                    <a:cubicBezTo>
                      <a:pt x="45" y="50"/>
                      <a:pt x="44" y="49"/>
                      <a:pt x="43" y="48"/>
                    </a:cubicBezTo>
                    <a:cubicBezTo>
                      <a:pt x="43" y="48"/>
                      <a:pt x="43" y="48"/>
                      <a:pt x="43" y="48"/>
                    </a:cubicBezTo>
                    <a:cubicBezTo>
                      <a:pt x="43" y="49"/>
                      <a:pt x="44" y="49"/>
                      <a:pt x="44" y="50"/>
                    </a:cubicBezTo>
                    <a:cubicBezTo>
                      <a:pt x="44" y="50"/>
                      <a:pt x="44" y="50"/>
                      <a:pt x="44" y="50"/>
                    </a:cubicBezTo>
                    <a:cubicBezTo>
                      <a:pt x="44" y="50"/>
                      <a:pt x="44" y="50"/>
                      <a:pt x="44" y="51"/>
                    </a:cubicBezTo>
                    <a:cubicBezTo>
                      <a:pt x="44" y="50"/>
                      <a:pt x="44" y="50"/>
                      <a:pt x="43" y="50"/>
                    </a:cubicBezTo>
                    <a:cubicBezTo>
                      <a:pt x="43" y="50"/>
                      <a:pt x="44" y="50"/>
                      <a:pt x="44" y="50"/>
                    </a:cubicBezTo>
                    <a:cubicBezTo>
                      <a:pt x="44" y="50"/>
                      <a:pt x="44" y="50"/>
                      <a:pt x="44" y="50"/>
                    </a:cubicBezTo>
                    <a:cubicBezTo>
                      <a:pt x="44" y="50"/>
                      <a:pt x="44" y="50"/>
                      <a:pt x="44" y="50"/>
                    </a:cubicBezTo>
                    <a:cubicBezTo>
                      <a:pt x="44" y="50"/>
                      <a:pt x="44" y="50"/>
                      <a:pt x="44" y="50"/>
                    </a:cubicBezTo>
                    <a:cubicBezTo>
                      <a:pt x="44" y="50"/>
                      <a:pt x="44" y="50"/>
                      <a:pt x="44" y="50"/>
                    </a:cubicBezTo>
                    <a:cubicBezTo>
                      <a:pt x="43" y="50"/>
                      <a:pt x="42" y="48"/>
                      <a:pt x="41" y="48"/>
                    </a:cubicBezTo>
                    <a:cubicBezTo>
                      <a:pt x="41" y="49"/>
                      <a:pt x="42" y="50"/>
                      <a:pt x="42" y="51"/>
                    </a:cubicBezTo>
                    <a:cubicBezTo>
                      <a:pt x="41" y="49"/>
                      <a:pt x="41" y="47"/>
                      <a:pt x="39" y="47"/>
                    </a:cubicBezTo>
                    <a:cubicBezTo>
                      <a:pt x="39" y="47"/>
                      <a:pt x="39" y="47"/>
                      <a:pt x="39" y="47"/>
                    </a:cubicBezTo>
                    <a:cubicBezTo>
                      <a:pt x="39" y="47"/>
                      <a:pt x="39" y="47"/>
                      <a:pt x="39" y="47"/>
                    </a:cubicBezTo>
                    <a:cubicBezTo>
                      <a:pt x="40" y="48"/>
                      <a:pt x="41" y="49"/>
                      <a:pt x="41" y="50"/>
                    </a:cubicBezTo>
                    <a:cubicBezTo>
                      <a:pt x="41" y="50"/>
                      <a:pt x="41" y="50"/>
                      <a:pt x="41" y="50"/>
                    </a:cubicBezTo>
                    <a:cubicBezTo>
                      <a:pt x="41" y="50"/>
                      <a:pt x="40" y="50"/>
                      <a:pt x="40" y="49"/>
                    </a:cubicBezTo>
                    <a:cubicBezTo>
                      <a:pt x="40" y="49"/>
                      <a:pt x="40" y="50"/>
                      <a:pt x="40" y="50"/>
                    </a:cubicBezTo>
                    <a:cubicBezTo>
                      <a:pt x="40" y="49"/>
                      <a:pt x="37" y="47"/>
                      <a:pt x="36" y="47"/>
                    </a:cubicBezTo>
                    <a:cubicBezTo>
                      <a:pt x="36" y="47"/>
                      <a:pt x="37" y="48"/>
                      <a:pt x="37" y="48"/>
                    </a:cubicBezTo>
                    <a:cubicBezTo>
                      <a:pt x="37" y="48"/>
                      <a:pt x="37" y="48"/>
                      <a:pt x="37" y="48"/>
                    </a:cubicBezTo>
                    <a:cubicBezTo>
                      <a:pt x="37" y="48"/>
                      <a:pt x="37" y="48"/>
                      <a:pt x="37" y="48"/>
                    </a:cubicBezTo>
                    <a:cubicBezTo>
                      <a:pt x="37" y="48"/>
                      <a:pt x="37" y="48"/>
                      <a:pt x="37" y="48"/>
                    </a:cubicBezTo>
                    <a:cubicBezTo>
                      <a:pt x="37" y="48"/>
                      <a:pt x="38" y="49"/>
                      <a:pt x="38" y="49"/>
                    </a:cubicBezTo>
                    <a:cubicBezTo>
                      <a:pt x="37" y="49"/>
                      <a:pt x="37" y="49"/>
                      <a:pt x="37" y="48"/>
                    </a:cubicBezTo>
                    <a:cubicBezTo>
                      <a:pt x="37" y="49"/>
                      <a:pt x="37" y="49"/>
                      <a:pt x="37" y="50"/>
                    </a:cubicBezTo>
                    <a:cubicBezTo>
                      <a:pt x="37" y="49"/>
                      <a:pt x="37" y="49"/>
                      <a:pt x="36" y="49"/>
                    </a:cubicBezTo>
                    <a:cubicBezTo>
                      <a:pt x="36" y="49"/>
                      <a:pt x="36" y="49"/>
                      <a:pt x="36" y="49"/>
                    </a:cubicBezTo>
                    <a:cubicBezTo>
                      <a:pt x="36" y="49"/>
                      <a:pt x="35" y="48"/>
                      <a:pt x="34" y="48"/>
                    </a:cubicBezTo>
                    <a:cubicBezTo>
                      <a:pt x="35" y="48"/>
                      <a:pt x="35" y="49"/>
                      <a:pt x="35" y="49"/>
                    </a:cubicBezTo>
                    <a:cubicBezTo>
                      <a:pt x="35" y="49"/>
                      <a:pt x="34" y="48"/>
                      <a:pt x="34" y="48"/>
                    </a:cubicBezTo>
                    <a:cubicBezTo>
                      <a:pt x="34" y="48"/>
                      <a:pt x="30" y="53"/>
                      <a:pt x="29" y="62"/>
                    </a:cubicBezTo>
                    <a:cubicBezTo>
                      <a:pt x="28" y="68"/>
                      <a:pt x="30" y="76"/>
                      <a:pt x="29" y="82"/>
                    </a:cubicBezTo>
                    <a:cubicBezTo>
                      <a:pt x="27" y="90"/>
                      <a:pt x="24" y="96"/>
                      <a:pt x="24" y="96"/>
                    </a:cubicBezTo>
                    <a:cubicBezTo>
                      <a:pt x="22" y="96"/>
                      <a:pt x="20" y="95"/>
                      <a:pt x="18" y="95"/>
                    </a:cubicBezTo>
                    <a:cubicBezTo>
                      <a:pt x="18" y="95"/>
                      <a:pt x="18" y="95"/>
                      <a:pt x="18" y="95"/>
                    </a:cubicBezTo>
                    <a:close/>
                    <a:moveTo>
                      <a:pt x="38" y="3"/>
                    </a:moveTo>
                    <a:cubicBezTo>
                      <a:pt x="38" y="3"/>
                      <a:pt x="38" y="3"/>
                      <a:pt x="38" y="3"/>
                    </a:cubicBezTo>
                    <a:cubicBezTo>
                      <a:pt x="38" y="3"/>
                      <a:pt x="38" y="3"/>
                      <a:pt x="38" y="4"/>
                    </a:cubicBezTo>
                    <a:cubicBezTo>
                      <a:pt x="38" y="4"/>
                      <a:pt x="38" y="4"/>
                      <a:pt x="38" y="3"/>
                    </a:cubicBezTo>
                    <a:cubicBezTo>
                      <a:pt x="38" y="3"/>
                      <a:pt x="38" y="3"/>
                      <a:pt x="38" y="3"/>
                    </a:cubicBezTo>
                    <a:close/>
                    <a:moveTo>
                      <a:pt x="38" y="4"/>
                    </a:moveTo>
                    <a:cubicBezTo>
                      <a:pt x="38" y="4"/>
                      <a:pt x="38" y="4"/>
                      <a:pt x="38" y="4"/>
                    </a:cubicBezTo>
                    <a:cubicBezTo>
                      <a:pt x="38" y="4"/>
                      <a:pt x="38" y="4"/>
                      <a:pt x="38" y="4"/>
                    </a:cubicBezTo>
                    <a:cubicBezTo>
                      <a:pt x="38" y="4"/>
                      <a:pt x="38" y="4"/>
                      <a:pt x="38" y="4"/>
                    </a:cubicBezTo>
                    <a:cubicBezTo>
                      <a:pt x="38" y="4"/>
                      <a:pt x="38" y="4"/>
                      <a:pt x="38" y="4"/>
                    </a:cubicBezTo>
                    <a:close/>
                    <a:moveTo>
                      <a:pt x="41" y="4"/>
                    </a:moveTo>
                    <a:cubicBezTo>
                      <a:pt x="41" y="4"/>
                      <a:pt x="41" y="4"/>
                      <a:pt x="41" y="4"/>
                    </a:cubicBezTo>
                    <a:cubicBezTo>
                      <a:pt x="41" y="4"/>
                      <a:pt x="41" y="4"/>
                      <a:pt x="41" y="5"/>
                    </a:cubicBezTo>
                    <a:cubicBezTo>
                      <a:pt x="41" y="5"/>
                      <a:pt x="41" y="5"/>
                      <a:pt x="41" y="4"/>
                    </a:cubicBezTo>
                    <a:cubicBezTo>
                      <a:pt x="41" y="4"/>
                      <a:pt x="41" y="4"/>
                      <a:pt x="41" y="4"/>
                    </a:cubicBezTo>
                    <a:close/>
                    <a:moveTo>
                      <a:pt x="36" y="3"/>
                    </a:moveTo>
                    <a:cubicBezTo>
                      <a:pt x="36" y="3"/>
                      <a:pt x="36" y="3"/>
                      <a:pt x="36" y="3"/>
                    </a:cubicBezTo>
                    <a:cubicBezTo>
                      <a:pt x="36" y="3"/>
                      <a:pt x="36" y="3"/>
                      <a:pt x="36" y="3"/>
                    </a:cubicBezTo>
                    <a:cubicBezTo>
                      <a:pt x="36" y="3"/>
                      <a:pt x="36" y="3"/>
                      <a:pt x="36" y="3"/>
                    </a:cubicBezTo>
                    <a:cubicBezTo>
                      <a:pt x="36" y="3"/>
                      <a:pt x="36" y="3"/>
                      <a:pt x="36" y="3"/>
                    </a:cubicBezTo>
                    <a:close/>
                    <a:moveTo>
                      <a:pt x="41" y="5"/>
                    </a:moveTo>
                    <a:cubicBezTo>
                      <a:pt x="41" y="5"/>
                      <a:pt x="41" y="5"/>
                      <a:pt x="41" y="5"/>
                    </a:cubicBezTo>
                    <a:cubicBezTo>
                      <a:pt x="41" y="5"/>
                      <a:pt x="41" y="5"/>
                      <a:pt x="41" y="5"/>
                    </a:cubicBezTo>
                    <a:cubicBezTo>
                      <a:pt x="41" y="5"/>
                      <a:pt x="41" y="5"/>
                      <a:pt x="41" y="5"/>
                    </a:cubicBezTo>
                    <a:cubicBezTo>
                      <a:pt x="41" y="5"/>
                      <a:pt x="41" y="5"/>
                      <a:pt x="41" y="5"/>
                    </a:cubicBezTo>
                    <a:close/>
                    <a:moveTo>
                      <a:pt x="42" y="5"/>
                    </a:moveTo>
                    <a:cubicBezTo>
                      <a:pt x="42" y="5"/>
                      <a:pt x="42" y="5"/>
                      <a:pt x="42" y="5"/>
                    </a:cubicBezTo>
                    <a:cubicBezTo>
                      <a:pt x="42" y="5"/>
                      <a:pt x="42" y="5"/>
                      <a:pt x="42" y="5"/>
                    </a:cubicBezTo>
                    <a:cubicBezTo>
                      <a:pt x="42" y="5"/>
                      <a:pt x="42" y="5"/>
                      <a:pt x="42" y="5"/>
                    </a:cubicBezTo>
                    <a:cubicBezTo>
                      <a:pt x="42" y="5"/>
                      <a:pt x="42" y="5"/>
                      <a:pt x="42" y="5"/>
                    </a:cubicBezTo>
                    <a:close/>
                    <a:moveTo>
                      <a:pt x="47" y="6"/>
                    </a:moveTo>
                    <a:cubicBezTo>
                      <a:pt x="47" y="6"/>
                      <a:pt x="46" y="6"/>
                      <a:pt x="46" y="6"/>
                    </a:cubicBezTo>
                    <a:cubicBezTo>
                      <a:pt x="46" y="6"/>
                      <a:pt x="46" y="6"/>
                      <a:pt x="46" y="6"/>
                    </a:cubicBezTo>
                    <a:cubicBezTo>
                      <a:pt x="46" y="6"/>
                      <a:pt x="47" y="6"/>
                      <a:pt x="47" y="6"/>
                    </a:cubicBezTo>
                    <a:cubicBezTo>
                      <a:pt x="47" y="6"/>
                      <a:pt x="47" y="6"/>
                      <a:pt x="47" y="6"/>
                    </a:cubicBezTo>
                    <a:close/>
                    <a:moveTo>
                      <a:pt x="41" y="5"/>
                    </a:moveTo>
                    <a:cubicBezTo>
                      <a:pt x="41" y="5"/>
                      <a:pt x="41" y="5"/>
                      <a:pt x="42" y="5"/>
                    </a:cubicBezTo>
                    <a:cubicBezTo>
                      <a:pt x="42" y="6"/>
                      <a:pt x="41" y="6"/>
                      <a:pt x="41" y="6"/>
                    </a:cubicBezTo>
                    <a:cubicBezTo>
                      <a:pt x="41" y="6"/>
                      <a:pt x="41" y="6"/>
                      <a:pt x="41" y="6"/>
                    </a:cubicBezTo>
                    <a:cubicBezTo>
                      <a:pt x="41" y="6"/>
                      <a:pt x="41" y="6"/>
                      <a:pt x="42" y="6"/>
                    </a:cubicBezTo>
                    <a:cubicBezTo>
                      <a:pt x="41" y="6"/>
                      <a:pt x="41" y="6"/>
                      <a:pt x="41" y="6"/>
                    </a:cubicBezTo>
                    <a:cubicBezTo>
                      <a:pt x="41" y="6"/>
                      <a:pt x="41" y="5"/>
                      <a:pt x="41" y="5"/>
                    </a:cubicBezTo>
                    <a:cubicBezTo>
                      <a:pt x="41" y="5"/>
                      <a:pt x="41" y="5"/>
                      <a:pt x="41" y="5"/>
                    </a:cubicBezTo>
                    <a:close/>
                    <a:moveTo>
                      <a:pt x="42" y="6"/>
                    </a:moveTo>
                    <a:cubicBezTo>
                      <a:pt x="42" y="5"/>
                      <a:pt x="42" y="5"/>
                      <a:pt x="42" y="5"/>
                    </a:cubicBezTo>
                    <a:cubicBezTo>
                      <a:pt x="42" y="5"/>
                      <a:pt x="42" y="6"/>
                      <a:pt x="42" y="6"/>
                    </a:cubicBezTo>
                    <a:cubicBezTo>
                      <a:pt x="42" y="6"/>
                      <a:pt x="42" y="6"/>
                      <a:pt x="42" y="6"/>
                    </a:cubicBezTo>
                    <a:cubicBezTo>
                      <a:pt x="42" y="6"/>
                      <a:pt x="42" y="6"/>
                      <a:pt x="42" y="6"/>
                    </a:cubicBezTo>
                    <a:cubicBezTo>
                      <a:pt x="42" y="6"/>
                      <a:pt x="42" y="6"/>
                      <a:pt x="42" y="6"/>
                    </a:cubicBezTo>
                    <a:close/>
                    <a:moveTo>
                      <a:pt x="47" y="7"/>
                    </a:moveTo>
                    <a:cubicBezTo>
                      <a:pt x="47" y="7"/>
                      <a:pt x="46" y="7"/>
                      <a:pt x="46" y="7"/>
                    </a:cubicBezTo>
                    <a:cubicBezTo>
                      <a:pt x="46" y="7"/>
                      <a:pt x="46" y="7"/>
                      <a:pt x="46" y="7"/>
                    </a:cubicBezTo>
                    <a:cubicBezTo>
                      <a:pt x="47" y="7"/>
                      <a:pt x="47" y="7"/>
                      <a:pt x="47" y="7"/>
                    </a:cubicBezTo>
                    <a:cubicBezTo>
                      <a:pt x="47" y="7"/>
                      <a:pt x="47" y="7"/>
                      <a:pt x="47" y="7"/>
                    </a:cubicBezTo>
                    <a:close/>
                    <a:moveTo>
                      <a:pt x="40" y="6"/>
                    </a:moveTo>
                    <a:cubicBezTo>
                      <a:pt x="40" y="6"/>
                      <a:pt x="40" y="6"/>
                      <a:pt x="40" y="6"/>
                    </a:cubicBezTo>
                    <a:cubicBezTo>
                      <a:pt x="40" y="6"/>
                      <a:pt x="40" y="6"/>
                      <a:pt x="40" y="7"/>
                    </a:cubicBezTo>
                    <a:cubicBezTo>
                      <a:pt x="40" y="6"/>
                      <a:pt x="40" y="6"/>
                      <a:pt x="40" y="6"/>
                    </a:cubicBezTo>
                    <a:cubicBezTo>
                      <a:pt x="40" y="6"/>
                      <a:pt x="40" y="6"/>
                      <a:pt x="40" y="6"/>
                    </a:cubicBezTo>
                    <a:cubicBezTo>
                      <a:pt x="40" y="6"/>
                      <a:pt x="40" y="6"/>
                      <a:pt x="40" y="6"/>
                    </a:cubicBezTo>
                    <a:cubicBezTo>
                      <a:pt x="40" y="6"/>
                      <a:pt x="40" y="6"/>
                      <a:pt x="40" y="6"/>
                    </a:cubicBezTo>
                    <a:cubicBezTo>
                      <a:pt x="40" y="6"/>
                      <a:pt x="40" y="6"/>
                      <a:pt x="40" y="6"/>
                    </a:cubicBezTo>
                    <a:cubicBezTo>
                      <a:pt x="40" y="6"/>
                      <a:pt x="40" y="6"/>
                      <a:pt x="40" y="6"/>
                    </a:cubicBezTo>
                    <a:close/>
                    <a:moveTo>
                      <a:pt x="41" y="7"/>
                    </a:moveTo>
                    <a:cubicBezTo>
                      <a:pt x="41" y="6"/>
                      <a:pt x="41" y="6"/>
                      <a:pt x="41" y="6"/>
                    </a:cubicBezTo>
                    <a:cubicBezTo>
                      <a:pt x="41" y="6"/>
                      <a:pt x="41" y="6"/>
                      <a:pt x="41" y="7"/>
                    </a:cubicBezTo>
                    <a:cubicBezTo>
                      <a:pt x="41" y="7"/>
                      <a:pt x="41" y="7"/>
                      <a:pt x="41" y="7"/>
                    </a:cubicBezTo>
                    <a:cubicBezTo>
                      <a:pt x="41" y="7"/>
                      <a:pt x="41" y="7"/>
                      <a:pt x="41" y="7"/>
                    </a:cubicBezTo>
                    <a:close/>
                    <a:moveTo>
                      <a:pt x="41" y="7"/>
                    </a:moveTo>
                    <a:cubicBezTo>
                      <a:pt x="41" y="7"/>
                      <a:pt x="41" y="7"/>
                      <a:pt x="41" y="7"/>
                    </a:cubicBezTo>
                    <a:cubicBezTo>
                      <a:pt x="41" y="7"/>
                      <a:pt x="41" y="7"/>
                      <a:pt x="41" y="7"/>
                    </a:cubicBezTo>
                    <a:cubicBezTo>
                      <a:pt x="41" y="7"/>
                      <a:pt x="41" y="7"/>
                      <a:pt x="41" y="7"/>
                    </a:cubicBezTo>
                    <a:cubicBezTo>
                      <a:pt x="41" y="7"/>
                      <a:pt x="41" y="7"/>
                      <a:pt x="41" y="7"/>
                    </a:cubicBezTo>
                    <a:cubicBezTo>
                      <a:pt x="41" y="7"/>
                      <a:pt x="41" y="7"/>
                      <a:pt x="41" y="7"/>
                    </a:cubicBezTo>
                    <a:cubicBezTo>
                      <a:pt x="41" y="7"/>
                      <a:pt x="41" y="7"/>
                      <a:pt x="41" y="7"/>
                    </a:cubicBezTo>
                    <a:cubicBezTo>
                      <a:pt x="41" y="7"/>
                      <a:pt x="41" y="7"/>
                      <a:pt x="41" y="7"/>
                    </a:cubicBezTo>
                    <a:cubicBezTo>
                      <a:pt x="41" y="7"/>
                      <a:pt x="41" y="7"/>
                      <a:pt x="41" y="7"/>
                    </a:cubicBezTo>
                    <a:close/>
                    <a:moveTo>
                      <a:pt x="46" y="8"/>
                    </a:moveTo>
                    <a:cubicBezTo>
                      <a:pt x="46" y="8"/>
                      <a:pt x="46" y="8"/>
                      <a:pt x="46" y="8"/>
                    </a:cubicBezTo>
                    <a:cubicBezTo>
                      <a:pt x="46" y="8"/>
                      <a:pt x="46" y="8"/>
                      <a:pt x="46" y="8"/>
                    </a:cubicBezTo>
                    <a:cubicBezTo>
                      <a:pt x="46" y="8"/>
                      <a:pt x="46" y="8"/>
                      <a:pt x="46" y="8"/>
                    </a:cubicBezTo>
                    <a:cubicBezTo>
                      <a:pt x="46" y="8"/>
                      <a:pt x="46" y="8"/>
                      <a:pt x="46" y="8"/>
                    </a:cubicBezTo>
                    <a:cubicBezTo>
                      <a:pt x="46" y="8"/>
                      <a:pt x="46" y="8"/>
                      <a:pt x="46" y="8"/>
                    </a:cubicBezTo>
                    <a:cubicBezTo>
                      <a:pt x="46" y="8"/>
                      <a:pt x="46" y="8"/>
                      <a:pt x="46" y="8"/>
                    </a:cubicBezTo>
                    <a:close/>
                    <a:moveTo>
                      <a:pt x="45" y="8"/>
                    </a:moveTo>
                    <a:cubicBezTo>
                      <a:pt x="45" y="8"/>
                      <a:pt x="45" y="8"/>
                      <a:pt x="45" y="8"/>
                    </a:cubicBezTo>
                    <a:cubicBezTo>
                      <a:pt x="45" y="8"/>
                      <a:pt x="45" y="8"/>
                      <a:pt x="45" y="8"/>
                    </a:cubicBezTo>
                    <a:cubicBezTo>
                      <a:pt x="45" y="8"/>
                      <a:pt x="45" y="8"/>
                      <a:pt x="45" y="8"/>
                    </a:cubicBezTo>
                    <a:cubicBezTo>
                      <a:pt x="45" y="8"/>
                      <a:pt x="45" y="8"/>
                      <a:pt x="45" y="8"/>
                    </a:cubicBezTo>
                    <a:close/>
                    <a:moveTo>
                      <a:pt x="40" y="7"/>
                    </a:moveTo>
                    <a:cubicBezTo>
                      <a:pt x="40" y="7"/>
                      <a:pt x="40" y="7"/>
                      <a:pt x="40" y="6"/>
                    </a:cubicBezTo>
                    <a:cubicBezTo>
                      <a:pt x="40" y="7"/>
                      <a:pt x="40" y="7"/>
                      <a:pt x="40" y="7"/>
                    </a:cubicBezTo>
                    <a:cubicBezTo>
                      <a:pt x="40" y="7"/>
                      <a:pt x="40" y="7"/>
                      <a:pt x="40" y="7"/>
                    </a:cubicBezTo>
                    <a:cubicBezTo>
                      <a:pt x="40" y="7"/>
                      <a:pt x="40" y="7"/>
                      <a:pt x="40" y="7"/>
                    </a:cubicBezTo>
                    <a:close/>
                    <a:moveTo>
                      <a:pt x="41" y="7"/>
                    </a:moveTo>
                    <a:cubicBezTo>
                      <a:pt x="41" y="7"/>
                      <a:pt x="41" y="7"/>
                      <a:pt x="41" y="7"/>
                    </a:cubicBezTo>
                    <a:cubicBezTo>
                      <a:pt x="41" y="7"/>
                      <a:pt x="41" y="7"/>
                      <a:pt x="41" y="7"/>
                    </a:cubicBezTo>
                    <a:cubicBezTo>
                      <a:pt x="41" y="7"/>
                      <a:pt x="41" y="7"/>
                      <a:pt x="41" y="7"/>
                    </a:cubicBezTo>
                    <a:cubicBezTo>
                      <a:pt x="41" y="7"/>
                      <a:pt x="41" y="7"/>
                      <a:pt x="41" y="7"/>
                    </a:cubicBezTo>
                    <a:close/>
                    <a:moveTo>
                      <a:pt x="47" y="8"/>
                    </a:moveTo>
                    <a:cubicBezTo>
                      <a:pt x="47" y="8"/>
                      <a:pt x="47" y="8"/>
                      <a:pt x="47" y="8"/>
                    </a:cubicBezTo>
                    <a:cubicBezTo>
                      <a:pt x="47" y="8"/>
                      <a:pt x="47" y="8"/>
                      <a:pt x="47" y="8"/>
                    </a:cubicBezTo>
                    <a:cubicBezTo>
                      <a:pt x="47" y="8"/>
                      <a:pt x="47" y="8"/>
                      <a:pt x="47" y="8"/>
                    </a:cubicBezTo>
                    <a:cubicBezTo>
                      <a:pt x="47" y="8"/>
                      <a:pt x="47" y="8"/>
                      <a:pt x="47" y="8"/>
                    </a:cubicBezTo>
                    <a:close/>
                    <a:moveTo>
                      <a:pt x="47" y="8"/>
                    </a:moveTo>
                    <a:cubicBezTo>
                      <a:pt x="47" y="8"/>
                      <a:pt x="47" y="8"/>
                      <a:pt x="47" y="8"/>
                    </a:cubicBezTo>
                    <a:cubicBezTo>
                      <a:pt x="47" y="8"/>
                      <a:pt x="47" y="8"/>
                      <a:pt x="47" y="8"/>
                    </a:cubicBezTo>
                    <a:cubicBezTo>
                      <a:pt x="47" y="8"/>
                      <a:pt x="47" y="8"/>
                      <a:pt x="47" y="8"/>
                    </a:cubicBezTo>
                    <a:close/>
                    <a:moveTo>
                      <a:pt x="41" y="7"/>
                    </a:moveTo>
                    <a:cubicBezTo>
                      <a:pt x="41" y="7"/>
                      <a:pt x="41" y="7"/>
                      <a:pt x="40" y="7"/>
                    </a:cubicBezTo>
                    <a:cubicBezTo>
                      <a:pt x="40" y="7"/>
                      <a:pt x="40" y="7"/>
                      <a:pt x="40" y="7"/>
                    </a:cubicBezTo>
                    <a:cubicBezTo>
                      <a:pt x="40" y="7"/>
                      <a:pt x="40" y="7"/>
                      <a:pt x="40" y="7"/>
                    </a:cubicBezTo>
                    <a:cubicBezTo>
                      <a:pt x="40" y="7"/>
                      <a:pt x="40" y="7"/>
                      <a:pt x="40" y="7"/>
                    </a:cubicBezTo>
                    <a:cubicBezTo>
                      <a:pt x="40" y="7"/>
                      <a:pt x="41" y="7"/>
                      <a:pt x="41" y="7"/>
                    </a:cubicBezTo>
                    <a:cubicBezTo>
                      <a:pt x="41" y="7"/>
                      <a:pt x="41" y="7"/>
                      <a:pt x="41" y="7"/>
                    </a:cubicBezTo>
                    <a:cubicBezTo>
                      <a:pt x="41" y="7"/>
                      <a:pt x="41" y="7"/>
                      <a:pt x="41" y="7"/>
                    </a:cubicBezTo>
                    <a:cubicBezTo>
                      <a:pt x="41" y="7"/>
                      <a:pt x="41" y="7"/>
                      <a:pt x="41" y="7"/>
                    </a:cubicBezTo>
                    <a:close/>
                    <a:moveTo>
                      <a:pt x="41" y="7"/>
                    </a:moveTo>
                    <a:cubicBezTo>
                      <a:pt x="41" y="7"/>
                      <a:pt x="41" y="7"/>
                      <a:pt x="41" y="7"/>
                    </a:cubicBezTo>
                    <a:cubicBezTo>
                      <a:pt x="41" y="7"/>
                      <a:pt x="41" y="7"/>
                      <a:pt x="41" y="7"/>
                    </a:cubicBezTo>
                    <a:cubicBezTo>
                      <a:pt x="41" y="7"/>
                      <a:pt x="41" y="7"/>
                      <a:pt x="41" y="7"/>
                    </a:cubicBezTo>
                    <a:cubicBezTo>
                      <a:pt x="41" y="7"/>
                      <a:pt x="41" y="7"/>
                      <a:pt x="41" y="7"/>
                    </a:cubicBezTo>
                    <a:cubicBezTo>
                      <a:pt x="41" y="7"/>
                      <a:pt x="41" y="7"/>
                      <a:pt x="41" y="7"/>
                    </a:cubicBezTo>
                    <a:close/>
                    <a:moveTo>
                      <a:pt x="46" y="8"/>
                    </a:moveTo>
                    <a:cubicBezTo>
                      <a:pt x="46" y="8"/>
                      <a:pt x="46" y="8"/>
                      <a:pt x="46" y="8"/>
                    </a:cubicBezTo>
                    <a:cubicBezTo>
                      <a:pt x="46" y="8"/>
                      <a:pt x="46" y="8"/>
                      <a:pt x="46" y="8"/>
                    </a:cubicBezTo>
                    <a:cubicBezTo>
                      <a:pt x="46" y="8"/>
                      <a:pt x="46" y="8"/>
                      <a:pt x="46" y="8"/>
                    </a:cubicBezTo>
                    <a:cubicBezTo>
                      <a:pt x="46" y="8"/>
                      <a:pt x="46" y="8"/>
                      <a:pt x="46" y="8"/>
                    </a:cubicBezTo>
                    <a:close/>
                    <a:moveTo>
                      <a:pt x="36" y="6"/>
                    </a:moveTo>
                    <a:cubicBezTo>
                      <a:pt x="36" y="6"/>
                      <a:pt x="35" y="6"/>
                      <a:pt x="35" y="6"/>
                    </a:cubicBezTo>
                    <a:cubicBezTo>
                      <a:pt x="35" y="6"/>
                      <a:pt x="36" y="6"/>
                      <a:pt x="36" y="7"/>
                    </a:cubicBezTo>
                    <a:cubicBezTo>
                      <a:pt x="36" y="6"/>
                      <a:pt x="36" y="6"/>
                      <a:pt x="36" y="6"/>
                    </a:cubicBezTo>
                    <a:cubicBezTo>
                      <a:pt x="36" y="6"/>
                      <a:pt x="36" y="6"/>
                      <a:pt x="36" y="6"/>
                    </a:cubicBezTo>
                    <a:cubicBezTo>
                      <a:pt x="36" y="6"/>
                      <a:pt x="36" y="6"/>
                      <a:pt x="36" y="6"/>
                    </a:cubicBezTo>
                    <a:close/>
                    <a:moveTo>
                      <a:pt x="45" y="8"/>
                    </a:moveTo>
                    <a:cubicBezTo>
                      <a:pt x="45" y="8"/>
                      <a:pt x="45" y="8"/>
                      <a:pt x="45" y="8"/>
                    </a:cubicBezTo>
                    <a:cubicBezTo>
                      <a:pt x="45" y="8"/>
                      <a:pt x="45" y="8"/>
                      <a:pt x="45" y="8"/>
                    </a:cubicBezTo>
                    <a:cubicBezTo>
                      <a:pt x="45" y="8"/>
                      <a:pt x="45" y="8"/>
                      <a:pt x="45" y="8"/>
                    </a:cubicBezTo>
                    <a:cubicBezTo>
                      <a:pt x="45" y="8"/>
                      <a:pt x="45" y="8"/>
                      <a:pt x="45" y="8"/>
                    </a:cubicBezTo>
                    <a:close/>
                    <a:moveTo>
                      <a:pt x="40" y="7"/>
                    </a:moveTo>
                    <a:cubicBezTo>
                      <a:pt x="40" y="7"/>
                      <a:pt x="40" y="7"/>
                      <a:pt x="40" y="7"/>
                    </a:cubicBezTo>
                    <a:cubicBezTo>
                      <a:pt x="40" y="7"/>
                      <a:pt x="40" y="8"/>
                      <a:pt x="40" y="8"/>
                    </a:cubicBezTo>
                    <a:cubicBezTo>
                      <a:pt x="40" y="8"/>
                      <a:pt x="40" y="8"/>
                      <a:pt x="41" y="8"/>
                    </a:cubicBezTo>
                    <a:cubicBezTo>
                      <a:pt x="41" y="7"/>
                      <a:pt x="40" y="7"/>
                      <a:pt x="40" y="7"/>
                    </a:cubicBezTo>
                    <a:cubicBezTo>
                      <a:pt x="40" y="7"/>
                      <a:pt x="40" y="7"/>
                      <a:pt x="40" y="7"/>
                    </a:cubicBezTo>
                    <a:close/>
                    <a:moveTo>
                      <a:pt x="45" y="8"/>
                    </a:moveTo>
                    <a:cubicBezTo>
                      <a:pt x="45" y="8"/>
                      <a:pt x="44" y="8"/>
                      <a:pt x="44" y="8"/>
                    </a:cubicBezTo>
                    <a:cubicBezTo>
                      <a:pt x="44" y="9"/>
                      <a:pt x="44" y="9"/>
                      <a:pt x="44" y="9"/>
                    </a:cubicBezTo>
                    <a:cubicBezTo>
                      <a:pt x="44" y="9"/>
                      <a:pt x="45" y="9"/>
                      <a:pt x="45" y="8"/>
                    </a:cubicBezTo>
                    <a:cubicBezTo>
                      <a:pt x="45" y="9"/>
                      <a:pt x="45" y="9"/>
                      <a:pt x="45" y="9"/>
                    </a:cubicBezTo>
                    <a:cubicBezTo>
                      <a:pt x="45" y="9"/>
                      <a:pt x="45" y="9"/>
                      <a:pt x="44" y="9"/>
                    </a:cubicBezTo>
                    <a:cubicBezTo>
                      <a:pt x="45" y="9"/>
                      <a:pt x="45" y="9"/>
                      <a:pt x="45" y="9"/>
                    </a:cubicBezTo>
                    <a:cubicBezTo>
                      <a:pt x="45" y="9"/>
                      <a:pt x="45" y="9"/>
                      <a:pt x="45" y="8"/>
                    </a:cubicBezTo>
                    <a:cubicBezTo>
                      <a:pt x="45" y="8"/>
                      <a:pt x="45" y="8"/>
                      <a:pt x="45" y="8"/>
                    </a:cubicBezTo>
                    <a:close/>
                    <a:moveTo>
                      <a:pt x="41" y="8"/>
                    </a:moveTo>
                    <a:cubicBezTo>
                      <a:pt x="41" y="8"/>
                      <a:pt x="41" y="8"/>
                      <a:pt x="41" y="8"/>
                    </a:cubicBezTo>
                    <a:cubicBezTo>
                      <a:pt x="41" y="8"/>
                      <a:pt x="41" y="8"/>
                      <a:pt x="41" y="8"/>
                    </a:cubicBezTo>
                    <a:cubicBezTo>
                      <a:pt x="41" y="8"/>
                      <a:pt x="41" y="8"/>
                      <a:pt x="41" y="8"/>
                    </a:cubicBezTo>
                    <a:cubicBezTo>
                      <a:pt x="41" y="8"/>
                      <a:pt x="41" y="8"/>
                      <a:pt x="41" y="8"/>
                    </a:cubicBezTo>
                    <a:close/>
                    <a:moveTo>
                      <a:pt x="46" y="10"/>
                    </a:moveTo>
                    <a:cubicBezTo>
                      <a:pt x="46" y="10"/>
                      <a:pt x="46" y="10"/>
                      <a:pt x="46" y="10"/>
                    </a:cubicBezTo>
                    <a:cubicBezTo>
                      <a:pt x="46" y="10"/>
                      <a:pt x="46" y="10"/>
                      <a:pt x="46" y="10"/>
                    </a:cubicBezTo>
                    <a:cubicBezTo>
                      <a:pt x="46" y="10"/>
                      <a:pt x="46" y="10"/>
                      <a:pt x="46" y="10"/>
                    </a:cubicBezTo>
                    <a:cubicBezTo>
                      <a:pt x="46" y="10"/>
                      <a:pt x="46" y="10"/>
                      <a:pt x="46" y="10"/>
                    </a:cubicBezTo>
                    <a:cubicBezTo>
                      <a:pt x="46" y="10"/>
                      <a:pt x="46" y="10"/>
                      <a:pt x="46" y="10"/>
                    </a:cubicBezTo>
                    <a:cubicBezTo>
                      <a:pt x="46" y="10"/>
                      <a:pt x="46" y="10"/>
                      <a:pt x="46" y="10"/>
                    </a:cubicBezTo>
                    <a:close/>
                    <a:moveTo>
                      <a:pt x="45" y="10"/>
                    </a:moveTo>
                    <a:cubicBezTo>
                      <a:pt x="45" y="10"/>
                      <a:pt x="45" y="10"/>
                      <a:pt x="45" y="10"/>
                    </a:cubicBezTo>
                    <a:cubicBezTo>
                      <a:pt x="45" y="10"/>
                      <a:pt x="45" y="10"/>
                      <a:pt x="45" y="10"/>
                    </a:cubicBezTo>
                    <a:cubicBezTo>
                      <a:pt x="45" y="10"/>
                      <a:pt x="45" y="10"/>
                      <a:pt x="45" y="10"/>
                    </a:cubicBezTo>
                    <a:cubicBezTo>
                      <a:pt x="45" y="10"/>
                      <a:pt x="45" y="10"/>
                      <a:pt x="45" y="10"/>
                    </a:cubicBezTo>
                    <a:close/>
                    <a:moveTo>
                      <a:pt x="46" y="11"/>
                    </a:moveTo>
                    <a:cubicBezTo>
                      <a:pt x="46" y="11"/>
                      <a:pt x="46" y="11"/>
                      <a:pt x="46" y="11"/>
                    </a:cubicBezTo>
                    <a:cubicBezTo>
                      <a:pt x="46" y="11"/>
                      <a:pt x="46" y="11"/>
                      <a:pt x="46" y="11"/>
                    </a:cubicBezTo>
                    <a:cubicBezTo>
                      <a:pt x="46" y="11"/>
                      <a:pt x="46" y="11"/>
                      <a:pt x="46" y="11"/>
                    </a:cubicBezTo>
                    <a:cubicBezTo>
                      <a:pt x="46" y="11"/>
                      <a:pt x="46" y="11"/>
                      <a:pt x="46" y="11"/>
                    </a:cubicBezTo>
                    <a:close/>
                    <a:moveTo>
                      <a:pt x="38" y="9"/>
                    </a:moveTo>
                    <a:cubicBezTo>
                      <a:pt x="38" y="9"/>
                      <a:pt x="38" y="9"/>
                      <a:pt x="38" y="9"/>
                    </a:cubicBezTo>
                    <a:cubicBezTo>
                      <a:pt x="38" y="9"/>
                      <a:pt x="38" y="9"/>
                      <a:pt x="38" y="9"/>
                    </a:cubicBezTo>
                    <a:cubicBezTo>
                      <a:pt x="38" y="9"/>
                      <a:pt x="38" y="9"/>
                      <a:pt x="38" y="9"/>
                    </a:cubicBezTo>
                    <a:cubicBezTo>
                      <a:pt x="38" y="9"/>
                      <a:pt x="38" y="9"/>
                      <a:pt x="38" y="9"/>
                    </a:cubicBezTo>
                    <a:close/>
                    <a:moveTo>
                      <a:pt x="45" y="11"/>
                    </a:moveTo>
                    <a:cubicBezTo>
                      <a:pt x="45" y="11"/>
                      <a:pt x="45" y="11"/>
                      <a:pt x="45" y="11"/>
                    </a:cubicBezTo>
                    <a:cubicBezTo>
                      <a:pt x="45" y="11"/>
                      <a:pt x="45" y="11"/>
                      <a:pt x="45" y="11"/>
                    </a:cubicBezTo>
                    <a:cubicBezTo>
                      <a:pt x="45" y="11"/>
                      <a:pt x="45" y="11"/>
                      <a:pt x="45" y="11"/>
                    </a:cubicBezTo>
                    <a:cubicBezTo>
                      <a:pt x="45" y="11"/>
                      <a:pt x="45" y="11"/>
                      <a:pt x="45" y="11"/>
                    </a:cubicBezTo>
                    <a:cubicBezTo>
                      <a:pt x="45" y="11"/>
                      <a:pt x="45" y="11"/>
                      <a:pt x="45" y="11"/>
                    </a:cubicBezTo>
                    <a:cubicBezTo>
                      <a:pt x="45" y="11"/>
                      <a:pt x="45" y="11"/>
                      <a:pt x="45" y="11"/>
                    </a:cubicBezTo>
                    <a:close/>
                    <a:moveTo>
                      <a:pt x="37" y="10"/>
                    </a:moveTo>
                    <a:cubicBezTo>
                      <a:pt x="37" y="10"/>
                      <a:pt x="37" y="10"/>
                      <a:pt x="37" y="10"/>
                    </a:cubicBezTo>
                    <a:cubicBezTo>
                      <a:pt x="37" y="10"/>
                      <a:pt x="37" y="10"/>
                      <a:pt x="37" y="10"/>
                    </a:cubicBezTo>
                    <a:cubicBezTo>
                      <a:pt x="37" y="10"/>
                      <a:pt x="37" y="10"/>
                      <a:pt x="37" y="10"/>
                    </a:cubicBezTo>
                    <a:cubicBezTo>
                      <a:pt x="37" y="10"/>
                      <a:pt x="37" y="10"/>
                      <a:pt x="37" y="10"/>
                    </a:cubicBezTo>
                    <a:close/>
                    <a:moveTo>
                      <a:pt x="39" y="10"/>
                    </a:moveTo>
                    <a:cubicBezTo>
                      <a:pt x="39" y="10"/>
                      <a:pt x="39" y="10"/>
                      <a:pt x="39" y="10"/>
                    </a:cubicBezTo>
                    <a:cubicBezTo>
                      <a:pt x="39" y="10"/>
                      <a:pt x="39" y="10"/>
                      <a:pt x="39" y="10"/>
                    </a:cubicBezTo>
                    <a:cubicBezTo>
                      <a:pt x="39" y="10"/>
                      <a:pt x="39" y="10"/>
                      <a:pt x="39" y="10"/>
                    </a:cubicBezTo>
                    <a:cubicBezTo>
                      <a:pt x="39" y="10"/>
                      <a:pt x="39" y="10"/>
                      <a:pt x="39" y="10"/>
                    </a:cubicBezTo>
                    <a:close/>
                    <a:moveTo>
                      <a:pt x="39" y="10"/>
                    </a:moveTo>
                    <a:cubicBezTo>
                      <a:pt x="39" y="10"/>
                      <a:pt x="39" y="10"/>
                      <a:pt x="39" y="10"/>
                    </a:cubicBezTo>
                    <a:cubicBezTo>
                      <a:pt x="39" y="10"/>
                      <a:pt x="39" y="10"/>
                      <a:pt x="39" y="10"/>
                    </a:cubicBezTo>
                    <a:cubicBezTo>
                      <a:pt x="39" y="10"/>
                      <a:pt x="39" y="10"/>
                      <a:pt x="39" y="10"/>
                    </a:cubicBezTo>
                    <a:cubicBezTo>
                      <a:pt x="39" y="10"/>
                      <a:pt x="39" y="10"/>
                      <a:pt x="39" y="10"/>
                    </a:cubicBezTo>
                    <a:close/>
                    <a:moveTo>
                      <a:pt x="39" y="11"/>
                    </a:moveTo>
                    <a:cubicBezTo>
                      <a:pt x="39" y="11"/>
                      <a:pt x="39" y="11"/>
                      <a:pt x="39" y="11"/>
                    </a:cubicBezTo>
                    <a:cubicBezTo>
                      <a:pt x="39" y="11"/>
                      <a:pt x="39" y="11"/>
                      <a:pt x="39" y="11"/>
                    </a:cubicBezTo>
                    <a:cubicBezTo>
                      <a:pt x="39" y="11"/>
                      <a:pt x="39" y="11"/>
                      <a:pt x="39" y="11"/>
                    </a:cubicBezTo>
                    <a:cubicBezTo>
                      <a:pt x="39" y="11"/>
                      <a:pt x="39" y="11"/>
                      <a:pt x="39" y="11"/>
                    </a:cubicBezTo>
                    <a:close/>
                    <a:moveTo>
                      <a:pt x="31" y="9"/>
                    </a:moveTo>
                    <a:cubicBezTo>
                      <a:pt x="31" y="9"/>
                      <a:pt x="31" y="9"/>
                      <a:pt x="31" y="8"/>
                    </a:cubicBezTo>
                    <a:cubicBezTo>
                      <a:pt x="31" y="9"/>
                      <a:pt x="31" y="9"/>
                      <a:pt x="31" y="10"/>
                    </a:cubicBezTo>
                    <a:cubicBezTo>
                      <a:pt x="31" y="10"/>
                      <a:pt x="31" y="9"/>
                      <a:pt x="31" y="9"/>
                    </a:cubicBezTo>
                    <a:cubicBezTo>
                      <a:pt x="31" y="9"/>
                      <a:pt x="31" y="9"/>
                      <a:pt x="31" y="9"/>
                    </a:cubicBezTo>
                    <a:close/>
                    <a:moveTo>
                      <a:pt x="35" y="10"/>
                    </a:moveTo>
                    <a:cubicBezTo>
                      <a:pt x="35" y="10"/>
                      <a:pt x="34" y="10"/>
                      <a:pt x="34" y="10"/>
                    </a:cubicBezTo>
                    <a:cubicBezTo>
                      <a:pt x="34" y="10"/>
                      <a:pt x="34" y="11"/>
                      <a:pt x="34" y="12"/>
                    </a:cubicBezTo>
                    <a:cubicBezTo>
                      <a:pt x="34" y="12"/>
                      <a:pt x="35" y="12"/>
                      <a:pt x="35" y="12"/>
                    </a:cubicBezTo>
                    <a:cubicBezTo>
                      <a:pt x="35" y="12"/>
                      <a:pt x="35" y="12"/>
                      <a:pt x="35" y="12"/>
                    </a:cubicBezTo>
                    <a:cubicBezTo>
                      <a:pt x="35" y="12"/>
                      <a:pt x="35" y="12"/>
                      <a:pt x="35" y="12"/>
                    </a:cubicBezTo>
                    <a:cubicBezTo>
                      <a:pt x="35" y="12"/>
                      <a:pt x="35" y="12"/>
                      <a:pt x="35" y="12"/>
                    </a:cubicBezTo>
                    <a:cubicBezTo>
                      <a:pt x="35" y="11"/>
                      <a:pt x="35" y="11"/>
                      <a:pt x="35" y="10"/>
                    </a:cubicBezTo>
                    <a:cubicBezTo>
                      <a:pt x="35" y="10"/>
                      <a:pt x="35" y="10"/>
                      <a:pt x="35" y="10"/>
                    </a:cubicBezTo>
                    <a:cubicBezTo>
                      <a:pt x="35" y="10"/>
                      <a:pt x="35" y="10"/>
                      <a:pt x="35" y="10"/>
                    </a:cubicBezTo>
                    <a:cubicBezTo>
                      <a:pt x="35" y="10"/>
                      <a:pt x="35" y="10"/>
                      <a:pt x="35" y="10"/>
                    </a:cubicBezTo>
                    <a:close/>
                    <a:moveTo>
                      <a:pt x="45" y="12"/>
                    </a:moveTo>
                    <a:cubicBezTo>
                      <a:pt x="45" y="12"/>
                      <a:pt x="45" y="12"/>
                      <a:pt x="45" y="12"/>
                    </a:cubicBezTo>
                    <a:cubicBezTo>
                      <a:pt x="45" y="12"/>
                      <a:pt x="45" y="12"/>
                      <a:pt x="45" y="12"/>
                    </a:cubicBezTo>
                    <a:cubicBezTo>
                      <a:pt x="45" y="12"/>
                      <a:pt x="45" y="12"/>
                      <a:pt x="45" y="12"/>
                    </a:cubicBezTo>
                    <a:cubicBezTo>
                      <a:pt x="45" y="12"/>
                      <a:pt x="45" y="12"/>
                      <a:pt x="45" y="12"/>
                    </a:cubicBezTo>
                    <a:close/>
                    <a:moveTo>
                      <a:pt x="46" y="12"/>
                    </a:moveTo>
                    <a:cubicBezTo>
                      <a:pt x="45" y="12"/>
                      <a:pt x="45" y="12"/>
                      <a:pt x="45" y="12"/>
                    </a:cubicBezTo>
                    <a:cubicBezTo>
                      <a:pt x="45" y="12"/>
                      <a:pt x="45" y="13"/>
                      <a:pt x="46" y="12"/>
                    </a:cubicBezTo>
                    <a:cubicBezTo>
                      <a:pt x="46" y="12"/>
                      <a:pt x="46" y="12"/>
                      <a:pt x="46" y="12"/>
                    </a:cubicBezTo>
                    <a:close/>
                    <a:moveTo>
                      <a:pt x="35" y="10"/>
                    </a:moveTo>
                    <a:cubicBezTo>
                      <a:pt x="35" y="10"/>
                      <a:pt x="35" y="10"/>
                      <a:pt x="35" y="10"/>
                    </a:cubicBezTo>
                    <a:cubicBezTo>
                      <a:pt x="35" y="10"/>
                      <a:pt x="35" y="10"/>
                      <a:pt x="35" y="10"/>
                    </a:cubicBezTo>
                    <a:cubicBezTo>
                      <a:pt x="35" y="10"/>
                      <a:pt x="35" y="10"/>
                      <a:pt x="35" y="10"/>
                    </a:cubicBezTo>
                    <a:cubicBezTo>
                      <a:pt x="35" y="10"/>
                      <a:pt x="35" y="10"/>
                      <a:pt x="35" y="10"/>
                    </a:cubicBezTo>
                    <a:cubicBezTo>
                      <a:pt x="35" y="10"/>
                      <a:pt x="35" y="10"/>
                      <a:pt x="35" y="10"/>
                    </a:cubicBezTo>
                    <a:close/>
                    <a:moveTo>
                      <a:pt x="45" y="12"/>
                    </a:moveTo>
                    <a:cubicBezTo>
                      <a:pt x="45" y="12"/>
                      <a:pt x="45" y="12"/>
                      <a:pt x="45" y="12"/>
                    </a:cubicBezTo>
                    <a:cubicBezTo>
                      <a:pt x="45" y="13"/>
                      <a:pt x="45" y="13"/>
                      <a:pt x="45" y="13"/>
                    </a:cubicBezTo>
                    <a:cubicBezTo>
                      <a:pt x="45" y="13"/>
                      <a:pt x="45" y="13"/>
                      <a:pt x="45" y="13"/>
                    </a:cubicBezTo>
                    <a:cubicBezTo>
                      <a:pt x="45" y="13"/>
                      <a:pt x="45" y="13"/>
                      <a:pt x="45" y="12"/>
                    </a:cubicBezTo>
                    <a:cubicBezTo>
                      <a:pt x="45" y="12"/>
                      <a:pt x="45" y="12"/>
                      <a:pt x="45" y="12"/>
                    </a:cubicBezTo>
                    <a:close/>
                    <a:moveTo>
                      <a:pt x="46" y="13"/>
                    </a:moveTo>
                    <a:cubicBezTo>
                      <a:pt x="46" y="13"/>
                      <a:pt x="46" y="13"/>
                      <a:pt x="46" y="13"/>
                    </a:cubicBezTo>
                    <a:cubicBezTo>
                      <a:pt x="46" y="13"/>
                      <a:pt x="46" y="13"/>
                      <a:pt x="46" y="13"/>
                    </a:cubicBezTo>
                    <a:cubicBezTo>
                      <a:pt x="46" y="13"/>
                      <a:pt x="46" y="13"/>
                      <a:pt x="46" y="13"/>
                    </a:cubicBezTo>
                    <a:cubicBezTo>
                      <a:pt x="46" y="13"/>
                      <a:pt x="46" y="13"/>
                      <a:pt x="46" y="13"/>
                    </a:cubicBezTo>
                    <a:close/>
                    <a:moveTo>
                      <a:pt x="35" y="10"/>
                    </a:moveTo>
                    <a:cubicBezTo>
                      <a:pt x="35" y="10"/>
                      <a:pt x="35" y="10"/>
                      <a:pt x="35" y="10"/>
                    </a:cubicBezTo>
                    <a:cubicBezTo>
                      <a:pt x="35" y="10"/>
                      <a:pt x="35" y="11"/>
                      <a:pt x="35" y="11"/>
                    </a:cubicBezTo>
                    <a:cubicBezTo>
                      <a:pt x="35" y="11"/>
                      <a:pt x="35" y="11"/>
                      <a:pt x="35" y="11"/>
                    </a:cubicBezTo>
                    <a:cubicBezTo>
                      <a:pt x="35" y="11"/>
                      <a:pt x="35" y="11"/>
                      <a:pt x="35" y="10"/>
                    </a:cubicBezTo>
                    <a:cubicBezTo>
                      <a:pt x="35" y="10"/>
                      <a:pt x="35" y="10"/>
                      <a:pt x="35" y="10"/>
                    </a:cubicBezTo>
                    <a:close/>
                    <a:moveTo>
                      <a:pt x="36" y="11"/>
                    </a:moveTo>
                    <a:cubicBezTo>
                      <a:pt x="36" y="11"/>
                      <a:pt x="36" y="11"/>
                      <a:pt x="36" y="11"/>
                    </a:cubicBezTo>
                    <a:cubicBezTo>
                      <a:pt x="36" y="11"/>
                      <a:pt x="36" y="11"/>
                      <a:pt x="36" y="11"/>
                    </a:cubicBezTo>
                    <a:cubicBezTo>
                      <a:pt x="36" y="11"/>
                      <a:pt x="36" y="11"/>
                      <a:pt x="36" y="11"/>
                    </a:cubicBezTo>
                    <a:cubicBezTo>
                      <a:pt x="36" y="11"/>
                      <a:pt x="36" y="11"/>
                      <a:pt x="36" y="11"/>
                    </a:cubicBezTo>
                    <a:close/>
                    <a:moveTo>
                      <a:pt x="38" y="11"/>
                    </a:moveTo>
                    <a:cubicBezTo>
                      <a:pt x="38" y="11"/>
                      <a:pt x="38" y="11"/>
                      <a:pt x="38" y="11"/>
                    </a:cubicBezTo>
                    <a:cubicBezTo>
                      <a:pt x="38" y="11"/>
                      <a:pt x="38" y="11"/>
                      <a:pt x="38" y="11"/>
                    </a:cubicBezTo>
                    <a:cubicBezTo>
                      <a:pt x="38" y="11"/>
                      <a:pt x="38" y="11"/>
                      <a:pt x="38" y="11"/>
                    </a:cubicBezTo>
                    <a:cubicBezTo>
                      <a:pt x="38" y="11"/>
                      <a:pt x="38" y="11"/>
                      <a:pt x="38" y="11"/>
                    </a:cubicBezTo>
                    <a:close/>
                    <a:moveTo>
                      <a:pt x="35" y="11"/>
                    </a:moveTo>
                    <a:cubicBezTo>
                      <a:pt x="35" y="11"/>
                      <a:pt x="35" y="11"/>
                      <a:pt x="35" y="11"/>
                    </a:cubicBezTo>
                    <a:cubicBezTo>
                      <a:pt x="35" y="11"/>
                      <a:pt x="35" y="11"/>
                      <a:pt x="35" y="11"/>
                    </a:cubicBezTo>
                    <a:cubicBezTo>
                      <a:pt x="35" y="11"/>
                      <a:pt x="35" y="11"/>
                      <a:pt x="35" y="11"/>
                    </a:cubicBezTo>
                    <a:cubicBezTo>
                      <a:pt x="35" y="11"/>
                      <a:pt x="35" y="11"/>
                      <a:pt x="35" y="11"/>
                    </a:cubicBezTo>
                    <a:close/>
                    <a:moveTo>
                      <a:pt x="36" y="11"/>
                    </a:moveTo>
                    <a:cubicBezTo>
                      <a:pt x="36" y="11"/>
                      <a:pt x="36" y="11"/>
                      <a:pt x="36" y="11"/>
                    </a:cubicBezTo>
                    <a:cubicBezTo>
                      <a:pt x="36" y="11"/>
                      <a:pt x="35" y="11"/>
                      <a:pt x="35" y="12"/>
                    </a:cubicBezTo>
                    <a:cubicBezTo>
                      <a:pt x="36" y="11"/>
                      <a:pt x="36" y="11"/>
                      <a:pt x="36" y="11"/>
                    </a:cubicBezTo>
                    <a:cubicBezTo>
                      <a:pt x="36" y="11"/>
                      <a:pt x="36" y="11"/>
                      <a:pt x="36" y="11"/>
                    </a:cubicBezTo>
                    <a:close/>
                    <a:moveTo>
                      <a:pt x="38" y="12"/>
                    </a:moveTo>
                    <a:cubicBezTo>
                      <a:pt x="38" y="12"/>
                      <a:pt x="37" y="12"/>
                      <a:pt x="37" y="11"/>
                    </a:cubicBezTo>
                    <a:cubicBezTo>
                      <a:pt x="37" y="12"/>
                      <a:pt x="37" y="12"/>
                      <a:pt x="38" y="12"/>
                    </a:cubicBezTo>
                    <a:cubicBezTo>
                      <a:pt x="38" y="12"/>
                      <a:pt x="38" y="12"/>
                      <a:pt x="38" y="12"/>
                    </a:cubicBezTo>
                    <a:cubicBezTo>
                      <a:pt x="38" y="12"/>
                      <a:pt x="38" y="12"/>
                      <a:pt x="38" y="12"/>
                    </a:cubicBezTo>
                    <a:cubicBezTo>
                      <a:pt x="38" y="12"/>
                      <a:pt x="38" y="12"/>
                      <a:pt x="38" y="12"/>
                    </a:cubicBezTo>
                    <a:close/>
                    <a:moveTo>
                      <a:pt x="32" y="11"/>
                    </a:moveTo>
                    <a:cubicBezTo>
                      <a:pt x="32" y="11"/>
                      <a:pt x="32" y="10"/>
                      <a:pt x="32" y="10"/>
                    </a:cubicBezTo>
                    <a:cubicBezTo>
                      <a:pt x="32" y="10"/>
                      <a:pt x="33" y="11"/>
                      <a:pt x="32" y="12"/>
                    </a:cubicBezTo>
                    <a:cubicBezTo>
                      <a:pt x="32" y="12"/>
                      <a:pt x="32" y="11"/>
                      <a:pt x="32" y="11"/>
                    </a:cubicBezTo>
                    <a:cubicBezTo>
                      <a:pt x="33" y="12"/>
                      <a:pt x="33" y="12"/>
                      <a:pt x="33" y="12"/>
                    </a:cubicBezTo>
                    <a:cubicBezTo>
                      <a:pt x="33" y="12"/>
                      <a:pt x="33" y="12"/>
                      <a:pt x="33" y="12"/>
                    </a:cubicBezTo>
                    <a:cubicBezTo>
                      <a:pt x="33" y="12"/>
                      <a:pt x="33" y="12"/>
                      <a:pt x="33" y="11"/>
                    </a:cubicBezTo>
                    <a:cubicBezTo>
                      <a:pt x="33" y="11"/>
                      <a:pt x="33" y="12"/>
                      <a:pt x="33" y="12"/>
                    </a:cubicBezTo>
                    <a:cubicBezTo>
                      <a:pt x="33" y="12"/>
                      <a:pt x="33" y="11"/>
                      <a:pt x="32" y="11"/>
                    </a:cubicBezTo>
                    <a:cubicBezTo>
                      <a:pt x="32" y="11"/>
                      <a:pt x="32" y="11"/>
                      <a:pt x="32" y="11"/>
                    </a:cubicBezTo>
                    <a:close/>
                    <a:moveTo>
                      <a:pt x="35" y="11"/>
                    </a:moveTo>
                    <a:cubicBezTo>
                      <a:pt x="35" y="11"/>
                      <a:pt x="35" y="11"/>
                      <a:pt x="35" y="11"/>
                    </a:cubicBezTo>
                    <a:cubicBezTo>
                      <a:pt x="35" y="11"/>
                      <a:pt x="35" y="12"/>
                      <a:pt x="35" y="12"/>
                    </a:cubicBezTo>
                    <a:cubicBezTo>
                      <a:pt x="35" y="12"/>
                      <a:pt x="35" y="12"/>
                      <a:pt x="35" y="12"/>
                    </a:cubicBezTo>
                    <a:cubicBezTo>
                      <a:pt x="35" y="12"/>
                      <a:pt x="35" y="12"/>
                      <a:pt x="35" y="11"/>
                    </a:cubicBezTo>
                    <a:cubicBezTo>
                      <a:pt x="35" y="11"/>
                      <a:pt x="35" y="11"/>
                      <a:pt x="35" y="11"/>
                    </a:cubicBezTo>
                    <a:cubicBezTo>
                      <a:pt x="35" y="11"/>
                      <a:pt x="35" y="11"/>
                      <a:pt x="35" y="11"/>
                    </a:cubicBezTo>
                    <a:cubicBezTo>
                      <a:pt x="35" y="11"/>
                      <a:pt x="35" y="11"/>
                      <a:pt x="35" y="11"/>
                    </a:cubicBezTo>
                    <a:cubicBezTo>
                      <a:pt x="35" y="11"/>
                      <a:pt x="35" y="11"/>
                      <a:pt x="35" y="11"/>
                    </a:cubicBezTo>
                    <a:close/>
                    <a:moveTo>
                      <a:pt x="38" y="12"/>
                    </a:moveTo>
                    <a:cubicBezTo>
                      <a:pt x="38" y="12"/>
                      <a:pt x="38" y="12"/>
                      <a:pt x="38" y="12"/>
                    </a:cubicBezTo>
                    <a:cubicBezTo>
                      <a:pt x="38" y="12"/>
                      <a:pt x="38" y="12"/>
                      <a:pt x="38" y="13"/>
                    </a:cubicBezTo>
                    <a:cubicBezTo>
                      <a:pt x="38" y="12"/>
                      <a:pt x="38" y="12"/>
                      <a:pt x="38" y="12"/>
                    </a:cubicBezTo>
                    <a:cubicBezTo>
                      <a:pt x="38" y="12"/>
                      <a:pt x="38" y="12"/>
                      <a:pt x="38" y="12"/>
                    </a:cubicBezTo>
                    <a:close/>
                    <a:moveTo>
                      <a:pt x="36" y="12"/>
                    </a:moveTo>
                    <a:cubicBezTo>
                      <a:pt x="36" y="12"/>
                      <a:pt x="36" y="11"/>
                      <a:pt x="36" y="11"/>
                    </a:cubicBezTo>
                    <a:cubicBezTo>
                      <a:pt x="36" y="11"/>
                      <a:pt x="36" y="12"/>
                      <a:pt x="35" y="12"/>
                    </a:cubicBezTo>
                    <a:cubicBezTo>
                      <a:pt x="36" y="12"/>
                      <a:pt x="36" y="12"/>
                      <a:pt x="36" y="12"/>
                    </a:cubicBezTo>
                    <a:cubicBezTo>
                      <a:pt x="36" y="12"/>
                      <a:pt x="36" y="12"/>
                      <a:pt x="36" y="12"/>
                    </a:cubicBezTo>
                    <a:cubicBezTo>
                      <a:pt x="36" y="12"/>
                      <a:pt x="36" y="12"/>
                      <a:pt x="36" y="12"/>
                    </a:cubicBezTo>
                    <a:cubicBezTo>
                      <a:pt x="36" y="12"/>
                      <a:pt x="36" y="13"/>
                      <a:pt x="36" y="13"/>
                    </a:cubicBezTo>
                    <a:cubicBezTo>
                      <a:pt x="36" y="13"/>
                      <a:pt x="36" y="12"/>
                      <a:pt x="36" y="12"/>
                    </a:cubicBezTo>
                    <a:cubicBezTo>
                      <a:pt x="36" y="12"/>
                      <a:pt x="36" y="12"/>
                      <a:pt x="36" y="12"/>
                    </a:cubicBezTo>
                    <a:cubicBezTo>
                      <a:pt x="36" y="12"/>
                      <a:pt x="36" y="12"/>
                      <a:pt x="36" y="12"/>
                    </a:cubicBezTo>
                    <a:cubicBezTo>
                      <a:pt x="36" y="12"/>
                      <a:pt x="36" y="12"/>
                      <a:pt x="36" y="12"/>
                    </a:cubicBezTo>
                    <a:cubicBezTo>
                      <a:pt x="36" y="12"/>
                      <a:pt x="36" y="12"/>
                      <a:pt x="36" y="12"/>
                    </a:cubicBezTo>
                    <a:cubicBezTo>
                      <a:pt x="36" y="12"/>
                      <a:pt x="36" y="12"/>
                      <a:pt x="36" y="12"/>
                    </a:cubicBezTo>
                    <a:close/>
                    <a:moveTo>
                      <a:pt x="31" y="11"/>
                    </a:moveTo>
                    <a:cubicBezTo>
                      <a:pt x="31" y="11"/>
                      <a:pt x="31" y="11"/>
                      <a:pt x="31" y="11"/>
                    </a:cubicBezTo>
                    <a:cubicBezTo>
                      <a:pt x="31" y="11"/>
                      <a:pt x="31" y="11"/>
                      <a:pt x="31" y="11"/>
                    </a:cubicBezTo>
                    <a:cubicBezTo>
                      <a:pt x="31" y="11"/>
                      <a:pt x="31" y="11"/>
                      <a:pt x="31" y="11"/>
                    </a:cubicBezTo>
                    <a:cubicBezTo>
                      <a:pt x="31" y="11"/>
                      <a:pt x="31" y="11"/>
                      <a:pt x="31" y="11"/>
                    </a:cubicBezTo>
                    <a:close/>
                    <a:moveTo>
                      <a:pt x="31" y="11"/>
                    </a:moveTo>
                    <a:cubicBezTo>
                      <a:pt x="31" y="11"/>
                      <a:pt x="31" y="11"/>
                      <a:pt x="31" y="11"/>
                    </a:cubicBezTo>
                    <a:cubicBezTo>
                      <a:pt x="31" y="11"/>
                      <a:pt x="31" y="11"/>
                      <a:pt x="31" y="11"/>
                    </a:cubicBezTo>
                    <a:cubicBezTo>
                      <a:pt x="31" y="11"/>
                      <a:pt x="31" y="11"/>
                      <a:pt x="31" y="11"/>
                    </a:cubicBezTo>
                    <a:cubicBezTo>
                      <a:pt x="31" y="11"/>
                      <a:pt x="31" y="11"/>
                      <a:pt x="31" y="11"/>
                    </a:cubicBezTo>
                    <a:cubicBezTo>
                      <a:pt x="31" y="11"/>
                      <a:pt x="31" y="11"/>
                      <a:pt x="31" y="11"/>
                    </a:cubicBezTo>
                    <a:close/>
                    <a:moveTo>
                      <a:pt x="58" y="17"/>
                    </a:moveTo>
                    <a:cubicBezTo>
                      <a:pt x="58" y="17"/>
                      <a:pt x="58" y="17"/>
                      <a:pt x="58" y="17"/>
                    </a:cubicBezTo>
                    <a:cubicBezTo>
                      <a:pt x="58" y="17"/>
                      <a:pt x="58" y="17"/>
                      <a:pt x="58" y="17"/>
                    </a:cubicBezTo>
                    <a:cubicBezTo>
                      <a:pt x="58" y="17"/>
                      <a:pt x="58" y="17"/>
                      <a:pt x="58" y="17"/>
                    </a:cubicBezTo>
                    <a:cubicBezTo>
                      <a:pt x="58" y="17"/>
                      <a:pt x="58" y="17"/>
                      <a:pt x="58" y="17"/>
                    </a:cubicBezTo>
                    <a:close/>
                    <a:moveTo>
                      <a:pt x="32" y="11"/>
                    </a:moveTo>
                    <a:cubicBezTo>
                      <a:pt x="31" y="11"/>
                      <a:pt x="31" y="11"/>
                      <a:pt x="31" y="11"/>
                    </a:cubicBezTo>
                    <a:cubicBezTo>
                      <a:pt x="31" y="11"/>
                      <a:pt x="31" y="11"/>
                      <a:pt x="31" y="11"/>
                    </a:cubicBezTo>
                    <a:cubicBezTo>
                      <a:pt x="31" y="11"/>
                      <a:pt x="32" y="11"/>
                      <a:pt x="32" y="11"/>
                    </a:cubicBezTo>
                    <a:cubicBezTo>
                      <a:pt x="32" y="12"/>
                      <a:pt x="32" y="12"/>
                      <a:pt x="32" y="12"/>
                    </a:cubicBezTo>
                    <a:cubicBezTo>
                      <a:pt x="32" y="11"/>
                      <a:pt x="32" y="11"/>
                      <a:pt x="32" y="11"/>
                    </a:cubicBezTo>
                    <a:cubicBezTo>
                      <a:pt x="32" y="11"/>
                      <a:pt x="32" y="11"/>
                      <a:pt x="32" y="11"/>
                    </a:cubicBezTo>
                    <a:close/>
                    <a:moveTo>
                      <a:pt x="31" y="11"/>
                    </a:moveTo>
                    <a:cubicBezTo>
                      <a:pt x="31" y="11"/>
                      <a:pt x="31" y="11"/>
                      <a:pt x="31" y="11"/>
                    </a:cubicBezTo>
                    <a:cubicBezTo>
                      <a:pt x="31" y="11"/>
                      <a:pt x="31" y="11"/>
                      <a:pt x="31" y="11"/>
                    </a:cubicBezTo>
                    <a:cubicBezTo>
                      <a:pt x="31" y="11"/>
                      <a:pt x="31" y="11"/>
                      <a:pt x="31" y="11"/>
                    </a:cubicBezTo>
                    <a:cubicBezTo>
                      <a:pt x="31" y="11"/>
                      <a:pt x="31" y="11"/>
                      <a:pt x="31" y="11"/>
                    </a:cubicBezTo>
                    <a:close/>
                    <a:moveTo>
                      <a:pt x="35" y="12"/>
                    </a:moveTo>
                    <a:cubicBezTo>
                      <a:pt x="35" y="12"/>
                      <a:pt x="35" y="12"/>
                      <a:pt x="35" y="12"/>
                    </a:cubicBezTo>
                    <a:cubicBezTo>
                      <a:pt x="35" y="12"/>
                      <a:pt x="35" y="12"/>
                      <a:pt x="35" y="12"/>
                    </a:cubicBezTo>
                    <a:cubicBezTo>
                      <a:pt x="35" y="12"/>
                      <a:pt x="35" y="12"/>
                      <a:pt x="35" y="12"/>
                    </a:cubicBezTo>
                    <a:cubicBezTo>
                      <a:pt x="35" y="12"/>
                      <a:pt x="35" y="12"/>
                      <a:pt x="35" y="12"/>
                    </a:cubicBezTo>
                    <a:close/>
                    <a:moveTo>
                      <a:pt x="31" y="11"/>
                    </a:moveTo>
                    <a:cubicBezTo>
                      <a:pt x="30" y="11"/>
                      <a:pt x="30" y="11"/>
                      <a:pt x="30" y="11"/>
                    </a:cubicBezTo>
                    <a:cubicBezTo>
                      <a:pt x="30" y="11"/>
                      <a:pt x="30" y="11"/>
                      <a:pt x="31" y="11"/>
                    </a:cubicBezTo>
                    <a:cubicBezTo>
                      <a:pt x="31" y="11"/>
                      <a:pt x="31" y="11"/>
                      <a:pt x="31" y="11"/>
                    </a:cubicBezTo>
                    <a:cubicBezTo>
                      <a:pt x="31" y="11"/>
                      <a:pt x="31" y="11"/>
                      <a:pt x="31" y="11"/>
                    </a:cubicBezTo>
                    <a:close/>
                    <a:moveTo>
                      <a:pt x="37" y="13"/>
                    </a:move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close/>
                    <a:moveTo>
                      <a:pt x="31" y="11"/>
                    </a:moveTo>
                    <a:cubicBezTo>
                      <a:pt x="32" y="11"/>
                      <a:pt x="32" y="11"/>
                      <a:pt x="32" y="11"/>
                    </a:cubicBezTo>
                    <a:cubicBezTo>
                      <a:pt x="32" y="11"/>
                      <a:pt x="32" y="11"/>
                      <a:pt x="32" y="11"/>
                    </a:cubicBezTo>
                    <a:cubicBezTo>
                      <a:pt x="32" y="11"/>
                      <a:pt x="32" y="11"/>
                      <a:pt x="31" y="11"/>
                    </a:cubicBezTo>
                    <a:cubicBezTo>
                      <a:pt x="31" y="11"/>
                      <a:pt x="31" y="11"/>
                      <a:pt x="31" y="11"/>
                    </a:cubicBezTo>
                    <a:close/>
                    <a:moveTo>
                      <a:pt x="35" y="12"/>
                    </a:moveTo>
                    <a:cubicBezTo>
                      <a:pt x="35" y="12"/>
                      <a:pt x="35" y="12"/>
                      <a:pt x="35" y="12"/>
                    </a:cubicBezTo>
                    <a:cubicBezTo>
                      <a:pt x="35" y="12"/>
                      <a:pt x="35" y="12"/>
                      <a:pt x="35" y="12"/>
                    </a:cubicBezTo>
                    <a:cubicBezTo>
                      <a:pt x="35" y="12"/>
                      <a:pt x="35" y="12"/>
                      <a:pt x="35" y="12"/>
                    </a:cubicBezTo>
                    <a:cubicBezTo>
                      <a:pt x="35" y="12"/>
                      <a:pt x="35" y="12"/>
                      <a:pt x="35" y="12"/>
                    </a:cubicBezTo>
                    <a:close/>
                    <a:moveTo>
                      <a:pt x="35" y="12"/>
                    </a:moveTo>
                    <a:cubicBezTo>
                      <a:pt x="35" y="12"/>
                      <a:pt x="35" y="12"/>
                      <a:pt x="35" y="12"/>
                    </a:cubicBezTo>
                    <a:cubicBezTo>
                      <a:pt x="35" y="12"/>
                      <a:pt x="35" y="12"/>
                      <a:pt x="35" y="13"/>
                    </a:cubicBezTo>
                    <a:cubicBezTo>
                      <a:pt x="35" y="13"/>
                      <a:pt x="35" y="13"/>
                      <a:pt x="35" y="13"/>
                    </a:cubicBezTo>
                    <a:cubicBezTo>
                      <a:pt x="35" y="13"/>
                      <a:pt x="35" y="13"/>
                      <a:pt x="35" y="12"/>
                    </a:cubicBezTo>
                    <a:cubicBezTo>
                      <a:pt x="35" y="12"/>
                      <a:pt x="35" y="12"/>
                      <a:pt x="35" y="12"/>
                    </a:cubicBezTo>
                    <a:close/>
                    <a:moveTo>
                      <a:pt x="33" y="12"/>
                    </a:moveTo>
                    <a:cubicBezTo>
                      <a:pt x="34" y="12"/>
                      <a:pt x="34" y="12"/>
                      <a:pt x="34" y="12"/>
                    </a:cubicBezTo>
                    <a:cubicBezTo>
                      <a:pt x="34" y="12"/>
                      <a:pt x="34" y="12"/>
                      <a:pt x="34" y="12"/>
                    </a:cubicBezTo>
                    <a:cubicBezTo>
                      <a:pt x="34" y="12"/>
                      <a:pt x="34" y="12"/>
                      <a:pt x="33" y="12"/>
                    </a:cubicBezTo>
                    <a:cubicBezTo>
                      <a:pt x="33" y="12"/>
                      <a:pt x="33" y="12"/>
                      <a:pt x="33" y="12"/>
                    </a:cubicBezTo>
                    <a:close/>
                    <a:moveTo>
                      <a:pt x="37" y="13"/>
                    </a:move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close/>
                    <a:moveTo>
                      <a:pt x="36" y="13"/>
                    </a:moveTo>
                    <a:cubicBezTo>
                      <a:pt x="36" y="13"/>
                      <a:pt x="35" y="13"/>
                      <a:pt x="35" y="13"/>
                    </a:cubicBezTo>
                    <a:cubicBezTo>
                      <a:pt x="35" y="13"/>
                      <a:pt x="35" y="13"/>
                      <a:pt x="35" y="13"/>
                    </a:cubicBezTo>
                    <a:cubicBezTo>
                      <a:pt x="35" y="13"/>
                      <a:pt x="36" y="13"/>
                      <a:pt x="36" y="13"/>
                    </a:cubicBezTo>
                    <a:cubicBezTo>
                      <a:pt x="36" y="13"/>
                      <a:pt x="36" y="13"/>
                      <a:pt x="36" y="13"/>
                    </a:cubicBezTo>
                    <a:cubicBezTo>
                      <a:pt x="36" y="13"/>
                      <a:pt x="36" y="13"/>
                      <a:pt x="36" y="13"/>
                    </a:cubicBezTo>
                    <a:close/>
                    <a:moveTo>
                      <a:pt x="30" y="12"/>
                    </a:moveTo>
                    <a:cubicBezTo>
                      <a:pt x="30" y="12"/>
                      <a:pt x="31" y="12"/>
                      <a:pt x="31" y="12"/>
                    </a:cubicBezTo>
                    <a:cubicBezTo>
                      <a:pt x="31" y="12"/>
                      <a:pt x="31" y="12"/>
                      <a:pt x="31" y="12"/>
                    </a:cubicBezTo>
                    <a:cubicBezTo>
                      <a:pt x="31" y="12"/>
                      <a:pt x="31"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ubicBezTo>
                      <a:pt x="30" y="12"/>
                      <a:pt x="30" y="12"/>
                      <a:pt x="30" y="12"/>
                    </a:cubicBezTo>
                    <a:close/>
                    <a:moveTo>
                      <a:pt x="37" y="13"/>
                    </a:moveTo>
                    <a:cubicBezTo>
                      <a:pt x="37" y="13"/>
                      <a:pt x="37" y="13"/>
                      <a:pt x="37" y="13"/>
                    </a:cubicBezTo>
                    <a:cubicBezTo>
                      <a:pt x="37" y="13"/>
                      <a:pt x="37" y="13"/>
                      <a:pt x="37" y="13"/>
                    </a:cubicBezTo>
                    <a:cubicBezTo>
                      <a:pt x="37" y="13"/>
                      <a:pt x="37" y="13"/>
                      <a:pt x="37" y="13"/>
                    </a:cubicBezTo>
                    <a:cubicBezTo>
                      <a:pt x="37" y="13"/>
                      <a:pt x="37" y="13"/>
                      <a:pt x="37" y="13"/>
                    </a:cubicBezTo>
                    <a:close/>
                    <a:moveTo>
                      <a:pt x="28" y="11"/>
                    </a:moveTo>
                    <a:cubicBezTo>
                      <a:pt x="28" y="11"/>
                      <a:pt x="29" y="11"/>
                      <a:pt x="29" y="12"/>
                    </a:cubicBezTo>
                    <a:cubicBezTo>
                      <a:pt x="29" y="12"/>
                      <a:pt x="29" y="12"/>
                      <a:pt x="29" y="12"/>
                    </a:cubicBezTo>
                    <a:cubicBezTo>
                      <a:pt x="29" y="12"/>
                      <a:pt x="29" y="12"/>
                      <a:pt x="29" y="12"/>
                    </a:cubicBezTo>
                    <a:cubicBezTo>
                      <a:pt x="29" y="12"/>
                      <a:pt x="29" y="12"/>
                      <a:pt x="29" y="12"/>
                    </a:cubicBezTo>
                    <a:cubicBezTo>
                      <a:pt x="29" y="12"/>
                      <a:pt x="28" y="12"/>
                      <a:pt x="28" y="12"/>
                    </a:cubicBezTo>
                    <a:cubicBezTo>
                      <a:pt x="28" y="12"/>
                      <a:pt x="28" y="12"/>
                      <a:pt x="28" y="11"/>
                    </a:cubicBezTo>
                    <a:cubicBezTo>
                      <a:pt x="28" y="11"/>
                      <a:pt x="28" y="11"/>
                      <a:pt x="28" y="11"/>
                    </a:cubicBezTo>
                    <a:close/>
                    <a:moveTo>
                      <a:pt x="43" y="15"/>
                    </a:moveTo>
                    <a:cubicBezTo>
                      <a:pt x="44" y="15"/>
                      <a:pt x="44" y="15"/>
                      <a:pt x="44" y="15"/>
                    </a:cubicBezTo>
                    <a:cubicBezTo>
                      <a:pt x="44" y="15"/>
                      <a:pt x="44" y="15"/>
                      <a:pt x="44" y="15"/>
                    </a:cubicBezTo>
                    <a:cubicBezTo>
                      <a:pt x="44" y="15"/>
                      <a:pt x="43" y="15"/>
                      <a:pt x="43" y="15"/>
                    </a:cubicBezTo>
                    <a:cubicBezTo>
                      <a:pt x="43" y="15"/>
                      <a:pt x="43" y="15"/>
                      <a:pt x="43" y="15"/>
                    </a:cubicBezTo>
                    <a:cubicBezTo>
                      <a:pt x="43" y="15"/>
                      <a:pt x="43" y="15"/>
                      <a:pt x="43" y="15"/>
                    </a:cubicBezTo>
                    <a:cubicBezTo>
                      <a:pt x="43" y="15"/>
                      <a:pt x="43" y="15"/>
                      <a:pt x="43" y="15"/>
                    </a:cubicBezTo>
                    <a:close/>
                    <a:moveTo>
                      <a:pt x="37" y="14"/>
                    </a:moveTo>
                    <a:cubicBezTo>
                      <a:pt x="37" y="14"/>
                      <a:pt x="37" y="14"/>
                      <a:pt x="38" y="14"/>
                    </a:cubicBezTo>
                    <a:cubicBezTo>
                      <a:pt x="38" y="14"/>
                      <a:pt x="38" y="14"/>
                      <a:pt x="38" y="14"/>
                    </a:cubicBezTo>
                    <a:cubicBezTo>
                      <a:pt x="38" y="14"/>
                      <a:pt x="38" y="14"/>
                      <a:pt x="38" y="14"/>
                    </a:cubicBezTo>
                    <a:cubicBezTo>
                      <a:pt x="38" y="14"/>
                      <a:pt x="37" y="14"/>
                      <a:pt x="37" y="14"/>
                    </a:cubicBezTo>
                    <a:cubicBezTo>
                      <a:pt x="37" y="14"/>
                      <a:pt x="37" y="14"/>
                      <a:pt x="37" y="14"/>
                    </a:cubicBezTo>
                    <a:close/>
                    <a:moveTo>
                      <a:pt x="30" y="12"/>
                    </a:moveTo>
                    <a:cubicBezTo>
                      <a:pt x="30" y="12"/>
                      <a:pt x="29" y="12"/>
                      <a:pt x="29" y="12"/>
                    </a:cubicBezTo>
                    <a:cubicBezTo>
                      <a:pt x="29" y="12"/>
                      <a:pt x="29" y="12"/>
                      <a:pt x="29" y="12"/>
                    </a:cubicBezTo>
                    <a:cubicBezTo>
                      <a:pt x="30" y="12"/>
                      <a:pt x="30" y="12"/>
                      <a:pt x="30" y="12"/>
                    </a:cubicBezTo>
                    <a:cubicBezTo>
                      <a:pt x="30" y="12"/>
                      <a:pt x="30" y="12"/>
                      <a:pt x="30" y="12"/>
                    </a:cubicBezTo>
                    <a:cubicBezTo>
                      <a:pt x="30" y="12"/>
                      <a:pt x="30" y="12"/>
                      <a:pt x="30" y="12"/>
                    </a:cubicBezTo>
                    <a:close/>
                    <a:moveTo>
                      <a:pt x="30" y="12"/>
                    </a:moveTo>
                    <a:cubicBezTo>
                      <a:pt x="30" y="12"/>
                      <a:pt x="30" y="12"/>
                      <a:pt x="30" y="12"/>
                    </a:cubicBezTo>
                    <a:cubicBezTo>
                      <a:pt x="30" y="12"/>
                      <a:pt x="30" y="12"/>
                      <a:pt x="30" y="12"/>
                    </a:cubicBezTo>
                    <a:cubicBezTo>
                      <a:pt x="30" y="12"/>
                      <a:pt x="30" y="12"/>
                      <a:pt x="30" y="12"/>
                    </a:cubicBezTo>
                    <a:close/>
                    <a:moveTo>
                      <a:pt x="36" y="14"/>
                    </a:moveTo>
                    <a:cubicBezTo>
                      <a:pt x="36" y="14"/>
                      <a:pt x="36" y="13"/>
                      <a:pt x="36" y="13"/>
                    </a:cubicBezTo>
                    <a:cubicBezTo>
                      <a:pt x="36" y="13"/>
                      <a:pt x="36" y="14"/>
                      <a:pt x="36" y="14"/>
                    </a:cubicBezTo>
                    <a:cubicBezTo>
                      <a:pt x="36" y="14"/>
                      <a:pt x="36" y="14"/>
                      <a:pt x="36" y="14"/>
                    </a:cubicBezTo>
                    <a:cubicBezTo>
                      <a:pt x="36" y="14"/>
                      <a:pt x="36" y="14"/>
                      <a:pt x="36" y="14"/>
                    </a:cubicBezTo>
                    <a:close/>
                    <a:moveTo>
                      <a:pt x="29" y="12"/>
                    </a:moveTo>
                    <a:cubicBezTo>
                      <a:pt x="30" y="12"/>
                      <a:pt x="30" y="12"/>
                      <a:pt x="30" y="12"/>
                    </a:cubicBezTo>
                    <a:cubicBezTo>
                      <a:pt x="30" y="12"/>
                      <a:pt x="30" y="12"/>
                      <a:pt x="30" y="13"/>
                    </a:cubicBezTo>
                    <a:cubicBezTo>
                      <a:pt x="30" y="13"/>
                      <a:pt x="30" y="12"/>
                      <a:pt x="29" y="12"/>
                    </a:cubicBezTo>
                    <a:cubicBezTo>
                      <a:pt x="29" y="12"/>
                      <a:pt x="29" y="12"/>
                      <a:pt x="29" y="12"/>
                    </a:cubicBezTo>
                    <a:cubicBezTo>
                      <a:pt x="29" y="12"/>
                      <a:pt x="29" y="12"/>
                      <a:pt x="29" y="12"/>
                    </a:cubicBezTo>
                    <a:close/>
                    <a:moveTo>
                      <a:pt x="33" y="13"/>
                    </a:moveTo>
                    <a:cubicBezTo>
                      <a:pt x="33" y="13"/>
                      <a:pt x="33" y="13"/>
                      <a:pt x="33" y="13"/>
                    </a:cubicBezTo>
                    <a:cubicBezTo>
                      <a:pt x="33" y="13"/>
                      <a:pt x="33" y="13"/>
                      <a:pt x="33" y="13"/>
                    </a:cubicBezTo>
                    <a:cubicBezTo>
                      <a:pt x="33" y="13"/>
                      <a:pt x="33" y="13"/>
                      <a:pt x="33" y="13"/>
                    </a:cubicBezTo>
                    <a:cubicBezTo>
                      <a:pt x="33" y="13"/>
                      <a:pt x="33" y="13"/>
                      <a:pt x="33" y="13"/>
                    </a:cubicBezTo>
                    <a:cubicBezTo>
                      <a:pt x="33" y="13"/>
                      <a:pt x="33" y="13"/>
                      <a:pt x="33" y="13"/>
                    </a:cubicBezTo>
                    <a:cubicBezTo>
                      <a:pt x="33" y="13"/>
                      <a:pt x="33" y="13"/>
                      <a:pt x="33" y="13"/>
                    </a:cubicBezTo>
                    <a:close/>
                    <a:moveTo>
                      <a:pt x="55" y="18"/>
                    </a:moveTo>
                    <a:cubicBezTo>
                      <a:pt x="55" y="18"/>
                      <a:pt x="55" y="18"/>
                      <a:pt x="56" y="18"/>
                    </a:cubicBezTo>
                    <a:cubicBezTo>
                      <a:pt x="55" y="18"/>
                      <a:pt x="55" y="18"/>
                      <a:pt x="54" y="18"/>
                    </a:cubicBezTo>
                    <a:cubicBezTo>
                      <a:pt x="54" y="18"/>
                      <a:pt x="54" y="18"/>
                      <a:pt x="54" y="18"/>
                    </a:cubicBezTo>
                    <a:cubicBezTo>
                      <a:pt x="54" y="18"/>
                      <a:pt x="55" y="18"/>
                      <a:pt x="55" y="18"/>
                    </a:cubicBezTo>
                    <a:cubicBezTo>
                      <a:pt x="55" y="18"/>
                      <a:pt x="55" y="18"/>
                      <a:pt x="55" y="18"/>
                    </a:cubicBezTo>
                    <a:close/>
                    <a:moveTo>
                      <a:pt x="43" y="16"/>
                    </a:moveTo>
                    <a:cubicBezTo>
                      <a:pt x="43" y="16"/>
                      <a:pt x="43" y="16"/>
                      <a:pt x="43" y="16"/>
                    </a:cubicBezTo>
                    <a:cubicBezTo>
                      <a:pt x="43" y="16"/>
                      <a:pt x="43" y="16"/>
                      <a:pt x="43" y="16"/>
                    </a:cubicBezTo>
                    <a:cubicBezTo>
                      <a:pt x="43" y="16"/>
                      <a:pt x="43" y="16"/>
                      <a:pt x="43" y="16"/>
                    </a:cubicBezTo>
                    <a:cubicBezTo>
                      <a:pt x="43" y="16"/>
                      <a:pt x="43" y="16"/>
                      <a:pt x="43" y="16"/>
                    </a:cubicBezTo>
                    <a:cubicBezTo>
                      <a:pt x="43" y="16"/>
                      <a:pt x="43" y="16"/>
                      <a:pt x="43" y="16"/>
                    </a:cubicBezTo>
                    <a:cubicBezTo>
                      <a:pt x="43" y="16"/>
                      <a:pt x="43" y="16"/>
                      <a:pt x="43" y="16"/>
                    </a:cubicBezTo>
                    <a:close/>
                    <a:moveTo>
                      <a:pt x="28" y="12"/>
                    </a:moveTo>
                    <a:cubicBezTo>
                      <a:pt x="29" y="12"/>
                      <a:pt x="29" y="12"/>
                      <a:pt x="29" y="12"/>
                    </a:cubicBezTo>
                    <a:cubicBezTo>
                      <a:pt x="29" y="12"/>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3"/>
                      <a:pt x="29" y="13"/>
                    </a:cubicBezTo>
                    <a:cubicBezTo>
                      <a:pt x="29" y="13"/>
                      <a:pt x="29" y="14"/>
                      <a:pt x="29" y="14"/>
                    </a:cubicBezTo>
                    <a:cubicBezTo>
                      <a:pt x="29" y="14"/>
                      <a:pt x="29" y="13"/>
                      <a:pt x="28" y="12"/>
                    </a:cubicBezTo>
                    <a:cubicBezTo>
                      <a:pt x="28" y="12"/>
                      <a:pt x="28" y="12"/>
                      <a:pt x="28" y="12"/>
                    </a:cubicBezTo>
                    <a:close/>
                    <a:moveTo>
                      <a:pt x="29" y="13"/>
                    </a:moveTo>
                    <a:cubicBezTo>
                      <a:pt x="29" y="13"/>
                      <a:pt x="29" y="13"/>
                      <a:pt x="29" y="13"/>
                    </a:cubicBezTo>
                    <a:cubicBezTo>
                      <a:pt x="29" y="13"/>
                      <a:pt x="29" y="13"/>
                      <a:pt x="29" y="13"/>
                    </a:cubicBezTo>
                    <a:cubicBezTo>
                      <a:pt x="29" y="13"/>
                      <a:pt x="29" y="13"/>
                      <a:pt x="29" y="13"/>
                    </a:cubicBezTo>
                    <a:cubicBezTo>
                      <a:pt x="29" y="13"/>
                      <a:pt x="29" y="13"/>
                      <a:pt x="29" y="13"/>
                    </a:cubicBezTo>
                    <a:close/>
                    <a:moveTo>
                      <a:pt x="36" y="14"/>
                    </a:moveTo>
                    <a:cubicBezTo>
                      <a:pt x="36" y="14"/>
                      <a:pt x="36" y="14"/>
                      <a:pt x="36" y="14"/>
                    </a:cubicBezTo>
                    <a:cubicBezTo>
                      <a:pt x="36" y="14"/>
                      <a:pt x="36" y="14"/>
                      <a:pt x="36" y="14"/>
                    </a:cubicBezTo>
                    <a:cubicBezTo>
                      <a:pt x="36" y="14"/>
                      <a:pt x="36" y="15"/>
                      <a:pt x="36" y="15"/>
                    </a:cubicBezTo>
                    <a:cubicBezTo>
                      <a:pt x="36" y="14"/>
                      <a:pt x="36" y="14"/>
                      <a:pt x="36" y="14"/>
                    </a:cubicBezTo>
                    <a:cubicBezTo>
                      <a:pt x="36" y="14"/>
                      <a:pt x="36" y="14"/>
                      <a:pt x="36" y="14"/>
                    </a:cubicBezTo>
                    <a:close/>
                    <a:moveTo>
                      <a:pt x="30" y="13"/>
                    </a:moveTo>
                    <a:cubicBezTo>
                      <a:pt x="30" y="13"/>
                      <a:pt x="30" y="13"/>
                      <a:pt x="30" y="13"/>
                    </a:cubicBezTo>
                    <a:cubicBezTo>
                      <a:pt x="30" y="13"/>
                      <a:pt x="30" y="13"/>
                      <a:pt x="29" y="13"/>
                    </a:cubicBezTo>
                    <a:cubicBezTo>
                      <a:pt x="29" y="13"/>
                      <a:pt x="29" y="13"/>
                      <a:pt x="29" y="13"/>
                    </a:cubicBezTo>
                    <a:cubicBezTo>
                      <a:pt x="30" y="13"/>
                      <a:pt x="30" y="13"/>
                      <a:pt x="30" y="13"/>
                    </a:cubicBezTo>
                    <a:cubicBezTo>
                      <a:pt x="30" y="13"/>
                      <a:pt x="30" y="13"/>
                      <a:pt x="30" y="13"/>
                    </a:cubicBezTo>
                    <a:close/>
                    <a:moveTo>
                      <a:pt x="49" y="17"/>
                    </a:moveTo>
                    <a:cubicBezTo>
                      <a:pt x="49" y="17"/>
                      <a:pt x="49" y="17"/>
                      <a:pt x="48" y="17"/>
                    </a:cubicBezTo>
                    <a:cubicBezTo>
                      <a:pt x="48" y="17"/>
                      <a:pt x="48" y="18"/>
                      <a:pt x="48" y="18"/>
                    </a:cubicBezTo>
                    <a:cubicBezTo>
                      <a:pt x="48" y="18"/>
                      <a:pt x="48" y="18"/>
                      <a:pt x="48" y="18"/>
                    </a:cubicBezTo>
                    <a:cubicBezTo>
                      <a:pt x="48" y="18"/>
                      <a:pt x="48" y="18"/>
                      <a:pt x="48" y="18"/>
                    </a:cubicBezTo>
                    <a:cubicBezTo>
                      <a:pt x="48" y="18"/>
                      <a:pt x="48" y="19"/>
                      <a:pt x="48" y="19"/>
                    </a:cubicBezTo>
                    <a:cubicBezTo>
                      <a:pt x="48" y="19"/>
                      <a:pt x="47" y="20"/>
                      <a:pt x="47" y="20"/>
                    </a:cubicBezTo>
                    <a:cubicBezTo>
                      <a:pt x="47" y="20"/>
                      <a:pt x="48" y="20"/>
                      <a:pt x="48" y="20"/>
                    </a:cubicBezTo>
                    <a:cubicBezTo>
                      <a:pt x="48" y="20"/>
                      <a:pt x="49" y="18"/>
                      <a:pt x="49" y="17"/>
                    </a:cubicBezTo>
                    <a:cubicBezTo>
                      <a:pt x="49" y="17"/>
                      <a:pt x="49" y="17"/>
                      <a:pt x="49" y="17"/>
                    </a:cubicBezTo>
                    <a:close/>
                    <a:moveTo>
                      <a:pt x="30" y="13"/>
                    </a:moveTo>
                    <a:cubicBezTo>
                      <a:pt x="30" y="13"/>
                      <a:pt x="30" y="13"/>
                      <a:pt x="29" y="13"/>
                    </a:cubicBezTo>
                    <a:cubicBezTo>
                      <a:pt x="29" y="13"/>
                      <a:pt x="29" y="13"/>
                      <a:pt x="29" y="13"/>
                    </a:cubicBezTo>
                    <a:cubicBezTo>
                      <a:pt x="30" y="13"/>
                      <a:pt x="30" y="13"/>
                      <a:pt x="30" y="13"/>
                    </a:cubicBezTo>
                    <a:cubicBezTo>
                      <a:pt x="30" y="13"/>
                      <a:pt x="30" y="13"/>
                      <a:pt x="30" y="13"/>
                    </a:cubicBezTo>
                    <a:cubicBezTo>
                      <a:pt x="30" y="13"/>
                      <a:pt x="30" y="13"/>
                      <a:pt x="30" y="13"/>
                    </a:cubicBezTo>
                    <a:cubicBezTo>
                      <a:pt x="30" y="13"/>
                      <a:pt x="30" y="13"/>
                      <a:pt x="30" y="13"/>
                    </a:cubicBezTo>
                    <a:close/>
                    <a:moveTo>
                      <a:pt x="52" y="18"/>
                    </a:moveTo>
                    <a:cubicBezTo>
                      <a:pt x="52" y="18"/>
                      <a:pt x="52" y="18"/>
                      <a:pt x="52" y="18"/>
                    </a:cubicBezTo>
                    <a:cubicBezTo>
                      <a:pt x="52" y="18"/>
                      <a:pt x="52" y="18"/>
                      <a:pt x="52" y="18"/>
                    </a:cubicBezTo>
                    <a:cubicBezTo>
                      <a:pt x="52" y="18"/>
                      <a:pt x="52" y="18"/>
                      <a:pt x="52" y="18"/>
                    </a:cubicBezTo>
                    <a:cubicBezTo>
                      <a:pt x="52" y="18"/>
                      <a:pt x="52" y="18"/>
                      <a:pt x="52" y="18"/>
                    </a:cubicBezTo>
                    <a:close/>
                    <a:moveTo>
                      <a:pt x="35" y="15"/>
                    </a:moveTo>
                    <a:cubicBezTo>
                      <a:pt x="35" y="15"/>
                      <a:pt x="35" y="15"/>
                      <a:pt x="35" y="15"/>
                    </a:cubicBezTo>
                    <a:cubicBezTo>
                      <a:pt x="35" y="15"/>
                      <a:pt x="35" y="15"/>
                      <a:pt x="35" y="15"/>
                    </a:cubicBezTo>
                    <a:cubicBezTo>
                      <a:pt x="35" y="15"/>
                      <a:pt x="35" y="15"/>
                      <a:pt x="35" y="15"/>
                    </a:cubicBezTo>
                    <a:cubicBezTo>
                      <a:pt x="35" y="15"/>
                      <a:pt x="35" y="15"/>
                      <a:pt x="35" y="15"/>
                    </a:cubicBezTo>
                    <a:close/>
                    <a:moveTo>
                      <a:pt x="35" y="15"/>
                    </a:moveTo>
                    <a:cubicBezTo>
                      <a:pt x="35" y="15"/>
                      <a:pt x="35" y="15"/>
                      <a:pt x="35" y="15"/>
                    </a:cubicBezTo>
                    <a:cubicBezTo>
                      <a:pt x="35" y="15"/>
                      <a:pt x="35" y="15"/>
                      <a:pt x="35" y="15"/>
                    </a:cubicBezTo>
                    <a:cubicBezTo>
                      <a:pt x="35" y="15"/>
                      <a:pt x="35" y="15"/>
                      <a:pt x="35" y="15"/>
                    </a:cubicBezTo>
                    <a:cubicBezTo>
                      <a:pt x="35" y="15"/>
                      <a:pt x="35" y="15"/>
                      <a:pt x="35" y="15"/>
                    </a:cubicBezTo>
                    <a:close/>
                    <a:moveTo>
                      <a:pt x="34" y="15"/>
                    </a:moveTo>
                    <a:cubicBezTo>
                      <a:pt x="34" y="15"/>
                      <a:pt x="34" y="15"/>
                      <a:pt x="35" y="15"/>
                    </a:cubicBezTo>
                    <a:cubicBezTo>
                      <a:pt x="34" y="15"/>
                      <a:pt x="34" y="15"/>
                      <a:pt x="34" y="15"/>
                    </a:cubicBezTo>
                    <a:cubicBezTo>
                      <a:pt x="34" y="15"/>
                      <a:pt x="34" y="15"/>
                      <a:pt x="34" y="15"/>
                    </a:cubicBezTo>
                    <a:cubicBezTo>
                      <a:pt x="34" y="15"/>
                      <a:pt x="34" y="15"/>
                      <a:pt x="34" y="15"/>
                    </a:cubicBezTo>
                    <a:close/>
                    <a:moveTo>
                      <a:pt x="50" y="18"/>
                    </a:moveTo>
                    <a:cubicBezTo>
                      <a:pt x="50" y="18"/>
                      <a:pt x="50" y="18"/>
                      <a:pt x="50" y="18"/>
                    </a:cubicBezTo>
                    <a:cubicBezTo>
                      <a:pt x="50" y="18"/>
                      <a:pt x="50" y="19"/>
                      <a:pt x="50" y="19"/>
                    </a:cubicBezTo>
                    <a:cubicBezTo>
                      <a:pt x="50" y="19"/>
                      <a:pt x="50" y="19"/>
                      <a:pt x="50" y="19"/>
                    </a:cubicBezTo>
                    <a:cubicBezTo>
                      <a:pt x="50" y="19"/>
                      <a:pt x="50" y="19"/>
                      <a:pt x="50" y="19"/>
                    </a:cubicBezTo>
                    <a:cubicBezTo>
                      <a:pt x="50" y="19"/>
                      <a:pt x="50" y="19"/>
                      <a:pt x="50" y="19"/>
                    </a:cubicBezTo>
                    <a:cubicBezTo>
                      <a:pt x="50" y="19"/>
                      <a:pt x="50" y="19"/>
                      <a:pt x="50" y="18"/>
                    </a:cubicBezTo>
                    <a:cubicBezTo>
                      <a:pt x="50" y="18"/>
                      <a:pt x="50" y="18"/>
                      <a:pt x="50" y="18"/>
                    </a:cubicBezTo>
                    <a:close/>
                    <a:moveTo>
                      <a:pt x="47" y="18"/>
                    </a:moveTo>
                    <a:cubicBezTo>
                      <a:pt x="48" y="18"/>
                      <a:pt x="48" y="17"/>
                      <a:pt x="48" y="17"/>
                    </a:cubicBezTo>
                    <a:cubicBezTo>
                      <a:pt x="48" y="17"/>
                      <a:pt x="48" y="17"/>
                      <a:pt x="48" y="17"/>
                    </a:cubicBezTo>
                    <a:cubicBezTo>
                      <a:pt x="48" y="18"/>
                      <a:pt x="48" y="18"/>
                      <a:pt x="47" y="19"/>
                    </a:cubicBezTo>
                    <a:cubicBezTo>
                      <a:pt x="47" y="18"/>
                      <a:pt x="47" y="18"/>
                      <a:pt x="47" y="18"/>
                    </a:cubicBezTo>
                    <a:cubicBezTo>
                      <a:pt x="47" y="18"/>
                      <a:pt x="47" y="18"/>
                      <a:pt x="47" y="18"/>
                    </a:cubicBezTo>
                    <a:close/>
                    <a:moveTo>
                      <a:pt x="23" y="12"/>
                    </a:moveTo>
                    <a:cubicBezTo>
                      <a:pt x="22" y="11"/>
                      <a:pt x="21" y="10"/>
                      <a:pt x="21" y="9"/>
                    </a:cubicBezTo>
                    <a:cubicBezTo>
                      <a:pt x="22" y="9"/>
                      <a:pt x="22" y="11"/>
                      <a:pt x="23" y="12"/>
                    </a:cubicBezTo>
                    <a:cubicBezTo>
                      <a:pt x="23" y="12"/>
                      <a:pt x="23" y="12"/>
                      <a:pt x="23" y="12"/>
                    </a:cubicBezTo>
                    <a:close/>
                    <a:moveTo>
                      <a:pt x="35" y="15"/>
                    </a:moveTo>
                    <a:cubicBezTo>
                      <a:pt x="35" y="15"/>
                      <a:pt x="35" y="15"/>
                      <a:pt x="35" y="15"/>
                    </a:cubicBezTo>
                    <a:cubicBezTo>
                      <a:pt x="35" y="15"/>
                      <a:pt x="35" y="15"/>
                      <a:pt x="35" y="15"/>
                    </a:cubicBezTo>
                    <a:cubicBezTo>
                      <a:pt x="35" y="15"/>
                      <a:pt x="35" y="15"/>
                      <a:pt x="35" y="15"/>
                    </a:cubicBezTo>
                    <a:cubicBezTo>
                      <a:pt x="35" y="15"/>
                      <a:pt x="35" y="15"/>
                      <a:pt x="35" y="15"/>
                    </a:cubicBezTo>
                    <a:close/>
                    <a:moveTo>
                      <a:pt x="23" y="13"/>
                    </a:moveTo>
                    <a:cubicBezTo>
                      <a:pt x="23" y="11"/>
                      <a:pt x="23" y="10"/>
                      <a:pt x="22" y="9"/>
                    </a:cubicBezTo>
                    <a:cubicBezTo>
                      <a:pt x="23" y="10"/>
                      <a:pt x="23" y="11"/>
                      <a:pt x="23" y="13"/>
                    </a:cubicBezTo>
                    <a:cubicBezTo>
                      <a:pt x="23" y="13"/>
                      <a:pt x="23" y="13"/>
                      <a:pt x="23" y="13"/>
                    </a:cubicBezTo>
                    <a:close/>
                    <a:moveTo>
                      <a:pt x="47" y="18"/>
                    </a:moveTo>
                    <a:cubicBezTo>
                      <a:pt x="47" y="18"/>
                      <a:pt x="47" y="18"/>
                      <a:pt x="47" y="18"/>
                    </a:cubicBezTo>
                    <a:cubicBezTo>
                      <a:pt x="47" y="18"/>
                      <a:pt x="47" y="18"/>
                      <a:pt x="47" y="18"/>
                    </a:cubicBezTo>
                    <a:cubicBezTo>
                      <a:pt x="47" y="18"/>
                      <a:pt x="47" y="18"/>
                      <a:pt x="47" y="18"/>
                    </a:cubicBezTo>
                    <a:cubicBezTo>
                      <a:pt x="47" y="18"/>
                      <a:pt x="47" y="18"/>
                      <a:pt x="47" y="18"/>
                    </a:cubicBezTo>
                    <a:close/>
                    <a:moveTo>
                      <a:pt x="31" y="15"/>
                    </a:moveTo>
                    <a:cubicBezTo>
                      <a:pt x="31" y="15"/>
                      <a:pt x="31" y="15"/>
                      <a:pt x="31" y="15"/>
                    </a:cubicBezTo>
                    <a:cubicBezTo>
                      <a:pt x="31" y="15"/>
                      <a:pt x="31" y="15"/>
                      <a:pt x="31" y="15"/>
                    </a:cubicBezTo>
                    <a:cubicBezTo>
                      <a:pt x="31" y="15"/>
                      <a:pt x="31" y="15"/>
                      <a:pt x="31" y="15"/>
                    </a:cubicBezTo>
                    <a:cubicBezTo>
                      <a:pt x="31" y="15"/>
                      <a:pt x="31" y="15"/>
                      <a:pt x="31" y="15"/>
                    </a:cubicBezTo>
                    <a:close/>
                    <a:moveTo>
                      <a:pt x="31" y="15"/>
                    </a:moveTo>
                    <a:cubicBezTo>
                      <a:pt x="31" y="15"/>
                      <a:pt x="31" y="15"/>
                      <a:pt x="31" y="15"/>
                    </a:cubicBezTo>
                    <a:cubicBezTo>
                      <a:pt x="31" y="15"/>
                      <a:pt x="31" y="15"/>
                      <a:pt x="31" y="15"/>
                    </a:cubicBezTo>
                    <a:cubicBezTo>
                      <a:pt x="31" y="15"/>
                      <a:pt x="31" y="15"/>
                      <a:pt x="31" y="15"/>
                    </a:cubicBezTo>
                    <a:cubicBezTo>
                      <a:pt x="31" y="15"/>
                      <a:pt x="31" y="15"/>
                      <a:pt x="31" y="15"/>
                    </a:cubicBezTo>
                    <a:cubicBezTo>
                      <a:pt x="31" y="15"/>
                      <a:pt x="31" y="15"/>
                      <a:pt x="31" y="15"/>
                    </a:cubicBezTo>
                    <a:cubicBezTo>
                      <a:pt x="31" y="15"/>
                      <a:pt x="31" y="15"/>
                      <a:pt x="31" y="15"/>
                    </a:cubicBezTo>
                    <a:close/>
                    <a:moveTo>
                      <a:pt x="31" y="15"/>
                    </a:moveTo>
                    <a:cubicBezTo>
                      <a:pt x="31" y="15"/>
                      <a:pt x="31" y="15"/>
                      <a:pt x="31" y="15"/>
                    </a:cubicBezTo>
                    <a:cubicBezTo>
                      <a:pt x="31" y="15"/>
                      <a:pt x="31" y="15"/>
                      <a:pt x="31" y="15"/>
                    </a:cubicBezTo>
                    <a:cubicBezTo>
                      <a:pt x="31" y="15"/>
                      <a:pt x="31" y="15"/>
                      <a:pt x="31" y="15"/>
                    </a:cubicBezTo>
                    <a:cubicBezTo>
                      <a:pt x="31" y="15"/>
                      <a:pt x="31" y="15"/>
                      <a:pt x="31" y="15"/>
                    </a:cubicBezTo>
                    <a:cubicBezTo>
                      <a:pt x="31" y="15"/>
                      <a:pt x="31" y="15"/>
                      <a:pt x="31" y="15"/>
                    </a:cubicBezTo>
                    <a:close/>
                    <a:moveTo>
                      <a:pt x="32" y="15"/>
                    </a:moveTo>
                    <a:cubicBezTo>
                      <a:pt x="32" y="15"/>
                      <a:pt x="32" y="15"/>
                      <a:pt x="31" y="15"/>
                    </a:cubicBezTo>
                    <a:cubicBezTo>
                      <a:pt x="32" y="15"/>
                      <a:pt x="32" y="15"/>
                      <a:pt x="32" y="15"/>
                    </a:cubicBezTo>
                    <a:cubicBezTo>
                      <a:pt x="32" y="15"/>
                      <a:pt x="32" y="15"/>
                      <a:pt x="32" y="15"/>
                    </a:cubicBezTo>
                    <a:cubicBezTo>
                      <a:pt x="32" y="15"/>
                      <a:pt x="32" y="15"/>
                      <a:pt x="32" y="15"/>
                    </a:cubicBezTo>
                    <a:close/>
                    <a:moveTo>
                      <a:pt x="46" y="19"/>
                    </a:moveTo>
                    <a:cubicBezTo>
                      <a:pt x="46" y="18"/>
                      <a:pt x="46" y="18"/>
                      <a:pt x="46" y="18"/>
                    </a:cubicBezTo>
                    <a:cubicBezTo>
                      <a:pt x="46" y="18"/>
                      <a:pt x="46" y="19"/>
                      <a:pt x="46" y="19"/>
                    </a:cubicBezTo>
                    <a:cubicBezTo>
                      <a:pt x="46" y="19"/>
                      <a:pt x="46" y="19"/>
                      <a:pt x="46" y="19"/>
                    </a:cubicBezTo>
                    <a:cubicBezTo>
                      <a:pt x="46" y="19"/>
                      <a:pt x="46" y="19"/>
                      <a:pt x="46" y="19"/>
                    </a:cubicBezTo>
                    <a:cubicBezTo>
                      <a:pt x="46" y="19"/>
                      <a:pt x="46" y="19"/>
                      <a:pt x="46" y="19"/>
                    </a:cubicBezTo>
                    <a:close/>
                    <a:moveTo>
                      <a:pt x="29" y="15"/>
                    </a:moveTo>
                    <a:cubicBezTo>
                      <a:pt x="29" y="15"/>
                      <a:pt x="29" y="14"/>
                      <a:pt x="29" y="14"/>
                    </a:cubicBezTo>
                    <a:cubicBezTo>
                      <a:pt x="29" y="14"/>
                      <a:pt x="29" y="15"/>
                      <a:pt x="29" y="15"/>
                    </a:cubicBezTo>
                    <a:cubicBezTo>
                      <a:pt x="29" y="15"/>
                      <a:pt x="29" y="15"/>
                      <a:pt x="29" y="15"/>
                    </a:cubicBezTo>
                    <a:cubicBezTo>
                      <a:pt x="29" y="15"/>
                      <a:pt x="29" y="15"/>
                      <a:pt x="29" y="15"/>
                    </a:cubicBezTo>
                    <a:close/>
                    <a:moveTo>
                      <a:pt x="32" y="16"/>
                    </a:moveTo>
                    <a:cubicBezTo>
                      <a:pt x="32" y="15"/>
                      <a:pt x="32" y="15"/>
                      <a:pt x="32" y="15"/>
                    </a:cubicBezTo>
                    <a:cubicBezTo>
                      <a:pt x="32" y="16"/>
                      <a:pt x="32" y="16"/>
                      <a:pt x="32" y="16"/>
                    </a:cubicBezTo>
                    <a:cubicBezTo>
                      <a:pt x="32" y="16"/>
                      <a:pt x="32" y="16"/>
                      <a:pt x="32" y="16"/>
                    </a:cubicBezTo>
                    <a:cubicBezTo>
                      <a:pt x="32" y="16"/>
                      <a:pt x="32" y="16"/>
                      <a:pt x="32" y="16"/>
                    </a:cubicBezTo>
                    <a:cubicBezTo>
                      <a:pt x="32" y="16"/>
                      <a:pt x="32" y="16"/>
                      <a:pt x="32" y="16"/>
                    </a:cubicBezTo>
                    <a:close/>
                    <a:moveTo>
                      <a:pt x="33" y="16"/>
                    </a:moveTo>
                    <a:cubicBezTo>
                      <a:pt x="33" y="16"/>
                      <a:pt x="32" y="16"/>
                      <a:pt x="32" y="16"/>
                    </a:cubicBezTo>
                    <a:cubicBezTo>
                      <a:pt x="32" y="16"/>
                      <a:pt x="32" y="16"/>
                      <a:pt x="33" y="16"/>
                    </a:cubicBezTo>
                    <a:cubicBezTo>
                      <a:pt x="33" y="16"/>
                      <a:pt x="33" y="16"/>
                      <a:pt x="33" y="16"/>
                    </a:cubicBezTo>
                    <a:cubicBezTo>
                      <a:pt x="33" y="16"/>
                      <a:pt x="33" y="16"/>
                      <a:pt x="33" y="17"/>
                    </a:cubicBezTo>
                    <a:cubicBezTo>
                      <a:pt x="33" y="17"/>
                      <a:pt x="33" y="17"/>
                      <a:pt x="33" y="17"/>
                    </a:cubicBezTo>
                    <a:cubicBezTo>
                      <a:pt x="33" y="17"/>
                      <a:pt x="33" y="17"/>
                      <a:pt x="33" y="17"/>
                    </a:cubicBezTo>
                    <a:cubicBezTo>
                      <a:pt x="33" y="17"/>
                      <a:pt x="33" y="17"/>
                      <a:pt x="33" y="17"/>
                    </a:cubicBezTo>
                    <a:cubicBezTo>
                      <a:pt x="33" y="16"/>
                      <a:pt x="33" y="16"/>
                      <a:pt x="33" y="16"/>
                    </a:cubicBezTo>
                    <a:cubicBezTo>
                      <a:pt x="33" y="16"/>
                      <a:pt x="33" y="16"/>
                      <a:pt x="33" y="16"/>
                    </a:cubicBezTo>
                    <a:close/>
                    <a:moveTo>
                      <a:pt x="29" y="16"/>
                    </a:moveTo>
                    <a:cubicBezTo>
                      <a:pt x="29" y="16"/>
                      <a:pt x="29" y="16"/>
                      <a:pt x="29" y="16"/>
                    </a:cubicBezTo>
                    <a:cubicBezTo>
                      <a:pt x="29" y="16"/>
                      <a:pt x="29" y="16"/>
                      <a:pt x="29" y="16"/>
                    </a:cubicBezTo>
                    <a:cubicBezTo>
                      <a:pt x="29" y="16"/>
                      <a:pt x="29" y="16"/>
                      <a:pt x="29" y="16"/>
                    </a:cubicBezTo>
                    <a:cubicBezTo>
                      <a:pt x="29" y="16"/>
                      <a:pt x="29" y="16"/>
                      <a:pt x="29" y="16"/>
                    </a:cubicBezTo>
                    <a:cubicBezTo>
                      <a:pt x="29" y="16"/>
                      <a:pt x="29" y="16"/>
                      <a:pt x="29" y="16"/>
                    </a:cubicBezTo>
                    <a:close/>
                    <a:moveTo>
                      <a:pt x="27" y="15"/>
                    </a:moveTo>
                    <a:cubicBezTo>
                      <a:pt x="27" y="15"/>
                      <a:pt x="27" y="15"/>
                      <a:pt x="27" y="15"/>
                    </a:cubicBezTo>
                    <a:cubicBezTo>
                      <a:pt x="27" y="15"/>
                      <a:pt x="27" y="15"/>
                      <a:pt x="27" y="15"/>
                    </a:cubicBezTo>
                    <a:cubicBezTo>
                      <a:pt x="27" y="15"/>
                      <a:pt x="27" y="15"/>
                      <a:pt x="27" y="15"/>
                    </a:cubicBezTo>
                    <a:cubicBezTo>
                      <a:pt x="27" y="15"/>
                      <a:pt x="27" y="15"/>
                      <a:pt x="27" y="15"/>
                    </a:cubicBezTo>
                    <a:close/>
                    <a:moveTo>
                      <a:pt x="29" y="16"/>
                    </a:moveTo>
                    <a:cubicBezTo>
                      <a:pt x="29" y="16"/>
                      <a:pt x="29" y="16"/>
                      <a:pt x="30" y="16"/>
                    </a:cubicBezTo>
                    <a:cubicBezTo>
                      <a:pt x="30" y="16"/>
                      <a:pt x="30" y="16"/>
                      <a:pt x="29" y="16"/>
                    </a:cubicBezTo>
                    <a:cubicBezTo>
                      <a:pt x="29" y="16"/>
                      <a:pt x="30" y="16"/>
                      <a:pt x="30" y="16"/>
                    </a:cubicBezTo>
                    <a:cubicBezTo>
                      <a:pt x="30" y="16"/>
                      <a:pt x="30" y="16"/>
                      <a:pt x="30" y="17"/>
                    </a:cubicBezTo>
                    <a:cubicBezTo>
                      <a:pt x="30" y="17"/>
                      <a:pt x="29" y="17"/>
                      <a:pt x="29" y="17"/>
                    </a:cubicBezTo>
                    <a:cubicBezTo>
                      <a:pt x="29" y="16"/>
                      <a:pt x="29" y="16"/>
                      <a:pt x="29" y="16"/>
                    </a:cubicBezTo>
                    <a:cubicBezTo>
                      <a:pt x="29" y="16"/>
                      <a:pt x="29" y="16"/>
                      <a:pt x="29" y="16"/>
                    </a:cubicBezTo>
                    <a:cubicBezTo>
                      <a:pt x="29" y="16"/>
                      <a:pt x="29" y="16"/>
                      <a:pt x="29" y="16"/>
                    </a:cubicBezTo>
                    <a:cubicBezTo>
                      <a:pt x="29" y="16"/>
                      <a:pt x="29" y="16"/>
                      <a:pt x="29" y="16"/>
                    </a:cubicBezTo>
                    <a:close/>
                    <a:moveTo>
                      <a:pt x="27" y="15"/>
                    </a:moveTo>
                    <a:cubicBezTo>
                      <a:pt x="27" y="15"/>
                      <a:pt x="27" y="15"/>
                      <a:pt x="27" y="15"/>
                    </a:cubicBezTo>
                    <a:cubicBezTo>
                      <a:pt x="27" y="15"/>
                      <a:pt x="27" y="15"/>
                      <a:pt x="27" y="16"/>
                    </a:cubicBezTo>
                    <a:cubicBezTo>
                      <a:pt x="27" y="15"/>
                      <a:pt x="27" y="15"/>
                      <a:pt x="27" y="15"/>
                    </a:cubicBezTo>
                    <a:cubicBezTo>
                      <a:pt x="27" y="15"/>
                      <a:pt x="27" y="15"/>
                      <a:pt x="27" y="15"/>
                    </a:cubicBezTo>
                    <a:close/>
                    <a:moveTo>
                      <a:pt x="24" y="15"/>
                    </a:moveTo>
                    <a:cubicBezTo>
                      <a:pt x="24" y="15"/>
                      <a:pt x="24" y="15"/>
                      <a:pt x="24" y="15"/>
                    </a:cubicBezTo>
                    <a:cubicBezTo>
                      <a:pt x="24" y="15"/>
                      <a:pt x="24" y="15"/>
                      <a:pt x="24" y="15"/>
                    </a:cubicBezTo>
                    <a:cubicBezTo>
                      <a:pt x="24" y="15"/>
                      <a:pt x="24" y="15"/>
                      <a:pt x="24" y="15"/>
                    </a:cubicBezTo>
                    <a:cubicBezTo>
                      <a:pt x="24" y="15"/>
                      <a:pt x="24" y="15"/>
                      <a:pt x="24" y="15"/>
                    </a:cubicBezTo>
                    <a:close/>
                    <a:moveTo>
                      <a:pt x="31" y="17"/>
                    </a:moveTo>
                    <a:cubicBezTo>
                      <a:pt x="31" y="17"/>
                      <a:pt x="32" y="17"/>
                      <a:pt x="32" y="17"/>
                    </a:cubicBezTo>
                    <a:cubicBezTo>
                      <a:pt x="32" y="17"/>
                      <a:pt x="32" y="17"/>
                      <a:pt x="31" y="17"/>
                    </a:cubicBezTo>
                    <a:cubicBezTo>
                      <a:pt x="31" y="17"/>
                      <a:pt x="31" y="17"/>
                      <a:pt x="31" y="17"/>
                    </a:cubicBezTo>
                    <a:cubicBezTo>
                      <a:pt x="31" y="17"/>
                      <a:pt x="31" y="17"/>
                      <a:pt x="31" y="17"/>
                    </a:cubicBezTo>
                    <a:close/>
                    <a:moveTo>
                      <a:pt x="49" y="21"/>
                    </a:moveTo>
                    <a:cubicBezTo>
                      <a:pt x="49" y="21"/>
                      <a:pt x="49" y="21"/>
                      <a:pt x="49" y="21"/>
                    </a:cubicBezTo>
                    <a:cubicBezTo>
                      <a:pt x="49" y="21"/>
                      <a:pt x="50" y="21"/>
                      <a:pt x="50" y="21"/>
                    </a:cubicBezTo>
                    <a:cubicBezTo>
                      <a:pt x="50" y="21"/>
                      <a:pt x="49" y="21"/>
                      <a:pt x="49" y="21"/>
                    </a:cubicBezTo>
                    <a:cubicBezTo>
                      <a:pt x="49" y="21"/>
                      <a:pt x="49" y="21"/>
                      <a:pt x="49" y="21"/>
                    </a:cubicBezTo>
                    <a:close/>
                    <a:moveTo>
                      <a:pt x="32" y="17"/>
                    </a:moveTo>
                    <a:cubicBezTo>
                      <a:pt x="32" y="17"/>
                      <a:pt x="32" y="17"/>
                      <a:pt x="32" y="17"/>
                    </a:cubicBezTo>
                    <a:cubicBezTo>
                      <a:pt x="32" y="17"/>
                      <a:pt x="32" y="17"/>
                      <a:pt x="32" y="17"/>
                    </a:cubicBezTo>
                    <a:cubicBezTo>
                      <a:pt x="32" y="17"/>
                      <a:pt x="32" y="17"/>
                      <a:pt x="32" y="17"/>
                    </a:cubicBezTo>
                    <a:cubicBezTo>
                      <a:pt x="32" y="17"/>
                      <a:pt x="32" y="17"/>
                      <a:pt x="32" y="17"/>
                    </a:cubicBezTo>
                    <a:cubicBezTo>
                      <a:pt x="32" y="17"/>
                      <a:pt x="32" y="17"/>
                      <a:pt x="32" y="17"/>
                    </a:cubicBezTo>
                    <a:close/>
                    <a:moveTo>
                      <a:pt x="28" y="16"/>
                    </a:moveTo>
                    <a:cubicBezTo>
                      <a:pt x="28" y="16"/>
                      <a:pt x="28" y="16"/>
                      <a:pt x="28" y="16"/>
                    </a:cubicBezTo>
                    <a:cubicBezTo>
                      <a:pt x="28" y="16"/>
                      <a:pt x="28" y="16"/>
                      <a:pt x="28" y="16"/>
                    </a:cubicBezTo>
                    <a:cubicBezTo>
                      <a:pt x="28" y="16"/>
                      <a:pt x="28" y="16"/>
                      <a:pt x="28" y="16"/>
                    </a:cubicBezTo>
                    <a:cubicBezTo>
                      <a:pt x="28" y="16"/>
                      <a:pt x="28" y="16"/>
                      <a:pt x="28" y="16"/>
                    </a:cubicBezTo>
                    <a:close/>
                    <a:moveTo>
                      <a:pt x="33" y="17"/>
                    </a:moveTo>
                    <a:cubicBezTo>
                      <a:pt x="33" y="17"/>
                      <a:pt x="33" y="17"/>
                      <a:pt x="32" y="17"/>
                    </a:cubicBezTo>
                    <a:cubicBezTo>
                      <a:pt x="32" y="17"/>
                      <a:pt x="32" y="17"/>
                      <a:pt x="32" y="17"/>
                    </a:cubicBezTo>
                    <a:cubicBezTo>
                      <a:pt x="33" y="17"/>
                      <a:pt x="33" y="18"/>
                      <a:pt x="33" y="18"/>
                    </a:cubicBezTo>
                    <a:cubicBezTo>
                      <a:pt x="33" y="18"/>
                      <a:pt x="33" y="17"/>
                      <a:pt x="33" y="17"/>
                    </a:cubicBezTo>
                    <a:cubicBezTo>
                      <a:pt x="33" y="17"/>
                      <a:pt x="33" y="17"/>
                      <a:pt x="33" y="17"/>
                    </a:cubicBezTo>
                    <a:cubicBezTo>
                      <a:pt x="33" y="17"/>
                      <a:pt x="33" y="17"/>
                      <a:pt x="33" y="17"/>
                    </a:cubicBezTo>
                    <a:cubicBezTo>
                      <a:pt x="33" y="17"/>
                      <a:pt x="33" y="17"/>
                      <a:pt x="33" y="17"/>
                    </a:cubicBezTo>
                    <a:cubicBezTo>
                      <a:pt x="33" y="17"/>
                      <a:pt x="33" y="17"/>
                      <a:pt x="33" y="17"/>
                    </a:cubicBezTo>
                    <a:cubicBezTo>
                      <a:pt x="33" y="17"/>
                      <a:pt x="33" y="17"/>
                      <a:pt x="33" y="17"/>
                    </a:cubicBezTo>
                    <a:close/>
                    <a:moveTo>
                      <a:pt x="49" y="21"/>
                    </a:moveTo>
                    <a:cubicBezTo>
                      <a:pt x="49" y="21"/>
                      <a:pt x="49" y="21"/>
                      <a:pt x="49" y="21"/>
                    </a:cubicBezTo>
                    <a:cubicBezTo>
                      <a:pt x="49" y="21"/>
                      <a:pt x="49" y="21"/>
                      <a:pt x="49" y="21"/>
                    </a:cubicBezTo>
                    <a:cubicBezTo>
                      <a:pt x="49" y="21"/>
                      <a:pt x="49" y="21"/>
                      <a:pt x="49" y="21"/>
                    </a:cubicBezTo>
                    <a:cubicBezTo>
                      <a:pt x="49" y="21"/>
                      <a:pt x="49" y="21"/>
                      <a:pt x="49" y="21"/>
                    </a:cubicBezTo>
                    <a:close/>
                    <a:moveTo>
                      <a:pt x="46" y="20"/>
                    </a:moveTo>
                    <a:cubicBezTo>
                      <a:pt x="46" y="20"/>
                      <a:pt x="46" y="20"/>
                      <a:pt x="46" y="20"/>
                    </a:cubicBezTo>
                    <a:cubicBezTo>
                      <a:pt x="46" y="20"/>
                      <a:pt x="45" y="20"/>
                      <a:pt x="45" y="20"/>
                    </a:cubicBezTo>
                    <a:cubicBezTo>
                      <a:pt x="45" y="20"/>
                      <a:pt x="45" y="20"/>
                      <a:pt x="45" y="20"/>
                    </a:cubicBezTo>
                    <a:cubicBezTo>
                      <a:pt x="45" y="20"/>
                      <a:pt x="46" y="20"/>
                      <a:pt x="46" y="20"/>
                    </a:cubicBezTo>
                    <a:cubicBezTo>
                      <a:pt x="46" y="20"/>
                      <a:pt x="46" y="20"/>
                      <a:pt x="46" y="20"/>
                    </a:cubicBezTo>
                    <a:close/>
                    <a:moveTo>
                      <a:pt x="27" y="16"/>
                    </a:moveTo>
                    <a:cubicBezTo>
                      <a:pt x="27" y="16"/>
                      <a:pt x="27" y="16"/>
                      <a:pt x="27" y="16"/>
                    </a:cubicBezTo>
                    <a:cubicBezTo>
                      <a:pt x="27" y="16"/>
                      <a:pt x="27" y="16"/>
                      <a:pt x="27" y="16"/>
                    </a:cubicBezTo>
                    <a:cubicBezTo>
                      <a:pt x="27" y="16"/>
                      <a:pt x="27" y="16"/>
                      <a:pt x="27" y="16"/>
                    </a:cubicBezTo>
                    <a:cubicBezTo>
                      <a:pt x="27" y="16"/>
                      <a:pt x="27" y="16"/>
                      <a:pt x="27" y="16"/>
                    </a:cubicBezTo>
                    <a:cubicBezTo>
                      <a:pt x="27" y="16"/>
                      <a:pt x="27" y="16"/>
                      <a:pt x="27" y="16"/>
                    </a:cubicBezTo>
                    <a:cubicBezTo>
                      <a:pt x="27" y="16"/>
                      <a:pt x="28" y="16"/>
                      <a:pt x="28" y="16"/>
                    </a:cubicBezTo>
                    <a:cubicBezTo>
                      <a:pt x="28" y="16"/>
                      <a:pt x="27" y="16"/>
                      <a:pt x="27" y="16"/>
                    </a:cubicBezTo>
                    <a:cubicBezTo>
                      <a:pt x="27" y="16"/>
                      <a:pt x="27" y="16"/>
                      <a:pt x="27" y="16"/>
                    </a:cubicBezTo>
                    <a:close/>
                    <a:moveTo>
                      <a:pt x="33" y="17"/>
                    </a:moveTo>
                    <a:cubicBezTo>
                      <a:pt x="33" y="17"/>
                      <a:pt x="33" y="17"/>
                      <a:pt x="33" y="17"/>
                    </a:cubicBezTo>
                    <a:cubicBezTo>
                      <a:pt x="33" y="17"/>
                      <a:pt x="33" y="18"/>
                      <a:pt x="33" y="18"/>
                    </a:cubicBezTo>
                    <a:cubicBezTo>
                      <a:pt x="33" y="18"/>
                      <a:pt x="33" y="18"/>
                      <a:pt x="33" y="18"/>
                    </a:cubicBezTo>
                    <a:cubicBezTo>
                      <a:pt x="33" y="18"/>
                      <a:pt x="33" y="18"/>
                      <a:pt x="33" y="18"/>
                    </a:cubicBezTo>
                    <a:cubicBezTo>
                      <a:pt x="33" y="18"/>
                      <a:pt x="33" y="18"/>
                      <a:pt x="33" y="18"/>
                    </a:cubicBezTo>
                    <a:cubicBezTo>
                      <a:pt x="33" y="18"/>
                      <a:pt x="33" y="18"/>
                      <a:pt x="33" y="18"/>
                    </a:cubicBezTo>
                    <a:cubicBezTo>
                      <a:pt x="34" y="18"/>
                      <a:pt x="34" y="18"/>
                      <a:pt x="34" y="18"/>
                    </a:cubicBezTo>
                    <a:cubicBezTo>
                      <a:pt x="34" y="18"/>
                      <a:pt x="33" y="17"/>
                      <a:pt x="33" y="17"/>
                    </a:cubicBezTo>
                    <a:cubicBezTo>
                      <a:pt x="33" y="17"/>
                      <a:pt x="33" y="17"/>
                      <a:pt x="33" y="17"/>
                    </a:cubicBezTo>
                    <a:close/>
                    <a:moveTo>
                      <a:pt x="26" y="16"/>
                    </a:moveTo>
                    <a:cubicBezTo>
                      <a:pt x="26" y="16"/>
                      <a:pt x="26" y="15"/>
                      <a:pt x="26" y="15"/>
                    </a:cubicBezTo>
                    <a:cubicBezTo>
                      <a:pt x="26" y="15"/>
                      <a:pt x="26" y="16"/>
                      <a:pt x="26" y="16"/>
                    </a:cubicBezTo>
                    <a:cubicBezTo>
                      <a:pt x="26" y="16"/>
                      <a:pt x="26" y="16"/>
                      <a:pt x="26" y="16"/>
                    </a:cubicBezTo>
                    <a:cubicBezTo>
                      <a:pt x="26" y="16"/>
                      <a:pt x="26" y="16"/>
                      <a:pt x="26" y="16"/>
                    </a:cubicBezTo>
                    <a:cubicBezTo>
                      <a:pt x="26" y="16"/>
                      <a:pt x="26" y="16"/>
                      <a:pt x="26" y="16"/>
                    </a:cubicBezTo>
                    <a:cubicBezTo>
                      <a:pt x="26" y="16"/>
                      <a:pt x="26" y="16"/>
                      <a:pt x="26" y="16"/>
                    </a:cubicBezTo>
                    <a:cubicBezTo>
                      <a:pt x="26" y="16"/>
                      <a:pt x="26" y="16"/>
                      <a:pt x="26" y="16"/>
                    </a:cubicBezTo>
                    <a:close/>
                    <a:moveTo>
                      <a:pt x="30" y="17"/>
                    </a:moveTo>
                    <a:cubicBezTo>
                      <a:pt x="30" y="17"/>
                      <a:pt x="30" y="17"/>
                      <a:pt x="30" y="17"/>
                    </a:cubicBezTo>
                    <a:cubicBezTo>
                      <a:pt x="30" y="17"/>
                      <a:pt x="30" y="17"/>
                      <a:pt x="30" y="17"/>
                    </a:cubicBezTo>
                    <a:cubicBezTo>
                      <a:pt x="30" y="17"/>
                      <a:pt x="30" y="17"/>
                      <a:pt x="30" y="17"/>
                    </a:cubicBezTo>
                    <a:cubicBezTo>
                      <a:pt x="30" y="17"/>
                      <a:pt x="30" y="17"/>
                      <a:pt x="30" y="17"/>
                    </a:cubicBezTo>
                    <a:close/>
                    <a:moveTo>
                      <a:pt x="49" y="21"/>
                    </a:moveTo>
                    <a:cubicBezTo>
                      <a:pt x="49" y="21"/>
                      <a:pt x="49" y="21"/>
                      <a:pt x="49" y="21"/>
                    </a:cubicBezTo>
                    <a:cubicBezTo>
                      <a:pt x="49" y="21"/>
                      <a:pt x="49" y="21"/>
                      <a:pt x="49" y="21"/>
                    </a:cubicBezTo>
                    <a:cubicBezTo>
                      <a:pt x="49" y="21"/>
                      <a:pt x="49" y="21"/>
                      <a:pt x="49" y="21"/>
                    </a:cubicBezTo>
                    <a:cubicBezTo>
                      <a:pt x="49" y="21"/>
                      <a:pt x="49" y="21"/>
                      <a:pt x="49" y="21"/>
                    </a:cubicBezTo>
                    <a:close/>
                    <a:moveTo>
                      <a:pt x="30" y="17"/>
                    </a:moveTo>
                    <a:cubicBezTo>
                      <a:pt x="30" y="17"/>
                      <a:pt x="30" y="17"/>
                      <a:pt x="30" y="17"/>
                    </a:cubicBezTo>
                    <a:cubicBezTo>
                      <a:pt x="30" y="17"/>
                      <a:pt x="30" y="17"/>
                      <a:pt x="30" y="17"/>
                    </a:cubicBezTo>
                    <a:cubicBezTo>
                      <a:pt x="30" y="17"/>
                      <a:pt x="30" y="17"/>
                      <a:pt x="30" y="17"/>
                    </a:cubicBezTo>
                    <a:cubicBezTo>
                      <a:pt x="30" y="17"/>
                      <a:pt x="30" y="17"/>
                      <a:pt x="30" y="17"/>
                    </a:cubicBezTo>
                    <a:cubicBezTo>
                      <a:pt x="30" y="17"/>
                      <a:pt x="30" y="17"/>
                      <a:pt x="30" y="17"/>
                    </a:cubicBezTo>
                    <a:close/>
                    <a:moveTo>
                      <a:pt x="33" y="18"/>
                    </a:moveTo>
                    <a:cubicBezTo>
                      <a:pt x="33" y="18"/>
                      <a:pt x="33" y="18"/>
                      <a:pt x="33" y="18"/>
                    </a:cubicBezTo>
                    <a:cubicBezTo>
                      <a:pt x="33" y="18"/>
                      <a:pt x="33" y="18"/>
                      <a:pt x="33"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3" y="18"/>
                      <a:pt x="33" y="18"/>
                    </a:cubicBezTo>
                    <a:cubicBezTo>
                      <a:pt x="33" y="18"/>
                      <a:pt x="33" y="18"/>
                      <a:pt x="33" y="18"/>
                    </a:cubicBezTo>
                    <a:cubicBezTo>
                      <a:pt x="33" y="18"/>
                      <a:pt x="33" y="18"/>
                      <a:pt x="33" y="18"/>
                    </a:cubicBezTo>
                    <a:close/>
                    <a:moveTo>
                      <a:pt x="43" y="20"/>
                    </a:moveTo>
                    <a:cubicBezTo>
                      <a:pt x="43" y="20"/>
                      <a:pt x="43" y="20"/>
                      <a:pt x="43" y="20"/>
                    </a:cubicBezTo>
                    <a:cubicBezTo>
                      <a:pt x="43" y="20"/>
                      <a:pt x="43" y="20"/>
                      <a:pt x="43" y="20"/>
                    </a:cubicBezTo>
                    <a:cubicBezTo>
                      <a:pt x="43" y="20"/>
                      <a:pt x="43" y="20"/>
                      <a:pt x="43" y="20"/>
                    </a:cubicBezTo>
                    <a:cubicBezTo>
                      <a:pt x="43" y="20"/>
                      <a:pt x="43" y="20"/>
                      <a:pt x="43" y="20"/>
                    </a:cubicBezTo>
                    <a:cubicBezTo>
                      <a:pt x="43" y="20"/>
                      <a:pt x="43" y="20"/>
                      <a:pt x="43" y="20"/>
                    </a:cubicBezTo>
                    <a:cubicBezTo>
                      <a:pt x="43" y="20"/>
                      <a:pt x="43" y="20"/>
                      <a:pt x="43" y="20"/>
                    </a:cubicBezTo>
                    <a:close/>
                    <a:moveTo>
                      <a:pt x="30" y="18"/>
                    </a:moveTo>
                    <a:cubicBezTo>
                      <a:pt x="31" y="18"/>
                      <a:pt x="31" y="18"/>
                      <a:pt x="31" y="18"/>
                    </a:cubicBezTo>
                    <a:cubicBezTo>
                      <a:pt x="31" y="18"/>
                      <a:pt x="31" y="18"/>
                      <a:pt x="31" y="18"/>
                    </a:cubicBezTo>
                    <a:cubicBezTo>
                      <a:pt x="31" y="18"/>
                      <a:pt x="31" y="18"/>
                      <a:pt x="30" y="18"/>
                    </a:cubicBezTo>
                    <a:cubicBezTo>
                      <a:pt x="30" y="18"/>
                      <a:pt x="30" y="18"/>
                      <a:pt x="30" y="18"/>
                    </a:cubicBezTo>
                    <a:cubicBezTo>
                      <a:pt x="30" y="18"/>
                      <a:pt x="30" y="18"/>
                      <a:pt x="30" y="18"/>
                    </a:cubicBezTo>
                    <a:close/>
                    <a:moveTo>
                      <a:pt x="42" y="20"/>
                    </a:moveTo>
                    <a:cubicBezTo>
                      <a:pt x="42" y="20"/>
                      <a:pt x="42" y="20"/>
                      <a:pt x="42" y="20"/>
                    </a:cubicBezTo>
                    <a:cubicBezTo>
                      <a:pt x="42" y="20"/>
                      <a:pt x="42" y="20"/>
                      <a:pt x="42" y="20"/>
                    </a:cubicBezTo>
                    <a:cubicBezTo>
                      <a:pt x="42" y="20"/>
                      <a:pt x="42" y="20"/>
                      <a:pt x="42" y="20"/>
                    </a:cubicBezTo>
                    <a:cubicBezTo>
                      <a:pt x="42" y="20"/>
                      <a:pt x="42" y="20"/>
                      <a:pt x="42" y="20"/>
                    </a:cubicBezTo>
                    <a:close/>
                    <a:moveTo>
                      <a:pt x="43" y="21"/>
                    </a:moveTo>
                    <a:cubicBezTo>
                      <a:pt x="43" y="21"/>
                      <a:pt x="43" y="20"/>
                      <a:pt x="43" y="20"/>
                    </a:cubicBezTo>
                    <a:cubicBezTo>
                      <a:pt x="43" y="21"/>
                      <a:pt x="43" y="21"/>
                      <a:pt x="43" y="21"/>
                    </a:cubicBezTo>
                    <a:cubicBezTo>
                      <a:pt x="43" y="21"/>
                      <a:pt x="43" y="21"/>
                      <a:pt x="43" y="21"/>
                    </a:cubicBezTo>
                    <a:cubicBezTo>
                      <a:pt x="43" y="21"/>
                      <a:pt x="43" y="21"/>
                      <a:pt x="43" y="21"/>
                    </a:cubicBezTo>
                    <a:cubicBezTo>
                      <a:pt x="43" y="21"/>
                      <a:pt x="43" y="21"/>
                      <a:pt x="43" y="21"/>
                    </a:cubicBezTo>
                    <a:cubicBezTo>
                      <a:pt x="43" y="21"/>
                      <a:pt x="43" y="21"/>
                      <a:pt x="43" y="21"/>
                    </a:cubicBezTo>
                    <a:close/>
                    <a:moveTo>
                      <a:pt x="26" y="17"/>
                    </a:moveTo>
                    <a:cubicBezTo>
                      <a:pt x="26" y="17"/>
                      <a:pt x="26" y="17"/>
                      <a:pt x="26" y="17"/>
                    </a:cubicBezTo>
                    <a:cubicBezTo>
                      <a:pt x="26" y="17"/>
                      <a:pt x="26" y="17"/>
                      <a:pt x="26" y="17"/>
                    </a:cubicBezTo>
                    <a:cubicBezTo>
                      <a:pt x="26" y="17"/>
                      <a:pt x="26" y="17"/>
                      <a:pt x="26" y="17"/>
                    </a:cubicBezTo>
                    <a:cubicBezTo>
                      <a:pt x="26" y="17"/>
                      <a:pt x="26" y="17"/>
                      <a:pt x="26" y="17"/>
                    </a:cubicBezTo>
                    <a:close/>
                    <a:moveTo>
                      <a:pt x="27" y="17"/>
                    </a:moveTo>
                    <a:cubicBezTo>
                      <a:pt x="26" y="17"/>
                      <a:pt x="26" y="17"/>
                      <a:pt x="26" y="17"/>
                    </a:cubicBezTo>
                    <a:cubicBezTo>
                      <a:pt x="26" y="17"/>
                      <a:pt x="26" y="17"/>
                      <a:pt x="26" y="17"/>
                    </a:cubicBezTo>
                    <a:cubicBezTo>
                      <a:pt x="26" y="17"/>
                      <a:pt x="27" y="17"/>
                      <a:pt x="27" y="17"/>
                    </a:cubicBezTo>
                    <a:cubicBezTo>
                      <a:pt x="27" y="17"/>
                      <a:pt x="27" y="17"/>
                      <a:pt x="27" y="17"/>
                    </a:cubicBezTo>
                    <a:cubicBezTo>
                      <a:pt x="27" y="17"/>
                      <a:pt x="27" y="17"/>
                      <a:pt x="27" y="17"/>
                    </a:cubicBezTo>
                    <a:close/>
                    <a:moveTo>
                      <a:pt x="42" y="20"/>
                    </a:moveTo>
                    <a:cubicBezTo>
                      <a:pt x="42" y="20"/>
                      <a:pt x="42" y="20"/>
                      <a:pt x="42" y="20"/>
                    </a:cubicBezTo>
                    <a:cubicBezTo>
                      <a:pt x="42" y="20"/>
                      <a:pt x="42" y="20"/>
                      <a:pt x="42" y="20"/>
                    </a:cubicBezTo>
                    <a:cubicBezTo>
                      <a:pt x="42" y="20"/>
                      <a:pt x="42" y="20"/>
                      <a:pt x="42" y="20"/>
                    </a:cubicBezTo>
                    <a:cubicBezTo>
                      <a:pt x="42" y="20"/>
                      <a:pt x="42" y="20"/>
                      <a:pt x="42" y="20"/>
                    </a:cubicBezTo>
                    <a:close/>
                    <a:moveTo>
                      <a:pt x="43" y="21"/>
                    </a:moveTo>
                    <a:cubicBezTo>
                      <a:pt x="43" y="21"/>
                      <a:pt x="43" y="21"/>
                      <a:pt x="43" y="21"/>
                    </a:cubicBezTo>
                    <a:cubicBezTo>
                      <a:pt x="43" y="21"/>
                      <a:pt x="42" y="21"/>
                      <a:pt x="42" y="21"/>
                    </a:cubicBezTo>
                    <a:cubicBezTo>
                      <a:pt x="42" y="21"/>
                      <a:pt x="42" y="21"/>
                      <a:pt x="42" y="21"/>
                    </a:cubicBezTo>
                    <a:cubicBezTo>
                      <a:pt x="42" y="21"/>
                      <a:pt x="42" y="21"/>
                      <a:pt x="42" y="21"/>
                    </a:cubicBezTo>
                    <a:cubicBezTo>
                      <a:pt x="42" y="21"/>
                      <a:pt x="42" y="21"/>
                      <a:pt x="43" y="21"/>
                    </a:cubicBezTo>
                    <a:cubicBezTo>
                      <a:pt x="43" y="21"/>
                      <a:pt x="43" y="21"/>
                      <a:pt x="43" y="21"/>
                    </a:cubicBezTo>
                    <a:close/>
                    <a:moveTo>
                      <a:pt x="27" y="17"/>
                    </a:moveTo>
                    <a:cubicBezTo>
                      <a:pt x="27" y="17"/>
                      <a:pt x="27" y="18"/>
                      <a:pt x="27" y="18"/>
                    </a:cubicBezTo>
                    <a:cubicBezTo>
                      <a:pt x="27" y="18"/>
                      <a:pt x="27" y="18"/>
                      <a:pt x="27" y="17"/>
                    </a:cubicBezTo>
                    <a:cubicBezTo>
                      <a:pt x="27" y="17"/>
                      <a:pt x="27" y="17"/>
                      <a:pt x="27" y="17"/>
                    </a:cubicBezTo>
                    <a:close/>
                    <a:moveTo>
                      <a:pt x="42" y="20"/>
                    </a:moveTo>
                    <a:cubicBezTo>
                      <a:pt x="41" y="20"/>
                      <a:pt x="41" y="20"/>
                      <a:pt x="41" y="20"/>
                    </a:cubicBezTo>
                    <a:cubicBezTo>
                      <a:pt x="41" y="21"/>
                      <a:pt x="41" y="21"/>
                      <a:pt x="41" y="21"/>
                    </a:cubicBezTo>
                    <a:cubicBezTo>
                      <a:pt x="41" y="21"/>
                      <a:pt x="41" y="21"/>
                      <a:pt x="42" y="20"/>
                    </a:cubicBezTo>
                    <a:cubicBezTo>
                      <a:pt x="42" y="20"/>
                      <a:pt x="42" y="20"/>
                      <a:pt x="42" y="20"/>
                    </a:cubicBezTo>
                    <a:close/>
                    <a:moveTo>
                      <a:pt x="42" y="21"/>
                    </a:moveTo>
                    <a:cubicBezTo>
                      <a:pt x="42" y="21"/>
                      <a:pt x="42" y="21"/>
                      <a:pt x="42" y="21"/>
                    </a:cubicBezTo>
                    <a:cubicBezTo>
                      <a:pt x="42" y="21"/>
                      <a:pt x="42" y="21"/>
                      <a:pt x="42" y="21"/>
                    </a:cubicBezTo>
                    <a:cubicBezTo>
                      <a:pt x="42" y="21"/>
                      <a:pt x="42" y="21"/>
                      <a:pt x="42" y="21"/>
                    </a:cubicBezTo>
                    <a:cubicBezTo>
                      <a:pt x="42" y="21"/>
                      <a:pt x="42" y="21"/>
                      <a:pt x="42" y="21"/>
                    </a:cubicBezTo>
                    <a:close/>
                    <a:moveTo>
                      <a:pt x="26" y="17"/>
                    </a:moveTo>
                    <a:cubicBezTo>
                      <a:pt x="26" y="17"/>
                      <a:pt x="26" y="17"/>
                      <a:pt x="26" y="17"/>
                    </a:cubicBezTo>
                    <a:cubicBezTo>
                      <a:pt x="26" y="17"/>
                      <a:pt x="26" y="17"/>
                      <a:pt x="26" y="18"/>
                    </a:cubicBezTo>
                    <a:cubicBezTo>
                      <a:pt x="26" y="18"/>
                      <a:pt x="26" y="18"/>
                      <a:pt x="26" y="18"/>
                    </a:cubicBezTo>
                    <a:cubicBezTo>
                      <a:pt x="26" y="18"/>
                      <a:pt x="27" y="18"/>
                      <a:pt x="27" y="19"/>
                    </a:cubicBezTo>
                    <a:cubicBezTo>
                      <a:pt x="27" y="18"/>
                      <a:pt x="26" y="17"/>
                      <a:pt x="26" y="17"/>
                    </a:cubicBezTo>
                    <a:cubicBezTo>
                      <a:pt x="26" y="17"/>
                      <a:pt x="26" y="17"/>
                      <a:pt x="26" y="17"/>
                    </a:cubicBezTo>
                    <a:cubicBezTo>
                      <a:pt x="26" y="17"/>
                      <a:pt x="26" y="17"/>
                      <a:pt x="26" y="17"/>
                    </a:cubicBezTo>
                    <a:cubicBezTo>
                      <a:pt x="26" y="17"/>
                      <a:pt x="26" y="17"/>
                      <a:pt x="26" y="17"/>
                    </a:cubicBezTo>
                    <a:close/>
                    <a:moveTo>
                      <a:pt x="28" y="17"/>
                    </a:moveTo>
                    <a:cubicBezTo>
                      <a:pt x="27" y="17"/>
                      <a:pt x="27" y="17"/>
                      <a:pt x="27" y="17"/>
                    </a:cubicBezTo>
                    <a:cubicBezTo>
                      <a:pt x="27" y="18"/>
                      <a:pt x="28" y="18"/>
                      <a:pt x="28" y="19"/>
                    </a:cubicBezTo>
                    <a:cubicBezTo>
                      <a:pt x="28" y="19"/>
                      <a:pt x="28" y="19"/>
                      <a:pt x="28" y="19"/>
                    </a:cubicBezTo>
                    <a:cubicBezTo>
                      <a:pt x="28" y="18"/>
                      <a:pt x="28" y="18"/>
                      <a:pt x="28" y="17"/>
                    </a:cubicBezTo>
                    <a:cubicBezTo>
                      <a:pt x="28" y="17"/>
                      <a:pt x="28" y="17"/>
                      <a:pt x="28" y="17"/>
                    </a:cubicBezTo>
                    <a:close/>
                    <a:moveTo>
                      <a:pt x="32" y="19"/>
                    </a:moveTo>
                    <a:cubicBezTo>
                      <a:pt x="32" y="19"/>
                      <a:pt x="32" y="19"/>
                      <a:pt x="32" y="19"/>
                    </a:cubicBezTo>
                    <a:cubicBezTo>
                      <a:pt x="32" y="19"/>
                      <a:pt x="32" y="19"/>
                      <a:pt x="32" y="19"/>
                    </a:cubicBezTo>
                    <a:cubicBezTo>
                      <a:pt x="32" y="19"/>
                      <a:pt x="32" y="19"/>
                      <a:pt x="32" y="19"/>
                    </a:cubicBezTo>
                    <a:cubicBezTo>
                      <a:pt x="32" y="19"/>
                      <a:pt x="32" y="19"/>
                      <a:pt x="32" y="19"/>
                    </a:cubicBezTo>
                    <a:cubicBezTo>
                      <a:pt x="32" y="19"/>
                      <a:pt x="32" y="19"/>
                      <a:pt x="32" y="19"/>
                    </a:cubicBezTo>
                    <a:cubicBezTo>
                      <a:pt x="32" y="19"/>
                      <a:pt x="32" y="19"/>
                      <a:pt x="32" y="19"/>
                    </a:cubicBezTo>
                    <a:cubicBezTo>
                      <a:pt x="32" y="19"/>
                      <a:pt x="32" y="19"/>
                      <a:pt x="32" y="19"/>
                    </a:cubicBezTo>
                    <a:cubicBezTo>
                      <a:pt x="32" y="19"/>
                      <a:pt x="32" y="19"/>
                      <a:pt x="32" y="19"/>
                    </a:cubicBezTo>
                    <a:close/>
                    <a:moveTo>
                      <a:pt x="46" y="22"/>
                    </a:moveTo>
                    <a:cubicBezTo>
                      <a:pt x="46" y="22"/>
                      <a:pt x="46" y="22"/>
                      <a:pt x="46" y="22"/>
                    </a:cubicBezTo>
                    <a:cubicBezTo>
                      <a:pt x="46" y="22"/>
                      <a:pt x="46" y="22"/>
                      <a:pt x="46" y="22"/>
                    </a:cubicBezTo>
                    <a:cubicBezTo>
                      <a:pt x="46" y="22"/>
                      <a:pt x="46" y="22"/>
                      <a:pt x="46" y="22"/>
                    </a:cubicBezTo>
                    <a:cubicBezTo>
                      <a:pt x="46" y="22"/>
                      <a:pt x="46" y="22"/>
                      <a:pt x="46" y="22"/>
                    </a:cubicBezTo>
                    <a:close/>
                    <a:moveTo>
                      <a:pt x="45" y="22"/>
                    </a:moveTo>
                    <a:cubicBezTo>
                      <a:pt x="45" y="22"/>
                      <a:pt x="45" y="22"/>
                      <a:pt x="44" y="22"/>
                    </a:cubicBezTo>
                    <a:cubicBezTo>
                      <a:pt x="45" y="22"/>
                      <a:pt x="45" y="22"/>
                      <a:pt x="45" y="22"/>
                    </a:cubicBezTo>
                    <a:cubicBezTo>
                      <a:pt x="45" y="22"/>
                      <a:pt x="45" y="22"/>
                      <a:pt x="45" y="22"/>
                    </a:cubicBezTo>
                    <a:close/>
                    <a:moveTo>
                      <a:pt x="42" y="21"/>
                    </a:moveTo>
                    <a:cubicBezTo>
                      <a:pt x="42" y="21"/>
                      <a:pt x="42" y="21"/>
                      <a:pt x="42" y="21"/>
                    </a:cubicBezTo>
                    <a:cubicBezTo>
                      <a:pt x="42" y="21"/>
                      <a:pt x="42" y="21"/>
                      <a:pt x="42" y="21"/>
                    </a:cubicBezTo>
                    <a:cubicBezTo>
                      <a:pt x="42" y="21"/>
                      <a:pt x="42" y="21"/>
                      <a:pt x="42" y="21"/>
                    </a:cubicBezTo>
                    <a:cubicBezTo>
                      <a:pt x="42" y="21"/>
                      <a:pt x="42" y="21"/>
                      <a:pt x="42" y="21"/>
                    </a:cubicBezTo>
                    <a:cubicBezTo>
                      <a:pt x="42" y="21"/>
                      <a:pt x="42" y="21"/>
                      <a:pt x="42" y="21"/>
                    </a:cubicBezTo>
                    <a:close/>
                    <a:moveTo>
                      <a:pt x="29" y="18"/>
                    </a:moveTo>
                    <a:cubicBezTo>
                      <a:pt x="29" y="18"/>
                      <a:pt x="29" y="18"/>
                      <a:pt x="29" y="18"/>
                    </a:cubicBezTo>
                    <a:cubicBezTo>
                      <a:pt x="29" y="18"/>
                      <a:pt x="29" y="18"/>
                      <a:pt x="29" y="18"/>
                    </a:cubicBezTo>
                    <a:cubicBezTo>
                      <a:pt x="29" y="18"/>
                      <a:pt x="29" y="18"/>
                      <a:pt x="29" y="18"/>
                    </a:cubicBezTo>
                    <a:cubicBezTo>
                      <a:pt x="29" y="18"/>
                      <a:pt x="29" y="18"/>
                      <a:pt x="29" y="18"/>
                    </a:cubicBezTo>
                    <a:cubicBezTo>
                      <a:pt x="29" y="18"/>
                      <a:pt x="29" y="18"/>
                      <a:pt x="29" y="18"/>
                    </a:cubicBezTo>
                    <a:close/>
                    <a:moveTo>
                      <a:pt x="33" y="19"/>
                    </a:moveTo>
                    <a:cubicBezTo>
                      <a:pt x="33" y="19"/>
                      <a:pt x="33" y="19"/>
                      <a:pt x="33" y="19"/>
                    </a:cubicBezTo>
                    <a:cubicBezTo>
                      <a:pt x="33" y="19"/>
                      <a:pt x="32" y="19"/>
                      <a:pt x="32" y="19"/>
                    </a:cubicBezTo>
                    <a:cubicBezTo>
                      <a:pt x="32" y="19"/>
                      <a:pt x="33" y="19"/>
                      <a:pt x="33" y="19"/>
                    </a:cubicBezTo>
                    <a:cubicBezTo>
                      <a:pt x="33" y="19"/>
                      <a:pt x="33" y="19"/>
                      <a:pt x="33" y="19"/>
                    </a:cubicBezTo>
                    <a:close/>
                    <a:moveTo>
                      <a:pt x="43" y="21"/>
                    </a:moveTo>
                    <a:cubicBezTo>
                      <a:pt x="43" y="21"/>
                      <a:pt x="43" y="21"/>
                      <a:pt x="43" y="21"/>
                    </a:cubicBezTo>
                    <a:cubicBezTo>
                      <a:pt x="43" y="21"/>
                      <a:pt x="43" y="21"/>
                      <a:pt x="43" y="21"/>
                    </a:cubicBezTo>
                    <a:cubicBezTo>
                      <a:pt x="43" y="21"/>
                      <a:pt x="43" y="21"/>
                      <a:pt x="43" y="21"/>
                    </a:cubicBezTo>
                    <a:cubicBezTo>
                      <a:pt x="43" y="21"/>
                      <a:pt x="43" y="21"/>
                      <a:pt x="43" y="21"/>
                    </a:cubicBezTo>
                    <a:close/>
                    <a:moveTo>
                      <a:pt x="29" y="18"/>
                    </a:moveTo>
                    <a:cubicBezTo>
                      <a:pt x="29" y="18"/>
                      <a:pt x="29" y="18"/>
                      <a:pt x="29" y="18"/>
                    </a:cubicBezTo>
                    <a:cubicBezTo>
                      <a:pt x="29" y="18"/>
                      <a:pt x="29" y="18"/>
                      <a:pt x="29" y="19"/>
                    </a:cubicBezTo>
                    <a:cubicBezTo>
                      <a:pt x="29" y="19"/>
                      <a:pt x="29" y="19"/>
                      <a:pt x="29" y="19"/>
                    </a:cubicBezTo>
                    <a:cubicBezTo>
                      <a:pt x="29" y="19"/>
                      <a:pt x="29" y="18"/>
                      <a:pt x="29" y="18"/>
                    </a:cubicBezTo>
                    <a:cubicBezTo>
                      <a:pt x="29" y="18"/>
                      <a:pt x="29" y="18"/>
                      <a:pt x="29" y="18"/>
                    </a:cubicBezTo>
                    <a:close/>
                    <a:moveTo>
                      <a:pt x="42" y="22"/>
                    </a:moveTo>
                    <a:cubicBezTo>
                      <a:pt x="42" y="22"/>
                      <a:pt x="42" y="22"/>
                      <a:pt x="42" y="21"/>
                    </a:cubicBezTo>
                    <a:cubicBezTo>
                      <a:pt x="42" y="22"/>
                      <a:pt x="42" y="22"/>
                      <a:pt x="42" y="22"/>
                    </a:cubicBezTo>
                    <a:cubicBezTo>
                      <a:pt x="42" y="22"/>
                      <a:pt x="42" y="22"/>
                      <a:pt x="42" y="22"/>
                    </a:cubicBezTo>
                    <a:cubicBezTo>
                      <a:pt x="42" y="22"/>
                      <a:pt x="42" y="22"/>
                      <a:pt x="42" y="22"/>
                    </a:cubicBezTo>
                    <a:close/>
                    <a:moveTo>
                      <a:pt x="46" y="23"/>
                    </a:moveTo>
                    <a:cubicBezTo>
                      <a:pt x="46" y="23"/>
                      <a:pt x="46" y="23"/>
                      <a:pt x="46" y="23"/>
                    </a:cubicBezTo>
                    <a:cubicBezTo>
                      <a:pt x="46" y="23"/>
                      <a:pt x="46" y="23"/>
                      <a:pt x="46" y="23"/>
                    </a:cubicBezTo>
                    <a:cubicBezTo>
                      <a:pt x="46" y="23"/>
                      <a:pt x="46" y="23"/>
                      <a:pt x="46" y="23"/>
                    </a:cubicBezTo>
                    <a:cubicBezTo>
                      <a:pt x="46" y="23"/>
                      <a:pt x="46" y="23"/>
                      <a:pt x="46" y="23"/>
                    </a:cubicBezTo>
                    <a:close/>
                    <a:moveTo>
                      <a:pt x="29" y="19"/>
                    </a:moveTo>
                    <a:cubicBezTo>
                      <a:pt x="29" y="19"/>
                      <a:pt x="29" y="19"/>
                      <a:pt x="29" y="19"/>
                    </a:cubicBezTo>
                    <a:cubicBezTo>
                      <a:pt x="29" y="19"/>
                      <a:pt x="29" y="19"/>
                      <a:pt x="29" y="19"/>
                    </a:cubicBezTo>
                    <a:cubicBezTo>
                      <a:pt x="29" y="19"/>
                      <a:pt x="29" y="19"/>
                      <a:pt x="29" y="19"/>
                    </a:cubicBezTo>
                    <a:cubicBezTo>
                      <a:pt x="29" y="19"/>
                      <a:pt x="29" y="19"/>
                      <a:pt x="29" y="19"/>
                    </a:cubicBezTo>
                    <a:cubicBezTo>
                      <a:pt x="29" y="19"/>
                      <a:pt x="29" y="19"/>
                      <a:pt x="29" y="19"/>
                    </a:cubicBezTo>
                    <a:close/>
                    <a:moveTo>
                      <a:pt x="28" y="19"/>
                    </a:moveTo>
                    <a:cubicBezTo>
                      <a:pt x="28" y="19"/>
                      <a:pt x="28" y="19"/>
                      <a:pt x="28" y="19"/>
                    </a:cubicBezTo>
                    <a:cubicBezTo>
                      <a:pt x="28" y="19"/>
                      <a:pt x="28" y="19"/>
                      <a:pt x="28" y="19"/>
                    </a:cubicBezTo>
                    <a:cubicBezTo>
                      <a:pt x="28" y="19"/>
                      <a:pt x="28" y="19"/>
                      <a:pt x="28" y="19"/>
                    </a:cubicBezTo>
                    <a:cubicBezTo>
                      <a:pt x="28" y="19"/>
                      <a:pt x="28" y="19"/>
                      <a:pt x="28" y="19"/>
                    </a:cubicBezTo>
                    <a:close/>
                    <a:moveTo>
                      <a:pt x="32" y="20"/>
                    </a:moveTo>
                    <a:cubicBezTo>
                      <a:pt x="32" y="20"/>
                      <a:pt x="32" y="20"/>
                      <a:pt x="32" y="20"/>
                    </a:cubicBezTo>
                    <a:cubicBezTo>
                      <a:pt x="32" y="20"/>
                      <a:pt x="32" y="20"/>
                      <a:pt x="32" y="20"/>
                    </a:cubicBezTo>
                    <a:cubicBezTo>
                      <a:pt x="32" y="20"/>
                      <a:pt x="32" y="20"/>
                      <a:pt x="32" y="20"/>
                    </a:cubicBezTo>
                    <a:cubicBezTo>
                      <a:pt x="32" y="20"/>
                      <a:pt x="32" y="20"/>
                      <a:pt x="32" y="20"/>
                    </a:cubicBezTo>
                    <a:close/>
                    <a:moveTo>
                      <a:pt x="32" y="20"/>
                    </a:moveTo>
                    <a:cubicBezTo>
                      <a:pt x="32" y="20"/>
                      <a:pt x="32" y="20"/>
                      <a:pt x="32" y="20"/>
                    </a:cubicBezTo>
                    <a:cubicBezTo>
                      <a:pt x="32" y="20"/>
                      <a:pt x="32" y="20"/>
                      <a:pt x="32" y="20"/>
                    </a:cubicBezTo>
                    <a:cubicBezTo>
                      <a:pt x="32" y="20"/>
                      <a:pt x="32" y="20"/>
                      <a:pt x="32" y="20"/>
                    </a:cubicBezTo>
                    <a:close/>
                    <a:moveTo>
                      <a:pt x="29" y="19"/>
                    </a:moveTo>
                    <a:cubicBezTo>
                      <a:pt x="29" y="19"/>
                      <a:pt x="29" y="19"/>
                      <a:pt x="29" y="19"/>
                    </a:cubicBezTo>
                    <a:cubicBezTo>
                      <a:pt x="29" y="19"/>
                      <a:pt x="29" y="19"/>
                      <a:pt x="29" y="19"/>
                    </a:cubicBezTo>
                    <a:cubicBezTo>
                      <a:pt x="29" y="19"/>
                      <a:pt x="29" y="19"/>
                      <a:pt x="29" y="19"/>
                    </a:cubicBezTo>
                    <a:cubicBezTo>
                      <a:pt x="29" y="19"/>
                      <a:pt x="29" y="19"/>
                      <a:pt x="29" y="19"/>
                    </a:cubicBezTo>
                    <a:close/>
                    <a:moveTo>
                      <a:pt x="29" y="20"/>
                    </a:moveTo>
                    <a:cubicBezTo>
                      <a:pt x="30" y="20"/>
                      <a:pt x="30" y="20"/>
                      <a:pt x="30" y="20"/>
                    </a:cubicBezTo>
                    <a:cubicBezTo>
                      <a:pt x="30" y="20"/>
                      <a:pt x="30" y="20"/>
                      <a:pt x="30" y="20"/>
                    </a:cubicBezTo>
                    <a:cubicBezTo>
                      <a:pt x="30" y="20"/>
                      <a:pt x="30" y="20"/>
                      <a:pt x="29" y="20"/>
                    </a:cubicBezTo>
                    <a:cubicBezTo>
                      <a:pt x="29" y="20"/>
                      <a:pt x="29" y="20"/>
                      <a:pt x="29" y="20"/>
                    </a:cubicBezTo>
                    <a:cubicBezTo>
                      <a:pt x="29" y="20"/>
                      <a:pt x="29" y="20"/>
                      <a:pt x="29" y="20"/>
                    </a:cubicBezTo>
                    <a:close/>
                    <a:moveTo>
                      <a:pt x="29" y="20"/>
                    </a:moveTo>
                    <a:cubicBezTo>
                      <a:pt x="29" y="20"/>
                      <a:pt x="29" y="20"/>
                      <a:pt x="29" y="20"/>
                    </a:cubicBezTo>
                    <a:cubicBezTo>
                      <a:pt x="29" y="20"/>
                      <a:pt x="29" y="20"/>
                      <a:pt x="29" y="20"/>
                    </a:cubicBezTo>
                    <a:cubicBezTo>
                      <a:pt x="29" y="20"/>
                      <a:pt x="29" y="20"/>
                      <a:pt x="29" y="20"/>
                    </a:cubicBezTo>
                    <a:cubicBezTo>
                      <a:pt x="29" y="20"/>
                      <a:pt x="29" y="20"/>
                      <a:pt x="29" y="20"/>
                    </a:cubicBezTo>
                    <a:cubicBezTo>
                      <a:pt x="29" y="20"/>
                      <a:pt x="29" y="20"/>
                      <a:pt x="29" y="20"/>
                    </a:cubicBezTo>
                    <a:close/>
                    <a:moveTo>
                      <a:pt x="33" y="21"/>
                    </a:moveTo>
                    <a:cubicBezTo>
                      <a:pt x="33" y="21"/>
                      <a:pt x="33" y="21"/>
                      <a:pt x="33" y="21"/>
                    </a:cubicBezTo>
                    <a:cubicBezTo>
                      <a:pt x="33" y="21"/>
                      <a:pt x="33" y="21"/>
                      <a:pt x="33" y="21"/>
                    </a:cubicBezTo>
                    <a:cubicBezTo>
                      <a:pt x="33" y="21"/>
                      <a:pt x="33" y="21"/>
                      <a:pt x="33" y="21"/>
                    </a:cubicBezTo>
                    <a:cubicBezTo>
                      <a:pt x="33" y="21"/>
                      <a:pt x="33" y="21"/>
                      <a:pt x="33" y="21"/>
                    </a:cubicBezTo>
                    <a:close/>
                    <a:moveTo>
                      <a:pt x="30" y="20"/>
                    </a:moveTo>
                    <a:cubicBezTo>
                      <a:pt x="30" y="20"/>
                      <a:pt x="30" y="20"/>
                      <a:pt x="30" y="20"/>
                    </a:cubicBezTo>
                    <a:cubicBezTo>
                      <a:pt x="30" y="20"/>
                      <a:pt x="30" y="20"/>
                      <a:pt x="30" y="21"/>
                    </a:cubicBezTo>
                    <a:cubicBezTo>
                      <a:pt x="30" y="21"/>
                      <a:pt x="30" y="20"/>
                      <a:pt x="30" y="20"/>
                    </a:cubicBezTo>
                    <a:cubicBezTo>
                      <a:pt x="30" y="20"/>
                      <a:pt x="30" y="20"/>
                      <a:pt x="30" y="20"/>
                    </a:cubicBezTo>
                    <a:close/>
                    <a:moveTo>
                      <a:pt x="26" y="19"/>
                    </a:moveTo>
                    <a:cubicBezTo>
                      <a:pt x="25" y="19"/>
                      <a:pt x="25" y="19"/>
                      <a:pt x="24" y="19"/>
                    </a:cubicBezTo>
                    <a:cubicBezTo>
                      <a:pt x="25" y="19"/>
                      <a:pt x="27" y="19"/>
                      <a:pt x="28" y="19"/>
                    </a:cubicBezTo>
                    <a:cubicBezTo>
                      <a:pt x="27" y="19"/>
                      <a:pt x="27" y="19"/>
                      <a:pt x="26" y="19"/>
                    </a:cubicBezTo>
                    <a:cubicBezTo>
                      <a:pt x="26" y="19"/>
                      <a:pt x="26" y="19"/>
                      <a:pt x="26" y="19"/>
                    </a:cubicBezTo>
                    <a:close/>
                    <a:moveTo>
                      <a:pt x="31" y="21"/>
                    </a:moveTo>
                    <a:cubicBezTo>
                      <a:pt x="31" y="21"/>
                      <a:pt x="31" y="21"/>
                      <a:pt x="31" y="21"/>
                    </a:cubicBezTo>
                    <a:cubicBezTo>
                      <a:pt x="31" y="21"/>
                      <a:pt x="31" y="21"/>
                      <a:pt x="31" y="21"/>
                    </a:cubicBezTo>
                    <a:cubicBezTo>
                      <a:pt x="31" y="21"/>
                      <a:pt x="31" y="21"/>
                      <a:pt x="31" y="21"/>
                    </a:cubicBezTo>
                    <a:cubicBezTo>
                      <a:pt x="31" y="21"/>
                      <a:pt x="31" y="21"/>
                      <a:pt x="31" y="21"/>
                    </a:cubicBezTo>
                    <a:cubicBezTo>
                      <a:pt x="31" y="21"/>
                      <a:pt x="31" y="21"/>
                      <a:pt x="31" y="21"/>
                    </a:cubicBezTo>
                    <a:close/>
                    <a:moveTo>
                      <a:pt x="32" y="21"/>
                    </a:move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lose/>
                    <a:moveTo>
                      <a:pt x="42" y="23"/>
                    </a:moveTo>
                    <a:cubicBezTo>
                      <a:pt x="42" y="23"/>
                      <a:pt x="41" y="23"/>
                      <a:pt x="41" y="23"/>
                    </a:cubicBezTo>
                    <a:cubicBezTo>
                      <a:pt x="41" y="23"/>
                      <a:pt x="41" y="23"/>
                      <a:pt x="41" y="23"/>
                    </a:cubicBezTo>
                    <a:cubicBezTo>
                      <a:pt x="42" y="23"/>
                      <a:pt x="42" y="24"/>
                      <a:pt x="43" y="24"/>
                    </a:cubicBezTo>
                    <a:cubicBezTo>
                      <a:pt x="42" y="23"/>
                      <a:pt x="42" y="23"/>
                      <a:pt x="42" y="23"/>
                    </a:cubicBezTo>
                    <a:cubicBezTo>
                      <a:pt x="42" y="23"/>
                      <a:pt x="42" y="23"/>
                      <a:pt x="42" y="23"/>
                    </a:cubicBezTo>
                    <a:cubicBezTo>
                      <a:pt x="42" y="23"/>
                      <a:pt x="42" y="23"/>
                      <a:pt x="42" y="23"/>
                    </a:cubicBezTo>
                    <a:close/>
                    <a:moveTo>
                      <a:pt x="53" y="26"/>
                    </a:moveTo>
                    <a:cubicBezTo>
                      <a:pt x="53" y="26"/>
                      <a:pt x="53" y="26"/>
                      <a:pt x="53" y="26"/>
                    </a:cubicBezTo>
                    <a:cubicBezTo>
                      <a:pt x="53" y="26"/>
                      <a:pt x="53" y="26"/>
                      <a:pt x="52" y="27"/>
                    </a:cubicBezTo>
                    <a:cubicBezTo>
                      <a:pt x="53" y="27"/>
                      <a:pt x="53" y="27"/>
                      <a:pt x="53" y="26"/>
                    </a:cubicBezTo>
                    <a:cubicBezTo>
                      <a:pt x="53" y="26"/>
                      <a:pt x="53" y="26"/>
                      <a:pt x="53" y="26"/>
                    </a:cubicBezTo>
                    <a:cubicBezTo>
                      <a:pt x="53" y="26"/>
                      <a:pt x="53" y="26"/>
                      <a:pt x="53" y="26"/>
                    </a:cubicBezTo>
                    <a:close/>
                    <a:moveTo>
                      <a:pt x="34" y="22"/>
                    </a:moveTo>
                    <a:cubicBezTo>
                      <a:pt x="34" y="21"/>
                      <a:pt x="34" y="21"/>
                      <a:pt x="34" y="21"/>
                    </a:cubicBezTo>
                    <a:cubicBezTo>
                      <a:pt x="34" y="21"/>
                      <a:pt x="33" y="21"/>
                      <a:pt x="33" y="21"/>
                    </a:cubicBezTo>
                    <a:cubicBezTo>
                      <a:pt x="33" y="22"/>
                      <a:pt x="33" y="22"/>
                      <a:pt x="34" y="22"/>
                    </a:cubicBezTo>
                    <a:cubicBezTo>
                      <a:pt x="34" y="22"/>
                      <a:pt x="34" y="22"/>
                      <a:pt x="34" y="22"/>
                    </a:cubicBezTo>
                    <a:cubicBezTo>
                      <a:pt x="34" y="22"/>
                      <a:pt x="34" y="22"/>
                      <a:pt x="34" y="22"/>
                    </a:cubicBezTo>
                    <a:close/>
                    <a:moveTo>
                      <a:pt x="54" y="26"/>
                    </a:moveTo>
                    <a:cubicBezTo>
                      <a:pt x="54" y="26"/>
                      <a:pt x="54" y="26"/>
                      <a:pt x="54" y="26"/>
                    </a:cubicBezTo>
                    <a:cubicBezTo>
                      <a:pt x="54" y="26"/>
                      <a:pt x="54" y="26"/>
                      <a:pt x="54" y="26"/>
                    </a:cubicBezTo>
                    <a:cubicBezTo>
                      <a:pt x="54" y="26"/>
                      <a:pt x="54" y="26"/>
                      <a:pt x="54" y="26"/>
                    </a:cubicBezTo>
                    <a:cubicBezTo>
                      <a:pt x="54" y="26"/>
                      <a:pt x="54" y="26"/>
                      <a:pt x="54" y="26"/>
                    </a:cubicBezTo>
                    <a:close/>
                    <a:moveTo>
                      <a:pt x="32" y="21"/>
                    </a:moveTo>
                    <a:cubicBezTo>
                      <a:pt x="32" y="21"/>
                      <a:pt x="33" y="22"/>
                      <a:pt x="33" y="22"/>
                    </a:cubicBezTo>
                    <a:cubicBezTo>
                      <a:pt x="33" y="22"/>
                      <a:pt x="32" y="22"/>
                      <a:pt x="32" y="22"/>
                    </a:cubicBezTo>
                    <a:cubicBezTo>
                      <a:pt x="32" y="22"/>
                      <a:pt x="32" y="22"/>
                      <a:pt x="32" y="22"/>
                    </a:cubicBezTo>
                    <a:cubicBezTo>
                      <a:pt x="32" y="22"/>
                      <a:pt x="32" y="22"/>
                      <a:pt x="32" y="22"/>
                    </a:cubicBezTo>
                    <a:cubicBezTo>
                      <a:pt x="32" y="22"/>
                      <a:pt x="32" y="22"/>
                      <a:pt x="32" y="22"/>
                    </a:cubicBezTo>
                    <a:cubicBezTo>
                      <a:pt x="32" y="21"/>
                      <a:pt x="32" y="21"/>
                      <a:pt x="32" y="21"/>
                    </a:cubicBezTo>
                    <a:cubicBezTo>
                      <a:pt x="32" y="21"/>
                      <a:pt x="32" y="21"/>
                      <a:pt x="32" y="21"/>
                    </a:cubicBezTo>
                    <a:close/>
                    <a:moveTo>
                      <a:pt x="34" y="22"/>
                    </a:moveTo>
                    <a:cubicBezTo>
                      <a:pt x="34" y="22"/>
                      <a:pt x="34" y="22"/>
                      <a:pt x="34" y="22"/>
                    </a:cubicBezTo>
                    <a:cubicBezTo>
                      <a:pt x="34" y="22"/>
                      <a:pt x="34" y="22"/>
                      <a:pt x="34" y="22"/>
                    </a:cubicBezTo>
                    <a:cubicBezTo>
                      <a:pt x="34" y="22"/>
                      <a:pt x="34" y="22"/>
                      <a:pt x="34" y="22"/>
                    </a:cubicBezTo>
                    <a:cubicBezTo>
                      <a:pt x="34" y="22"/>
                      <a:pt x="34" y="22"/>
                      <a:pt x="34" y="22"/>
                    </a:cubicBezTo>
                    <a:close/>
                    <a:moveTo>
                      <a:pt x="34" y="22"/>
                    </a:moveTo>
                    <a:cubicBezTo>
                      <a:pt x="34" y="22"/>
                      <a:pt x="34" y="22"/>
                      <a:pt x="34" y="22"/>
                    </a:cubicBezTo>
                    <a:cubicBezTo>
                      <a:pt x="34" y="22"/>
                      <a:pt x="34" y="22"/>
                      <a:pt x="34" y="22"/>
                    </a:cubicBezTo>
                    <a:cubicBezTo>
                      <a:pt x="34" y="22"/>
                      <a:pt x="34" y="22"/>
                      <a:pt x="34" y="22"/>
                    </a:cubicBezTo>
                    <a:cubicBezTo>
                      <a:pt x="34" y="22"/>
                      <a:pt x="34" y="22"/>
                      <a:pt x="34" y="22"/>
                    </a:cubicBezTo>
                    <a:cubicBezTo>
                      <a:pt x="34" y="22"/>
                      <a:pt x="34" y="22"/>
                      <a:pt x="34" y="22"/>
                    </a:cubicBezTo>
                    <a:close/>
                    <a:moveTo>
                      <a:pt x="55" y="27"/>
                    </a:moveTo>
                    <a:cubicBezTo>
                      <a:pt x="56" y="27"/>
                      <a:pt x="57" y="27"/>
                      <a:pt x="57" y="27"/>
                    </a:cubicBezTo>
                    <a:cubicBezTo>
                      <a:pt x="56" y="27"/>
                      <a:pt x="56" y="28"/>
                      <a:pt x="54" y="27"/>
                    </a:cubicBezTo>
                    <a:cubicBezTo>
                      <a:pt x="55" y="27"/>
                      <a:pt x="55" y="27"/>
                      <a:pt x="55" y="27"/>
                    </a:cubicBezTo>
                    <a:cubicBezTo>
                      <a:pt x="55" y="27"/>
                      <a:pt x="55" y="27"/>
                      <a:pt x="55" y="27"/>
                    </a:cubicBezTo>
                    <a:close/>
                    <a:moveTo>
                      <a:pt x="27" y="22"/>
                    </a:moveTo>
                    <a:cubicBezTo>
                      <a:pt x="28" y="22"/>
                      <a:pt x="28" y="22"/>
                      <a:pt x="29" y="22"/>
                    </a:cubicBezTo>
                    <a:cubicBezTo>
                      <a:pt x="28" y="22"/>
                      <a:pt x="28" y="22"/>
                      <a:pt x="28" y="22"/>
                    </a:cubicBezTo>
                    <a:cubicBezTo>
                      <a:pt x="28" y="22"/>
                      <a:pt x="28" y="22"/>
                      <a:pt x="28" y="22"/>
                    </a:cubicBezTo>
                    <a:cubicBezTo>
                      <a:pt x="27" y="22"/>
                      <a:pt x="27" y="22"/>
                      <a:pt x="27" y="23"/>
                    </a:cubicBezTo>
                    <a:cubicBezTo>
                      <a:pt x="27" y="23"/>
                      <a:pt x="27" y="23"/>
                      <a:pt x="27" y="23"/>
                    </a:cubicBezTo>
                    <a:cubicBezTo>
                      <a:pt x="27" y="22"/>
                      <a:pt x="27" y="22"/>
                      <a:pt x="27" y="21"/>
                    </a:cubicBezTo>
                    <a:cubicBezTo>
                      <a:pt x="27" y="22"/>
                      <a:pt x="27" y="22"/>
                      <a:pt x="26" y="22"/>
                    </a:cubicBezTo>
                    <a:cubicBezTo>
                      <a:pt x="26" y="22"/>
                      <a:pt x="26" y="21"/>
                      <a:pt x="26" y="21"/>
                    </a:cubicBezTo>
                    <a:cubicBezTo>
                      <a:pt x="27" y="21"/>
                      <a:pt x="29" y="21"/>
                      <a:pt x="29" y="22"/>
                    </a:cubicBezTo>
                    <a:cubicBezTo>
                      <a:pt x="28" y="22"/>
                      <a:pt x="28" y="22"/>
                      <a:pt x="27" y="22"/>
                    </a:cubicBezTo>
                    <a:cubicBezTo>
                      <a:pt x="27" y="22"/>
                      <a:pt x="27" y="22"/>
                      <a:pt x="27" y="22"/>
                    </a:cubicBezTo>
                    <a:close/>
                    <a:moveTo>
                      <a:pt x="33" y="23"/>
                    </a:moveTo>
                    <a:cubicBezTo>
                      <a:pt x="33" y="23"/>
                      <a:pt x="33" y="23"/>
                      <a:pt x="33" y="22"/>
                    </a:cubicBezTo>
                    <a:cubicBezTo>
                      <a:pt x="33" y="22"/>
                      <a:pt x="33" y="22"/>
                      <a:pt x="33" y="22"/>
                    </a:cubicBezTo>
                    <a:cubicBezTo>
                      <a:pt x="33" y="23"/>
                      <a:pt x="33" y="23"/>
                      <a:pt x="33" y="23"/>
                    </a:cubicBezTo>
                    <a:cubicBezTo>
                      <a:pt x="33" y="23"/>
                      <a:pt x="33" y="23"/>
                      <a:pt x="33" y="23"/>
                    </a:cubicBezTo>
                    <a:close/>
                    <a:moveTo>
                      <a:pt x="52" y="27"/>
                    </a:moveTo>
                    <a:cubicBezTo>
                      <a:pt x="51" y="27"/>
                      <a:pt x="51" y="27"/>
                      <a:pt x="51" y="27"/>
                    </a:cubicBezTo>
                    <a:cubicBezTo>
                      <a:pt x="51" y="27"/>
                      <a:pt x="51" y="27"/>
                      <a:pt x="51" y="28"/>
                    </a:cubicBezTo>
                    <a:cubicBezTo>
                      <a:pt x="51" y="28"/>
                      <a:pt x="51" y="28"/>
                      <a:pt x="51" y="28"/>
                    </a:cubicBezTo>
                    <a:cubicBezTo>
                      <a:pt x="51" y="28"/>
                      <a:pt x="51" y="28"/>
                      <a:pt x="50" y="29"/>
                    </a:cubicBezTo>
                    <a:cubicBezTo>
                      <a:pt x="51" y="29"/>
                      <a:pt x="51" y="28"/>
                      <a:pt x="51" y="28"/>
                    </a:cubicBezTo>
                    <a:cubicBezTo>
                      <a:pt x="51" y="28"/>
                      <a:pt x="51" y="28"/>
                      <a:pt x="51" y="28"/>
                    </a:cubicBezTo>
                    <a:cubicBezTo>
                      <a:pt x="51" y="28"/>
                      <a:pt x="51" y="28"/>
                      <a:pt x="51" y="28"/>
                    </a:cubicBezTo>
                    <a:cubicBezTo>
                      <a:pt x="51" y="29"/>
                      <a:pt x="51" y="29"/>
                      <a:pt x="51" y="29"/>
                    </a:cubicBezTo>
                    <a:cubicBezTo>
                      <a:pt x="51" y="29"/>
                      <a:pt x="52" y="29"/>
                      <a:pt x="52" y="28"/>
                    </a:cubicBezTo>
                    <a:cubicBezTo>
                      <a:pt x="52" y="28"/>
                      <a:pt x="52" y="28"/>
                      <a:pt x="51" y="27"/>
                    </a:cubicBezTo>
                    <a:cubicBezTo>
                      <a:pt x="52" y="28"/>
                      <a:pt x="52" y="28"/>
                      <a:pt x="52" y="28"/>
                    </a:cubicBezTo>
                    <a:cubicBezTo>
                      <a:pt x="52" y="28"/>
                      <a:pt x="52" y="28"/>
                      <a:pt x="52" y="28"/>
                    </a:cubicBezTo>
                    <a:cubicBezTo>
                      <a:pt x="52" y="28"/>
                      <a:pt x="52" y="28"/>
                      <a:pt x="52" y="28"/>
                    </a:cubicBezTo>
                    <a:cubicBezTo>
                      <a:pt x="52" y="28"/>
                      <a:pt x="52" y="28"/>
                      <a:pt x="52" y="28"/>
                    </a:cubicBezTo>
                    <a:cubicBezTo>
                      <a:pt x="52" y="28"/>
                      <a:pt x="52" y="28"/>
                      <a:pt x="52" y="28"/>
                    </a:cubicBezTo>
                    <a:cubicBezTo>
                      <a:pt x="52" y="27"/>
                      <a:pt x="52" y="27"/>
                      <a:pt x="52" y="27"/>
                    </a:cubicBezTo>
                    <a:cubicBezTo>
                      <a:pt x="52" y="27"/>
                      <a:pt x="52" y="27"/>
                      <a:pt x="52" y="27"/>
                    </a:cubicBezTo>
                    <a:close/>
                    <a:moveTo>
                      <a:pt x="33" y="23"/>
                    </a:moveTo>
                    <a:cubicBezTo>
                      <a:pt x="33" y="23"/>
                      <a:pt x="33" y="23"/>
                      <a:pt x="33" y="23"/>
                    </a:cubicBezTo>
                    <a:cubicBezTo>
                      <a:pt x="33" y="23"/>
                      <a:pt x="33" y="23"/>
                      <a:pt x="33" y="23"/>
                    </a:cubicBezTo>
                    <a:cubicBezTo>
                      <a:pt x="33" y="23"/>
                      <a:pt x="33" y="23"/>
                      <a:pt x="33" y="23"/>
                    </a:cubicBezTo>
                    <a:cubicBezTo>
                      <a:pt x="33" y="23"/>
                      <a:pt x="33" y="23"/>
                      <a:pt x="33" y="23"/>
                    </a:cubicBezTo>
                    <a:close/>
                    <a:moveTo>
                      <a:pt x="51" y="27"/>
                    </a:moveTo>
                    <a:cubicBezTo>
                      <a:pt x="51" y="27"/>
                      <a:pt x="51" y="27"/>
                      <a:pt x="51" y="27"/>
                    </a:cubicBezTo>
                    <a:cubicBezTo>
                      <a:pt x="51" y="27"/>
                      <a:pt x="51" y="27"/>
                      <a:pt x="50" y="27"/>
                    </a:cubicBezTo>
                    <a:cubicBezTo>
                      <a:pt x="50" y="27"/>
                      <a:pt x="50" y="27"/>
                      <a:pt x="51" y="27"/>
                    </a:cubicBezTo>
                    <a:cubicBezTo>
                      <a:pt x="50" y="28"/>
                      <a:pt x="50" y="28"/>
                      <a:pt x="50" y="28"/>
                    </a:cubicBezTo>
                    <a:cubicBezTo>
                      <a:pt x="50" y="28"/>
                      <a:pt x="50" y="28"/>
                      <a:pt x="50" y="28"/>
                    </a:cubicBezTo>
                    <a:cubicBezTo>
                      <a:pt x="51" y="28"/>
                      <a:pt x="51" y="27"/>
                      <a:pt x="51" y="27"/>
                    </a:cubicBezTo>
                    <a:cubicBezTo>
                      <a:pt x="51" y="27"/>
                      <a:pt x="51" y="27"/>
                      <a:pt x="51" y="27"/>
                    </a:cubicBezTo>
                    <a:close/>
                    <a:moveTo>
                      <a:pt x="30" y="22"/>
                    </a:moveTo>
                    <a:cubicBezTo>
                      <a:pt x="30" y="22"/>
                      <a:pt x="29" y="22"/>
                      <a:pt x="29" y="22"/>
                    </a:cubicBezTo>
                    <a:cubicBezTo>
                      <a:pt x="29" y="22"/>
                      <a:pt x="29" y="22"/>
                      <a:pt x="29" y="23"/>
                    </a:cubicBezTo>
                    <a:cubicBezTo>
                      <a:pt x="30" y="23"/>
                      <a:pt x="30" y="23"/>
                      <a:pt x="30" y="23"/>
                    </a:cubicBezTo>
                    <a:cubicBezTo>
                      <a:pt x="30" y="22"/>
                      <a:pt x="30" y="22"/>
                      <a:pt x="30" y="22"/>
                    </a:cubicBezTo>
                    <a:cubicBezTo>
                      <a:pt x="30" y="22"/>
                      <a:pt x="30" y="22"/>
                      <a:pt x="30" y="22"/>
                    </a:cubicBezTo>
                    <a:close/>
                    <a:moveTo>
                      <a:pt x="33" y="23"/>
                    </a:moveTo>
                    <a:cubicBezTo>
                      <a:pt x="33" y="23"/>
                      <a:pt x="33" y="23"/>
                      <a:pt x="33" y="23"/>
                    </a:cubicBezTo>
                    <a:cubicBezTo>
                      <a:pt x="33" y="23"/>
                      <a:pt x="33" y="23"/>
                      <a:pt x="33" y="24"/>
                    </a:cubicBezTo>
                    <a:cubicBezTo>
                      <a:pt x="33" y="24"/>
                      <a:pt x="33" y="23"/>
                      <a:pt x="33" y="23"/>
                    </a:cubicBezTo>
                    <a:cubicBezTo>
                      <a:pt x="33" y="23"/>
                      <a:pt x="33" y="23"/>
                      <a:pt x="33" y="23"/>
                    </a:cubicBezTo>
                    <a:cubicBezTo>
                      <a:pt x="33" y="23"/>
                      <a:pt x="33" y="23"/>
                      <a:pt x="33" y="23"/>
                    </a:cubicBezTo>
                    <a:close/>
                    <a:moveTo>
                      <a:pt x="31" y="23"/>
                    </a:moveTo>
                    <a:cubicBezTo>
                      <a:pt x="31" y="23"/>
                      <a:pt x="31" y="23"/>
                      <a:pt x="32" y="23"/>
                    </a:cubicBezTo>
                    <a:cubicBezTo>
                      <a:pt x="31" y="23"/>
                      <a:pt x="31" y="23"/>
                      <a:pt x="30" y="23"/>
                    </a:cubicBezTo>
                    <a:cubicBezTo>
                      <a:pt x="30" y="23"/>
                      <a:pt x="30" y="23"/>
                      <a:pt x="30" y="23"/>
                    </a:cubicBezTo>
                    <a:cubicBezTo>
                      <a:pt x="30" y="23"/>
                      <a:pt x="30" y="23"/>
                      <a:pt x="29" y="23"/>
                    </a:cubicBezTo>
                    <a:cubicBezTo>
                      <a:pt x="29" y="23"/>
                      <a:pt x="29" y="23"/>
                      <a:pt x="29" y="23"/>
                    </a:cubicBezTo>
                    <a:cubicBezTo>
                      <a:pt x="30" y="23"/>
                      <a:pt x="30" y="23"/>
                      <a:pt x="30" y="23"/>
                    </a:cubicBezTo>
                    <a:cubicBezTo>
                      <a:pt x="30" y="23"/>
                      <a:pt x="30" y="23"/>
                      <a:pt x="30" y="23"/>
                    </a:cubicBezTo>
                    <a:cubicBezTo>
                      <a:pt x="30" y="23"/>
                      <a:pt x="30" y="23"/>
                      <a:pt x="31" y="23"/>
                    </a:cubicBezTo>
                    <a:cubicBezTo>
                      <a:pt x="31" y="23"/>
                      <a:pt x="31" y="23"/>
                      <a:pt x="31" y="23"/>
                    </a:cubicBezTo>
                    <a:close/>
                    <a:moveTo>
                      <a:pt x="18" y="20"/>
                    </a:moveTo>
                    <a:cubicBezTo>
                      <a:pt x="18" y="20"/>
                      <a:pt x="18" y="19"/>
                      <a:pt x="18" y="19"/>
                    </a:cubicBezTo>
                    <a:cubicBezTo>
                      <a:pt x="18" y="19"/>
                      <a:pt x="18" y="19"/>
                      <a:pt x="18" y="19"/>
                    </a:cubicBezTo>
                    <a:cubicBezTo>
                      <a:pt x="18" y="19"/>
                      <a:pt x="18" y="19"/>
                      <a:pt x="18" y="19"/>
                    </a:cubicBezTo>
                    <a:cubicBezTo>
                      <a:pt x="18" y="19"/>
                      <a:pt x="18" y="19"/>
                      <a:pt x="18" y="19"/>
                    </a:cubicBezTo>
                    <a:cubicBezTo>
                      <a:pt x="18" y="19"/>
                      <a:pt x="18" y="19"/>
                      <a:pt x="18" y="19"/>
                    </a:cubicBezTo>
                    <a:cubicBezTo>
                      <a:pt x="19" y="20"/>
                      <a:pt x="19" y="21"/>
                      <a:pt x="19" y="22"/>
                    </a:cubicBezTo>
                    <a:cubicBezTo>
                      <a:pt x="19" y="22"/>
                      <a:pt x="18" y="22"/>
                      <a:pt x="18" y="21"/>
                    </a:cubicBezTo>
                    <a:cubicBezTo>
                      <a:pt x="18" y="21"/>
                      <a:pt x="18" y="22"/>
                      <a:pt x="18" y="22"/>
                    </a:cubicBezTo>
                    <a:cubicBezTo>
                      <a:pt x="18" y="21"/>
                      <a:pt x="18" y="21"/>
                      <a:pt x="18" y="21"/>
                    </a:cubicBezTo>
                    <a:cubicBezTo>
                      <a:pt x="18" y="21"/>
                      <a:pt x="18" y="21"/>
                      <a:pt x="18" y="21"/>
                    </a:cubicBezTo>
                    <a:cubicBezTo>
                      <a:pt x="18" y="21"/>
                      <a:pt x="18" y="21"/>
                      <a:pt x="18" y="21"/>
                    </a:cubicBezTo>
                    <a:cubicBezTo>
                      <a:pt x="18" y="20"/>
                      <a:pt x="18" y="19"/>
                      <a:pt x="18" y="18"/>
                    </a:cubicBezTo>
                    <a:cubicBezTo>
                      <a:pt x="18" y="18"/>
                      <a:pt x="18" y="18"/>
                      <a:pt x="18" y="18"/>
                    </a:cubicBezTo>
                    <a:cubicBezTo>
                      <a:pt x="18" y="19"/>
                      <a:pt x="18" y="19"/>
                      <a:pt x="18" y="20"/>
                    </a:cubicBezTo>
                    <a:cubicBezTo>
                      <a:pt x="18" y="20"/>
                      <a:pt x="18" y="20"/>
                      <a:pt x="18" y="20"/>
                    </a:cubicBezTo>
                    <a:close/>
                    <a:moveTo>
                      <a:pt x="47" y="27"/>
                    </a:moveTo>
                    <a:cubicBezTo>
                      <a:pt x="47" y="27"/>
                      <a:pt x="47" y="27"/>
                      <a:pt x="47" y="27"/>
                    </a:cubicBezTo>
                    <a:cubicBezTo>
                      <a:pt x="47" y="27"/>
                      <a:pt x="47" y="27"/>
                      <a:pt x="47" y="27"/>
                    </a:cubicBezTo>
                    <a:cubicBezTo>
                      <a:pt x="47" y="27"/>
                      <a:pt x="47" y="27"/>
                      <a:pt x="47" y="27"/>
                    </a:cubicBezTo>
                    <a:cubicBezTo>
                      <a:pt x="47" y="27"/>
                      <a:pt x="47" y="27"/>
                      <a:pt x="47" y="27"/>
                    </a:cubicBezTo>
                    <a:close/>
                    <a:moveTo>
                      <a:pt x="53" y="28"/>
                    </a:moveTo>
                    <a:cubicBezTo>
                      <a:pt x="53" y="28"/>
                      <a:pt x="53" y="28"/>
                      <a:pt x="53" y="28"/>
                    </a:cubicBezTo>
                    <a:cubicBezTo>
                      <a:pt x="53" y="28"/>
                      <a:pt x="53" y="28"/>
                      <a:pt x="53" y="28"/>
                    </a:cubicBezTo>
                    <a:cubicBezTo>
                      <a:pt x="53" y="28"/>
                      <a:pt x="53" y="28"/>
                      <a:pt x="53" y="28"/>
                    </a:cubicBezTo>
                    <a:cubicBezTo>
                      <a:pt x="53" y="28"/>
                      <a:pt x="53" y="28"/>
                      <a:pt x="53" y="28"/>
                    </a:cubicBezTo>
                    <a:close/>
                    <a:moveTo>
                      <a:pt x="50" y="28"/>
                    </a:moveTo>
                    <a:cubicBezTo>
                      <a:pt x="50" y="28"/>
                      <a:pt x="50" y="28"/>
                      <a:pt x="50" y="27"/>
                    </a:cubicBezTo>
                    <a:cubicBezTo>
                      <a:pt x="51" y="28"/>
                      <a:pt x="50" y="28"/>
                      <a:pt x="50" y="28"/>
                    </a:cubicBezTo>
                    <a:cubicBezTo>
                      <a:pt x="50" y="28"/>
                      <a:pt x="50" y="28"/>
                      <a:pt x="50" y="28"/>
                    </a:cubicBezTo>
                    <a:cubicBezTo>
                      <a:pt x="50" y="28"/>
                      <a:pt x="50" y="28"/>
                      <a:pt x="50" y="28"/>
                    </a:cubicBezTo>
                    <a:cubicBezTo>
                      <a:pt x="50" y="28"/>
                      <a:pt x="50" y="28"/>
                      <a:pt x="50" y="28"/>
                    </a:cubicBezTo>
                    <a:close/>
                    <a:moveTo>
                      <a:pt x="53" y="29"/>
                    </a:moveTo>
                    <a:cubicBezTo>
                      <a:pt x="53" y="28"/>
                      <a:pt x="53" y="28"/>
                      <a:pt x="53" y="28"/>
                    </a:cubicBezTo>
                    <a:cubicBezTo>
                      <a:pt x="53" y="29"/>
                      <a:pt x="52" y="29"/>
                      <a:pt x="52" y="30"/>
                    </a:cubicBezTo>
                    <a:cubicBezTo>
                      <a:pt x="52" y="30"/>
                      <a:pt x="52" y="30"/>
                      <a:pt x="52" y="30"/>
                    </a:cubicBezTo>
                    <a:cubicBezTo>
                      <a:pt x="52" y="30"/>
                      <a:pt x="52" y="29"/>
                      <a:pt x="52" y="29"/>
                    </a:cubicBezTo>
                    <a:cubicBezTo>
                      <a:pt x="52" y="29"/>
                      <a:pt x="52" y="30"/>
                      <a:pt x="51" y="30"/>
                    </a:cubicBezTo>
                    <a:cubicBezTo>
                      <a:pt x="51" y="30"/>
                      <a:pt x="51" y="30"/>
                      <a:pt x="51" y="30"/>
                    </a:cubicBezTo>
                    <a:cubicBezTo>
                      <a:pt x="51" y="30"/>
                      <a:pt x="51" y="30"/>
                      <a:pt x="51" y="30"/>
                    </a:cubicBezTo>
                    <a:cubicBezTo>
                      <a:pt x="51" y="30"/>
                      <a:pt x="51" y="30"/>
                      <a:pt x="51" y="30"/>
                    </a:cubicBezTo>
                    <a:cubicBezTo>
                      <a:pt x="51" y="30"/>
                      <a:pt x="51" y="30"/>
                      <a:pt x="51" y="30"/>
                    </a:cubicBezTo>
                    <a:cubicBezTo>
                      <a:pt x="51" y="30"/>
                      <a:pt x="51" y="30"/>
                      <a:pt x="51" y="30"/>
                    </a:cubicBezTo>
                    <a:cubicBezTo>
                      <a:pt x="51" y="30"/>
                      <a:pt x="51" y="30"/>
                      <a:pt x="51" y="30"/>
                    </a:cubicBezTo>
                    <a:cubicBezTo>
                      <a:pt x="51" y="30"/>
                      <a:pt x="51" y="30"/>
                      <a:pt x="51" y="30"/>
                    </a:cubicBezTo>
                    <a:cubicBezTo>
                      <a:pt x="51" y="30"/>
                      <a:pt x="51" y="30"/>
                      <a:pt x="51" y="30"/>
                    </a:cubicBezTo>
                    <a:cubicBezTo>
                      <a:pt x="52" y="30"/>
                      <a:pt x="53" y="29"/>
                      <a:pt x="53" y="29"/>
                    </a:cubicBezTo>
                    <a:cubicBezTo>
                      <a:pt x="53" y="29"/>
                      <a:pt x="53" y="29"/>
                      <a:pt x="53" y="29"/>
                    </a:cubicBezTo>
                    <a:close/>
                    <a:moveTo>
                      <a:pt x="49" y="28"/>
                    </a:moveTo>
                    <a:cubicBezTo>
                      <a:pt x="49" y="28"/>
                      <a:pt x="49" y="28"/>
                      <a:pt x="49" y="28"/>
                    </a:cubicBezTo>
                    <a:cubicBezTo>
                      <a:pt x="50" y="28"/>
                      <a:pt x="50" y="28"/>
                      <a:pt x="50" y="28"/>
                    </a:cubicBezTo>
                    <a:cubicBezTo>
                      <a:pt x="50"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lose/>
                    <a:moveTo>
                      <a:pt x="49" y="28"/>
                    </a:moveTo>
                    <a:cubicBezTo>
                      <a:pt x="49" y="28"/>
                      <a:pt x="49" y="28"/>
                      <a:pt x="49" y="28"/>
                    </a:cubicBezTo>
                    <a:cubicBezTo>
                      <a:pt x="49" y="28"/>
                      <a:pt x="49" y="28"/>
                      <a:pt x="49" y="28"/>
                    </a:cubicBezTo>
                    <a:cubicBezTo>
                      <a:pt x="49" y="28"/>
                      <a:pt x="49" y="28"/>
                      <a:pt x="49" y="28"/>
                    </a:cubicBezTo>
                    <a:cubicBezTo>
                      <a:pt x="49" y="28"/>
                      <a:pt x="49" y="28"/>
                      <a:pt x="49" y="28"/>
                    </a:cubicBezTo>
                    <a:close/>
                    <a:moveTo>
                      <a:pt x="29" y="23"/>
                    </a:moveTo>
                    <a:cubicBezTo>
                      <a:pt x="29" y="23"/>
                      <a:pt x="29" y="23"/>
                      <a:pt x="29" y="23"/>
                    </a:cubicBezTo>
                    <a:cubicBezTo>
                      <a:pt x="29" y="23"/>
                      <a:pt x="29" y="23"/>
                      <a:pt x="29" y="23"/>
                    </a:cubicBezTo>
                    <a:cubicBezTo>
                      <a:pt x="29" y="23"/>
                      <a:pt x="29" y="23"/>
                      <a:pt x="29" y="23"/>
                    </a:cubicBezTo>
                    <a:cubicBezTo>
                      <a:pt x="29" y="23"/>
                      <a:pt x="29" y="23"/>
                      <a:pt x="29" y="23"/>
                    </a:cubicBezTo>
                    <a:close/>
                    <a:moveTo>
                      <a:pt x="30" y="24"/>
                    </a:moveTo>
                    <a:cubicBezTo>
                      <a:pt x="31" y="24"/>
                      <a:pt x="31" y="24"/>
                      <a:pt x="31" y="24"/>
                    </a:cubicBezTo>
                    <a:cubicBezTo>
                      <a:pt x="31" y="24"/>
                      <a:pt x="30" y="24"/>
                      <a:pt x="30" y="24"/>
                    </a:cubicBezTo>
                    <a:cubicBezTo>
                      <a:pt x="30" y="24"/>
                      <a:pt x="30" y="24"/>
                      <a:pt x="30" y="23"/>
                    </a:cubicBezTo>
                    <a:cubicBezTo>
                      <a:pt x="30" y="23"/>
                      <a:pt x="30" y="24"/>
                      <a:pt x="30" y="24"/>
                    </a:cubicBezTo>
                    <a:cubicBezTo>
                      <a:pt x="30" y="24"/>
                      <a:pt x="30" y="24"/>
                      <a:pt x="30" y="24"/>
                    </a:cubicBezTo>
                    <a:close/>
                    <a:moveTo>
                      <a:pt x="17" y="21"/>
                    </a:moveTo>
                    <a:cubicBezTo>
                      <a:pt x="17" y="21"/>
                      <a:pt x="17" y="20"/>
                      <a:pt x="17" y="20"/>
                    </a:cubicBezTo>
                    <a:cubicBezTo>
                      <a:pt x="17" y="21"/>
                      <a:pt x="17" y="21"/>
                      <a:pt x="17" y="21"/>
                    </a:cubicBezTo>
                    <a:cubicBezTo>
                      <a:pt x="17" y="21"/>
                      <a:pt x="17" y="21"/>
                      <a:pt x="17" y="21"/>
                    </a:cubicBezTo>
                    <a:cubicBezTo>
                      <a:pt x="17" y="21"/>
                      <a:pt x="17" y="21"/>
                      <a:pt x="17" y="21"/>
                    </a:cubicBezTo>
                    <a:close/>
                    <a:moveTo>
                      <a:pt x="53" y="29"/>
                    </a:moveTo>
                    <a:cubicBezTo>
                      <a:pt x="53" y="29"/>
                      <a:pt x="53" y="29"/>
                      <a:pt x="53" y="29"/>
                    </a:cubicBezTo>
                    <a:cubicBezTo>
                      <a:pt x="53" y="29"/>
                      <a:pt x="53" y="29"/>
                      <a:pt x="53" y="29"/>
                    </a:cubicBezTo>
                    <a:cubicBezTo>
                      <a:pt x="53" y="29"/>
                      <a:pt x="53" y="29"/>
                      <a:pt x="53" y="29"/>
                    </a:cubicBezTo>
                    <a:cubicBezTo>
                      <a:pt x="53" y="29"/>
                      <a:pt x="53" y="29"/>
                      <a:pt x="53" y="29"/>
                    </a:cubicBezTo>
                    <a:close/>
                    <a:moveTo>
                      <a:pt x="49" y="28"/>
                    </a:move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lose/>
                    <a:moveTo>
                      <a:pt x="47" y="27"/>
                    </a:moveTo>
                    <a:cubicBezTo>
                      <a:pt x="47" y="27"/>
                      <a:pt x="46" y="27"/>
                      <a:pt x="46" y="27"/>
                    </a:cubicBezTo>
                    <a:cubicBezTo>
                      <a:pt x="46" y="27"/>
                      <a:pt x="46" y="27"/>
                      <a:pt x="46" y="28"/>
                    </a:cubicBezTo>
                    <a:cubicBezTo>
                      <a:pt x="47" y="28"/>
                      <a:pt x="47" y="27"/>
                      <a:pt x="47" y="27"/>
                    </a:cubicBezTo>
                    <a:cubicBezTo>
                      <a:pt x="47" y="27"/>
                      <a:pt x="47" y="27"/>
                      <a:pt x="47" y="27"/>
                    </a:cubicBezTo>
                    <a:cubicBezTo>
                      <a:pt x="47" y="27"/>
                      <a:pt x="47" y="27"/>
                      <a:pt x="47" y="27"/>
                    </a:cubicBezTo>
                    <a:close/>
                    <a:moveTo>
                      <a:pt x="50" y="28"/>
                    </a:moveTo>
                    <a:cubicBezTo>
                      <a:pt x="50" y="28"/>
                      <a:pt x="50" y="28"/>
                      <a:pt x="50" y="28"/>
                    </a:cubicBezTo>
                    <a:cubicBezTo>
                      <a:pt x="50" y="28"/>
                      <a:pt x="50" y="28"/>
                      <a:pt x="50" y="28"/>
                    </a:cubicBezTo>
                    <a:cubicBezTo>
                      <a:pt x="50" y="28"/>
                      <a:pt x="50" y="28"/>
                      <a:pt x="50" y="28"/>
                    </a:cubicBezTo>
                    <a:cubicBezTo>
                      <a:pt x="50" y="28"/>
                      <a:pt x="50" y="28"/>
                      <a:pt x="50" y="28"/>
                    </a:cubicBezTo>
                    <a:close/>
                    <a:moveTo>
                      <a:pt x="47" y="28"/>
                    </a:moveTo>
                    <a:cubicBezTo>
                      <a:pt x="47" y="27"/>
                      <a:pt x="47" y="27"/>
                      <a:pt x="47" y="27"/>
                    </a:cubicBezTo>
                    <a:cubicBezTo>
                      <a:pt x="47" y="27"/>
                      <a:pt x="47" y="28"/>
                      <a:pt x="47" y="28"/>
                    </a:cubicBezTo>
                    <a:cubicBezTo>
                      <a:pt x="47" y="28"/>
                      <a:pt x="47" y="28"/>
                      <a:pt x="47" y="28"/>
                    </a:cubicBezTo>
                    <a:cubicBezTo>
                      <a:pt x="47" y="28"/>
                      <a:pt x="47" y="28"/>
                      <a:pt x="47" y="28"/>
                    </a:cubicBezTo>
                    <a:close/>
                    <a:moveTo>
                      <a:pt x="48" y="28"/>
                    </a:moveTo>
                    <a:cubicBezTo>
                      <a:pt x="48" y="28"/>
                      <a:pt x="48" y="28"/>
                      <a:pt x="48" y="28"/>
                    </a:cubicBezTo>
                    <a:cubicBezTo>
                      <a:pt x="48" y="28"/>
                      <a:pt x="48" y="28"/>
                      <a:pt x="48" y="28"/>
                    </a:cubicBezTo>
                    <a:cubicBezTo>
                      <a:pt x="48" y="28"/>
                      <a:pt x="48" y="28"/>
                      <a:pt x="48" y="28"/>
                    </a:cubicBezTo>
                    <a:cubicBezTo>
                      <a:pt x="48" y="28"/>
                      <a:pt x="48" y="28"/>
                      <a:pt x="48" y="28"/>
                    </a:cubicBezTo>
                    <a:cubicBezTo>
                      <a:pt x="48" y="28"/>
                      <a:pt x="48" y="28"/>
                      <a:pt x="48" y="28"/>
                    </a:cubicBezTo>
                    <a:close/>
                    <a:moveTo>
                      <a:pt x="47" y="28"/>
                    </a:moveTo>
                    <a:cubicBezTo>
                      <a:pt x="47" y="28"/>
                      <a:pt x="47" y="28"/>
                      <a:pt x="47" y="28"/>
                    </a:cubicBezTo>
                    <a:cubicBezTo>
                      <a:pt x="47" y="28"/>
                      <a:pt x="47" y="28"/>
                      <a:pt x="47" y="28"/>
                    </a:cubicBezTo>
                    <a:cubicBezTo>
                      <a:pt x="47" y="28"/>
                      <a:pt x="47" y="28"/>
                      <a:pt x="47" y="28"/>
                    </a:cubicBezTo>
                    <a:cubicBezTo>
                      <a:pt x="47" y="28"/>
                      <a:pt x="47" y="28"/>
                      <a:pt x="47" y="28"/>
                    </a:cubicBezTo>
                    <a:close/>
                    <a:moveTo>
                      <a:pt x="21" y="22"/>
                    </a:moveTo>
                    <a:cubicBezTo>
                      <a:pt x="21" y="22"/>
                      <a:pt x="21" y="22"/>
                      <a:pt x="21" y="22"/>
                    </a:cubicBezTo>
                    <a:cubicBezTo>
                      <a:pt x="21" y="22"/>
                      <a:pt x="21" y="22"/>
                      <a:pt x="21" y="22"/>
                    </a:cubicBezTo>
                    <a:cubicBezTo>
                      <a:pt x="21" y="22"/>
                      <a:pt x="21" y="22"/>
                      <a:pt x="21" y="22"/>
                    </a:cubicBezTo>
                    <a:cubicBezTo>
                      <a:pt x="21" y="22"/>
                      <a:pt x="21" y="22"/>
                      <a:pt x="21" y="22"/>
                    </a:cubicBezTo>
                    <a:cubicBezTo>
                      <a:pt x="21" y="22"/>
                      <a:pt x="22" y="23"/>
                      <a:pt x="22" y="23"/>
                    </a:cubicBezTo>
                    <a:cubicBezTo>
                      <a:pt x="22" y="23"/>
                      <a:pt x="22" y="23"/>
                      <a:pt x="22" y="23"/>
                    </a:cubicBezTo>
                    <a:cubicBezTo>
                      <a:pt x="22" y="23"/>
                      <a:pt x="22" y="23"/>
                      <a:pt x="22" y="23"/>
                    </a:cubicBezTo>
                    <a:cubicBezTo>
                      <a:pt x="22" y="23"/>
                      <a:pt x="22" y="22"/>
                      <a:pt x="21" y="22"/>
                    </a:cubicBezTo>
                    <a:cubicBezTo>
                      <a:pt x="21" y="22"/>
                      <a:pt x="21" y="22"/>
                      <a:pt x="21" y="22"/>
                    </a:cubicBezTo>
                    <a:close/>
                    <a:moveTo>
                      <a:pt x="51" y="29"/>
                    </a:moveTo>
                    <a:cubicBezTo>
                      <a:pt x="51" y="29"/>
                      <a:pt x="51" y="29"/>
                      <a:pt x="51" y="29"/>
                    </a:cubicBezTo>
                    <a:cubicBezTo>
                      <a:pt x="51" y="29"/>
                      <a:pt x="51" y="29"/>
                      <a:pt x="51" y="29"/>
                    </a:cubicBezTo>
                    <a:cubicBezTo>
                      <a:pt x="51" y="29"/>
                      <a:pt x="50" y="29"/>
                      <a:pt x="50" y="29"/>
                    </a:cubicBezTo>
                    <a:cubicBezTo>
                      <a:pt x="50" y="29"/>
                      <a:pt x="50" y="29"/>
                      <a:pt x="50" y="29"/>
                    </a:cubicBezTo>
                    <a:cubicBezTo>
                      <a:pt x="50" y="29"/>
                      <a:pt x="51" y="29"/>
                      <a:pt x="51" y="29"/>
                    </a:cubicBezTo>
                    <a:cubicBezTo>
                      <a:pt x="51" y="29"/>
                      <a:pt x="51" y="29"/>
                      <a:pt x="51" y="29"/>
                    </a:cubicBezTo>
                    <a:close/>
                    <a:moveTo>
                      <a:pt x="49" y="28"/>
                    </a:move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lose/>
                    <a:moveTo>
                      <a:pt x="45" y="27"/>
                    </a:moveTo>
                    <a:cubicBezTo>
                      <a:pt x="45" y="27"/>
                      <a:pt x="45" y="28"/>
                      <a:pt x="45" y="28"/>
                    </a:cubicBezTo>
                    <a:cubicBezTo>
                      <a:pt x="45" y="28"/>
                      <a:pt x="45" y="28"/>
                      <a:pt x="45" y="28"/>
                    </a:cubicBezTo>
                    <a:cubicBezTo>
                      <a:pt x="45" y="28"/>
                      <a:pt x="45" y="28"/>
                      <a:pt x="45" y="28"/>
                    </a:cubicBezTo>
                    <a:cubicBezTo>
                      <a:pt x="45" y="28"/>
                      <a:pt x="45" y="28"/>
                      <a:pt x="45" y="28"/>
                    </a:cubicBezTo>
                    <a:cubicBezTo>
                      <a:pt x="45" y="28"/>
                      <a:pt x="45" y="28"/>
                      <a:pt x="45" y="27"/>
                    </a:cubicBezTo>
                    <a:cubicBezTo>
                      <a:pt x="45" y="27"/>
                      <a:pt x="45" y="27"/>
                      <a:pt x="45" y="27"/>
                    </a:cubicBezTo>
                    <a:close/>
                    <a:moveTo>
                      <a:pt x="47" y="28"/>
                    </a:moveTo>
                    <a:cubicBezTo>
                      <a:pt x="47" y="28"/>
                      <a:pt x="47" y="28"/>
                      <a:pt x="47" y="28"/>
                    </a:cubicBezTo>
                    <a:cubicBezTo>
                      <a:pt x="47" y="28"/>
                      <a:pt x="47" y="28"/>
                      <a:pt x="47" y="28"/>
                    </a:cubicBezTo>
                    <a:cubicBezTo>
                      <a:pt x="47" y="28"/>
                      <a:pt x="47" y="28"/>
                      <a:pt x="47" y="28"/>
                    </a:cubicBezTo>
                    <a:cubicBezTo>
                      <a:pt x="47" y="28"/>
                      <a:pt x="47" y="28"/>
                      <a:pt x="47" y="28"/>
                    </a:cubicBezTo>
                    <a:close/>
                    <a:moveTo>
                      <a:pt x="47" y="28"/>
                    </a:moveTo>
                    <a:cubicBezTo>
                      <a:pt x="47" y="28"/>
                      <a:pt x="47" y="28"/>
                      <a:pt x="47" y="28"/>
                    </a:cubicBezTo>
                    <a:cubicBezTo>
                      <a:pt x="47" y="28"/>
                      <a:pt x="47" y="28"/>
                      <a:pt x="47" y="28"/>
                    </a:cubicBezTo>
                    <a:cubicBezTo>
                      <a:pt x="47" y="28"/>
                      <a:pt x="47" y="28"/>
                      <a:pt x="47" y="28"/>
                    </a:cubicBezTo>
                    <a:cubicBezTo>
                      <a:pt x="47" y="28"/>
                      <a:pt x="47" y="28"/>
                      <a:pt x="47" y="28"/>
                    </a:cubicBezTo>
                    <a:cubicBezTo>
                      <a:pt x="47" y="28"/>
                      <a:pt x="47" y="28"/>
                      <a:pt x="47" y="28"/>
                    </a:cubicBezTo>
                    <a:close/>
                    <a:moveTo>
                      <a:pt x="30" y="24"/>
                    </a:moveTo>
                    <a:cubicBezTo>
                      <a:pt x="30" y="24"/>
                      <a:pt x="30" y="24"/>
                      <a:pt x="30" y="24"/>
                    </a:cubicBezTo>
                    <a:cubicBezTo>
                      <a:pt x="30" y="24"/>
                      <a:pt x="30" y="24"/>
                      <a:pt x="30" y="24"/>
                    </a:cubicBezTo>
                    <a:cubicBezTo>
                      <a:pt x="30" y="24"/>
                      <a:pt x="30" y="24"/>
                      <a:pt x="30" y="24"/>
                    </a:cubicBezTo>
                    <a:cubicBezTo>
                      <a:pt x="30" y="24"/>
                      <a:pt x="30" y="24"/>
                      <a:pt x="30" y="24"/>
                    </a:cubicBezTo>
                    <a:close/>
                    <a:moveTo>
                      <a:pt x="49" y="28"/>
                    </a:moveTo>
                    <a:cubicBezTo>
                      <a:pt x="49" y="28"/>
                      <a:pt x="49" y="28"/>
                      <a:pt x="49" y="28"/>
                    </a:cubicBezTo>
                    <a:cubicBezTo>
                      <a:pt x="49" y="28"/>
                      <a:pt x="49" y="28"/>
                      <a:pt x="49" y="28"/>
                    </a:cubicBezTo>
                    <a:cubicBezTo>
                      <a:pt x="49" y="28"/>
                      <a:pt x="49" y="28"/>
                      <a:pt x="49" y="29"/>
                    </a:cubicBezTo>
                    <a:cubicBezTo>
                      <a:pt x="49" y="28"/>
                      <a:pt x="49" y="28"/>
                      <a:pt x="49" y="28"/>
                    </a:cubicBezTo>
                    <a:cubicBezTo>
                      <a:pt x="49" y="28"/>
                      <a:pt x="49" y="28"/>
                      <a:pt x="49" y="28"/>
                    </a:cubicBezTo>
                    <a:close/>
                    <a:moveTo>
                      <a:pt x="44" y="27"/>
                    </a:moveTo>
                    <a:cubicBezTo>
                      <a:pt x="44" y="27"/>
                      <a:pt x="44" y="27"/>
                      <a:pt x="45" y="27"/>
                    </a:cubicBezTo>
                    <a:cubicBezTo>
                      <a:pt x="44" y="27"/>
                      <a:pt x="44" y="28"/>
                      <a:pt x="44" y="28"/>
                    </a:cubicBezTo>
                    <a:cubicBezTo>
                      <a:pt x="44" y="27"/>
                      <a:pt x="44" y="27"/>
                      <a:pt x="44" y="27"/>
                    </a:cubicBezTo>
                    <a:cubicBezTo>
                      <a:pt x="44" y="27"/>
                      <a:pt x="44" y="27"/>
                      <a:pt x="44" y="27"/>
                    </a:cubicBezTo>
                    <a:close/>
                    <a:moveTo>
                      <a:pt x="46" y="28"/>
                    </a:moveTo>
                    <a:cubicBezTo>
                      <a:pt x="46"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ubicBezTo>
                      <a:pt x="46" y="28"/>
                      <a:pt x="46" y="28"/>
                      <a:pt x="46" y="28"/>
                    </a:cubicBezTo>
                    <a:close/>
                    <a:moveTo>
                      <a:pt x="30" y="24"/>
                    </a:moveTo>
                    <a:cubicBezTo>
                      <a:pt x="30" y="24"/>
                      <a:pt x="31" y="24"/>
                      <a:pt x="31" y="25"/>
                    </a:cubicBezTo>
                    <a:cubicBezTo>
                      <a:pt x="31" y="25"/>
                      <a:pt x="31" y="25"/>
                      <a:pt x="31" y="25"/>
                    </a:cubicBezTo>
                    <a:cubicBezTo>
                      <a:pt x="31" y="25"/>
                      <a:pt x="31" y="25"/>
                      <a:pt x="32" y="25"/>
                    </a:cubicBezTo>
                    <a:cubicBezTo>
                      <a:pt x="31" y="25"/>
                      <a:pt x="31" y="25"/>
                      <a:pt x="31" y="25"/>
                    </a:cubicBezTo>
                    <a:cubicBezTo>
                      <a:pt x="32" y="25"/>
                      <a:pt x="32" y="25"/>
                      <a:pt x="32" y="25"/>
                    </a:cubicBezTo>
                    <a:cubicBezTo>
                      <a:pt x="32" y="25"/>
                      <a:pt x="32" y="25"/>
                      <a:pt x="32" y="25"/>
                    </a:cubicBezTo>
                    <a:cubicBezTo>
                      <a:pt x="32" y="25"/>
                      <a:pt x="32" y="25"/>
                      <a:pt x="32" y="25"/>
                    </a:cubicBezTo>
                    <a:cubicBezTo>
                      <a:pt x="32" y="25"/>
                      <a:pt x="31" y="25"/>
                      <a:pt x="31" y="25"/>
                    </a:cubicBezTo>
                    <a:cubicBezTo>
                      <a:pt x="31" y="25"/>
                      <a:pt x="31" y="25"/>
                      <a:pt x="31" y="25"/>
                    </a:cubicBezTo>
                    <a:cubicBezTo>
                      <a:pt x="31" y="25"/>
                      <a:pt x="31" y="25"/>
                      <a:pt x="31" y="25"/>
                    </a:cubicBezTo>
                    <a:cubicBezTo>
                      <a:pt x="31" y="25"/>
                      <a:pt x="31" y="25"/>
                      <a:pt x="30" y="25"/>
                    </a:cubicBezTo>
                    <a:cubicBezTo>
                      <a:pt x="30" y="25"/>
                      <a:pt x="30" y="25"/>
                      <a:pt x="30" y="25"/>
                    </a:cubicBezTo>
                    <a:cubicBezTo>
                      <a:pt x="30" y="25"/>
                      <a:pt x="30" y="25"/>
                      <a:pt x="30" y="25"/>
                    </a:cubicBezTo>
                    <a:cubicBezTo>
                      <a:pt x="30" y="25"/>
                      <a:pt x="30" y="25"/>
                      <a:pt x="30" y="25"/>
                    </a:cubicBezTo>
                    <a:cubicBezTo>
                      <a:pt x="30" y="25"/>
                      <a:pt x="30" y="25"/>
                      <a:pt x="30" y="25"/>
                    </a:cubicBezTo>
                    <a:cubicBezTo>
                      <a:pt x="30" y="26"/>
                      <a:pt x="30" y="26"/>
                      <a:pt x="30" y="26"/>
                    </a:cubicBezTo>
                    <a:cubicBezTo>
                      <a:pt x="30" y="26"/>
                      <a:pt x="30" y="26"/>
                      <a:pt x="30" y="25"/>
                    </a:cubicBezTo>
                    <a:cubicBezTo>
                      <a:pt x="30" y="26"/>
                      <a:pt x="30" y="26"/>
                      <a:pt x="30" y="26"/>
                    </a:cubicBezTo>
                    <a:cubicBezTo>
                      <a:pt x="30" y="26"/>
                      <a:pt x="30" y="26"/>
                      <a:pt x="30" y="25"/>
                    </a:cubicBezTo>
                    <a:cubicBezTo>
                      <a:pt x="30" y="25"/>
                      <a:pt x="30" y="25"/>
                      <a:pt x="30" y="25"/>
                    </a:cubicBezTo>
                    <a:cubicBezTo>
                      <a:pt x="30" y="25"/>
                      <a:pt x="30" y="25"/>
                      <a:pt x="30" y="25"/>
                    </a:cubicBezTo>
                    <a:cubicBezTo>
                      <a:pt x="30" y="24"/>
                      <a:pt x="30" y="24"/>
                      <a:pt x="30" y="24"/>
                    </a:cubicBezTo>
                    <a:cubicBezTo>
                      <a:pt x="30" y="24"/>
                      <a:pt x="30" y="24"/>
                      <a:pt x="30" y="24"/>
                    </a:cubicBezTo>
                    <a:close/>
                    <a:moveTo>
                      <a:pt x="46" y="28"/>
                    </a:moveTo>
                    <a:cubicBezTo>
                      <a:pt x="46" y="28"/>
                      <a:pt x="46" y="28"/>
                      <a:pt x="46" y="28"/>
                    </a:cubicBezTo>
                    <a:cubicBezTo>
                      <a:pt x="46" y="28"/>
                      <a:pt x="46" y="28"/>
                      <a:pt x="46" y="28"/>
                    </a:cubicBezTo>
                    <a:cubicBezTo>
                      <a:pt x="46" y="28"/>
                      <a:pt x="46" y="28"/>
                      <a:pt x="46" y="28"/>
                    </a:cubicBezTo>
                    <a:cubicBezTo>
                      <a:pt x="46" y="28"/>
                      <a:pt x="46" y="28"/>
                      <a:pt x="46" y="28"/>
                    </a:cubicBezTo>
                    <a:close/>
                    <a:moveTo>
                      <a:pt x="41" y="27"/>
                    </a:moveTo>
                    <a:cubicBezTo>
                      <a:pt x="41" y="27"/>
                      <a:pt x="41" y="27"/>
                      <a:pt x="41" y="27"/>
                    </a:cubicBezTo>
                    <a:cubicBezTo>
                      <a:pt x="41" y="27"/>
                      <a:pt x="41" y="27"/>
                      <a:pt x="41" y="27"/>
                    </a:cubicBezTo>
                    <a:cubicBezTo>
                      <a:pt x="41" y="27"/>
                      <a:pt x="41" y="27"/>
                      <a:pt x="41" y="27"/>
                    </a:cubicBezTo>
                    <a:cubicBezTo>
                      <a:pt x="41" y="27"/>
                      <a:pt x="41" y="27"/>
                      <a:pt x="41" y="27"/>
                    </a:cubicBezTo>
                    <a:close/>
                    <a:moveTo>
                      <a:pt x="47" y="28"/>
                    </a:moveTo>
                    <a:cubicBezTo>
                      <a:pt x="47" y="28"/>
                      <a:pt x="47" y="28"/>
                      <a:pt x="47" y="28"/>
                    </a:cubicBezTo>
                    <a:cubicBezTo>
                      <a:pt x="47" y="28"/>
                      <a:pt x="47" y="28"/>
                      <a:pt x="47" y="28"/>
                    </a:cubicBezTo>
                    <a:cubicBezTo>
                      <a:pt x="47" y="28"/>
                      <a:pt x="47" y="28"/>
                      <a:pt x="47" y="28"/>
                    </a:cubicBezTo>
                    <a:cubicBezTo>
                      <a:pt x="47" y="28"/>
                      <a:pt x="47" y="28"/>
                      <a:pt x="47" y="28"/>
                    </a:cubicBezTo>
                    <a:close/>
                    <a:moveTo>
                      <a:pt x="22" y="23"/>
                    </a:moveTo>
                    <a:cubicBezTo>
                      <a:pt x="22" y="23"/>
                      <a:pt x="22" y="23"/>
                      <a:pt x="22" y="23"/>
                    </a:cubicBezTo>
                    <a:cubicBezTo>
                      <a:pt x="22" y="23"/>
                      <a:pt x="22" y="23"/>
                      <a:pt x="22" y="23"/>
                    </a:cubicBezTo>
                    <a:cubicBezTo>
                      <a:pt x="22" y="23"/>
                      <a:pt x="22" y="23"/>
                      <a:pt x="22" y="23"/>
                    </a:cubicBezTo>
                    <a:cubicBezTo>
                      <a:pt x="22" y="23"/>
                      <a:pt x="22" y="23"/>
                      <a:pt x="22" y="23"/>
                    </a:cubicBezTo>
                    <a:cubicBezTo>
                      <a:pt x="22" y="23"/>
                      <a:pt x="22" y="23"/>
                      <a:pt x="22" y="23"/>
                    </a:cubicBezTo>
                    <a:close/>
                    <a:moveTo>
                      <a:pt x="46" y="28"/>
                    </a:moveTo>
                    <a:cubicBezTo>
                      <a:pt x="46" y="28"/>
                      <a:pt x="46" y="28"/>
                      <a:pt x="46" y="28"/>
                    </a:cubicBezTo>
                    <a:cubicBezTo>
                      <a:pt x="45" y="28"/>
                      <a:pt x="45" y="28"/>
                      <a:pt x="45" y="29"/>
                    </a:cubicBezTo>
                    <a:cubicBezTo>
                      <a:pt x="45" y="29"/>
                      <a:pt x="45" y="29"/>
                      <a:pt x="45" y="29"/>
                    </a:cubicBezTo>
                    <a:cubicBezTo>
                      <a:pt x="45" y="29"/>
                      <a:pt x="45" y="29"/>
                      <a:pt x="45" y="29"/>
                    </a:cubicBezTo>
                    <a:cubicBezTo>
                      <a:pt x="45" y="29"/>
                      <a:pt x="46" y="28"/>
                      <a:pt x="46" y="28"/>
                    </a:cubicBezTo>
                    <a:cubicBezTo>
                      <a:pt x="46" y="28"/>
                      <a:pt x="46" y="28"/>
                      <a:pt x="46" y="28"/>
                    </a:cubicBezTo>
                    <a:cubicBezTo>
                      <a:pt x="46" y="28"/>
                      <a:pt x="46" y="28"/>
                      <a:pt x="46" y="28"/>
                    </a:cubicBezTo>
                    <a:close/>
                    <a:moveTo>
                      <a:pt x="20" y="22"/>
                    </a:moveTo>
                    <a:cubicBezTo>
                      <a:pt x="20" y="22"/>
                      <a:pt x="20" y="22"/>
                      <a:pt x="20" y="22"/>
                    </a:cubicBezTo>
                    <a:cubicBezTo>
                      <a:pt x="20" y="22"/>
                      <a:pt x="20" y="22"/>
                      <a:pt x="20" y="23"/>
                    </a:cubicBezTo>
                    <a:cubicBezTo>
                      <a:pt x="20" y="22"/>
                      <a:pt x="20" y="22"/>
                      <a:pt x="20" y="22"/>
                    </a:cubicBezTo>
                    <a:cubicBezTo>
                      <a:pt x="20" y="22"/>
                      <a:pt x="20" y="22"/>
                      <a:pt x="20" y="22"/>
                    </a:cubicBezTo>
                    <a:close/>
                    <a:moveTo>
                      <a:pt x="23" y="23"/>
                    </a:moveTo>
                    <a:cubicBezTo>
                      <a:pt x="23" y="23"/>
                      <a:pt x="23" y="23"/>
                      <a:pt x="23" y="23"/>
                    </a:cubicBezTo>
                    <a:cubicBezTo>
                      <a:pt x="23" y="23"/>
                      <a:pt x="23" y="23"/>
                      <a:pt x="23" y="23"/>
                    </a:cubicBezTo>
                    <a:cubicBezTo>
                      <a:pt x="23" y="23"/>
                      <a:pt x="23" y="23"/>
                      <a:pt x="23" y="23"/>
                    </a:cubicBezTo>
                    <a:cubicBezTo>
                      <a:pt x="23" y="23"/>
                      <a:pt x="23" y="23"/>
                      <a:pt x="23" y="23"/>
                    </a:cubicBezTo>
                    <a:close/>
                    <a:moveTo>
                      <a:pt x="19" y="23"/>
                    </a:moveTo>
                    <a:cubicBezTo>
                      <a:pt x="19" y="23"/>
                      <a:pt x="19" y="22"/>
                      <a:pt x="19" y="22"/>
                    </a:cubicBezTo>
                    <a:cubicBezTo>
                      <a:pt x="19" y="23"/>
                      <a:pt x="19" y="23"/>
                      <a:pt x="20" y="23"/>
                    </a:cubicBezTo>
                    <a:cubicBezTo>
                      <a:pt x="19" y="23"/>
                      <a:pt x="19" y="23"/>
                      <a:pt x="19" y="23"/>
                    </a:cubicBezTo>
                    <a:cubicBezTo>
                      <a:pt x="19" y="23"/>
                      <a:pt x="19" y="23"/>
                      <a:pt x="19" y="23"/>
                    </a:cubicBezTo>
                    <a:close/>
                    <a:moveTo>
                      <a:pt x="21" y="23"/>
                    </a:moveTo>
                    <a:cubicBezTo>
                      <a:pt x="21" y="23"/>
                      <a:pt x="21" y="23"/>
                      <a:pt x="21" y="23"/>
                    </a:cubicBezTo>
                    <a:cubicBezTo>
                      <a:pt x="21" y="23"/>
                      <a:pt x="21" y="23"/>
                      <a:pt x="21" y="23"/>
                    </a:cubicBezTo>
                    <a:cubicBezTo>
                      <a:pt x="21" y="23"/>
                      <a:pt x="21" y="23"/>
                      <a:pt x="21" y="23"/>
                    </a:cubicBezTo>
                    <a:cubicBezTo>
                      <a:pt x="21" y="23"/>
                      <a:pt x="21" y="23"/>
                      <a:pt x="21" y="23"/>
                    </a:cubicBezTo>
                    <a:close/>
                    <a:moveTo>
                      <a:pt x="60" y="32"/>
                    </a:moveTo>
                    <a:cubicBezTo>
                      <a:pt x="60" y="32"/>
                      <a:pt x="60" y="32"/>
                      <a:pt x="60" y="32"/>
                    </a:cubicBezTo>
                    <a:cubicBezTo>
                      <a:pt x="60" y="32"/>
                      <a:pt x="60" y="32"/>
                      <a:pt x="60" y="32"/>
                    </a:cubicBezTo>
                    <a:cubicBezTo>
                      <a:pt x="60" y="32"/>
                      <a:pt x="60" y="32"/>
                      <a:pt x="60" y="32"/>
                    </a:cubicBezTo>
                    <a:cubicBezTo>
                      <a:pt x="60" y="32"/>
                      <a:pt x="60" y="32"/>
                      <a:pt x="60" y="32"/>
                    </a:cubicBezTo>
                    <a:close/>
                    <a:moveTo>
                      <a:pt x="31" y="26"/>
                    </a:moveTo>
                    <a:cubicBezTo>
                      <a:pt x="31" y="26"/>
                      <a:pt x="31" y="26"/>
                      <a:pt x="31" y="26"/>
                    </a:cubicBezTo>
                    <a:cubicBezTo>
                      <a:pt x="31" y="26"/>
                      <a:pt x="31" y="26"/>
                      <a:pt x="31" y="26"/>
                    </a:cubicBezTo>
                    <a:cubicBezTo>
                      <a:pt x="31" y="26"/>
                      <a:pt x="31" y="26"/>
                      <a:pt x="31" y="26"/>
                    </a:cubicBezTo>
                    <a:cubicBezTo>
                      <a:pt x="31" y="26"/>
                      <a:pt x="31" y="26"/>
                      <a:pt x="31" y="26"/>
                    </a:cubicBezTo>
                    <a:close/>
                    <a:moveTo>
                      <a:pt x="31" y="26"/>
                    </a:moveTo>
                    <a:cubicBezTo>
                      <a:pt x="32" y="26"/>
                      <a:pt x="32" y="26"/>
                      <a:pt x="32" y="26"/>
                    </a:cubicBezTo>
                    <a:cubicBezTo>
                      <a:pt x="32" y="26"/>
                      <a:pt x="32" y="26"/>
                      <a:pt x="32" y="26"/>
                    </a:cubicBezTo>
                    <a:cubicBezTo>
                      <a:pt x="32" y="26"/>
                      <a:pt x="31" y="26"/>
                      <a:pt x="31" y="26"/>
                    </a:cubicBezTo>
                    <a:cubicBezTo>
                      <a:pt x="31" y="26"/>
                      <a:pt x="31" y="26"/>
                      <a:pt x="31" y="26"/>
                    </a:cubicBezTo>
                    <a:cubicBezTo>
                      <a:pt x="31" y="26"/>
                      <a:pt x="31" y="26"/>
                      <a:pt x="31" y="26"/>
                    </a:cubicBezTo>
                    <a:close/>
                    <a:moveTo>
                      <a:pt x="24" y="24"/>
                    </a:moveTo>
                    <a:cubicBezTo>
                      <a:pt x="24" y="24"/>
                      <a:pt x="24" y="24"/>
                      <a:pt x="24" y="24"/>
                    </a:cubicBezTo>
                    <a:cubicBezTo>
                      <a:pt x="24" y="24"/>
                      <a:pt x="24" y="24"/>
                      <a:pt x="24" y="24"/>
                    </a:cubicBezTo>
                    <a:cubicBezTo>
                      <a:pt x="24" y="24"/>
                      <a:pt x="24" y="24"/>
                      <a:pt x="24" y="24"/>
                    </a:cubicBezTo>
                    <a:cubicBezTo>
                      <a:pt x="24" y="24"/>
                      <a:pt x="24" y="24"/>
                      <a:pt x="24" y="24"/>
                    </a:cubicBezTo>
                    <a:close/>
                    <a:moveTo>
                      <a:pt x="55" y="31"/>
                    </a:moveTo>
                    <a:cubicBezTo>
                      <a:pt x="55" y="31"/>
                      <a:pt x="55" y="31"/>
                      <a:pt x="55" y="31"/>
                    </a:cubicBezTo>
                    <a:cubicBezTo>
                      <a:pt x="55" y="31"/>
                      <a:pt x="55" y="31"/>
                      <a:pt x="55" y="31"/>
                    </a:cubicBezTo>
                    <a:cubicBezTo>
                      <a:pt x="55" y="31"/>
                      <a:pt x="55" y="31"/>
                      <a:pt x="55" y="31"/>
                    </a:cubicBezTo>
                    <a:cubicBezTo>
                      <a:pt x="55" y="31"/>
                      <a:pt x="55" y="31"/>
                      <a:pt x="55" y="31"/>
                    </a:cubicBezTo>
                    <a:close/>
                    <a:moveTo>
                      <a:pt x="21" y="23"/>
                    </a:moveTo>
                    <a:cubicBezTo>
                      <a:pt x="21" y="24"/>
                      <a:pt x="21" y="24"/>
                      <a:pt x="21" y="24"/>
                    </a:cubicBezTo>
                    <a:cubicBezTo>
                      <a:pt x="21" y="24"/>
                      <a:pt x="21" y="24"/>
                      <a:pt x="22" y="24"/>
                    </a:cubicBezTo>
                    <a:cubicBezTo>
                      <a:pt x="21" y="24"/>
                      <a:pt x="21" y="24"/>
                      <a:pt x="21" y="24"/>
                    </a:cubicBezTo>
                    <a:cubicBezTo>
                      <a:pt x="21" y="24"/>
                      <a:pt x="21" y="24"/>
                      <a:pt x="21" y="23"/>
                    </a:cubicBezTo>
                    <a:cubicBezTo>
                      <a:pt x="21" y="23"/>
                      <a:pt x="21" y="23"/>
                      <a:pt x="21" y="23"/>
                    </a:cubicBezTo>
                    <a:close/>
                    <a:moveTo>
                      <a:pt x="60" y="32"/>
                    </a:moveTo>
                    <a:cubicBezTo>
                      <a:pt x="59" y="32"/>
                      <a:pt x="57" y="32"/>
                      <a:pt x="56" y="32"/>
                    </a:cubicBezTo>
                    <a:cubicBezTo>
                      <a:pt x="56" y="32"/>
                      <a:pt x="56" y="32"/>
                      <a:pt x="56" y="32"/>
                    </a:cubicBezTo>
                    <a:cubicBezTo>
                      <a:pt x="56" y="32"/>
                      <a:pt x="56" y="32"/>
                      <a:pt x="56" y="32"/>
                    </a:cubicBezTo>
                    <a:cubicBezTo>
                      <a:pt x="57" y="32"/>
                      <a:pt x="57" y="32"/>
                      <a:pt x="57" y="32"/>
                    </a:cubicBezTo>
                    <a:cubicBezTo>
                      <a:pt x="57" y="32"/>
                      <a:pt x="57" y="32"/>
                      <a:pt x="57" y="32"/>
                    </a:cubicBezTo>
                    <a:cubicBezTo>
                      <a:pt x="57" y="32"/>
                      <a:pt x="58" y="33"/>
                      <a:pt x="59" y="32"/>
                    </a:cubicBezTo>
                    <a:cubicBezTo>
                      <a:pt x="59" y="33"/>
                      <a:pt x="59" y="33"/>
                      <a:pt x="59" y="33"/>
                    </a:cubicBezTo>
                    <a:cubicBezTo>
                      <a:pt x="59" y="33"/>
                      <a:pt x="59" y="33"/>
                      <a:pt x="59" y="33"/>
                    </a:cubicBezTo>
                    <a:cubicBezTo>
                      <a:pt x="59" y="33"/>
                      <a:pt x="60" y="33"/>
                      <a:pt x="60" y="32"/>
                    </a:cubicBezTo>
                    <a:cubicBezTo>
                      <a:pt x="60" y="32"/>
                      <a:pt x="60" y="32"/>
                      <a:pt x="60" y="32"/>
                    </a:cubicBezTo>
                    <a:close/>
                    <a:moveTo>
                      <a:pt x="31" y="26"/>
                    </a:moveTo>
                    <a:cubicBezTo>
                      <a:pt x="31" y="26"/>
                      <a:pt x="32" y="26"/>
                      <a:pt x="32" y="26"/>
                    </a:cubicBezTo>
                    <a:cubicBezTo>
                      <a:pt x="32" y="26"/>
                      <a:pt x="32" y="26"/>
                      <a:pt x="32" y="26"/>
                    </a:cubicBezTo>
                    <a:cubicBezTo>
                      <a:pt x="32" y="26"/>
                      <a:pt x="32" y="26"/>
                      <a:pt x="32" y="26"/>
                    </a:cubicBezTo>
                    <a:cubicBezTo>
                      <a:pt x="32" y="27"/>
                      <a:pt x="32" y="27"/>
                      <a:pt x="32" y="28"/>
                    </a:cubicBezTo>
                    <a:cubicBezTo>
                      <a:pt x="32" y="28"/>
                      <a:pt x="32" y="27"/>
                      <a:pt x="31" y="27"/>
                    </a:cubicBezTo>
                    <a:cubicBezTo>
                      <a:pt x="31" y="27"/>
                      <a:pt x="31" y="27"/>
                      <a:pt x="31" y="27"/>
                    </a:cubicBezTo>
                    <a:cubicBezTo>
                      <a:pt x="31" y="27"/>
                      <a:pt x="31" y="27"/>
                      <a:pt x="31" y="27"/>
                    </a:cubicBezTo>
                    <a:cubicBezTo>
                      <a:pt x="31" y="27"/>
                      <a:pt x="31" y="27"/>
                      <a:pt x="31" y="27"/>
                    </a:cubicBezTo>
                    <a:cubicBezTo>
                      <a:pt x="31" y="27"/>
                      <a:pt x="31" y="26"/>
                      <a:pt x="31" y="26"/>
                    </a:cubicBezTo>
                    <a:cubicBezTo>
                      <a:pt x="31" y="26"/>
                      <a:pt x="31" y="26"/>
                      <a:pt x="31" y="26"/>
                    </a:cubicBezTo>
                    <a:close/>
                    <a:moveTo>
                      <a:pt x="19" y="23"/>
                    </a:moveTo>
                    <a:cubicBezTo>
                      <a:pt x="19" y="23"/>
                      <a:pt x="19" y="23"/>
                      <a:pt x="19" y="23"/>
                    </a:cubicBezTo>
                    <a:cubicBezTo>
                      <a:pt x="19" y="23"/>
                      <a:pt x="20" y="24"/>
                      <a:pt x="20" y="24"/>
                    </a:cubicBezTo>
                    <a:cubicBezTo>
                      <a:pt x="20" y="24"/>
                      <a:pt x="20" y="24"/>
                      <a:pt x="19" y="24"/>
                    </a:cubicBezTo>
                    <a:cubicBezTo>
                      <a:pt x="19" y="24"/>
                      <a:pt x="19" y="24"/>
                      <a:pt x="19" y="23"/>
                    </a:cubicBezTo>
                    <a:cubicBezTo>
                      <a:pt x="19" y="23"/>
                      <a:pt x="19" y="23"/>
                      <a:pt x="19" y="23"/>
                    </a:cubicBezTo>
                    <a:close/>
                    <a:moveTo>
                      <a:pt x="21" y="24"/>
                    </a:moveTo>
                    <a:cubicBezTo>
                      <a:pt x="21" y="24"/>
                      <a:pt x="21" y="24"/>
                      <a:pt x="21" y="24"/>
                    </a:cubicBezTo>
                    <a:cubicBezTo>
                      <a:pt x="21" y="24"/>
                      <a:pt x="21" y="24"/>
                      <a:pt x="21" y="24"/>
                    </a:cubicBezTo>
                    <a:cubicBezTo>
                      <a:pt x="21" y="24"/>
                      <a:pt x="21" y="24"/>
                      <a:pt x="21" y="24"/>
                    </a:cubicBezTo>
                    <a:cubicBezTo>
                      <a:pt x="21" y="24"/>
                      <a:pt x="21" y="24"/>
                      <a:pt x="21" y="24"/>
                    </a:cubicBezTo>
                    <a:close/>
                    <a:moveTo>
                      <a:pt x="54" y="31"/>
                    </a:moveTo>
                    <a:cubicBezTo>
                      <a:pt x="54" y="31"/>
                      <a:pt x="54" y="31"/>
                      <a:pt x="53" y="31"/>
                    </a:cubicBezTo>
                    <a:cubicBezTo>
                      <a:pt x="54" y="32"/>
                      <a:pt x="54" y="32"/>
                      <a:pt x="54" y="31"/>
                    </a:cubicBezTo>
                    <a:cubicBezTo>
                      <a:pt x="54" y="31"/>
                      <a:pt x="54" y="31"/>
                      <a:pt x="54" y="31"/>
                    </a:cubicBezTo>
                    <a:close/>
                    <a:moveTo>
                      <a:pt x="21" y="24"/>
                    </a:moveTo>
                    <a:cubicBezTo>
                      <a:pt x="21" y="24"/>
                      <a:pt x="21" y="24"/>
                      <a:pt x="21" y="24"/>
                    </a:cubicBezTo>
                    <a:cubicBezTo>
                      <a:pt x="21" y="24"/>
                      <a:pt x="21" y="24"/>
                      <a:pt x="21" y="24"/>
                    </a:cubicBezTo>
                    <a:cubicBezTo>
                      <a:pt x="21" y="24"/>
                      <a:pt x="21" y="24"/>
                      <a:pt x="21" y="24"/>
                    </a:cubicBezTo>
                    <a:cubicBezTo>
                      <a:pt x="21" y="24"/>
                      <a:pt x="21" y="24"/>
                      <a:pt x="21" y="24"/>
                    </a:cubicBezTo>
                    <a:cubicBezTo>
                      <a:pt x="21" y="24"/>
                      <a:pt x="21" y="24"/>
                      <a:pt x="21" y="24"/>
                    </a:cubicBezTo>
                    <a:close/>
                    <a:moveTo>
                      <a:pt x="22" y="24"/>
                    </a:moveTo>
                    <a:cubicBezTo>
                      <a:pt x="21" y="24"/>
                      <a:pt x="21" y="24"/>
                      <a:pt x="21" y="24"/>
                    </a:cubicBezTo>
                    <a:cubicBezTo>
                      <a:pt x="21" y="24"/>
                      <a:pt x="21" y="24"/>
                      <a:pt x="21" y="24"/>
                    </a:cubicBezTo>
                    <a:cubicBezTo>
                      <a:pt x="21" y="24"/>
                      <a:pt x="21" y="24"/>
                      <a:pt x="22" y="24"/>
                    </a:cubicBezTo>
                    <a:cubicBezTo>
                      <a:pt x="22" y="24"/>
                      <a:pt x="22" y="24"/>
                      <a:pt x="22" y="24"/>
                    </a:cubicBezTo>
                    <a:close/>
                    <a:moveTo>
                      <a:pt x="28" y="26"/>
                    </a:moveTo>
                    <a:cubicBezTo>
                      <a:pt x="28" y="26"/>
                      <a:pt x="29" y="26"/>
                      <a:pt x="29" y="26"/>
                    </a:cubicBezTo>
                    <a:cubicBezTo>
                      <a:pt x="29" y="26"/>
                      <a:pt x="29" y="26"/>
                      <a:pt x="29" y="26"/>
                    </a:cubicBezTo>
                    <a:cubicBezTo>
                      <a:pt x="29" y="26"/>
                      <a:pt x="29" y="26"/>
                      <a:pt x="29" y="26"/>
                    </a:cubicBezTo>
                    <a:cubicBezTo>
                      <a:pt x="28" y="26"/>
                      <a:pt x="28" y="26"/>
                      <a:pt x="28" y="26"/>
                    </a:cubicBezTo>
                    <a:cubicBezTo>
                      <a:pt x="28" y="26"/>
                      <a:pt x="28" y="26"/>
                      <a:pt x="28" y="26"/>
                    </a:cubicBezTo>
                    <a:cubicBezTo>
                      <a:pt x="28" y="26"/>
                      <a:pt x="28" y="26"/>
                      <a:pt x="28" y="26"/>
                    </a:cubicBezTo>
                    <a:close/>
                    <a:moveTo>
                      <a:pt x="46" y="30"/>
                    </a:moveTo>
                    <a:cubicBezTo>
                      <a:pt x="46" y="30"/>
                      <a:pt x="46" y="30"/>
                      <a:pt x="46" y="30"/>
                    </a:cubicBezTo>
                    <a:cubicBezTo>
                      <a:pt x="46" y="30"/>
                      <a:pt x="45" y="30"/>
                      <a:pt x="45" y="30"/>
                    </a:cubicBezTo>
                    <a:cubicBezTo>
                      <a:pt x="45" y="30"/>
                      <a:pt x="45" y="30"/>
                      <a:pt x="45" y="30"/>
                    </a:cubicBezTo>
                    <a:cubicBezTo>
                      <a:pt x="45" y="30"/>
                      <a:pt x="45" y="30"/>
                      <a:pt x="45" y="30"/>
                    </a:cubicBezTo>
                    <a:cubicBezTo>
                      <a:pt x="45" y="30"/>
                      <a:pt x="45" y="30"/>
                      <a:pt x="45" y="30"/>
                    </a:cubicBezTo>
                    <a:cubicBezTo>
                      <a:pt x="45" y="30"/>
                      <a:pt x="45" y="30"/>
                      <a:pt x="45" y="30"/>
                    </a:cubicBezTo>
                    <a:cubicBezTo>
                      <a:pt x="45" y="30"/>
                      <a:pt x="45" y="30"/>
                      <a:pt x="46" y="30"/>
                    </a:cubicBezTo>
                    <a:cubicBezTo>
                      <a:pt x="46" y="30"/>
                      <a:pt x="46" y="30"/>
                      <a:pt x="46" y="30"/>
                    </a:cubicBezTo>
                    <a:close/>
                    <a:moveTo>
                      <a:pt x="56" y="32"/>
                    </a:moveTo>
                    <a:cubicBezTo>
                      <a:pt x="56" y="32"/>
                      <a:pt x="55" y="32"/>
                      <a:pt x="55" y="33"/>
                    </a:cubicBezTo>
                    <a:cubicBezTo>
                      <a:pt x="55" y="33"/>
                      <a:pt x="55" y="33"/>
                      <a:pt x="55" y="33"/>
                    </a:cubicBezTo>
                    <a:cubicBezTo>
                      <a:pt x="55" y="32"/>
                      <a:pt x="56" y="32"/>
                      <a:pt x="56" y="32"/>
                    </a:cubicBezTo>
                    <a:cubicBezTo>
                      <a:pt x="56" y="32"/>
                      <a:pt x="56" y="32"/>
                      <a:pt x="56" y="32"/>
                    </a:cubicBezTo>
                    <a:cubicBezTo>
                      <a:pt x="56" y="32"/>
                      <a:pt x="56" y="32"/>
                      <a:pt x="56" y="32"/>
                    </a:cubicBezTo>
                    <a:close/>
                    <a:moveTo>
                      <a:pt x="52" y="31"/>
                    </a:moveTo>
                    <a:cubicBezTo>
                      <a:pt x="52" y="31"/>
                      <a:pt x="52" y="31"/>
                      <a:pt x="52" y="31"/>
                    </a:cubicBezTo>
                    <a:cubicBezTo>
                      <a:pt x="52" y="31"/>
                      <a:pt x="52" y="31"/>
                      <a:pt x="52" y="31"/>
                    </a:cubicBezTo>
                    <a:cubicBezTo>
                      <a:pt x="52" y="31"/>
                      <a:pt x="52" y="31"/>
                      <a:pt x="52" y="31"/>
                    </a:cubicBezTo>
                    <a:close/>
                    <a:moveTo>
                      <a:pt x="51" y="31"/>
                    </a:move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lose/>
                    <a:moveTo>
                      <a:pt x="29" y="26"/>
                    </a:moveTo>
                    <a:cubicBezTo>
                      <a:pt x="29" y="26"/>
                      <a:pt x="29" y="26"/>
                      <a:pt x="29" y="26"/>
                    </a:cubicBezTo>
                    <a:cubicBezTo>
                      <a:pt x="29" y="26"/>
                      <a:pt x="29" y="26"/>
                      <a:pt x="29" y="27"/>
                    </a:cubicBezTo>
                    <a:cubicBezTo>
                      <a:pt x="29" y="27"/>
                      <a:pt x="29" y="27"/>
                      <a:pt x="29" y="27"/>
                    </a:cubicBezTo>
                    <a:cubicBezTo>
                      <a:pt x="29" y="27"/>
                      <a:pt x="29" y="26"/>
                      <a:pt x="29" y="26"/>
                    </a:cubicBezTo>
                    <a:cubicBezTo>
                      <a:pt x="29" y="26"/>
                      <a:pt x="29" y="26"/>
                      <a:pt x="29" y="26"/>
                    </a:cubicBezTo>
                    <a:close/>
                    <a:moveTo>
                      <a:pt x="51" y="31"/>
                    </a:moveTo>
                    <a:cubicBezTo>
                      <a:pt x="51" y="31"/>
                      <a:pt x="51" y="31"/>
                      <a:pt x="51" y="31"/>
                    </a:cubicBezTo>
                    <a:cubicBezTo>
                      <a:pt x="51" y="31"/>
                      <a:pt x="51" y="31"/>
                      <a:pt x="51" y="31"/>
                    </a:cubicBezTo>
                    <a:cubicBezTo>
                      <a:pt x="51" y="31"/>
                      <a:pt x="51" y="31"/>
                      <a:pt x="51" y="31"/>
                    </a:cubicBezTo>
                    <a:cubicBezTo>
                      <a:pt x="51" y="31"/>
                      <a:pt x="51" y="31"/>
                      <a:pt x="51" y="31"/>
                    </a:cubicBezTo>
                    <a:close/>
                    <a:moveTo>
                      <a:pt x="25" y="25"/>
                    </a:moveTo>
                    <a:cubicBezTo>
                      <a:pt x="25" y="25"/>
                      <a:pt x="25" y="25"/>
                      <a:pt x="25" y="25"/>
                    </a:cubicBezTo>
                    <a:cubicBezTo>
                      <a:pt x="25" y="25"/>
                      <a:pt x="25" y="25"/>
                      <a:pt x="25" y="26"/>
                    </a:cubicBezTo>
                    <a:cubicBezTo>
                      <a:pt x="25" y="26"/>
                      <a:pt x="25" y="26"/>
                      <a:pt x="25" y="26"/>
                    </a:cubicBezTo>
                    <a:cubicBezTo>
                      <a:pt x="25" y="26"/>
                      <a:pt x="25" y="26"/>
                      <a:pt x="25" y="25"/>
                    </a:cubicBezTo>
                    <a:cubicBezTo>
                      <a:pt x="25" y="25"/>
                      <a:pt x="25" y="25"/>
                      <a:pt x="25" y="25"/>
                    </a:cubicBezTo>
                    <a:cubicBezTo>
                      <a:pt x="25" y="25"/>
                      <a:pt x="25" y="25"/>
                      <a:pt x="25" y="25"/>
                    </a:cubicBezTo>
                    <a:close/>
                    <a:moveTo>
                      <a:pt x="54" y="32"/>
                    </a:moveTo>
                    <a:cubicBezTo>
                      <a:pt x="54" y="32"/>
                      <a:pt x="55" y="32"/>
                      <a:pt x="55" y="32"/>
                    </a:cubicBezTo>
                    <a:cubicBezTo>
                      <a:pt x="55" y="32"/>
                      <a:pt x="55" y="32"/>
                      <a:pt x="55" y="32"/>
                    </a:cubicBezTo>
                    <a:cubicBezTo>
                      <a:pt x="55" y="32"/>
                      <a:pt x="54" y="32"/>
                      <a:pt x="54" y="32"/>
                    </a:cubicBezTo>
                    <a:cubicBezTo>
                      <a:pt x="54" y="32"/>
                      <a:pt x="54" y="32"/>
                      <a:pt x="55" y="32"/>
                    </a:cubicBezTo>
                    <a:cubicBezTo>
                      <a:pt x="54" y="33"/>
                      <a:pt x="54" y="33"/>
                      <a:pt x="54" y="33"/>
                    </a:cubicBezTo>
                    <a:cubicBezTo>
                      <a:pt x="54" y="32"/>
                      <a:pt x="54" y="32"/>
                      <a:pt x="54" y="32"/>
                    </a:cubicBezTo>
                    <a:cubicBezTo>
                      <a:pt x="54" y="32"/>
                      <a:pt x="54" y="32"/>
                      <a:pt x="54" y="32"/>
                    </a:cubicBezTo>
                    <a:close/>
                    <a:moveTo>
                      <a:pt x="54" y="32"/>
                    </a:moveTo>
                    <a:cubicBezTo>
                      <a:pt x="53" y="32"/>
                      <a:pt x="53" y="32"/>
                      <a:pt x="53" y="32"/>
                    </a:cubicBezTo>
                    <a:cubicBezTo>
                      <a:pt x="53" y="32"/>
                      <a:pt x="53" y="32"/>
                      <a:pt x="53" y="32"/>
                    </a:cubicBezTo>
                    <a:cubicBezTo>
                      <a:pt x="53" y="32"/>
                      <a:pt x="53" y="32"/>
                      <a:pt x="53" y="32"/>
                    </a:cubicBezTo>
                    <a:cubicBezTo>
                      <a:pt x="53" y="32"/>
                      <a:pt x="53" y="32"/>
                      <a:pt x="54" y="32"/>
                    </a:cubicBezTo>
                    <a:cubicBezTo>
                      <a:pt x="54" y="32"/>
                      <a:pt x="54" y="32"/>
                      <a:pt x="54" y="32"/>
                    </a:cubicBezTo>
                    <a:close/>
                    <a:moveTo>
                      <a:pt x="57" y="33"/>
                    </a:moveTo>
                    <a:cubicBezTo>
                      <a:pt x="57" y="33"/>
                      <a:pt x="57" y="33"/>
                      <a:pt x="56" y="32"/>
                    </a:cubicBezTo>
                    <a:cubicBezTo>
                      <a:pt x="56" y="33"/>
                      <a:pt x="56" y="33"/>
                      <a:pt x="56" y="33"/>
                    </a:cubicBezTo>
                    <a:cubicBezTo>
                      <a:pt x="56" y="33"/>
                      <a:pt x="56" y="34"/>
                      <a:pt x="56" y="34"/>
                    </a:cubicBezTo>
                    <a:cubicBezTo>
                      <a:pt x="56" y="33"/>
                      <a:pt x="57" y="33"/>
                      <a:pt x="57" y="33"/>
                    </a:cubicBezTo>
                    <a:cubicBezTo>
                      <a:pt x="57" y="33"/>
                      <a:pt x="57" y="33"/>
                      <a:pt x="57" y="33"/>
                    </a:cubicBezTo>
                    <a:close/>
                    <a:moveTo>
                      <a:pt x="25" y="26"/>
                    </a:moveTo>
                    <a:cubicBezTo>
                      <a:pt x="25" y="26"/>
                      <a:pt x="25" y="26"/>
                      <a:pt x="25" y="26"/>
                    </a:cubicBezTo>
                    <a:cubicBezTo>
                      <a:pt x="25" y="26"/>
                      <a:pt x="25" y="26"/>
                      <a:pt x="25" y="26"/>
                    </a:cubicBezTo>
                    <a:cubicBezTo>
                      <a:pt x="25" y="26"/>
                      <a:pt x="25" y="26"/>
                      <a:pt x="25" y="26"/>
                    </a:cubicBezTo>
                    <a:cubicBezTo>
                      <a:pt x="25" y="26"/>
                      <a:pt x="25" y="26"/>
                      <a:pt x="25" y="26"/>
                    </a:cubicBezTo>
                    <a:cubicBezTo>
                      <a:pt x="25" y="26"/>
                      <a:pt x="25" y="26"/>
                      <a:pt x="25" y="26"/>
                    </a:cubicBezTo>
                    <a:close/>
                    <a:moveTo>
                      <a:pt x="52" y="32"/>
                    </a:moveTo>
                    <a:cubicBezTo>
                      <a:pt x="52" y="32"/>
                      <a:pt x="53" y="32"/>
                      <a:pt x="53" y="32"/>
                    </a:cubicBezTo>
                    <a:cubicBezTo>
                      <a:pt x="53" y="32"/>
                      <a:pt x="53" y="32"/>
                      <a:pt x="53" y="32"/>
                    </a:cubicBezTo>
                    <a:cubicBezTo>
                      <a:pt x="53" y="32"/>
                      <a:pt x="52" y="32"/>
                      <a:pt x="52" y="32"/>
                    </a:cubicBezTo>
                    <a:cubicBezTo>
                      <a:pt x="52" y="32"/>
                      <a:pt x="52" y="32"/>
                      <a:pt x="52" y="32"/>
                    </a:cubicBezTo>
                    <a:close/>
                    <a:moveTo>
                      <a:pt x="59" y="33"/>
                    </a:moveTo>
                    <a:cubicBezTo>
                      <a:pt x="59" y="33"/>
                      <a:pt x="59" y="33"/>
                      <a:pt x="59" y="33"/>
                    </a:cubicBezTo>
                    <a:cubicBezTo>
                      <a:pt x="59" y="33"/>
                      <a:pt x="59" y="33"/>
                      <a:pt x="59" y="33"/>
                    </a:cubicBezTo>
                    <a:cubicBezTo>
                      <a:pt x="59" y="33"/>
                      <a:pt x="59" y="33"/>
                      <a:pt x="59" y="33"/>
                    </a:cubicBezTo>
                    <a:close/>
                    <a:moveTo>
                      <a:pt x="20" y="25"/>
                    </a:moveTo>
                    <a:cubicBezTo>
                      <a:pt x="20" y="25"/>
                      <a:pt x="21" y="25"/>
                      <a:pt x="21" y="25"/>
                    </a:cubicBezTo>
                    <a:cubicBezTo>
                      <a:pt x="21" y="25"/>
                      <a:pt x="21" y="25"/>
                      <a:pt x="21" y="25"/>
                    </a:cubicBezTo>
                    <a:cubicBezTo>
                      <a:pt x="20" y="25"/>
                      <a:pt x="20" y="25"/>
                      <a:pt x="20" y="25"/>
                    </a:cubicBezTo>
                    <a:cubicBezTo>
                      <a:pt x="20" y="25"/>
                      <a:pt x="20" y="25"/>
                      <a:pt x="20" y="25"/>
                    </a:cubicBezTo>
                    <a:cubicBezTo>
                      <a:pt x="20" y="25"/>
                      <a:pt x="20" y="25"/>
                      <a:pt x="20" y="25"/>
                    </a:cubicBezTo>
                    <a:cubicBezTo>
                      <a:pt x="20" y="25"/>
                      <a:pt x="20" y="25"/>
                      <a:pt x="20" y="25"/>
                    </a:cubicBezTo>
                    <a:cubicBezTo>
                      <a:pt x="20" y="25"/>
                      <a:pt x="20" y="25"/>
                      <a:pt x="20" y="25"/>
                    </a:cubicBezTo>
                    <a:close/>
                    <a:moveTo>
                      <a:pt x="28" y="27"/>
                    </a:moveTo>
                    <a:cubicBezTo>
                      <a:pt x="28" y="27"/>
                      <a:pt x="28" y="26"/>
                      <a:pt x="28" y="26"/>
                    </a:cubicBezTo>
                    <a:cubicBezTo>
                      <a:pt x="28" y="27"/>
                      <a:pt x="28" y="27"/>
                      <a:pt x="28" y="27"/>
                    </a:cubicBezTo>
                    <a:cubicBezTo>
                      <a:pt x="28" y="27"/>
                      <a:pt x="28" y="27"/>
                      <a:pt x="28" y="27"/>
                    </a:cubicBezTo>
                    <a:cubicBezTo>
                      <a:pt x="28" y="27"/>
                      <a:pt x="28" y="27"/>
                      <a:pt x="28" y="27"/>
                    </a:cubicBezTo>
                    <a:close/>
                    <a:moveTo>
                      <a:pt x="28" y="27"/>
                    </a:moveTo>
                    <a:cubicBezTo>
                      <a:pt x="28" y="27"/>
                      <a:pt x="28" y="27"/>
                      <a:pt x="28" y="27"/>
                    </a:cubicBezTo>
                    <a:cubicBezTo>
                      <a:pt x="28" y="27"/>
                      <a:pt x="28" y="27"/>
                      <a:pt x="28" y="27"/>
                    </a:cubicBezTo>
                    <a:cubicBezTo>
                      <a:pt x="28" y="27"/>
                      <a:pt x="28" y="27"/>
                      <a:pt x="28" y="27"/>
                    </a:cubicBezTo>
                    <a:cubicBezTo>
                      <a:pt x="28" y="27"/>
                      <a:pt x="28" y="27"/>
                      <a:pt x="28" y="27"/>
                    </a:cubicBezTo>
                    <a:close/>
                    <a:moveTo>
                      <a:pt x="53" y="32"/>
                    </a:moveTo>
                    <a:cubicBezTo>
                      <a:pt x="53" y="32"/>
                      <a:pt x="53" y="32"/>
                      <a:pt x="53" y="32"/>
                    </a:cubicBezTo>
                    <a:cubicBezTo>
                      <a:pt x="53" y="32"/>
                      <a:pt x="53" y="32"/>
                      <a:pt x="53" y="33"/>
                    </a:cubicBezTo>
                    <a:cubicBezTo>
                      <a:pt x="53" y="32"/>
                      <a:pt x="53" y="32"/>
                      <a:pt x="53" y="32"/>
                    </a:cubicBezTo>
                    <a:cubicBezTo>
                      <a:pt x="53" y="32"/>
                      <a:pt x="53" y="32"/>
                      <a:pt x="53" y="32"/>
                    </a:cubicBezTo>
                    <a:close/>
                    <a:moveTo>
                      <a:pt x="29" y="27"/>
                    </a:moveTo>
                    <a:cubicBezTo>
                      <a:pt x="29" y="27"/>
                      <a:pt x="29" y="27"/>
                      <a:pt x="29" y="27"/>
                    </a:cubicBezTo>
                    <a:cubicBezTo>
                      <a:pt x="29" y="27"/>
                      <a:pt x="29" y="27"/>
                      <a:pt x="29" y="27"/>
                    </a:cubicBezTo>
                    <a:cubicBezTo>
                      <a:pt x="29" y="27"/>
                      <a:pt x="29" y="27"/>
                      <a:pt x="29" y="27"/>
                    </a:cubicBezTo>
                    <a:cubicBezTo>
                      <a:pt x="29" y="27"/>
                      <a:pt x="29" y="27"/>
                      <a:pt x="29" y="27"/>
                    </a:cubicBezTo>
                    <a:cubicBezTo>
                      <a:pt x="29" y="27"/>
                      <a:pt x="29" y="27"/>
                      <a:pt x="29" y="27"/>
                    </a:cubicBezTo>
                    <a:close/>
                    <a:moveTo>
                      <a:pt x="31" y="27"/>
                    </a:moveTo>
                    <a:cubicBezTo>
                      <a:pt x="31" y="27"/>
                      <a:pt x="31" y="27"/>
                      <a:pt x="31" y="27"/>
                    </a:cubicBezTo>
                    <a:cubicBezTo>
                      <a:pt x="31" y="27"/>
                      <a:pt x="31" y="27"/>
                      <a:pt x="31" y="27"/>
                    </a:cubicBezTo>
                    <a:cubicBezTo>
                      <a:pt x="31" y="27"/>
                      <a:pt x="31" y="28"/>
                      <a:pt x="31" y="28"/>
                    </a:cubicBezTo>
                    <a:cubicBezTo>
                      <a:pt x="31" y="28"/>
                      <a:pt x="31" y="28"/>
                      <a:pt x="31" y="27"/>
                    </a:cubicBezTo>
                    <a:cubicBezTo>
                      <a:pt x="31" y="27"/>
                      <a:pt x="31" y="27"/>
                      <a:pt x="31" y="27"/>
                    </a:cubicBezTo>
                    <a:close/>
                    <a:moveTo>
                      <a:pt x="28" y="27"/>
                    </a:moveTo>
                    <a:cubicBezTo>
                      <a:pt x="28" y="27"/>
                      <a:pt x="28" y="27"/>
                      <a:pt x="28" y="27"/>
                    </a:cubicBezTo>
                    <a:cubicBezTo>
                      <a:pt x="28" y="27"/>
                      <a:pt x="28" y="27"/>
                      <a:pt x="28" y="27"/>
                    </a:cubicBezTo>
                    <a:cubicBezTo>
                      <a:pt x="28" y="27"/>
                      <a:pt x="28" y="27"/>
                      <a:pt x="28" y="27"/>
                    </a:cubicBezTo>
                    <a:cubicBezTo>
                      <a:pt x="28" y="27"/>
                      <a:pt x="28" y="27"/>
                      <a:pt x="28" y="27"/>
                    </a:cubicBezTo>
                    <a:close/>
                    <a:moveTo>
                      <a:pt x="55" y="33"/>
                    </a:move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3"/>
                      <a:pt x="55" y="33"/>
                      <a:pt x="55" y="33"/>
                    </a:cubicBezTo>
                    <a:close/>
                    <a:moveTo>
                      <a:pt x="52" y="32"/>
                    </a:moveTo>
                    <a:cubicBezTo>
                      <a:pt x="52" y="32"/>
                      <a:pt x="52" y="32"/>
                      <a:pt x="52" y="32"/>
                    </a:cubicBezTo>
                    <a:cubicBezTo>
                      <a:pt x="52" y="32"/>
                      <a:pt x="52" y="32"/>
                      <a:pt x="52" y="33"/>
                    </a:cubicBezTo>
                    <a:cubicBezTo>
                      <a:pt x="52" y="32"/>
                      <a:pt x="52" y="32"/>
                      <a:pt x="52" y="32"/>
                    </a:cubicBezTo>
                    <a:cubicBezTo>
                      <a:pt x="52" y="32"/>
                      <a:pt x="52" y="32"/>
                      <a:pt x="52" y="32"/>
                    </a:cubicBezTo>
                    <a:cubicBezTo>
                      <a:pt x="52" y="32"/>
                      <a:pt x="52" y="32"/>
                      <a:pt x="52" y="32"/>
                    </a:cubicBezTo>
                    <a:close/>
                    <a:moveTo>
                      <a:pt x="53" y="33"/>
                    </a:moveTo>
                    <a:cubicBezTo>
                      <a:pt x="53" y="33"/>
                      <a:pt x="53" y="32"/>
                      <a:pt x="52" y="32"/>
                    </a:cubicBezTo>
                    <a:cubicBezTo>
                      <a:pt x="53" y="32"/>
                      <a:pt x="53" y="33"/>
                      <a:pt x="53" y="33"/>
                    </a:cubicBezTo>
                    <a:cubicBezTo>
                      <a:pt x="53" y="33"/>
                      <a:pt x="53" y="33"/>
                      <a:pt x="53" y="33"/>
                    </a:cubicBezTo>
                    <a:cubicBezTo>
                      <a:pt x="53" y="33"/>
                      <a:pt x="53" y="33"/>
                      <a:pt x="53" y="33"/>
                    </a:cubicBezTo>
                    <a:close/>
                    <a:moveTo>
                      <a:pt x="53" y="32"/>
                    </a:moveTo>
                    <a:cubicBezTo>
                      <a:pt x="53" y="32"/>
                      <a:pt x="52" y="32"/>
                      <a:pt x="52" y="32"/>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3" y="33"/>
                      <a:pt x="53" y="33"/>
                    </a:cubicBezTo>
                    <a:cubicBezTo>
                      <a:pt x="53" y="33"/>
                      <a:pt x="53" y="33"/>
                      <a:pt x="53" y="32"/>
                    </a:cubicBezTo>
                    <a:cubicBezTo>
                      <a:pt x="53" y="32"/>
                      <a:pt x="53" y="32"/>
                      <a:pt x="53" y="32"/>
                    </a:cubicBezTo>
                    <a:close/>
                    <a:moveTo>
                      <a:pt x="53" y="33"/>
                    </a:moveTo>
                    <a:cubicBezTo>
                      <a:pt x="53" y="33"/>
                      <a:pt x="53" y="33"/>
                      <a:pt x="53" y="33"/>
                    </a:cubicBezTo>
                    <a:cubicBezTo>
                      <a:pt x="53" y="33"/>
                      <a:pt x="53" y="33"/>
                      <a:pt x="53" y="33"/>
                    </a:cubicBezTo>
                    <a:cubicBezTo>
                      <a:pt x="53" y="33"/>
                      <a:pt x="54" y="33"/>
                      <a:pt x="54" y="33"/>
                    </a:cubicBezTo>
                    <a:cubicBezTo>
                      <a:pt x="54" y="33"/>
                      <a:pt x="53" y="33"/>
                      <a:pt x="53" y="33"/>
                    </a:cubicBezTo>
                    <a:cubicBezTo>
                      <a:pt x="53" y="33"/>
                      <a:pt x="53" y="33"/>
                      <a:pt x="53" y="33"/>
                    </a:cubicBezTo>
                    <a:close/>
                    <a:moveTo>
                      <a:pt x="55" y="33"/>
                    </a:moveTo>
                    <a:cubicBezTo>
                      <a:pt x="55" y="33"/>
                      <a:pt x="55" y="33"/>
                      <a:pt x="55" y="33"/>
                    </a:cubicBezTo>
                    <a:cubicBezTo>
                      <a:pt x="55" y="34"/>
                      <a:pt x="56" y="34"/>
                      <a:pt x="56" y="34"/>
                    </a:cubicBezTo>
                    <a:cubicBezTo>
                      <a:pt x="56" y="34"/>
                      <a:pt x="56" y="34"/>
                      <a:pt x="55" y="34"/>
                    </a:cubicBezTo>
                    <a:cubicBezTo>
                      <a:pt x="55" y="34"/>
                      <a:pt x="55" y="34"/>
                      <a:pt x="55" y="33"/>
                    </a:cubicBezTo>
                    <a:cubicBezTo>
                      <a:pt x="55" y="33"/>
                      <a:pt x="55" y="33"/>
                      <a:pt x="55" y="33"/>
                    </a:cubicBezTo>
                    <a:close/>
                    <a:moveTo>
                      <a:pt x="57" y="34"/>
                    </a:moveTo>
                    <a:cubicBezTo>
                      <a:pt x="57" y="34"/>
                      <a:pt x="57" y="34"/>
                      <a:pt x="57" y="34"/>
                    </a:cubicBezTo>
                    <a:cubicBezTo>
                      <a:pt x="57" y="34"/>
                      <a:pt x="56" y="34"/>
                      <a:pt x="56" y="34"/>
                    </a:cubicBezTo>
                    <a:cubicBezTo>
                      <a:pt x="56" y="34"/>
                      <a:pt x="57" y="34"/>
                      <a:pt x="57" y="34"/>
                    </a:cubicBezTo>
                    <a:cubicBezTo>
                      <a:pt x="57" y="34"/>
                      <a:pt x="57" y="34"/>
                      <a:pt x="57" y="34"/>
                    </a:cubicBezTo>
                    <a:close/>
                    <a:moveTo>
                      <a:pt x="28" y="27"/>
                    </a:moveTo>
                    <a:cubicBezTo>
                      <a:pt x="28" y="27"/>
                      <a:pt x="28" y="27"/>
                      <a:pt x="28" y="27"/>
                    </a:cubicBezTo>
                    <a:cubicBezTo>
                      <a:pt x="28" y="27"/>
                      <a:pt x="28" y="27"/>
                      <a:pt x="28" y="28"/>
                    </a:cubicBezTo>
                    <a:cubicBezTo>
                      <a:pt x="28" y="28"/>
                      <a:pt x="28" y="28"/>
                      <a:pt x="28" y="28"/>
                    </a:cubicBezTo>
                    <a:cubicBezTo>
                      <a:pt x="28" y="28"/>
                      <a:pt x="28" y="28"/>
                      <a:pt x="28" y="28"/>
                    </a:cubicBezTo>
                    <a:cubicBezTo>
                      <a:pt x="28" y="28"/>
                      <a:pt x="28" y="28"/>
                      <a:pt x="28" y="28"/>
                    </a:cubicBezTo>
                    <a:cubicBezTo>
                      <a:pt x="28" y="28"/>
                      <a:pt x="28" y="28"/>
                      <a:pt x="28" y="28"/>
                    </a:cubicBezTo>
                    <a:cubicBezTo>
                      <a:pt x="28" y="28"/>
                      <a:pt x="28" y="28"/>
                      <a:pt x="28" y="27"/>
                    </a:cubicBezTo>
                    <a:cubicBezTo>
                      <a:pt x="28" y="27"/>
                      <a:pt x="28" y="27"/>
                      <a:pt x="28" y="27"/>
                    </a:cubicBezTo>
                    <a:cubicBezTo>
                      <a:pt x="28" y="27"/>
                      <a:pt x="28" y="27"/>
                      <a:pt x="28" y="27"/>
                    </a:cubicBezTo>
                    <a:cubicBezTo>
                      <a:pt x="28" y="27"/>
                      <a:pt x="28" y="27"/>
                      <a:pt x="28" y="27"/>
                    </a:cubicBezTo>
                    <a:close/>
                    <a:moveTo>
                      <a:pt x="52" y="33"/>
                    </a:moveTo>
                    <a:cubicBezTo>
                      <a:pt x="52" y="33"/>
                      <a:pt x="51" y="33"/>
                      <a:pt x="51" y="33"/>
                    </a:cubicBezTo>
                    <a:cubicBezTo>
                      <a:pt x="51" y="33"/>
                      <a:pt x="51" y="33"/>
                      <a:pt x="52" y="33"/>
                    </a:cubicBezTo>
                    <a:cubicBezTo>
                      <a:pt x="52" y="33"/>
                      <a:pt x="52" y="33"/>
                      <a:pt x="52" y="33"/>
                    </a:cubicBezTo>
                    <a:cubicBezTo>
                      <a:pt x="52" y="33"/>
                      <a:pt x="52" y="33"/>
                      <a:pt x="52" y="33"/>
                    </a:cubicBezTo>
                    <a:close/>
                    <a:moveTo>
                      <a:pt x="20" y="26"/>
                    </a:moveTo>
                    <a:cubicBezTo>
                      <a:pt x="20" y="26"/>
                      <a:pt x="20" y="26"/>
                      <a:pt x="20" y="26"/>
                    </a:cubicBezTo>
                    <a:cubicBezTo>
                      <a:pt x="20" y="26"/>
                      <a:pt x="20" y="26"/>
                      <a:pt x="20" y="26"/>
                    </a:cubicBezTo>
                    <a:cubicBezTo>
                      <a:pt x="20" y="26"/>
                      <a:pt x="20" y="26"/>
                      <a:pt x="20" y="26"/>
                    </a:cubicBezTo>
                    <a:cubicBezTo>
                      <a:pt x="20" y="26"/>
                      <a:pt x="20" y="26"/>
                      <a:pt x="20" y="26"/>
                    </a:cubicBezTo>
                    <a:cubicBezTo>
                      <a:pt x="20" y="26"/>
                      <a:pt x="20" y="27"/>
                      <a:pt x="19" y="27"/>
                    </a:cubicBezTo>
                    <a:cubicBezTo>
                      <a:pt x="19" y="27"/>
                      <a:pt x="19" y="26"/>
                      <a:pt x="19" y="26"/>
                    </a:cubicBezTo>
                    <a:cubicBezTo>
                      <a:pt x="19" y="26"/>
                      <a:pt x="19" y="26"/>
                      <a:pt x="19" y="26"/>
                    </a:cubicBezTo>
                    <a:cubicBezTo>
                      <a:pt x="19" y="26"/>
                      <a:pt x="19" y="26"/>
                      <a:pt x="20" y="26"/>
                    </a:cubicBezTo>
                    <a:cubicBezTo>
                      <a:pt x="20" y="26"/>
                      <a:pt x="20" y="26"/>
                      <a:pt x="20" y="26"/>
                    </a:cubicBezTo>
                    <a:close/>
                    <a:moveTo>
                      <a:pt x="55" y="34"/>
                    </a:moveTo>
                    <a:cubicBezTo>
                      <a:pt x="55" y="34"/>
                      <a:pt x="55" y="33"/>
                      <a:pt x="55" y="33"/>
                    </a:cubicBezTo>
                    <a:cubicBezTo>
                      <a:pt x="55" y="34"/>
                      <a:pt x="55" y="34"/>
                      <a:pt x="55" y="34"/>
                    </a:cubicBezTo>
                    <a:cubicBezTo>
                      <a:pt x="55" y="34"/>
                      <a:pt x="55" y="34"/>
                      <a:pt x="55" y="34"/>
                    </a:cubicBezTo>
                    <a:cubicBezTo>
                      <a:pt x="55" y="34"/>
                      <a:pt x="55" y="34"/>
                      <a:pt x="55" y="34"/>
                    </a:cubicBezTo>
                    <a:cubicBezTo>
                      <a:pt x="55" y="34"/>
                      <a:pt x="55" y="34"/>
                      <a:pt x="55" y="34"/>
                    </a:cubicBezTo>
                    <a:close/>
                    <a:moveTo>
                      <a:pt x="19" y="26"/>
                    </a:moveTo>
                    <a:cubicBezTo>
                      <a:pt x="19" y="26"/>
                      <a:pt x="19" y="26"/>
                      <a:pt x="19" y="26"/>
                    </a:cubicBezTo>
                    <a:cubicBezTo>
                      <a:pt x="19" y="26"/>
                      <a:pt x="19" y="26"/>
                      <a:pt x="19" y="26"/>
                    </a:cubicBezTo>
                    <a:cubicBezTo>
                      <a:pt x="19" y="26"/>
                      <a:pt x="19" y="26"/>
                      <a:pt x="19" y="26"/>
                    </a:cubicBezTo>
                    <a:cubicBezTo>
                      <a:pt x="19" y="26"/>
                      <a:pt x="19" y="26"/>
                      <a:pt x="19" y="26"/>
                    </a:cubicBezTo>
                    <a:close/>
                    <a:moveTo>
                      <a:pt x="20" y="26"/>
                    </a:moveTo>
                    <a:cubicBezTo>
                      <a:pt x="21" y="26"/>
                      <a:pt x="21" y="26"/>
                      <a:pt x="21" y="26"/>
                    </a:cubicBezTo>
                    <a:cubicBezTo>
                      <a:pt x="21" y="26"/>
                      <a:pt x="21" y="26"/>
                      <a:pt x="20" y="26"/>
                    </a:cubicBezTo>
                    <a:cubicBezTo>
                      <a:pt x="20" y="26"/>
                      <a:pt x="20" y="26"/>
                      <a:pt x="20" y="26"/>
                    </a:cubicBezTo>
                    <a:cubicBezTo>
                      <a:pt x="20" y="26"/>
                      <a:pt x="20" y="26"/>
                      <a:pt x="20" y="26"/>
                    </a:cubicBezTo>
                    <a:close/>
                    <a:moveTo>
                      <a:pt x="53" y="33"/>
                    </a:moveTo>
                    <a:cubicBezTo>
                      <a:pt x="53" y="33"/>
                      <a:pt x="53" y="33"/>
                      <a:pt x="53" y="33"/>
                    </a:cubicBezTo>
                    <a:cubicBezTo>
                      <a:pt x="53" y="33"/>
                      <a:pt x="53" y="33"/>
                      <a:pt x="53" y="33"/>
                    </a:cubicBezTo>
                    <a:cubicBezTo>
                      <a:pt x="53" y="33"/>
                      <a:pt x="53" y="33"/>
                      <a:pt x="53" y="33"/>
                    </a:cubicBezTo>
                    <a:cubicBezTo>
                      <a:pt x="53" y="33"/>
                      <a:pt x="53" y="33"/>
                      <a:pt x="53" y="34"/>
                    </a:cubicBezTo>
                    <a:cubicBezTo>
                      <a:pt x="53" y="34"/>
                      <a:pt x="53" y="34"/>
                      <a:pt x="53" y="34"/>
                    </a:cubicBezTo>
                    <a:cubicBezTo>
                      <a:pt x="53" y="34"/>
                      <a:pt x="53" y="33"/>
                      <a:pt x="53" y="33"/>
                    </a:cubicBezTo>
                    <a:cubicBezTo>
                      <a:pt x="53" y="33"/>
                      <a:pt x="53" y="33"/>
                      <a:pt x="53" y="33"/>
                    </a:cubicBezTo>
                    <a:cubicBezTo>
                      <a:pt x="53" y="33"/>
                      <a:pt x="53" y="33"/>
                      <a:pt x="53" y="33"/>
                    </a:cubicBezTo>
                    <a:close/>
                    <a:moveTo>
                      <a:pt x="51" y="34"/>
                    </a:moveTo>
                    <a:cubicBezTo>
                      <a:pt x="50" y="34"/>
                      <a:pt x="50" y="34"/>
                      <a:pt x="50" y="34"/>
                    </a:cubicBezTo>
                    <a:cubicBezTo>
                      <a:pt x="50" y="34"/>
                      <a:pt x="50" y="34"/>
                      <a:pt x="50" y="34"/>
                    </a:cubicBezTo>
                    <a:cubicBezTo>
                      <a:pt x="50" y="34"/>
                      <a:pt x="50" y="34"/>
                      <a:pt x="50" y="33"/>
                    </a:cubicBezTo>
                    <a:cubicBezTo>
                      <a:pt x="50" y="33"/>
                      <a:pt x="50" y="33"/>
                      <a:pt x="51" y="33"/>
                    </a:cubicBezTo>
                    <a:cubicBezTo>
                      <a:pt x="50" y="33"/>
                      <a:pt x="50" y="33"/>
                      <a:pt x="49" y="32"/>
                    </a:cubicBezTo>
                    <a:cubicBezTo>
                      <a:pt x="50" y="33"/>
                      <a:pt x="51" y="33"/>
                      <a:pt x="51" y="33"/>
                    </a:cubicBezTo>
                    <a:cubicBezTo>
                      <a:pt x="51" y="33"/>
                      <a:pt x="51" y="34"/>
                      <a:pt x="51" y="34"/>
                    </a:cubicBezTo>
                    <a:cubicBezTo>
                      <a:pt x="51" y="34"/>
                      <a:pt x="51" y="34"/>
                      <a:pt x="51" y="34"/>
                    </a:cubicBezTo>
                    <a:close/>
                    <a:moveTo>
                      <a:pt x="38" y="30"/>
                    </a:moveTo>
                    <a:cubicBezTo>
                      <a:pt x="38" y="30"/>
                      <a:pt x="38" y="30"/>
                      <a:pt x="38" y="30"/>
                    </a:cubicBezTo>
                    <a:cubicBezTo>
                      <a:pt x="38" y="30"/>
                      <a:pt x="38" y="30"/>
                      <a:pt x="38" y="30"/>
                    </a:cubicBezTo>
                    <a:cubicBezTo>
                      <a:pt x="38" y="30"/>
                      <a:pt x="38" y="31"/>
                      <a:pt x="38" y="31"/>
                    </a:cubicBezTo>
                    <a:cubicBezTo>
                      <a:pt x="38" y="31"/>
                      <a:pt x="38" y="31"/>
                      <a:pt x="38" y="31"/>
                    </a:cubicBezTo>
                    <a:cubicBezTo>
                      <a:pt x="38" y="30"/>
                      <a:pt x="38" y="30"/>
                      <a:pt x="38" y="30"/>
                    </a:cubicBezTo>
                    <a:cubicBezTo>
                      <a:pt x="38" y="30"/>
                      <a:pt x="38" y="30"/>
                      <a:pt x="38" y="30"/>
                    </a:cubicBezTo>
                    <a:close/>
                    <a:moveTo>
                      <a:pt x="28" y="28"/>
                    </a:moveTo>
                    <a:cubicBezTo>
                      <a:pt x="28" y="28"/>
                      <a:pt x="28" y="28"/>
                      <a:pt x="28" y="28"/>
                    </a:cubicBezTo>
                    <a:cubicBezTo>
                      <a:pt x="29" y="28"/>
                      <a:pt x="29" y="28"/>
                      <a:pt x="29" y="28"/>
                    </a:cubicBezTo>
                    <a:cubicBezTo>
                      <a:pt x="29" y="28"/>
                      <a:pt x="29" y="28"/>
                      <a:pt x="29" y="28"/>
                    </a:cubicBezTo>
                    <a:cubicBezTo>
                      <a:pt x="29" y="28"/>
                      <a:pt x="29" y="28"/>
                      <a:pt x="29" y="28"/>
                    </a:cubicBezTo>
                    <a:cubicBezTo>
                      <a:pt x="29" y="28"/>
                      <a:pt x="29" y="28"/>
                      <a:pt x="29" y="28"/>
                    </a:cubicBezTo>
                    <a:cubicBezTo>
                      <a:pt x="29" y="28"/>
                      <a:pt x="29" y="28"/>
                      <a:pt x="29" y="28"/>
                    </a:cubicBezTo>
                    <a:cubicBezTo>
                      <a:pt x="29" y="28"/>
                      <a:pt x="29" y="28"/>
                      <a:pt x="29" y="28"/>
                    </a:cubicBezTo>
                    <a:cubicBezTo>
                      <a:pt x="29" y="28"/>
                      <a:pt x="28" y="28"/>
                      <a:pt x="28" y="28"/>
                    </a:cubicBezTo>
                    <a:cubicBezTo>
                      <a:pt x="28" y="28"/>
                      <a:pt x="28" y="28"/>
                      <a:pt x="28" y="28"/>
                    </a:cubicBezTo>
                    <a:cubicBezTo>
                      <a:pt x="28" y="28"/>
                      <a:pt x="28" y="28"/>
                      <a:pt x="28" y="28"/>
                    </a:cubicBezTo>
                    <a:cubicBezTo>
                      <a:pt x="28" y="28"/>
                      <a:pt x="28" y="28"/>
                      <a:pt x="28" y="28"/>
                    </a:cubicBezTo>
                    <a:close/>
                    <a:moveTo>
                      <a:pt x="21" y="26"/>
                    </a:moveTo>
                    <a:cubicBezTo>
                      <a:pt x="21" y="26"/>
                      <a:pt x="21" y="26"/>
                      <a:pt x="21" y="26"/>
                    </a:cubicBezTo>
                    <a:cubicBezTo>
                      <a:pt x="21" y="26"/>
                      <a:pt x="21" y="27"/>
                      <a:pt x="21" y="27"/>
                    </a:cubicBezTo>
                    <a:cubicBezTo>
                      <a:pt x="21" y="27"/>
                      <a:pt x="21" y="26"/>
                      <a:pt x="22" y="26"/>
                    </a:cubicBezTo>
                    <a:cubicBezTo>
                      <a:pt x="21" y="26"/>
                      <a:pt x="21" y="26"/>
                      <a:pt x="21" y="26"/>
                    </a:cubicBezTo>
                    <a:cubicBezTo>
                      <a:pt x="21" y="26"/>
                      <a:pt x="21" y="26"/>
                      <a:pt x="21" y="26"/>
                    </a:cubicBezTo>
                    <a:close/>
                    <a:moveTo>
                      <a:pt x="54" y="34"/>
                    </a:moveTo>
                    <a:cubicBezTo>
                      <a:pt x="54" y="34"/>
                      <a:pt x="54" y="34"/>
                      <a:pt x="54" y="34"/>
                    </a:cubicBezTo>
                    <a:cubicBezTo>
                      <a:pt x="54" y="34"/>
                      <a:pt x="54" y="34"/>
                      <a:pt x="54" y="34"/>
                    </a:cubicBezTo>
                    <a:cubicBezTo>
                      <a:pt x="54" y="34"/>
                      <a:pt x="54" y="34"/>
                      <a:pt x="54" y="34"/>
                    </a:cubicBezTo>
                    <a:cubicBezTo>
                      <a:pt x="54" y="34"/>
                      <a:pt x="54" y="34"/>
                      <a:pt x="54" y="34"/>
                    </a:cubicBezTo>
                    <a:cubicBezTo>
                      <a:pt x="54" y="34"/>
                      <a:pt x="54" y="34"/>
                      <a:pt x="54" y="34"/>
                    </a:cubicBezTo>
                    <a:close/>
                    <a:moveTo>
                      <a:pt x="55" y="34"/>
                    </a:moveTo>
                    <a:cubicBezTo>
                      <a:pt x="55" y="34"/>
                      <a:pt x="55" y="34"/>
                      <a:pt x="55" y="34"/>
                    </a:cubicBezTo>
                    <a:cubicBezTo>
                      <a:pt x="55" y="34"/>
                      <a:pt x="55" y="34"/>
                      <a:pt x="55" y="34"/>
                    </a:cubicBezTo>
                    <a:cubicBezTo>
                      <a:pt x="55" y="34"/>
                      <a:pt x="55" y="34"/>
                      <a:pt x="55" y="34"/>
                    </a:cubicBezTo>
                    <a:cubicBezTo>
                      <a:pt x="55" y="34"/>
                      <a:pt x="55" y="34"/>
                      <a:pt x="55" y="34"/>
                    </a:cubicBezTo>
                    <a:close/>
                    <a:moveTo>
                      <a:pt x="22" y="26"/>
                    </a:moveTo>
                    <a:cubicBezTo>
                      <a:pt x="22" y="26"/>
                      <a:pt x="22" y="26"/>
                      <a:pt x="21" y="26"/>
                    </a:cubicBezTo>
                    <a:cubicBezTo>
                      <a:pt x="21" y="27"/>
                      <a:pt x="21" y="27"/>
                      <a:pt x="21" y="27"/>
                    </a:cubicBezTo>
                    <a:cubicBezTo>
                      <a:pt x="21" y="27"/>
                      <a:pt x="21" y="27"/>
                      <a:pt x="22" y="26"/>
                    </a:cubicBezTo>
                    <a:cubicBezTo>
                      <a:pt x="22" y="26"/>
                      <a:pt x="22" y="26"/>
                      <a:pt x="22" y="26"/>
                    </a:cubicBezTo>
                    <a:close/>
                    <a:moveTo>
                      <a:pt x="29" y="28"/>
                    </a:moveTo>
                    <a:cubicBezTo>
                      <a:pt x="29" y="28"/>
                      <a:pt x="29" y="28"/>
                      <a:pt x="29" y="28"/>
                    </a:cubicBezTo>
                    <a:cubicBezTo>
                      <a:pt x="29" y="28"/>
                      <a:pt x="29" y="28"/>
                      <a:pt x="29" y="28"/>
                    </a:cubicBezTo>
                    <a:cubicBezTo>
                      <a:pt x="29" y="28"/>
                      <a:pt x="29" y="28"/>
                      <a:pt x="29" y="28"/>
                    </a:cubicBezTo>
                    <a:cubicBezTo>
                      <a:pt x="29" y="28"/>
                      <a:pt x="29" y="28"/>
                      <a:pt x="29" y="28"/>
                    </a:cubicBezTo>
                    <a:cubicBezTo>
                      <a:pt x="29" y="28"/>
                      <a:pt x="29" y="28"/>
                      <a:pt x="29" y="28"/>
                    </a:cubicBezTo>
                    <a:cubicBezTo>
                      <a:pt x="29" y="28"/>
                      <a:pt x="29" y="28"/>
                      <a:pt x="29" y="28"/>
                    </a:cubicBezTo>
                    <a:cubicBezTo>
                      <a:pt x="29" y="28"/>
                      <a:pt x="29" y="28"/>
                      <a:pt x="29" y="28"/>
                    </a:cubicBezTo>
                    <a:close/>
                    <a:moveTo>
                      <a:pt x="54" y="34"/>
                    </a:moveTo>
                    <a:cubicBezTo>
                      <a:pt x="54" y="34"/>
                      <a:pt x="54" y="34"/>
                      <a:pt x="54" y="34"/>
                    </a:cubicBezTo>
                    <a:cubicBezTo>
                      <a:pt x="54" y="34"/>
                      <a:pt x="54" y="34"/>
                      <a:pt x="54" y="34"/>
                    </a:cubicBezTo>
                    <a:cubicBezTo>
                      <a:pt x="54" y="34"/>
                      <a:pt x="53" y="34"/>
                      <a:pt x="53" y="34"/>
                    </a:cubicBezTo>
                    <a:cubicBezTo>
                      <a:pt x="53" y="34"/>
                      <a:pt x="54" y="34"/>
                      <a:pt x="54" y="34"/>
                    </a:cubicBezTo>
                    <a:cubicBezTo>
                      <a:pt x="54" y="34"/>
                      <a:pt x="54" y="34"/>
                      <a:pt x="54" y="34"/>
                    </a:cubicBezTo>
                    <a:close/>
                    <a:moveTo>
                      <a:pt x="54" y="34"/>
                    </a:moveTo>
                    <a:cubicBezTo>
                      <a:pt x="54" y="34"/>
                      <a:pt x="54" y="34"/>
                      <a:pt x="54" y="34"/>
                    </a:cubicBezTo>
                    <a:cubicBezTo>
                      <a:pt x="54" y="34"/>
                      <a:pt x="54" y="34"/>
                      <a:pt x="54" y="34"/>
                    </a:cubicBezTo>
                    <a:cubicBezTo>
                      <a:pt x="54" y="34"/>
                      <a:pt x="54" y="34"/>
                      <a:pt x="54" y="34"/>
                    </a:cubicBezTo>
                    <a:cubicBezTo>
                      <a:pt x="54" y="34"/>
                      <a:pt x="54" y="34"/>
                      <a:pt x="54" y="34"/>
                    </a:cubicBezTo>
                    <a:cubicBezTo>
                      <a:pt x="54" y="34"/>
                      <a:pt x="54" y="34"/>
                      <a:pt x="54" y="34"/>
                    </a:cubicBezTo>
                    <a:close/>
                    <a:moveTo>
                      <a:pt x="22" y="27"/>
                    </a:moveTo>
                    <a:cubicBezTo>
                      <a:pt x="22" y="26"/>
                      <a:pt x="22" y="26"/>
                      <a:pt x="22" y="26"/>
                    </a:cubicBezTo>
                    <a:cubicBezTo>
                      <a:pt x="22" y="26"/>
                      <a:pt x="22" y="27"/>
                      <a:pt x="22" y="27"/>
                    </a:cubicBezTo>
                    <a:cubicBezTo>
                      <a:pt x="22" y="27"/>
                      <a:pt x="22" y="27"/>
                      <a:pt x="22" y="27"/>
                    </a:cubicBezTo>
                    <a:cubicBezTo>
                      <a:pt x="22" y="27"/>
                      <a:pt x="22" y="27"/>
                      <a:pt x="22" y="27"/>
                    </a:cubicBezTo>
                    <a:close/>
                    <a:moveTo>
                      <a:pt x="56" y="34"/>
                    </a:moveTo>
                    <a:cubicBezTo>
                      <a:pt x="56" y="34"/>
                      <a:pt x="56" y="34"/>
                      <a:pt x="56" y="34"/>
                    </a:cubicBezTo>
                    <a:cubicBezTo>
                      <a:pt x="56" y="34"/>
                      <a:pt x="56" y="34"/>
                      <a:pt x="56" y="34"/>
                    </a:cubicBezTo>
                    <a:cubicBezTo>
                      <a:pt x="56" y="34"/>
                      <a:pt x="56" y="34"/>
                      <a:pt x="56" y="34"/>
                    </a:cubicBezTo>
                    <a:close/>
                    <a:moveTo>
                      <a:pt x="52" y="34"/>
                    </a:moveTo>
                    <a:cubicBezTo>
                      <a:pt x="52" y="33"/>
                      <a:pt x="53" y="33"/>
                      <a:pt x="53" y="33"/>
                    </a:cubicBezTo>
                    <a:cubicBezTo>
                      <a:pt x="53" y="33"/>
                      <a:pt x="53" y="33"/>
                      <a:pt x="52" y="34"/>
                    </a:cubicBezTo>
                    <a:cubicBezTo>
                      <a:pt x="52" y="34"/>
                      <a:pt x="52" y="34"/>
                      <a:pt x="52" y="34"/>
                    </a:cubicBezTo>
                    <a:cubicBezTo>
                      <a:pt x="52" y="34"/>
                      <a:pt x="52" y="34"/>
                      <a:pt x="52" y="34"/>
                    </a:cubicBezTo>
                    <a:close/>
                    <a:moveTo>
                      <a:pt x="29" y="28"/>
                    </a:moveTo>
                    <a:cubicBezTo>
                      <a:pt x="29" y="28"/>
                      <a:pt x="29" y="28"/>
                      <a:pt x="29" y="28"/>
                    </a:cubicBezTo>
                    <a:cubicBezTo>
                      <a:pt x="29" y="28"/>
                      <a:pt x="29" y="28"/>
                      <a:pt x="29" y="28"/>
                    </a:cubicBezTo>
                    <a:cubicBezTo>
                      <a:pt x="29" y="28"/>
                      <a:pt x="29" y="28"/>
                      <a:pt x="29" y="28"/>
                    </a:cubicBezTo>
                    <a:cubicBezTo>
                      <a:pt x="29" y="28"/>
                      <a:pt x="29" y="28"/>
                      <a:pt x="29" y="28"/>
                    </a:cubicBezTo>
                    <a:close/>
                    <a:moveTo>
                      <a:pt x="22" y="27"/>
                    </a:moveTo>
                    <a:cubicBezTo>
                      <a:pt x="22" y="27"/>
                      <a:pt x="22" y="27"/>
                      <a:pt x="22" y="27"/>
                    </a:cubicBezTo>
                    <a:cubicBezTo>
                      <a:pt x="22" y="27"/>
                      <a:pt x="22" y="27"/>
                      <a:pt x="22" y="27"/>
                    </a:cubicBezTo>
                    <a:cubicBezTo>
                      <a:pt x="22" y="27"/>
                      <a:pt x="22" y="27"/>
                      <a:pt x="22" y="27"/>
                    </a:cubicBezTo>
                    <a:cubicBezTo>
                      <a:pt x="22" y="27"/>
                      <a:pt x="22" y="27"/>
                      <a:pt x="22" y="27"/>
                    </a:cubicBezTo>
                    <a:close/>
                    <a:moveTo>
                      <a:pt x="46" y="33"/>
                    </a:moveTo>
                    <a:cubicBezTo>
                      <a:pt x="46" y="33"/>
                      <a:pt x="45" y="33"/>
                      <a:pt x="45" y="33"/>
                    </a:cubicBezTo>
                    <a:cubicBezTo>
                      <a:pt x="45" y="33"/>
                      <a:pt x="45" y="33"/>
                      <a:pt x="45" y="32"/>
                    </a:cubicBezTo>
                    <a:cubicBezTo>
                      <a:pt x="45" y="32"/>
                      <a:pt x="45" y="32"/>
                      <a:pt x="45" y="32"/>
                    </a:cubicBezTo>
                    <a:cubicBezTo>
                      <a:pt x="45" y="32"/>
                      <a:pt x="45" y="32"/>
                      <a:pt x="45" y="32"/>
                    </a:cubicBezTo>
                    <a:cubicBezTo>
                      <a:pt x="45" y="32"/>
                      <a:pt x="45" y="32"/>
                      <a:pt x="45" y="32"/>
                    </a:cubicBezTo>
                    <a:cubicBezTo>
                      <a:pt x="45" y="32"/>
                      <a:pt x="45" y="33"/>
                      <a:pt x="46" y="33"/>
                    </a:cubicBezTo>
                    <a:cubicBezTo>
                      <a:pt x="46" y="33"/>
                      <a:pt x="46" y="33"/>
                      <a:pt x="46" y="33"/>
                    </a:cubicBezTo>
                    <a:close/>
                    <a:moveTo>
                      <a:pt x="56" y="35"/>
                    </a:moveTo>
                    <a:cubicBezTo>
                      <a:pt x="57" y="35"/>
                      <a:pt x="57" y="35"/>
                      <a:pt x="58" y="36"/>
                    </a:cubicBezTo>
                    <a:cubicBezTo>
                      <a:pt x="58" y="36"/>
                      <a:pt x="57" y="36"/>
                      <a:pt x="57" y="36"/>
                    </a:cubicBezTo>
                    <a:cubicBezTo>
                      <a:pt x="57" y="36"/>
                      <a:pt x="57" y="36"/>
                      <a:pt x="56" y="36"/>
                    </a:cubicBezTo>
                    <a:cubicBezTo>
                      <a:pt x="56" y="36"/>
                      <a:pt x="57" y="36"/>
                      <a:pt x="57" y="36"/>
                    </a:cubicBezTo>
                    <a:cubicBezTo>
                      <a:pt x="56" y="36"/>
                      <a:pt x="56" y="36"/>
                      <a:pt x="56" y="36"/>
                    </a:cubicBezTo>
                    <a:cubicBezTo>
                      <a:pt x="56" y="35"/>
                      <a:pt x="55" y="34"/>
                      <a:pt x="55" y="34"/>
                    </a:cubicBezTo>
                    <a:cubicBezTo>
                      <a:pt x="55" y="35"/>
                      <a:pt x="56" y="35"/>
                      <a:pt x="56" y="36"/>
                    </a:cubicBezTo>
                    <a:cubicBezTo>
                      <a:pt x="56" y="36"/>
                      <a:pt x="56" y="36"/>
                      <a:pt x="55" y="36"/>
                    </a:cubicBezTo>
                    <a:cubicBezTo>
                      <a:pt x="55" y="36"/>
                      <a:pt x="54" y="35"/>
                      <a:pt x="54" y="35"/>
                    </a:cubicBezTo>
                    <a:cubicBezTo>
                      <a:pt x="54" y="35"/>
                      <a:pt x="54" y="35"/>
                      <a:pt x="54" y="35"/>
                    </a:cubicBezTo>
                    <a:cubicBezTo>
                      <a:pt x="53" y="35"/>
                      <a:pt x="53" y="34"/>
                      <a:pt x="53" y="34"/>
                    </a:cubicBezTo>
                    <a:cubicBezTo>
                      <a:pt x="54" y="34"/>
                      <a:pt x="54" y="34"/>
                      <a:pt x="55" y="35"/>
                    </a:cubicBezTo>
                    <a:cubicBezTo>
                      <a:pt x="55" y="34"/>
                      <a:pt x="55" y="34"/>
                      <a:pt x="54" y="34"/>
                    </a:cubicBezTo>
                    <a:cubicBezTo>
                      <a:pt x="55" y="34"/>
                      <a:pt x="55" y="35"/>
                      <a:pt x="56" y="35"/>
                    </a:cubicBezTo>
                    <a:cubicBezTo>
                      <a:pt x="56" y="35"/>
                      <a:pt x="56" y="35"/>
                      <a:pt x="56" y="35"/>
                    </a:cubicBezTo>
                    <a:close/>
                    <a:moveTo>
                      <a:pt x="22" y="27"/>
                    </a:moveTo>
                    <a:cubicBezTo>
                      <a:pt x="22" y="27"/>
                      <a:pt x="22" y="27"/>
                      <a:pt x="22" y="27"/>
                    </a:cubicBezTo>
                    <a:cubicBezTo>
                      <a:pt x="22" y="27"/>
                      <a:pt x="22" y="27"/>
                      <a:pt x="22" y="27"/>
                    </a:cubicBezTo>
                    <a:cubicBezTo>
                      <a:pt x="22" y="27"/>
                      <a:pt x="22" y="27"/>
                      <a:pt x="22" y="27"/>
                    </a:cubicBezTo>
                    <a:cubicBezTo>
                      <a:pt x="22" y="27"/>
                      <a:pt x="22" y="27"/>
                      <a:pt x="22" y="27"/>
                    </a:cubicBezTo>
                    <a:cubicBezTo>
                      <a:pt x="22" y="27"/>
                      <a:pt x="22" y="27"/>
                      <a:pt x="22" y="27"/>
                    </a:cubicBezTo>
                    <a:close/>
                    <a:moveTo>
                      <a:pt x="51" y="34"/>
                    </a:moveTo>
                    <a:cubicBezTo>
                      <a:pt x="51" y="34"/>
                      <a:pt x="51" y="34"/>
                      <a:pt x="52" y="34"/>
                    </a:cubicBezTo>
                    <a:cubicBezTo>
                      <a:pt x="51" y="34"/>
                      <a:pt x="51" y="33"/>
                      <a:pt x="51" y="33"/>
                    </a:cubicBezTo>
                    <a:cubicBezTo>
                      <a:pt x="51" y="34"/>
                      <a:pt x="51" y="34"/>
                      <a:pt x="51" y="34"/>
                    </a:cubicBezTo>
                    <a:cubicBezTo>
                      <a:pt x="51" y="34"/>
                      <a:pt x="51" y="34"/>
                      <a:pt x="51" y="34"/>
                    </a:cubicBezTo>
                    <a:close/>
                    <a:moveTo>
                      <a:pt x="24" y="27"/>
                    </a:moveTo>
                    <a:cubicBezTo>
                      <a:pt x="23" y="27"/>
                      <a:pt x="23" y="27"/>
                      <a:pt x="23" y="27"/>
                    </a:cubicBezTo>
                    <a:cubicBezTo>
                      <a:pt x="23" y="27"/>
                      <a:pt x="23" y="27"/>
                      <a:pt x="23" y="28"/>
                    </a:cubicBezTo>
                    <a:cubicBezTo>
                      <a:pt x="23" y="28"/>
                      <a:pt x="23" y="28"/>
                      <a:pt x="24" y="27"/>
                    </a:cubicBezTo>
                    <a:cubicBezTo>
                      <a:pt x="24" y="27"/>
                      <a:pt x="24" y="27"/>
                      <a:pt x="24" y="27"/>
                    </a:cubicBezTo>
                    <a:cubicBezTo>
                      <a:pt x="24" y="27"/>
                      <a:pt x="24" y="27"/>
                      <a:pt x="24" y="27"/>
                    </a:cubicBezTo>
                    <a:close/>
                    <a:moveTo>
                      <a:pt x="22" y="27"/>
                    </a:moveTo>
                    <a:cubicBezTo>
                      <a:pt x="22" y="27"/>
                      <a:pt x="22" y="27"/>
                      <a:pt x="22" y="27"/>
                    </a:cubicBezTo>
                    <a:cubicBezTo>
                      <a:pt x="22" y="27"/>
                      <a:pt x="22" y="27"/>
                      <a:pt x="22" y="27"/>
                    </a:cubicBezTo>
                    <a:cubicBezTo>
                      <a:pt x="22" y="27"/>
                      <a:pt x="22" y="27"/>
                      <a:pt x="22" y="27"/>
                    </a:cubicBezTo>
                    <a:cubicBezTo>
                      <a:pt x="22" y="27"/>
                      <a:pt x="22" y="27"/>
                      <a:pt x="22" y="27"/>
                    </a:cubicBezTo>
                    <a:cubicBezTo>
                      <a:pt x="22" y="27"/>
                      <a:pt x="22" y="27"/>
                      <a:pt x="22" y="27"/>
                    </a:cubicBezTo>
                    <a:close/>
                    <a:moveTo>
                      <a:pt x="47" y="33"/>
                    </a:moveTo>
                    <a:cubicBezTo>
                      <a:pt x="47" y="33"/>
                      <a:pt x="47" y="33"/>
                      <a:pt x="47" y="33"/>
                    </a:cubicBezTo>
                    <a:cubicBezTo>
                      <a:pt x="47" y="33"/>
                      <a:pt x="47" y="33"/>
                      <a:pt x="47" y="33"/>
                    </a:cubicBezTo>
                    <a:cubicBezTo>
                      <a:pt x="47" y="33"/>
                      <a:pt x="47" y="33"/>
                      <a:pt x="47" y="33"/>
                    </a:cubicBezTo>
                    <a:cubicBezTo>
                      <a:pt x="47" y="33"/>
                      <a:pt x="47" y="33"/>
                      <a:pt x="47" y="33"/>
                    </a:cubicBezTo>
                    <a:close/>
                    <a:moveTo>
                      <a:pt x="24" y="28"/>
                    </a:moveTo>
                    <a:cubicBezTo>
                      <a:pt x="24" y="28"/>
                      <a:pt x="24" y="27"/>
                      <a:pt x="24" y="27"/>
                    </a:cubicBezTo>
                    <a:cubicBezTo>
                      <a:pt x="24" y="27"/>
                      <a:pt x="24" y="28"/>
                      <a:pt x="24" y="28"/>
                    </a:cubicBezTo>
                    <a:cubicBezTo>
                      <a:pt x="24" y="28"/>
                      <a:pt x="24" y="28"/>
                      <a:pt x="24" y="28"/>
                    </a:cubicBezTo>
                    <a:cubicBezTo>
                      <a:pt x="24" y="28"/>
                      <a:pt x="24" y="28"/>
                      <a:pt x="24" y="28"/>
                    </a:cubicBezTo>
                    <a:cubicBezTo>
                      <a:pt x="24" y="28"/>
                      <a:pt x="24" y="28"/>
                      <a:pt x="24" y="28"/>
                    </a:cubicBezTo>
                    <a:close/>
                    <a:moveTo>
                      <a:pt x="17" y="26"/>
                    </a:moveTo>
                    <a:cubicBezTo>
                      <a:pt x="18" y="26"/>
                      <a:pt x="18" y="27"/>
                      <a:pt x="19" y="27"/>
                    </a:cubicBezTo>
                    <a:cubicBezTo>
                      <a:pt x="18" y="27"/>
                      <a:pt x="18" y="26"/>
                      <a:pt x="17" y="26"/>
                    </a:cubicBezTo>
                    <a:cubicBezTo>
                      <a:pt x="17" y="26"/>
                      <a:pt x="17" y="26"/>
                      <a:pt x="17" y="26"/>
                    </a:cubicBezTo>
                    <a:cubicBezTo>
                      <a:pt x="17" y="26"/>
                      <a:pt x="17" y="26"/>
                      <a:pt x="17" y="26"/>
                    </a:cubicBezTo>
                    <a:close/>
                    <a:moveTo>
                      <a:pt x="22" y="27"/>
                    </a:moveTo>
                    <a:cubicBezTo>
                      <a:pt x="22" y="27"/>
                      <a:pt x="22" y="27"/>
                      <a:pt x="22" y="27"/>
                    </a:cubicBezTo>
                    <a:cubicBezTo>
                      <a:pt x="22" y="27"/>
                      <a:pt x="22" y="27"/>
                      <a:pt x="22" y="27"/>
                    </a:cubicBezTo>
                    <a:cubicBezTo>
                      <a:pt x="22" y="27"/>
                      <a:pt x="22" y="27"/>
                      <a:pt x="22" y="27"/>
                    </a:cubicBezTo>
                    <a:cubicBezTo>
                      <a:pt x="22" y="27"/>
                      <a:pt x="22" y="27"/>
                      <a:pt x="22" y="27"/>
                    </a:cubicBezTo>
                    <a:cubicBezTo>
                      <a:pt x="22" y="27"/>
                      <a:pt x="22" y="27"/>
                      <a:pt x="22" y="27"/>
                    </a:cubicBezTo>
                    <a:close/>
                    <a:moveTo>
                      <a:pt x="38" y="31"/>
                    </a:moveTo>
                    <a:cubicBezTo>
                      <a:pt x="38" y="31"/>
                      <a:pt x="38" y="31"/>
                      <a:pt x="38" y="31"/>
                    </a:cubicBezTo>
                    <a:cubicBezTo>
                      <a:pt x="38" y="31"/>
                      <a:pt x="39" y="31"/>
                      <a:pt x="39" y="31"/>
                    </a:cubicBezTo>
                    <a:cubicBezTo>
                      <a:pt x="38" y="31"/>
                      <a:pt x="38" y="32"/>
                      <a:pt x="38" y="32"/>
                    </a:cubicBezTo>
                    <a:cubicBezTo>
                      <a:pt x="38" y="31"/>
                      <a:pt x="38" y="31"/>
                      <a:pt x="38" y="31"/>
                    </a:cubicBezTo>
                    <a:cubicBezTo>
                      <a:pt x="38" y="31"/>
                      <a:pt x="38" y="31"/>
                      <a:pt x="38" y="31"/>
                    </a:cubicBezTo>
                    <a:close/>
                    <a:moveTo>
                      <a:pt x="43" y="32"/>
                    </a:moveTo>
                    <a:cubicBezTo>
                      <a:pt x="43" y="32"/>
                      <a:pt x="43" y="32"/>
                      <a:pt x="43" y="32"/>
                    </a:cubicBezTo>
                    <a:cubicBezTo>
                      <a:pt x="43" y="32"/>
                      <a:pt x="43" y="32"/>
                      <a:pt x="43" y="32"/>
                    </a:cubicBezTo>
                    <a:cubicBezTo>
                      <a:pt x="43" y="32"/>
                      <a:pt x="43" y="32"/>
                      <a:pt x="43" y="32"/>
                    </a:cubicBezTo>
                    <a:cubicBezTo>
                      <a:pt x="43" y="32"/>
                      <a:pt x="43" y="32"/>
                      <a:pt x="43" y="32"/>
                    </a:cubicBezTo>
                    <a:cubicBezTo>
                      <a:pt x="43" y="32"/>
                      <a:pt x="43" y="32"/>
                      <a:pt x="43" y="32"/>
                    </a:cubicBezTo>
                    <a:close/>
                    <a:moveTo>
                      <a:pt x="21" y="27"/>
                    </a:moveTo>
                    <a:cubicBezTo>
                      <a:pt x="21" y="27"/>
                      <a:pt x="21" y="27"/>
                      <a:pt x="21" y="27"/>
                    </a:cubicBezTo>
                    <a:cubicBezTo>
                      <a:pt x="21" y="27"/>
                      <a:pt x="21" y="27"/>
                      <a:pt x="21" y="27"/>
                    </a:cubicBezTo>
                    <a:cubicBezTo>
                      <a:pt x="21" y="27"/>
                      <a:pt x="21" y="27"/>
                      <a:pt x="21" y="27"/>
                    </a:cubicBezTo>
                    <a:cubicBezTo>
                      <a:pt x="21" y="27"/>
                      <a:pt x="21" y="27"/>
                      <a:pt x="21" y="27"/>
                    </a:cubicBezTo>
                    <a:close/>
                    <a:moveTo>
                      <a:pt x="39" y="31"/>
                    </a:moveTo>
                    <a:cubicBezTo>
                      <a:pt x="39" y="31"/>
                      <a:pt x="39" y="31"/>
                      <a:pt x="39" y="31"/>
                    </a:cubicBezTo>
                    <a:cubicBezTo>
                      <a:pt x="39" y="31"/>
                      <a:pt x="39" y="31"/>
                      <a:pt x="39" y="31"/>
                    </a:cubicBezTo>
                    <a:cubicBezTo>
                      <a:pt x="39" y="31"/>
                      <a:pt x="39" y="31"/>
                      <a:pt x="39" y="31"/>
                    </a:cubicBezTo>
                    <a:cubicBezTo>
                      <a:pt x="39" y="31"/>
                      <a:pt x="39" y="31"/>
                      <a:pt x="39" y="31"/>
                    </a:cubicBezTo>
                    <a:cubicBezTo>
                      <a:pt x="39" y="31"/>
                      <a:pt x="39" y="31"/>
                      <a:pt x="39" y="31"/>
                    </a:cubicBezTo>
                    <a:close/>
                    <a:moveTo>
                      <a:pt x="47" y="33"/>
                    </a:moveTo>
                    <a:cubicBezTo>
                      <a:pt x="47" y="33"/>
                      <a:pt x="47" y="33"/>
                      <a:pt x="47" y="33"/>
                    </a:cubicBezTo>
                    <a:cubicBezTo>
                      <a:pt x="47" y="33"/>
                      <a:pt x="47" y="33"/>
                      <a:pt x="47" y="33"/>
                    </a:cubicBezTo>
                    <a:cubicBezTo>
                      <a:pt x="47" y="33"/>
                      <a:pt x="47" y="33"/>
                      <a:pt x="47" y="33"/>
                    </a:cubicBezTo>
                    <a:cubicBezTo>
                      <a:pt x="47" y="33"/>
                      <a:pt x="47" y="33"/>
                      <a:pt x="47" y="33"/>
                    </a:cubicBezTo>
                    <a:cubicBezTo>
                      <a:pt x="47" y="33"/>
                      <a:pt x="47" y="33"/>
                      <a:pt x="47" y="33"/>
                    </a:cubicBezTo>
                    <a:close/>
                    <a:moveTo>
                      <a:pt x="43" y="32"/>
                    </a:moveTo>
                    <a:cubicBezTo>
                      <a:pt x="43" y="32"/>
                      <a:pt x="43" y="32"/>
                      <a:pt x="43" y="32"/>
                    </a:cubicBezTo>
                    <a:cubicBezTo>
                      <a:pt x="43" y="32"/>
                      <a:pt x="43" y="32"/>
                      <a:pt x="43" y="32"/>
                    </a:cubicBezTo>
                    <a:cubicBezTo>
                      <a:pt x="43" y="32"/>
                      <a:pt x="43" y="32"/>
                      <a:pt x="43" y="33"/>
                    </a:cubicBezTo>
                    <a:cubicBezTo>
                      <a:pt x="43" y="32"/>
                      <a:pt x="43" y="32"/>
                      <a:pt x="43" y="32"/>
                    </a:cubicBezTo>
                    <a:cubicBezTo>
                      <a:pt x="43" y="32"/>
                      <a:pt x="43" y="32"/>
                      <a:pt x="43" y="32"/>
                    </a:cubicBezTo>
                    <a:close/>
                    <a:moveTo>
                      <a:pt x="22" y="28"/>
                    </a:moveTo>
                    <a:cubicBezTo>
                      <a:pt x="23" y="28"/>
                      <a:pt x="23" y="28"/>
                      <a:pt x="24" y="28"/>
                    </a:cubicBezTo>
                    <a:cubicBezTo>
                      <a:pt x="24" y="28"/>
                      <a:pt x="24" y="28"/>
                      <a:pt x="24" y="28"/>
                    </a:cubicBezTo>
                    <a:cubicBezTo>
                      <a:pt x="24" y="28"/>
                      <a:pt x="23" y="28"/>
                      <a:pt x="23" y="28"/>
                    </a:cubicBezTo>
                    <a:cubicBezTo>
                      <a:pt x="23" y="28"/>
                      <a:pt x="23" y="28"/>
                      <a:pt x="23" y="28"/>
                    </a:cubicBezTo>
                    <a:cubicBezTo>
                      <a:pt x="23" y="28"/>
                      <a:pt x="23" y="28"/>
                      <a:pt x="23" y="28"/>
                    </a:cubicBezTo>
                    <a:cubicBezTo>
                      <a:pt x="23" y="28"/>
                      <a:pt x="23" y="28"/>
                      <a:pt x="23" y="28"/>
                    </a:cubicBezTo>
                    <a:cubicBezTo>
                      <a:pt x="23" y="28"/>
                      <a:pt x="23" y="28"/>
                      <a:pt x="23" y="28"/>
                    </a:cubicBezTo>
                    <a:cubicBezTo>
                      <a:pt x="23" y="28"/>
                      <a:pt x="22" y="28"/>
                      <a:pt x="22" y="28"/>
                    </a:cubicBezTo>
                    <a:cubicBezTo>
                      <a:pt x="22" y="28"/>
                      <a:pt x="22" y="28"/>
                      <a:pt x="22" y="28"/>
                    </a:cubicBezTo>
                    <a:cubicBezTo>
                      <a:pt x="22" y="28"/>
                      <a:pt x="22" y="28"/>
                      <a:pt x="22" y="28"/>
                    </a:cubicBezTo>
                    <a:cubicBezTo>
                      <a:pt x="22" y="28"/>
                      <a:pt x="22" y="28"/>
                      <a:pt x="22" y="28"/>
                    </a:cubicBezTo>
                    <a:close/>
                    <a:moveTo>
                      <a:pt x="41" y="32"/>
                    </a:moveTo>
                    <a:cubicBezTo>
                      <a:pt x="41" y="32"/>
                      <a:pt x="41" y="32"/>
                      <a:pt x="41" y="32"/>
                    </a:cubicBezTo>
                    <a:cubicBezTo>
                      <a:pt x="42" y="32"/>
                      <a:pt x="42" y="32"/>
                      <a:pt x="42" y="32"/>
                    </a:cubicBezTo>
                    <a:cubicBezTo>
                      <a:pt x="41" y="32"/>
                      <a:pt x="41" y="32"/>
                      <a:pt x="41" y="32"/>
                    </a:cubicBezTo>
                    <a:cubicBezTo>
                      <a:pt x="41" y="32"/>
                      <a:pt x="41" y="32"/>
                      <a:pt x="41" y="32"/>
                    </a:cubicBezTo>
                    <a:cubicBezTo>
                      <a:pt x="41" y="32"/>
                      <a:pt x="41" y="32"/>
                      <a:pt x="41" y="32"/>
                    </a:cubicBezTo>
                    <a:cubicBezTo>
                      <a:pt x="41" y="32"/>
                      <a:pt x="41" y="32"/>
                      <a:pt x="41" y="32"/>
                    </a:cubicBezTo>
                    <a:close/>
                    <a:moveTo>
                      <a:pt x="30" y="29"/>
                    </a:moveTo>
                    <a:cubicBezTo>
                      <a:pt x="30" y="29"/>
                      <a:pt x="30" y="29"/>
                      <a:pt x="30" y="29"/>
                    </a:cubicBezTo>
                    <a:cubicBezTo>
                      <a:pt x="30" y="29"/>
                      <a:pt x="30" y="30"/>
                      <a:pt x="30" y="30"/>
                    </a:cubicBezTo>
                    <a:cubicBezTo>
                      <a:pt x="30" y="30"/>
                      <a:pt x="30" y="29"/>
                      <a:pt x="30" y="29"/>
                    </a:cubicBezTo>
                    <a:cubicBezTo>
                      <a:pt x="30" y="29"/>
                      <a:pt x="30" y="29"/>
                      <a:pt x="30" y="29"/>
                    </a:cubicBezTo>
                    <a:cubicBezTo>
                      <a:pt x="30" y="30"/>
                      <a:pt x="30" y="30"/>
                      <a:pt x="30" y="30"/>
                    </a:cubicBezTo>
                    <a:cubicBezTo>
                      <a:pt x="30" y="30"/>
                      <a:pt x="30" y="30"/>
                      <a:pt x="30" y="29"/>
                    </a:cubicBezTo>
                    <a:cubicBezTo>
                      <a:pt x="30" y="30"/>
                      <a:pt x="30" y="30"/>
                      <a:pt x="30" y="30"/>
                    </a:cubicBezTo>
                    <a:cubicBezTo>
                      <a:pt x="30" y="30"/>
                      <a:pt x="30" y="30"/>
                      <a:pt x="30" y="30"/>
                    </a:cubicBezTo>
                    <a:cubicBezTo>
                      <a:pt x="30" y="30"/>
                      <a:pt x="30" y="29"/>
                      <a:pt x="30" y="29"/>
                    </a:cubicBezTo>
                    <a:cubicBezTo>
                      <a:pt x="30" y="29"/>
                      <a:pt x="30" y="29"/>
                      <a:pt x="30" y="29"/>
                    </a:cubicBezTo>
                    <a:close/>
                    <a:moveTo>
                      <a:pt x="17" y="26"/>
                    </a:moveTo>
                    <a:cubicBezTo>
                      <a:pt x="17" y="26"/>
                      <a:pt x="17" y="26"/>
                      <a:pt x="17" y="26"/>
                    </a:cubicBezTo>
                    <a:cubicBezTo>
                      <a:pt x="17" y="26"/>
                      <a:pt x="17" y="26"/>
                      <a:pt x="17" y="26"/>
                    </a:cubicBezTo>
                    <a:cubicBezTo>
                      <a:pt x="17" y="26"/>
                      <a:pt x="17" y="26"/>
                      <a:pt x="17" y="26"/>
                    </a:cubicBezTo>
                    <a:cubicBezTo>
                      <a:pt x="17" y="26"/>
                      <a:pt x="17" y="26"/>
                      <a:pt x="17" y="26"/>
                    </a:cubicBezTo>
                    <a:close/>
                    <a:moveTo>
                      <a:pt x="48" y="34"/>
                    </a:moveTo>
                    <a:cubicBezTo>
                      <a:pt x="48" y="34"/>
                      <a:pt x="48" y="34"/>
                      <a:pt x="49" y="34"/>
                    </a:cubicBezTo>
                    <a:cubicBezTo>
                      <a:pt x="48" y="34"/>
                      <a:pt x="48" y="34"/>
                      <a:pt x="48" y="34"/>
                    </a:cubicBezTo>
                    <a:cubicBezTo>
                      <a:pt x="48" y="34"/>
                      <a:pt x="48" y="34"/>
                      <a:pt x="48" y="34"/>
                    </a:cubicBezTo>
                    <a:cubicBezTo>
                      <a:pt x="48" y="34"/>
                      <a:pt x="48" y="34"/>
                      <a:pt x="48" y="34"/>
                    </a:cubicBezTo>
                    <a:cubicBezTo>
                      <a:pt x="48" y="34"/>
                      <a:pt x="48" y="34"/>
                      <a:pt x="48" y="34"/>
                    </a:cubicBezTo>
                    <a:close/>
                    <a:moveTo>
                      <a:pt x="42" y="32"/>
                    </a:moveTo>
                    <a:cubicBezTo>
                      <a:pt x="42" y="32"/>
                      <a:pt x="42" y="32"/>
                      <a:pt x="42" y="32"/>
                    </a:cubicBezTo>
                    <a:cubicBezTo>
                      <a:pt x="42" y="32"/>
                      <a:pt x="42" y="32"/>
                      <a:pt x="42" y="33"/>
                    </a:cubicBezTo>
                    <a:cubicBezTo>
                      <a:pt x="42" y="32"/>
                      <a:pt x="43" y="32"/>
                      <a:pt x="43" y="32"/>
                    </a:cubicBezTo>
                    <a:cubicBezTo>
                      <a:pt x="43" y="32"/>
                      <a:pt x="43" y="32"/>
                      <a:pt x="42" y="32"/>
                    </a:cubicBezTo>
                    <a:cubicBezTo>
                      <a:pt x="42" y="32"/>
                      <a:pt x="42" y="32"/>
                      <a:pt x="42" y="32"/>
                    </a:cubicBezTo>
                    <a:close/>
                    <a:moveTo>
                      <a:pt x="48" y="34"/>
                    </a:moveTo>
                    <a:cubicBezTo>
                      <a:pt x="48" y="34"/>
                      <a:pt x="48" y="34"/>
                      <a:pt x="48" y="34"/>
                    </a:cubicBezTo>
                    <a:cubicBezTo>
                      <a:pt x="48" y="34"/>
                      <a:pt x="48" y="34"/>
                      <a:pt x="48" y="34"/>
                    </a:cubicBezTo>
                    <a:cubicBezTo>
                      <a:pt x="48" y="34"/>
                      <a:pt x="48" y="34"/>
                      <a:pt x="48" y="34"/>
                    </a:cubicBezTo>
                    <a:cubicBezTo>
                      <a:pt x="48" y="34"/>
                      <a:pt x="48" y="34"/>
                      <a:pt x="48" y="34"/>
                    </a:cubicBezTo>
                    <a:cubicBezTo>
                      <a:pt x="48" y="34"/>
                      <a:pt x="48" y="34"/>
                      <a:pt x="48" y="34"/>
                    </a:cubicBezTo>
                    <a:close/>
                    <a:moveTo>
                      <a:pt x="47" y="33"/>
                    </a:moveTo>
                    <a:cubicBezTo>
                      <a:pt x="47" y="33"/>
                      <a:pt x="47" y="33"/>
                      <a:pt x="47" y="33"/>
                    </a:cubicBezTo>
                    <a:cubicBezTo>
                      <a:pt x="46" y="33"/>
                      <a:pt x="46" y="33"/>
                      <a:pt x="46" y="33"/>
                    </a:cubicBezTo>
                    <a:cubicBezTo>
                      <a:pt x="46" y="33"/>
                      <a:pt x="46" y="33"/>
                      <a:pt x="46" y="33"/>
                    </a:cubicBezTo>
                    <a:cubicBezTo>
                      <a:pt x="47" y="33"/>
                      <a:pt x="47" y="33"/>
                      <a:pt x="47" y="33"/>
                    </a:cubicBezTo>
                    <a:cubicBezTo>
                      <a:pt x="47" y="33"/>
                      <a:pt x="47" y="33"/>
                      <a:pt x="47" y="33"/>
                    </a:cubicBezTo>
                    <a:close/>
                    <a:moveTo>
                      <a:pt x="43" y="33"/>
                    </a:moveTo>
                    <a:cubicBezTo>
                      <a:pt x="43" y="32"/>
                      <a:pt x="43" y="32"/>
                      <a:pt x="43" y="32"/>
                    </a:cubicBezTo>
                    <a:cubicBezTo>
                      <a:pt x="43" y="32"/>
                      <a:pt x="43" y="32"/>
                      <a:pt x="43" y="33"/>
                    </a:cubicBezTo>
                    <a:cubicBezTo>
                      <a:pt x="43" y="33"/>
                      <a:pt x="43" y="33"/>
                      <a:pt x="43" y="33"/>
                    </a:cubicBezTo>
                    <a:cubicBezTo>
                      <a:pt x="43" y="33"/>
                      <a:pt x="43" y="33"/>
                      <a:pt x="43" y="33"/>
                    </a:cubicBezTo>
                    <a:close/>
                    <a:moveTo>
                      <a:pt x="52" y="34"/>
                    </a:moveTo>
                    <a:cubicBezTo>
                      <a:pt x="52" y="34"/>
                      <a:pt x="52" y="34"/>
                      <a:pt x="52" y="34"/>
                    </a:cubicBezTo>
                    <a:cubicBezTo>
                      <a:pt x="52" y="34"/>
                      <a:pt x="51" y="34"/>
                      <a:pt x="51" y="34"/>
                    </a:cubicBezTo>
                    <a:cubicBezTo>
                      <a:pt x="51" y="34"/>
                      <a:pt x="52" y="34"/>
                      <a:pt x="52" y="34"/>
                    </a:cubicBezTo>
                    <a:cubicBezTo>
                      <a:pt x="52" y="34"/>
                      <a:pt x="52" y="34"/>
                      <a:pt x="52" y="34"/>
                    </a:cubicBezTo>
                    <a:close/>
                    <a:moveTo>
                      <a:pt x="44" y="33"/>
                    </a:moveTo>
                    <a:cubicBezTo>
                      <a:pt x="44" y="33"/>
                      <a:pt x="44" y="33"/>
                      <a:pt x="44" y="33"/>
                    </a:cubicBezTo>
                    <a:cubicBezTo>
                      <a:pt x="44" y="33"/>
                      <a:pt x="45" y="33"/>
                      <a:pt x="45" y="33"/>
                    </a:cubicBezTo>
                    <a:cubicBezTo>
                      <a:pt x="45" y="33"/>
                      <a:pt x="44" y="33"/>
                      <a:pt x="44" y="33"/>
                    </a:cubicBezTo>
                    <a:cubicBezTo>
                      <a:pt x="45" y="33"/>
                      <a:pt x="45" y="33"/>
                      <a:pt x="45" y="33"/>
                    </a:cubicBezTo>
                    <a:cubicBezTo>
                      <a:pt x="44" y="33"/>
                      <a:pt x="44" y="33"/>
                      <a:pt x="44" y="33"/>
                    </a:cubicBezTo>
                    <a:cubicBezTo>
                      <a:pt x="44" y="33"/>
                      <a:pt x="44" y="33"/>
                      <a:pt x="44" y="33"/>
                    </a:cubicBezTo>
                    <a:cubicBezTo>
                      <a:pt x="44" y="33"/>
                      <a:pt x="44" y="33"/>
                      <a:pt x="44" y="33"/>
                    </a:cubicBezTo>
                    <a:cubicBezTo>
                      <a:pt x="44" y="33"/>
                      <a:pt x="44" y="33"/>
                      <a:pt x="44" y="33"/>
                    </a:cubicBezTo>
                    <a:cubicBezTo>
                      <a:pt x="44" y="33"/>
                      <a:pt x="44" y="33"/>
                      <a:pt x="44" y="33"/>
                    </a:cubicBezTo>
                    <a:cubicBezTo>
                      <a:pt x="44" y="33"/>
                      <a:pt x="44" y="33"/>
                      <a:pt x="44" y="33"/>
                    </a:cubicBezTo>
                    <a:cubicBezTo>
                      <a:pt x="44" y="33"/>
                      <a:pt x="44" y="33"/>
                      <a:pt x="44" y="33"/>
                    </a:cubicBezTo>
                    <a:cubicBezTo>
                      <a:pt x="44" y="33"/>
                      <a:pt x="44" y="33"/>
                      <a:pt x="44" y="33"/>
                    </a:cubicBezTo>
                    <a:cubicBezTo>
                      <a:pt x="44" y="33"/>
                      <a:pt x="44" y="33"/>
                      <a:pt x="44" y="33"/>
                    </a:cubicBezTo>
                    <a:close/>
                    <a:moveTo>
                      <a:pt x="59" y="36"/>
                    </a:moveTo>
                    <a:cubicBezTo>
                      <a:pt x="58" y="36"/>
                      <a:pt x="58" y="36"/>
                      <a:pt x="58" y="36"/>
                    </a:cubicBezTo>
                    <a:cubicBezTo>
                      <a:pt x="58" y="37"/>
                      <a:pt x="57" y="38"/>
                      <a:pt x="56" y="38"/>
                    </a:cubicBezTo>
                    <a:cubicBezTo>
                      <a:pt x="57" y="38"/>
                      <a:pt x="57" y="37"/>
                      <a:pt x="59" y="36"/>
                    </a:cubicBezTo>
                    <a:cubicBezTo>
                      <a:pt x="59" y="36"/>
                      <a:pt x="59" y="36"/>
                      <a:pt x="59" y="36"/>
                    </a:cubicBezTo>
                    <a:close/>
                    <a:moveTo>
                      <a:pt x="42" y="33"/>
                    </a:moveTo>
                    <a:cubicBezTo>
                      <a:pt x="42" y="33"/>
                      <a:pt x="43" y="33"/>
                      <a:pt x="43" y="32"/>
                    </a:cubicBezTo>
                    <a:cubicBezTo>
                      <a:pt x="43" y="33"/>
                      <a:pt x="43" y="33"/>
                      <a:pt x="43" y="33"/>
                    </a:cubicBezTo>
                    <a:cubicBezTo>
                      <a:pt x="43" y="33"/>
                      <a:pt x="43" y="33"/>
                      <a:pt x="43" y="33"/>
                    </a:cubicBezTo>
                    <a:cubicBezTo>
                      <a:pt x="43" y="33"/>
                      <a:pt x="42" y="33"/>
                      <a:pt x="42" y="33"/>
                    </a:cubicBezTo>
                    <a:cubicBezTo>
                      <a:pt x="42" y="33"/>
                      <a:pt x="42" y="33"/>
                      <a:pt x="42" y="33"/>
                    </a:cubicBezTo>
                    <a:close/>
                    <a:moveTo>
                      <a:pt x="51" y="35"/>
                    </a:moveTo>
                    <a:cubicBezTo>
                      <a:pt x="51" y="35"/>
                      <a:pt x="51" y="34"/>
                      <a:pt x="51" y="34"/>
                    </a:cubicBezTo>
                    <a:cubicBezTo>
                      <a:pt x="51" y="34"/>
                      <a:pt x="51" y="34"/>
                      <a:pt x="50" y="34"/>
                    </a:cubicBezTo>
                    <a:cubicBezTo>
                      <a:pt x="51" y="35"/>
                      <a:pt x="51" y="35"/>
                      <a:pt x="51" y="35"/>
                    </a:cubicBezTo>
                    <a:cubicBezTo>
                      <a:pt x="51" y="35"/>
                      <a:pt x="51" y="35"/>
                      <a:pt x="51" y="35"/>
                    </a:cubicBezTo>
                    <a:cubicBezTo>
                      <a:pt x="51" y="35"/>
                      <a:pt x="51" y="35"/>
                      <a:pt x="51" y="35"/>
                    </a:cubicBezTo>
                    <a:close/>
                    <a:moveTo>
                      <a:pt x="42" y="33"/>
                    </a:moveTo>
                    <a:cubicBezTo>
                      <a:pt x="42" y="33"/>
                      <a:pt x="42" y="32"/>
                      <a:pt x="42" y="32"/>
                    </a:cubicBezTo>
                    <a:cubicBezTo>
                      <a:pt x="42" y="32"/>
                      <a:pt x="41" y="32"/>
                      <a:pt x="41" y="33"/>
                    </a:cubicBezTo>
                    <a:cubicBezTo>
                      <a:pt x="41" y="33"/>
                      <a:pt x="42" y="33"/>
                      <a:pt x="42" y="33"/>
                    </a:cubicBezTo>
                    <a:cubicBezTo>
                      <a:pt x="42" y="33"/>
                      <a:pt x="42" y="33"/>
                      <a:pt x="41" y="33"/>
                    </a:cubicBezTo>
                    <a:cubicBezTo>
                      <a:pt x="42" y="33"/>
                      <a:pt x="42" y="33"/>
                      <a:pt x="43" y="33"/>
                    </a:cubicBezTo>
                    <a:cubicBezTo>
                      <a:pt x="42" y="33"/>
                      <a:pt x="42" y="33"/>
                      <a:pt x="42" y="33"/>
                    </a:cubicBezTo>
                    <a:cubicBezTo>
                      <a:pt x="42" y="33"/>
                      <a:pt x="42" y="33"/>
                      <a:pt x="42" y="33"/>
                    </a:cubicBezTo>
                    <a:close/>
                    <a:moveTo>
                      <a:pt x="56" y="36"/>
                    </a:moveTo>
                    <a:cubicBezTo>
                      <a:pt x="56" y="36"/>
                      <a:pt x="56" y="36"/>
                      <a:pt x="56" y="36"/>
                    </a:cubicBezTo>
                    <a:cubicBezTo>
                      <a:pt x="56" y="36"/>
                      <a:pt x="56" y="36"/>
                      <a:pt x="56" y="36"/>
                    </a:cubicBezTo>
                    <a:cubicBezTo>
                      <a:pt x="56" y="36"/>
                      <a:pt x="56" y="36"/>
                      <a:pt x="56" y="37"/>
                    </a:cubicBezTo>
                    <a:cubicBezTo>
                      <a:pt x="56" y="37"/>
                      <a:pt x="56" y="37"/>
                      <a:pt x="56" y="36"/>
                    </a:cubicBezTo>
                    <a:cubicBezTo>
                      <a:pt x="56" y="36"/>
                      <a:pt x="56" y="36"/>
                      <a:pt x="56" y="36"/>
                    </a:cubicBezTo>
                    <a:cubicBezTo>
                      <a:pt x="56" y="36"/>
                      <a:pt x="56" y="36"/>
                      <a:pt x="56" y="36"/>
                    </a:cubicBezTo>
                    <a:cubicBezTo>
                      <a:pt x="56" y="36"/>
                      <a:pt x="56" y="36"/>
                      <a:pt x="56" y="36"/>
                    </a:cubicBezTo>
                    <a:close/>
                    <a:moveTo>
                      <a:pt x="22" y="28"/>
                    </a:moveTo>
                    <a:cubicBezTo>
                      <a:pt x="22" y="28"/>
                      <a:pt x="22" y="28"/>
                      <a:pt x="22" y="28"/>
                    </a:cubicBezTo>
                    <a:cubicBezTo>
                      <a:pt x="22" y="28"/>
                      <a:pt x="22" y="28"/>
                      <a:pt x="22" y="28"/>
                    </a:cubicBezTo>
                    <a:close/>
                    <a:moveTo>
                      <a:pt x="53" y="35"/>
                    </a:moveTo>
                    <a:cubicBezTo>
                      <a:pt x="54" y="35"/>
                      <a:pt x="54" y="36"/>
                      <a:pt x="55" y="36"/>
                    </a:cubicBezTo>
                    <a:cubicBezTo>
                      <a:pt x="54" y="37"/>
                      <a:pt x="54" y="38"/>
                      <a:pt x="53" y="39"/>
                    </a:cubicBezTo>
                    <a:cubicBezTo>
                      <a:pt x="53" y="39"/>
                      <a:pt x="53" y="39"/>
                      <a:pt x="53" y="39"/>
                    </a:cubicBezTo>
                    <a:cubicBezTo>
                      <a:pt x="53" y="38"/>
                      <a:pt x="54" y="37"/>
                      <a:pt x="55" y="36"/>
                    </a:cubicBezTo>
                    <a:cubicBezTo>
                      <a:pt x="54" y="36"/>
                      <a:pt x="54" y="36"/>
                      <a:pt x="54" y="36"/>
                    </a:cubicBezTo>
                    <a:cubicBezTo>
                      <a:pt x="54" y="36"/>
                      <a:pt x="54" y="36"/>
                      <a:pt x="54" y="36"/>
                    </a:cubicBezTo>
                    <a:cubicBezTo>
                      <a:pt x="54" y="36"/>
                      <a:pt x="54" y="36"/>
                      <a:pt x="54" y="36"/>
                    </a:cubicBezTo>
                    <a:cubicBezTo>
                      <a:pt x="54" y="36"/>
                      <a:pt x="54" y="36"/>
                      <a:pt x="54" y="36"/>
                    </a:cubicBezTo>
                    <a:cubicBezTo>
                      <a:pt x="54" y="37"/>
                      <a:pt x="53" y="37"/>
                      <a:pt x="53" y="37"/>
                    </a:cubicBezTo>
                    <a:cubicBezTo>
                      <a:pt x="53" y="37"/>
                      <a:pt x="53" y="37"/>
                      <a:pt x="53" y="36"/>
                    </a:cubicBezTo>
                    <a:cubicBezTo>
                      <a:pt x="53" y="37"/>
                      <a:pt x="53" y="38"/>
                      <a:pt x="52" y="38"/>
                    </a:cubicBezTo>
                    <a:cubicBezTo>
                      <a:pt x="52" y="37"/>
                      <a:pt x="53" y="37"/>
                      <a:pt x="53" y="36"/>
                    </a:cubicBezTo>
                    <a:cubicBezTo>
                      <a:pt x="52" y="37"/>
                      <a:pt x="52" y="37"/>
                      <a:pt x="51" y="38"/>
                    </a:cubicBezTo>
                    <a:cubicBezTo>
                      <a:pt x="51" y="38"/>
                      <a:pt x="51" y="38"/>
                      <a:pt x="51" y="38"/>
                    </a:cubicBezTo>
                    <a:cubicBezTo>
                      <a:pt x="51" y="38"/>
                      <a:pt x="51" y="37"/>
                      <a:pt x="52" y="37"/>
                    </a:cubicBezTo>
                    <a:cubicBezTo>
                      <a:pt x="52" y="37"/>
                      <a:pt x="52" y="37"/>
                      <a:pt x="52" y="37"/>
                    </a:cubicBezTo>
                    <a:cubicBezTo>
                      <a:pt x="52" y="37"/>
                      <a:pt x="52" y="37"/>
                      <a:pt x="52" y="37"/>
                    </a:cubicBezTo>
                    <a:cubicBezTo>
                      <a:pt x="52" y="37"/>
                      <a:pt x="52" y="37"/>
                      <a:pt x="52" y="37"/>
                    </a:cubicBezTo>
                    <a:cubicBezTo>
                      <a:pt x="52" y="37"/>
                      <a:pt x="52" y="37"/>
                      <a:pt x="52" y="37"/>
                    </a:cubicBezTo>
                    <a:cubicBezTo>
                      <a:pt x="51" y="36"/>
                      <a:pt x="51" y="36"/>
                      <a:pt x="50" y="35"/>
                    </a:cubicBezTo>
                    <a:cubicBezTo>
                      <a:pt x="51" y="35"/>
                      <a:pt x="51" y="35"/>
                      <a:pt x="51" y="35"/>
                    </a:cubicBezTo>
                    <a:cubicBezTo>
                      <a:pt x="51" y="35"/>
                      <a:pt x="51" y="35"/>
                      <a:pt x="51" y="35"/>
                    </a:cubicBezTo>
                    <a:cubicBezTo>
                      <a:pt x="51" y="35"/>
                      <a:pt x="51" y="35"/>
                      <a:pt x="51" y="35"/>
                    </a:cubicBezTo>
                    <a:cubicBezTo>
                      <a:pt x="52" y="35"/>
                      <a:pt x="53" y="37"/>
                      <a:pt x="54" y="36"/>
                    </a:cubicBezTo>
                    <a:cubicBezTo>
                      <a:pt x="54" y="36"/>
                      <a:pt x="53" y="36"/>
                      <a:pt x="53" y="36"/>
                    </a:cubicBezTo>
                    <a:cubicBezTo>
                      <a:pt x="53" y="36"/>
                      <a:pt x="53" y="36"/>
                      <a:pt x="54" y="36"/>
                    </a:cubicBezTo>
                    <a:cubicBezTo>
                      <a:pt x="53" y="36"/>
                      <a:pt x="53" y="35"/>
                      <a:pt x="53" y="35"/>
                    </a:cubicBezTo>
                    <a:cubicBezTo>
                      <a:pt x="53" y="35"/>
                      <a:pt x="53" y="35"/>
                      <a:pt x="53" y="35"/>
                    </a:cubicBezTo>
                    <a:close/>
                    <a:moveTo>
                      <a:pt x="40" y="32"/>
                    </a:moveTo>
                    <a:cubicBezTo>
                      <a:pt x="40" y="32"/>
                      <a:pt x="40" y="32"/>
                      <a:pt x="40" y="32"/>
                    </a:cubicBezTo>
                    <a:cubicBezTo>
                      <a:pt x="40" y="32"/>
                      <a:pt x="40" y="33"/>
                      <a:pt x="39" y="33"/>
                    </a:cubicBezTo>
                    <a:cubicBezTo>
                      <a:pt x="40" y="33"/>
                      <a:pt x="40" y="33"/>
                      <a:pt x="40" y="32"/>
                    </a:cubicBezTo>
                    <a:cubicBezTo>
                      <a:pt x="40" y="32"/>
                      <a:pt x="40" y="32"/>
                      <a:pt x="40" y="32"/>
                    </a:cubicBezTo>
                    <a:close/>
                    <a:moveTo>
                      <a:pt x="20" y="28"/>
                    </a:moveTo>
                    <a:cubicBezTo>
                      <a:pt x="20" y="28"/>
                      <a:pt x="19" y="28"/>
                      <a:pt x="19" y="28"/>
                    </a:cubicBezTo>
                    <a:cubicBezTo>
                      <a:pt x="19" y="28"/>
                      <a:pt x="19" y="28"/>
                      <a:pt x="19" y="28"/>
                    </a:cubicBezTo>
                    <a:cubicBezTo>
                      <a:pt x="20" y="28"/>
                      <a:pt x="20" y="28"/>
                      <a:pt x="20" y="28"/>
                    </a:cubicBezTo>
                    <a:cubicBezTo>
                      <a:pt x="20" y="28"/>
                      <a:pt x="20" y="28"/>
                      <a:pt x="20" y="28"/>
                    </a:cubicBezTo>
                    <a:cubicBezTo>
                      <a:pt x="20" y="28"/>
                      <a:pt x="20" y="28"/>
                      <a:pt x="20" y="28"/>
                    </a:cubicBezTo>
                    <a:close/>
                    <a:moveTo>
                      <a:pt x="57" y="36"/>
                    </a:moveTo>
                    <a:cubicBezTo>
                      <a:pt x="57" y="36"/>
                      <a:pt x="57" y="36"/>
                      <a:pt x="56" y="36"/>
                    </a:cubicBezTo>
                    <a:cubicBezTo>
                      <a:pt x="56" y="36"/>
                      <a:pt x="56" y="37"/>
                      <a:pt x="56" y="37"/>
                    </a:cubicBezTo>
                    <a:cubicBezTo>
                      <a:pt x="56" y="37"/>
                      <a:pt x="56" y="37"/>
                      <a:pt x="56" y="37"/>
                    </a:cubicBezTo>
                    <a:cubicBezTo>
                      <a:pt x="56" y="37"/>
                      <a:pt x="56" y="37"/>
                      <a:pt x="56" y="37"/>
                    </a:cubicBezTo>
                    <a:cubicBezTo>
                      <a:pt x="56" y="37"/>
                      <a:pt x="55" y="38"/>
                      <a:pt x="55" y="38"/>
                    </a:cubicBezTo>
                    <a:cubicBezTo>
                      <a:pt x="55" y="38"/>
                      <a:pt x="55" y="38"/>
                      <a:pt x="55" y="38"/>
                    </a:cubicBezTo>
                    <a:cubicBezTo>
                      <a:pt x="55" y="38"/>
                      <a:pt x="55" y="38"/>
                      <a:pt x="55" y="39"/>
                    </a:cubicBezTo>
                    <a:cubicBezTo>
                      <a:pt x="55" y="39"/>
                      <a:pt x="55" y="39"/>
                      <a:pt x="55" y="39"/>
                    </a:cubicBezTo>
                    <a:cubicBezTo>
                      <a:pt x="55" y="39"/>
                      <a:pt x="54" y="39"/>
                      <a:pt x="54" y="39"/>
                    </a:cubicBezTo>
                    <a:cubicBezTo>
                      <a:pt x="57" y="38"/>
                      <a:pt x="55" y="38"/>
                      <a:pt x="57" y="36"/>
                    </a:cubicBezTo>
                    <a:cubicBezTo>
                      <a:pt x="57" y="36"/>
                      <a:pt x="57" y="36"/>
                      <a:pt x="57" y="36"/>
                    </a:cubicBezTo>
                    <a:close/>
                    <a:moveTo>
                      <a:pt x="48" y="35"/>
                    </a:moveTo>
                    <a:cubicBezTo>
                      <a:pt x="48" y="35"/>
                      <a:pt x="48" y="35"/>
                      <a:pt x="48" y="34"/>
                    </a:cubicBezTo>
                    <a:cubicBezTo>
                      <a:pt x="48" y="35"/>
                      <a:pt x="48" y="35"/>
                      <a:pt x="48" y="35"/>
                    </a:cubicBezTo>
                    <a:cubicBezTo>
                      <a:pt x="48" y="35"/>
                      <a:pt x="48" y="35"/>
                      <a:pt x="48" y="35"/>
                    </a:cubicBezTo>
                    <a:cubicBezTo>
                      <a:pt x="48" y="35"/>
                      <a:pt x="48" y="35"/>
                      <a:pt x="48" y="35"/>
                    </a:cubicBezTo>
                    <a:close/>
                    <a:moveTo>
                      <a:pt x="50" y="35"/>
                    </a:moveTo>
                    <a:cubicBezTo>
                      <a:pt x="50" y="35"/>
                      <a:pt x="50" y="35"/>
                      <a:pt x="50" y="35"/>
                    </a:cubicBezTo>
                    <a:cubicBezTo>
                      <a:pt x="50" y="35"/>
                      <a:pt x="49" y="35"/>
                      <a:pt x="49" y="35"/>
                    </a:cubicBezTo>
                    <a:cubicBezTo>
                      <a:pt x="49" y="35"/>
                      <a:pt x="49" y="35"/>
                      <a:pt x="49" y="35"/>
                    </a:cubicBezTo>
                    <a:cubicBezTo>
                      <a:pt x="50" y="35"/>
                      <a:pt x="50" y="35"/>
                      <a:pt x="50" y="35"/>
                    </a:cubicBezTo>
                    <a:cubicBezTo>
                      <a:pt x="50" y="35"/>
                      <a:pt x="50" y="35"/>
                      <a:pt x="50" y="35"/>
                    </a:cubicBezTo>
                    <a:close/>
                    <a:moveTo>
                      <a:pt x="46" y="34"/>
                    </a:moveTo>
                    <a:cubicBezTo>
                      <a:pt x="46" y="34"/>
                      <a:pt x="47" y="35"/>
                      <a:pt x="47" y="35"/>
                    </a:cubicBezTo>
                    <a:cubicBezTo>
                      <a:pt x="47" y="35"/>
                      <a:pt x="47" y="35"/>
                      <a:pt x="47" y="35"/>
                    </a:cubicBezTo>
                    <a:cubicBezTo>
                      <a:pt x="47" y="35"/>
                      <a:pt x="46" y="35"/>
                      <a:pt x="46" y="34"/>
                    </a:cubicBezTo>
                    <a:cubicBezTo>
                      <a:pt x="46" y="35"/>
                      <a:pt x="46" y="35"/>
                      <a:pt x="47" y="36"/>
                    </a:cubicBezTo>
                    <a:cubicBezTo>
                      <a:pt x="47" y="36"/>
                      <a:pt x="47" y="36"/>
                      <a:pt x="47" y="36"/>
                    </a:cubicBezTo>
                    <a:cubicBezTo>
                      <a:pt x="46" y="35"/>
                      <a:pt x="46" y="35"/>
                      <a:pt x="45" y="34"/>
                    </a:cubicBezTo>
                    <a:cubicBezTo>
                      <a:pt x="45" y="34"/>
                      <a:pt x="45" y="34"/>
                      <a:pt x="46" y="34"/>
                    </a:cubicBezTo>
                    <a:cubicBezTo>
                      <a:pt x="46" y="34"/>
                      <a:pt x="46" y="34"/>
                      <a:pt x="46" y="34"/>
                    </a:cubicBezTo>
                    <a:close/>
                    <a:moveTo>
                      <a:pt x="48" y="35"/>
                    </a:moveTo>
                    <a:cubicBezTo>
                      <a:pt x="48" y="35"/>
                      <a:pt x="48" y="35"/>
                      <a:pt x="48" y="35"/>
                    </a:cubicBezTo>
                    <a:cubicBezTo>
                      <a:pt x="48" y="35"/>
                      <a:pt x="48" y="35"/>
                      <a:pt x="48" y="35"/>
                    </a:cubicBezTo>
                    <a:cubicBezTo>
                      <a:pt x="48" y="35"/>
                      <a:pt x="48" y="35"/>
                      <a:pt x="48" y="35"/>
                    </a:cubicBezTo>
                    <a:cubicBezTo>
                      <a:pt x="48" y="35"/>
                      <a:pt x="48" y="35"/>
                      <a:pt x="48" y="35"/>
                    </a:cubicBezTo>
                    <a:cubicBezTo>
                      <a:pt x="48" y="35"/>
                      <a:pt x="48" y="35"/>
                      <a:pt x="48" y="35"/>
                    </a:cubicBezTo>
                    <a:close/>
                    <a:moveTo>
                      <a:pt x="45" y="34"/>
                    </a:moveTo>
                    <a:cubicBezTo>
                      <a:pt x="45" y="34"/>
                      <a:pt x="45" y="34"/>
                      <a:pt x="45" y="34"/>
                    </a:cubicBezTo>
                    <a:cubicBezTo>
                      <a:pt x="45" y="34"/>
                      <a:pt x="45" y="34"/>
                      <a:pt x="45" y="34"/>
                    </a:cubicBezTo>
                    <a:cubicBezTo>
                      <a:pt x="45" y="34"/>
                      <a:pt x="45" y="34"/>
                      <a:pt x="45" y="34"/>
                    </a:cubicBezTo>
                    <a:cubicBezTo>
                      <a:pt x="45" y="34"/>
                      <a:pt x="45" y="34"/>
                      <a:pt x="45" y="34"/>
                    </a:cubicBezTo>
                    <a:close/>
                    <a:moveTo>
                      <a:pt x="56" y="37"/>
                    </a:moveTo>
                    <a:cubicBezTo>
                      <a:pt x="56" y="37"/>
                      <a:pt x="56" y="37"/>
                      <a:pt x="56" y="37"/>
                    </a:cubicBezTo>
                    <a:cubicBezTo>
                      <a:pt x="55" y="37"/>
                      <a:pt x="55" y="37"/>
                      <a:pt x="55" y="37"/>
                    </a:cubicBezTo>
                    <a:cubicBezTo>
                      <a:pt x="55" y="37"/>
                      <a:pt x="56" y="37"/>
                      <a:pt x="56" y="37"/>
                    </a:cubicBezTo>
                    <a:cubicBezTo>
                      <a:pt x="56" y="37"/>
                      <a:pt x="56" y="37"/>
                      <a:pt x="56" y="37"/>
                    </a:cubicBezTo>
                    <a:close/>
                    <a:moveTo>
                      <a:pt x="43" y="34"/>
                    </a:moveTo>
                    <a:cubicBezTo>
                      <a:pt x="45" y="34"/>
                      <a:pt x="45" y="35"/>
                      <a:pt x="47" y="36"/>
                    </a:cubicBezTo>
                    <a:cubicBezTo>
                      <a:pt x="47" y="36"/>
                      <a:pt x="47" y="36"/>
                      <a:pt x="47" y="36"/>
                    </a:cubicBezTo>
                    <a:cubicBezTo>
                      <a:pt x="47" y="36"/>
                      <a:pt x="47" y="36"/>
                      <a:pt x="47" y="36"/>
                    </a:cubicBezTo>
                    <a:cubicBezTo>
                      <a:pt x="47" y="36"/>
                      <a:pt x="47" y="36"/>
                      <a:pt x="47" y="36"/>
                    </a:cubicBezTo>
                    <a:cubicBezTo>
                      <a:pt x="47" y="36"/>
                      <a:pt x="47" y="36"/>
                      <a:pt x="47" y="36"/>
                    </a:cubicBezTo>
                    <a:cubicBezTo>
                      <a:pt x="47" y="36"/>
                      <a:pt x="47" y="36"/>
                      <a:pt x="47" y="36"/>
                    </a:cubicBezTo>
                    <a:cubicBezTo>
                      <a:pt x="47" y="36"/>
                      <a:pt x="47" y="36"/>
                      <a:pt x="47" y="36"/>
                    </a:cubicBezTo>
                    <a:cubicBezTo>
                      <a:pt x="47" y="36"/>
                      <a:pt x="47" y="36"/>
                      <a:pt x="47" y="36"/>
                    </a:cubicBezTo>
                    <a:cubicBezTo>
                      <a:pt x="47" y="36"/>
                      <a:pt x="47" y="36"/>
                      <a:pt x="47" y="36"/>
                    </a:cubicBezTo>
                    <a:cubicBezTo>
                      <a:pt x="47" y="36"/>
                      <a:pt x="47" y="36"/>
                      <a:pt x="47" y="36"/>
                    </a:cubicBezTo>
                    <a:cubicBezTo>
                      <a:pt x="47" y="37"/>
                      <a:pt x="47" y="37"/>
                      <a:pt x="47" y="37"/>
                    </a:cubicBezTo>
                    <a:cubicBezTo>
                      <a:pt x="47" y="37"/>
                      <a:pt x="47" y="37"/>
                      <a:pt x="48" y="37"/>
                    </a:cubicBezTo>
                    <a:cubicBezTo>
                      <a:pt x="48" y="38"/>
                      <a:pt x="45" y="40"/>
                      <a:pt x="44" y="40"/>
                    </a:cubicBezTo>
                    <a:cubicBezTo>
                      <a:pt x="45" y="40"/>
                      <a:pt x="45" y="39"/>
                      <a:pt x="46" y="39"/>
                    </a:cubicBezTo>
                    <a:cubicBezTo>
                      <a:pt x="45" y="39"/>
                      <a:pt x="45" y="39"/>
                      <a:pt x="45" y="39"/>
                    </a:cubicBezTo>
                    <a:cubicBezTo>
                      <a:pt x="45" y="39"/>
                      <a:pt x="45" y="39"/>
                      <a:pt x="46" y="39"/>
                    </a:cubicBezTo>
                    <a:cubicBezTo>
                      <a:pt x="45" y="39"/>
                      <a:pt x="45" y="39"/>
                      <a:pt x="45" y="39"/>
                    </a:cubicBezTo>
                    <a:cubicBezTo>
                      <a:pt x="46" y="39"/>
                      <a:pt x="46" y="38"/>
                      <a:pt x="46" y="38"/>
                    </a:cubicBezTo>
                    <a:cubicBezTo>
                      <a:pt x="46" y="38"/>
                      <a:pt x="46" y="38"/>
                      <a:pt x="46" y="38"/>
                    </a:cubicBezTo>
                    <a:cubicBezTo>
                      <a:pt x="46" y="38"/>
                      <a:pt x="45" y="39"/>
                      <a:pt x="45" y="39"/>
                    </a:cubicBezTo>
                    <a:cubicBezTo>
                      <a:pt x="45" y="39"/>
                      <a:pt x="45" y="39"/>
                      <a:pt x="45" y="39"/>
                    </a:cubicBezTo>
                    <a:cubicBezTo>
                      <a:pt x="45" y="39"/>
                      <a:pt x="45" y="39"/>
                      <a:pt x="45" y="39"/>
                    </a:cubicBezTo>
                    <a:cubicBezTo>
                      <a:pt x="45" y="39"/>
                      <a:pt x="45" y="39"/>
                      <a:pt x="45" y="39"/>
                    </a:cubicBezTo>
                    <a:cubicBezTo>
                      <a:pt x="45" y="39"/>
                      <a:pt x="45" y="39"/>
                      <a:pt x="45" y="39"/>
                    </a:cubicBezTo>
                    <a:cubicBezTo>
                      <a:pt x="45" y="38"/>
                      <a:pt x="45" y="38"/>
                      <a:pt x="45" y="38"/>
                    </a:cubicBezTo>
                    <a:cubicBezTo>
                      <a:pt x="45" y="38"/>
                      <a:pt x="45" y="38"/>
                      <a:pt x="45" y="38"/>
                    </a:cubicBezTo>
                    <a:cubicBezTo>
                      <a:pt x="45" y="38"/>
                      <a:pt x="45" y="37"/>
                      <a:pt x="46" y="37"/>
                    </a:cubicBezTo>
                    <a:cubicBezTo>
                      <a:pt x="46" y="37"/>
                      <a:pt x="45" y="37"/>
                      <a:pt x="45" y="37"/>
                    </a:cubicBezTo>
                    <a:cubicBezTo>
                      <a:pt x="45" y="37"/>
                      <a:pt x="46" y="37"/>
                      <a:pt x="46" y="37"/>
                    </a:cubicBezTo>
                    <a:cubicBezTo>
                      <a:pt x="45" y="38"/>
                      <a:pt x="44" y="38"/>
                      <a:pt x="44" y="39"/>
                    </a:cubicBezTo>
                    <a:cubicBezTo>
                      <a:pt x="44" y="39"/>
                      <a:pt x="44" y="39"/>
                      <a:pt x="44" y="39"/>
                    </a:cubicBezTo>
                    <a:cubicBezTo>
                      <a:pt x="44" y="39"/>
                      <a:pt x="44" y="38"/>
                      <a:pt x="44" y="38"/>
                    </a:cubicBezTo>
                    <a:cubicBezTo>
                      <a:pt x="44" y="38"/>
                      <a:pt x="44" y="39"/>
                      <a:pt x="44" y="39"/>
                    </a:cubicBezTo>
                    <a:cubicBezTo>
                      <a:pt x="43" y="39"/>
                      <a:pt x="42" y="40"/>
                      <a:pt x="41" y="40"/>
                    </a:cubicBezTo>
                    <a:cubicBezTo>
                      <a:pt x="42" y="39"/>
                      <a:pt x="43" y="38"/>
                      <a:pt x="44" y="37"/>
                    </a:cubicBezTo>
                    <a:cubicBezTo>
                      <a:pt x="43" y="38"/>
                      <a:pt x="42" y="39"/>
                      <a:pt x="42" y="39"/>
                    </a:cubicBezTo>
                    <a:cubicBezTo>
                      <a:pt x="42" y="39"/>
                      <a:pt x="42" y="39"/>
                      <a:pt x="42" y="39"/>
                    </a:cubicBezTo>
                    <a:cubicBezTo>
                      <a:pt x="42" y="39"/>
                      <a:pt x="42" y="39"/>
                      <a:pt x="42" y="39"/>
                    </a:cubicBezTo>
                    <a:cubicBezTo>
                      <a:pt x="42" y="38"/>
                      <a:pt x="42" y="38"/>
                      <a:pt x="42" y="38"/>
                    </a:cubicBezTo>
                    <a:cubicBezTo>
                      <a:pt x="42" y="38"/>
                      <a:pt x="42" y="38"/>
                      <a:pt x="42" y="38"/>
                    </a:cubicBezTo>
                    <a:cubicBezTo>
                      <a:pt x="42" y="38"/>
                      <a:pt x="43" y="37"/>
                      <a:pt x="43" y="37"/>
                    </a:cubicBezTo>
                    <a:cubicBezTo>
                      <a:pt x="42" y="38"/>
                      <a:pt x="42" y="38"/>
                      <a:pt x="42" y="38"/>
                    </a:cubicBezTo>
                    <a:cubicBezTo>
                      <a:pt x="42" y="38"/>
                      <a:pt x="42" y="38"/>
                      <a:pt x="42" y="38"/>
                    </a:cubicBezTo>
                    <a:cubicBezTo>
                      <a:pt x="42" y="38"/>
                      <a:pt x="42" y="37"/>
                      <a:pt x="43" y="37"/>
                    </a:cubicBezTo>
                    <a:cubicBezTo>
                      <a:pt x="42" y="37"/>
                      <a:pt x="42" y="37"/>
                      <a:pt x="42" y="37"/>
                    </a:cubicBezTo>
                    <a:cubicBezTo>
                      <a:pt x="42" y="37"/>
                      <a:pt x="42" y="37"/>
                      <a:pt x="42" y="37"/>
                    </a:cubicBezTo>
                    <a:cubicBezTo>
                      <a:pt x="42" y="38"/>
                      <a:pt x="41" y="38"/>
                      <a:pt x="40" y="39"/>
                    </a:cubicBezTo>
                    <a:cubicBezTo>
                      <a:pt x="40" y="39"/>
                      <a:pt x="39" y="40"/>
                      <a:pt x="39" y="39"/>
                    </a:cubicBezTo>
                    <a:cubicBezTo>
                      <a:pt x="40" y="39"/>
                      <a:pt x="41" y="38"/>
                      <a:pt x="42" y="37"/>
                    </a:cubicBezTo>
                    <a:cubicBezTo>
                      <a:pt x="42" y="37"/>
                      <a:pt x="41" y="37"/>
                      <a:pt x="41" y="37"/>
                    </a:cubicBezTo>
                    <a:cubicBezTo>
                      <a:pt x="41" y="38"/>
                      <a:pt x="40" y="38"/>
                      <a:pt x="40" y="38"/>
                    </a:cubicBezTo>
                    <a:cubicBezTo>
                      <a:pt x="40" y="38"/>
                      <a:pt x="40" y="38"/>
                      <a:pt x="41" y="37"/>
                    </a:cubicBezTo>
                    <a:cubicBezTo>
                      <a:pt x="40" y="38"/>
                      <a:pt x="39" y="39"/>
                      <a:pt x="38" y="40"/>
                    </a:cubicBezTo>
                    <a:cubicBezTo>
                      <a:pt x="39" y="39"/>
                      <a:pt x="39" y="39"/>
                      <a:pt x="40" y="38"/>
                    </a:cubicBezTo>
                    <a:cubicBezTo>
                      <a:pt x="39" y="39"/>
                      <a:pt x="39" y="39"/>
                      <a:pt x="38" y="40"/>
                    </a:cubicBezTo>
                    <a:cubicBezTo>
                      <a:pt x="39" y="40"/>
                      <a:pt x="39" y="40"/>
                      <a:pt x="39" y="39"/>
                    </a:cubicBezTo>
                    <a:cubicBezTo>
                      <a:pt x="39" y="40"/>
                      <a:pt x="39" y="40"/>
                      <a:pt x="38" y="40"/>
                    </a:cubicBezTo>
                    <a:cubicBezTo>
                      <a:pt x="38" y="40"/>
                      <a:pt x="38" y="40"/>
                      <a:pt x="38" y="40"/>
                    </a:cubicBezTo>
                    <a:cubicBezTo>
                      <a:pt x="38" y="39"/>
                      <a:pt x="39" y="39"/>
                      <a:pt x="39" y="39"/>
                    </a:cubicBezTo>
                    <a:cubicBezTo>
                      <a:pt x="39" y="38"/>
                      <a:pt x="40" y="38"/>
                      <a:pt x="40" y="38"/>
                    </a:cubicBezTo>
                    <a:cubicBezTo>
                      <a:pt x="40" y="38"/>
                      <a:pt x="40" y="38"/>
                      <a:pt x="39" y="38"/>
                    </a:cubicBezTo>
                    <a:cubicBezTo>
                      <a:pt x="40" y="38"/>
                      <a:pt x="40" y="37"/>
                      <a:pt x="40" y="37"/>
                    </a:cubicBezTo>
                    <a:cubicBezTo>
                      <a:pt x="40" y="37"/>
                      <a:pt x="39" y="38"/>
                      <a:pt x="39" y="38"/>
                    </a:cubicBezTo>
                    <a:cubicBezTo>
                      <a:pt x="39" y="38"/>
                      <a:pt x="39" y="38"/>
                      <a:pt x="39" y="38"/>
                    </a:cubicBezTo>
                    <a:cubicBezTo>
                      <a:pt x="39" y="39"/>
                      <a:pt x="38" y="39"/>
                      <a:pt x="37" y="40"/>
                    </a:cubicBezTo>
                    <a:cubicBezTo>
                      <a:pt x="37" y="40"/>
                      <a:pt x="36" y="40"/>
                      <a:pt x="36" y="40"/>
                    </a:cubicBezTo>
                    <a:cubicBezTo>
                      <a:pt x="37" y="39"/>
                      <a:pt x="38" y="38"/>
                      <a:pt x="38" y="37"/>
                    </a:cubicBezTo>
                    <a:cubicBezTo>
                      <a:pt x="38" y="37"/>
                      <a:pt x="38" y="38"/>
                      <a:pt x="37" y="38"/>
                    </a:cubicBezTo>
                    <a:cubicBezTo>
                      <a:pt x="37" y="38"/>
                      <a:pt x="37" y="38"/>
                      <a:pt x="37" y="38"/>
                    </a:cubicBezTo>
                    <a:cubicBezTo>
                      <a:pt x="37" y="38"/>
                      <a:pt x="37" y="38"/>
                      <a:pt x="37" y="38"/>
                    </a:cubicBezTo>
                    <a:cubicBezTo>
                      <a:pt x="37" y="38"/>
                      <a:pt x="37" y="38"/>
                      <a:pt x="37" y="37"/>
                    </a:cubicBezTo>
                    <a:cubicBezTo>
                      <a:pt x="37" y="37"/>
                      <a:pt x="37" y="37"/>
                      <a:pt x="37" y="37"/>
                    </a:cubicBezTo>
                    <a:cubicBezTo>
                      <a:pt x="37" y="37"/>
                      <a:pt x="37" y="37"/>
                      <a:pt x="37" y="37"/>
                    </a:cubicBezTo>
                    <a:cubicBezTo>
                      <a:pt x="37" y="37"/>
                      <a:pt x="37" y="37"/>
                      <a:pt x="37" y="37"/>
                    </a:cubicBezTo>
                    <a:cubicBezTo>
                      <a:pt x="37" y="37"/>
                      <a:pt x="37" y="37"/>
                      <a:pt x="38" y="37"/>
                    </a:cubicBezTo>
                    <a:cubicBezTo>
                      <a:pt x="37" y="37"/>
                      <a:pt x="37" y="38"/>
                      <a:pt x="37" y="38"/>
                    </a:cubicBezTo>
                    <a:cubicBezTo>
                      <a:pt x="37" y="37"/>
                      <a:pt x="37" y="37"/>
                      <a:pt x="37" y="37"/>
                    </a:cubicBezTo>
                    <a:cubicBezTo>
                      <a:pt x="37" y="37"/>
                      <a:pt x="37" y="37"/>
                      <a:pt x="36" y="38"/>
                    </a:cubicBezTo>
                    <a:cubicBezTo>
                      <a:pt x="36" y="38"/>
                      <a:pt x="36" y="37"/>
                      <a:pt x="36" y="37"/>
                    </a:cubicBezTo>
                    <a:cubicBezTo>
                      <a:pt x="37" y="36"/>
                      <a:pt x="37" y="35"/>
                      <a:pt x="37" y="34"/>
                    </a:cubicBezTo>
                    <a:cubicBezTo>
                      <a:pt x="38" y="34"/>
                      <a:pt x="38" y="35"/>
                      <a:pt x="39" y="35"/>
                    </a:cubicBezTo>
                    <a:cubicBezTo>
                      <a:pt x="38" y="34"/>
                      <a:pt x="38" y="34"/>
                      <a:pt x="38" y="34"/>
                    </a:cubicBezTo>
                    <a:cubicBezTo>
                      <a:pt x="38" y="33"/>
                      <a:pt x="38" y="33"/>
                      <a:pt x="39" y="33"/>
                    </a:cubicBezTo>
                    <a:cubicBezTo>
                      <a:pt x="39" y="34"/>
                      <a:pt x="40" y="35"/>
                      <a:pt x="41" y="36"/>
                    </a:cubicBezTo>
                    <a:cubicBezTo>
                      <a:pt x="40" y="35"/>
                      <a:pt x="40" y="34"/>
                      <a:pt x="39" y="33"/>
                    </a:cubicBezTo>
                    <a:cubicBezTo>
                      <a:pt x="39" y="33"/>
                      <a:pt x="39" y="33"/>
                      <a:pt x="39" y="33"/>
                    </a:cubicBezTo>
                    <a:cubicBezTo>
                      <a:pt x="39" y="33"/>
                      <a:pt x="39" y="34"/>
                      <a:pt x="39" y="34"/>
                    </a:cubicBezTo>
                    <a:cubicBezTo>
                      <a:pt x="39" y="33"/>
                      <a:pt x="39" y="33"/>
                      <a:pt x="40" y="33"/>
                    </a:cubicBezTo>
                    <a:cubicBezTo>
                      <a:pt x="40" y="34"/>
                      <a:pt x="40" y="34"/>
                      <a:pt x="40" y="34"/>
                    </a:cubicBezTo>
                    <a:cubicBezTo>
                      <a:pt x="40" y="34"/>
                      <a:pt x="40" y="34"/>
                      <a:pt x="40" y="34"/>
                    </a:cubicBezTo>
                    <a:cubicBezTo>
                      <a:pt x="40" y="34"/>
                      <a:pt x="41" y="34"/>
                      <a:pt x="41" y="34"/>
                    </a:cubicBezTo>
                    <a:cubicBezTo>
                      <a:pt x="42" y="35"/>
                      <a:pt x="43" y="36"/>
                      <a:pt x="44" y="36"/>
                    </a:cubicBezTo>
                    <a:cubicBezTo>
                      <a:pt x="44" y="36"/>
                      <a:pt x="44" y="36"/>
                      <a:pt x="44" y="36"/>
                    </a:cubicBezTo>
                    <a:cubicBezTo>
                      <a:pt x="44" y="35"/>
                      <a:pt x="43" y="34"/>
                      <a:pt x="42" y="34"/>
                    </a:cubicBezTo>
                    <a:cubicBezTo>
                      <a:pt x="42" y="34"/>
                      <a:pt x="42" y="34"/>
                      <a:pt x="42" y="34"/>
                    </a:cubicBezTo>
                    <a:cubicBezTo>
                      <a:pt x="42" y="34"/>
                      <a:pt x="42" y="34"/>
                      <a:pt x="43" y="34"/>
                    </a:cubicBezTo>
                    <a:cubicBezTo>
                      <a:pt x="43" y="34"/>
                      <a:pt x="43" y="34"/>
                      <a:pt x="43" y="34"/>
                    </a:cubicBezTo>
                    <a:cubicBezTo>
                      <a:pt x="43" y="34"/>
                      <a:pt x="43" y="34"/>
                      <a:pt x="43" y="34"/>
                    </a:cubicBezTo>
                    <a:close/>
                    <a:moveTo>
                      <a:pt x="28" y="31"/>
                    </a:moveTo>
                    <a:cubicBezTo>
                      <a:pt x="28" y="31"/>
                      <a:pt x="28" y="31"/>
                      <a:pt x="28" y="31"/>
                    </a:cubicBezTo>
                    <a:cubicBezTo>
                      <a:pt x="28" y="31"/>
                      <a:pt x="28" y="31"/>
                      <a:pt x="28" y="31"/>
                    </a:cubicBezTo>
                    <a:cubicBezTo>
                      <a:pt x="28" y="31"/>
                      <a:pt x="28" y="31"/>
                      <a:pt x="29" y="31"/>
                    </a:cubicBezTo>
                    <a:cubicBezTo>
                      <a:pt x="28" y="31"/>
                      <a:pt x="28" y="31"/>
                      <a:pt x="28" y="31"/>
                    </a:cubicBezTo>
                    <a:cubicBezTo>
                      <a:pt x="28" y="31"/>
                      <a:pt x="28" y="31"/>
                      <a:pt x="28" y="31"/>
                    </a:cubicBezTo>
                    <a:cubicBezTo>
                      <a:pt x="28" y="31"/>
                      <a:pt x="28" y="31"/>
                      <a:pt x="28" y="31"/>
                    </a:cubicBezTo>
                    <a:close/>
                    <a:moveTo>
                      <a:pt x="50" y="36"/>
                    </a:moveTo>
                    <a:cubicBezTo>
                      <a:pt x="50" y="35"/>
                      <a:pt x="50" y="35"/>
                      <a:pt x="50" y="35"/>
                    </a:cubicBezTo>
                    <a:cubicBezTo>
                      <a:pt x="50" y="36"/>
                      <a:pt x="51" y="36"/>
                      <a:pt x="51" y="36"/>
                    </a:cubicBezTo>
                    <a:cubicBezTo>
                      <a:pt x="51" y="36"/>
                      <a:pt x="51" y="36"/>
                      <a:pt x="51" y="37"/>
                    </a:cubicBezTo>
                    <a:cubicBezTo>
                      <a:pt x="51" y="36"/>
                      <a:pt x="51" y="36"/>
                      <a:pt x="51" y="36"/>
                    </a:cubicBezTo>
                    <a:cubicBezTo>
                      <a:pt x="51" y="37"/>
                      <a:pt x="51" y="37"/>
                      <a:pt x="52" y="37"/>
                    </a:cubicBezTo>
                    <a:cubicBezTo>
                      <a:pt x="51" y="37"/>
                      <a:pt x="51" y="38"/>
                      <a:pt x="50" y="38"/>
                    </a:cubicBezTo>
                    <a:cubicBezTo>
                      <a:pt x="51" y="38"/>
                      <a:pt x="51" y="38"/>
                      <a:pt x="51" y="38"/>
                    </a:cubicBezTo>
                    <a:cubicBezTo>
                      <a:pt x="51" y="38"/>
                      <a:pt x="51" y="38"/>
                      <a:pt x="51" y="38"/>
                    </a:cubicBezTo>
                    <a:cubicBezTo>
                      <a:pt x="51" y="38"/>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1" y="37"/>
                      <a:pt x="51" y="37"/>
                      <a:pt x="51" y="37"/>
                    </a:cubicBezTo>
                    <a:cubicBezTo>
                      <a:pt x="50" y="36"/>
                      <a:pt x="50" y="36"/>
                      <a:pt x="50" y="36"/>
                    </a:cubicBezTo>
                    <a:cubicBezTo>
                      <a:pt x="50" y="36"/>
                      <a:pt x="50" y="36"/>
                      <a:pt x="50" y="36"/>
                    </a:cubicBezTo>
                    <a:close/>
                    <a:moveTo>
                      <a:pt x="30" y="31"/>
                    </a:moveTo>
                    <a:cubicBezTo>
                      <a:pt x="30" y="31"/>
                      <a:pt x="30" y="31"/>
                      <a:pt x="30" y="31"/>
                    </a:cubicBezTo>
                    <a:cubicBezTo>
                      <a:pt x="28" y="32"/>
                      <a:pt x="28" y="31"/>
                      <a:pt x="27" y="33"/>
                    </a:cubicBezTo>
                    <a:cubicBezTo>
                      <a:pt x="27" y="33"/>
                      <a:pt x="27" y="33"/>
                      <a:pt x="28" y="33"/>
                    </a:cubicBezTo>
                    <a:cubicBezTo>
                      <a:pt x="27" y="33"/>
                      <a:pt x="27" y="34"/>
                      <a:pt x="27" y="34"/>
                    </a:cubicBezTo>
                    <a:cubicBezTo>
                      <a:pt x="27" y="34"/>
                      <a:pt x="27" y="34"/>
                      <a:pt x="27" y="35"/>
                    </a:cubicBezTo>
                    <a:cubicBezTo>
                      <a:pt x="27" y="35"/>
                      <a:pt x="27" y="35"/>
                      <a:pt x="27" y="35"/>
                    </a:cubicBezTo>
                    <a:cubicBezTo>
                      <a:pt x="27" y="35"/>
                      <a:pt x="27" y="34"/>
                      <a:pt x="27" y="34"/>
                    </a:cubicBezTo>
                    <a:cubicBezTo>
                      <a:pt x="28" y="34"/>
                      <a:pt x="28" y="33"/>
                      <a:pt x="28" y="33"/>
                    </a:cubicBezTo>
                    <a:cubicBezTo>
                      <a:pt x="28" y="34"/>
                      <a:pt x="28" y="34"/>
                      <a:pt x="28" y="34"/>
                    </a:cubicBezTo>
                    <a:cubicBezTo>
                      <a:pt x="28" y="34"/>
                      <a:pt x="28" y="34"/>
                      <a:pt x="28" y="34"/>
                    </a:cubicBezTo>
                    <a:cubicBezTo>
                      <a:pt x="28" y="34"/>
                      <a:pt x="28" y="35"/>
                      <a:pt x="29" y="35"/>
                    </a:cubicBezTo>
                    <a:cubicBezTo>
                      <a:pt x="29" y="35"/>
                      <a:pt x="29" y="34"/>
                      <a:pt x="29" y="34"/>
                    </a:cubicBezTo>
                    <a:cubicBezTo>
                      <a:pt x="29" y="34"/>
                      <a:pt x="29" y="34"/>
                      <a:pt x="29" y="34"/>
                    </a:cubicBezTo>
                    <a:cubicBezTo>
                      <a:pt x="29" y="34"/>
                      <a:pt x="29" y="34"/>
                      <a:pt x="29" y="34"/>
                    </a:cubicBezTo>
                    <a:cubicBezTo>
                      <a:pt x="29" y="34"/>
                      <a:pt x="29" y="35"/>
                      <a:pt x="29" y="35"/>
                    </a:cubicBezTo>
                    <a:cubicBezTo>
                      <a:pt x="29" y="35"/>
                      <a:pt x="29" y="35"/>
                      <a:pt x="29" y="35"/>
                    </a:cubicBezTo>
                    <a:cubicBezTo>
                      <a:pt x="29" y="35"/>
                      <a:pt x="29" y="35"/>
                      <a:pt x="29" y="35"/>
                    </a:cubicBezTo>
                    <a:cubicBezTo>
                      <a:pt x="29" y="35"/>
                      <a:pt x="29" y="35"/>
                      <a:pt x="30" y="35"/>
                    </a:cubicBezTo>
                    <a:cubicBezTo>
                      <a:pt x="30" y="35"/>
                      <a:pt x="30" y="34"/>
                      <a:pt x="30" y="34"/>
                    </a:cubicBezTo>
                    <a:cubicBezTo>
                      <a:pt x="30" y="34"/>
                      <a:pt x="30" y="34"/>
                      <a:pt x="30" y="35"/>
                    </a:cubicBezTo>
                    <a:cubicBezTo>
                      <a:pt x="30" y="35"/>
                      <a:pt x="30" y="34"/>
                      <a:pt x="30" y="34"/>
                    </a:cubicBezTo>
                    <a:cubicBezTo>
                      <a:pt x="30" y="35"/>
                      <a:pt x="30" y="35"/>
                      <a:pt x="30" y="35"/>
                    </a:cubicBezTo>
                    <a:cubicBezTo>
                      <a:pt x="30" y="35"/>
                      <a:pt x="30" y="35"/>
                      <a:pt x="30" y="35"/>
                    </a:cubicBezTo>
                    <a:cubicBezTo>
                      <a:pt x="30" y="35"/>
                      <a:pt x="30" y="35"/>
                      <a:pt x="30" y="35"/>
                    </a:cubicBezTo>
                    <a:cubicBezTo>
                      <a:pt x="30" y="35"/>
                      <a:pt x="30" y="35"/>
                      <a:pt x="30" y="35"/>
                    </a:cubicBezTo>
                    <a:cubicBezTo>
                      <a:pt x="30" y="35"/>
                      <a:pt x="30" y="35"/>
                      <a:pt x="31" y="35"/>
                    </a:cubicBezTo>
                    <a:cubicBezTo>
                      <a:pt x="30" y="35"/>
                      <a:pt x="30" y="35"/>
                      <a:pt x="30" y="35"/>
                    </a:cubicBezTo>
                    <a:cubicBezTo>
                      <a:pt x="30" y="35"/>
                      <a:pt x="30" y="35"/>
                      <a:pt x="30" y="35"/>
                    </a:cubicBezTo>
                    <a:cubicBezTo>
                      <a:pt x="30" y="35"/>
                      <a:pt x="30" y="34"/>
                      <a:pt x="30" y="34"/>
                    </a:cubicBezTo>
                    <a:cubicBezTo>
                      <a:pt x="30" y="34"/>
                      <a:pt x="31" y="34"/>
                      <a:pt x="31" y="34"/>
                    </a:cubicBezTo>
                    <a:cubicBezTo>
                      <a:pt x="31" y="34"/>
                      <a:pt x="31" y="34"/>
                      <a:pt x="31" y="34"/>
                    </a:cubicBezTo>
                    <a:cubicBezTo>
                      <a:pt x="31" y="34"/>
                      <a:pt x="31" y="34"/>
                      <a:pt x="31" y="34"/>
                    </a:cubicBezTo>
                    <a:cubicBezTo>
                      <a:pt x="31" y="34"/>
                      <a:pt x="32" y="34"/>
                      <a:pt x="32" y="33"/>
                    </a:cubicBezTo>
                    <a:cubicBezTo>
                      <a:pt x="32" y="33"/>
                      <a:pt x="32" y="33"/>
                      <a:pt x="32" y="33"/>
                    </a:cubicBezTo>
                    <a:cubicBezTo>
                      <a:pt x="32" y="33"/>
                      <a:pt x="32" y="33"/>
                      <a:pt x="32" y="33"/>
                    </a:cubicBezTo>
                    <a:cubicBezTo>
                      <a:pt x="32" y="33"/>
                      <a:pt x="32" y="33"/>
                      <a:pt x="32" y="33"/>
                    </a:cubicBezTo>
                    <a:cubicBezTo>
                      <a:pt x="32" y="33"/>
                      <a:pt x="31" y="33"/>
                      <a:pt x="31" y="33"/>
                    </a:cubicBezTo>
                    <a:cubicBezTo>
                      <a:pt x="31" y="33"/>
                      <a:pt x="30" y="34"/>
                      <a:pt x="30" y="34"/>
                    </a:cubicBezTo>
                    <a:cubicBezTo>
                      <a:pt x="30" y="34"/>
                      <a:pt x="31" y="33"/>
                      <a:pt x="31" y="33"/>
                    </a:cubicBezTo>
                    <a:cubicBezTo>
                      <a:pt x="31" y="33"/>
                      <a:pt x="31" y="33"/>
                      <a:pt x="31" y="33"/>
                    </a:cubicBezTo>
                    <a:cubicBezTo>
                      <a:pt x="31" y="33"/>
                      <a:pt x="30" y="33"/>
                      <a:pt x="30" y="33"/>
                    </a:cubicBezTo>
                    <a:cubicBezTo>
                      <a:pt x="30" y="33"/>
                      <a:pt x="30" y="33"/>
                      <a:pt x="30" y="33"/>
                    </a:cubicBezTo>
                    <a:cubicBezTo>
                      <a:pt x="30" y="33"/>
                      <a:pt x="30" y="33"/>
                      <a:pt x="30" y="33"/>
                    </a:cubicBezTo>
                    <a:cubicBezTo>
                      <a:pt x="30" y="33"/>
                      <a:pt x="30" y="33"/>
                      <a:pt x="30" y="33"/>
                    </a:cubicBezTo>
                    <a:cubicBezTo>
                      <a:pt x="30" y="33"/>
                      <a:pt x="30" y="32"/>
                      <a:pt x="30" y="32"/>
                    </a:cubicBezTo>
                    <a:cubicBezTo>
                      <a:pt x="31" y="32"/>
                      <a:pt x="31" y="32"/>
                      <a:pt x="31" y="32"/>
                    </a:cubicBezTo>
                    <a:cubicBezTo>
                      <a:pt x="31" y="32"/>
                      <a:pt x="31" y="32"/>
                      <a:pt x="31" y="32"/>
                    </a:cubicBezTo>
                    <a:cubicBezTo>
                      <a:pt x="31" y="32"/>
                      <a:pt x="31" y="32"/>
                      <a:pt x="31" y="32"/>
                    </a:cubicBezTo>
                    <a:cubicBezTo>
                      <a:pt x="30" y="32"/>
                      <a:pt x="30" y="32"/>
                      <a:pt x="29" y="33"/>
                    </a:cubicBezTo>
                    <a:cubicBezTo>
                      <a:pt x="30" y="32"/>
                      <a:pt x="30" y="32"/>
                      <a:pt x="31" y="32"/>
                    </a:cubicBezTo>
                    <a:cubicBezTo>
                      <a:pt x="30" y="31"/>
                      <a:pt x="30" y="32"/>
                      <a:pt x="29" y="32"/>
                    </a:cubicBezTo>
                    <a:cubicBezTo>
                      <a:pt x="29" y="32"/>
                      <a:pt x="30" y="31"/>
                      <a:pt x="30" y="31"/>
                    </a:cubicBezTo>
                    <a:cubicBezTo>
                      <a:pt x="30" y="31"/>
                      <a:pt x="30" y="31"/>
                      <a:pt x="30" y="31"/>
                    </a:cubicBezTo>
                    <a:close/>
                    <a:moveTo>
                      <a:pt x="48" y="35"/>
                    </a:moveTo>
                    <a:cubicBezTo>
                      <a:pt x="48" y="35"/>
                      <a:pt x="47" y="35"/>
                      <a:pt x="47" y="35"/>
                    </a:cubicBezTo>
                    <a:cubicBezTo>
                      <a:pt x="47" y="35"/>
                      <a:pt x="47" y="36"/>
                      <a:pt x="47" y="36"/>
                    </a:cubicBezTo>
                    <a:cubicBezTo>
                      <a:pt x="47" y="36"/>
                      <a:pt x="47" y="36"/>
                      <a:pt x="47" y="36"/>
                    </a:cubicBezTo>
                    <a:cubicBezTo>
                      <a:pt x="47" y="36"/>
                      <a:pt x="48" y="36"/>
                      <a:pt x="48" y="35"/>
                    </a:cubicBezTo>
                    <a:cubicBezTo>
                      <a:pt x="48" y="35"/>
                      <a:pt x="48" y="35"/>
                      <a:pt x="48" y="35"/>
                    </a:cubicBezTo>
                    <a:close/>
                    <a:moveTo>
                      <a:pt x="29" y="31"/>
                    </a:moveTo>
                    <a:cubicBezTo>
                      <a:pt x="29" y="31"/>
                      <a:pt x="29" y="31"/>
                      <a:pt x="29" y="31"/>
                    </a:cubicBezTo>
                    <a:cubicBezTo>
                      <a:pt x="29" y="31"/>
                      <a:pt x="29" y="31"/>
                      <a:pt x="28" y="31"/>
                    </a:cubicBezTo>
                    <a:cubicBezTo>
                      <a:pt x="28" y="31"/>
                      <a:pt x="29" y="31"/>
                      <a:pt x="29" y="31"/>
                    </a:cubicBezTo>
                    <a:cubicBezTo>
                      <a:pt x="29" y="31"/>
                      <a:pt x="29" y="31"/>
                      <a:pt x="29" y="31"/>
                    </a:cubicBezTo>
                    <a:close/>
                    <a:moveTo>
                      <a:pt x="20" y="29"/>
                    </a:moveTo>
                    <a:cubicBezTo>
                      <a:pt x="20" y="29"/>
                      <a:pt x="20" y="29"/>
                      <a:pt x="20" y="29"/>
                    </a:cubicBezTo>
                    <a:cubicBezTo>
                      <a:pt x="21" y="29"/>
                      <a:pt x="21" y="30"/>
                      <a:pt x="21" y="30"/>
                    </a:cubicBezTo>
                    <a:cubicBezTo>
                      <a:pt x="21" y="30"/>
                      <a:pt x="21" y="30"/>
                      <a:pt x="20" y="29"/>
                    </a:cubicBezTo>
                    <a:cubicBezTo>
                      <a:pt x="20" y="29"/>
                      <a:pt x="20" y="29"/>
                      <a:pt x="20" y="29"/>
                    </a:cubicBezTo>
                    <a:close/>
                    <a:moveTo>
                      <a:pt x="60" y="38"/>
                    </a:moveTo>
                    <a:cubicBezTo>
                      <a:pt x="60" y="38"/>
                      <a:pt x="61" y="38"/>
                      <a:pt x="61" y="38"/>
                    </a:cubicBezTo>
                    <a:cubicBezTo>
                      <a:pt x="60" y="38"/>
                      <a:pt x="60" y="38"/>
                      <a:pt x="59" y="39"/>
                    </a:cubicBezTo>
                    <a:cubicBezTo>
                      <a:pt x="59" y="39"/>
                      <a:pt x="59" y="39"/>
                      <a:pt x="60" y="39"/>
                    </a:cubicBezTo>
                    <a:cubicBezTo>
                      <a:pt x="59" y="39"/>
                      <a:pt x="59" y="39"/>
                      <a:pt x="59" y="39"/>
                    </a:cubicBezTo>
                    <a:cubicBezTo>
                      <a:pt x="60" y="39"/>
                      <a:pt x="60" y="39"/>
                      <a:pt x="60" y="38"/>
                    </a:cubicBezTo>
                    <a:cubicBezTo>
                      <a:pt x="60" y="38"/>
                      <a:pt x="60" y="38"/>
                      <a:pt x="60" y="38"/>
                    </a:cubicBezTo>
                    <a:close/>
                    <a:moveTo>
                      <a:pt x="50" y="36"/>
                    </a:moveTo>
                    <a:cubicBezTo>
                      <a:pt x="50" y="36"/>
                      <a:pt x="50" y="36"/>
                      <a:pt x="50" y="36"/>
                    </a:cubicBezTo>
                    <a:cubicBezTo>
                      <a:pt x="50" y="37"/>
                      <a:pt x="50" y="37"/>
                      <a:pt x="51" y="37"/>
                    </a:cubicBezTo>
                    <a:cubicBezTo>
                      <a:pt x="51" y="37"/>
                      <a:pt x="51" y="37"/>
                      <a:pt x="51" y="37"/>
                    </a:cubicBezTo>
                    <a:cubicBezTo>
                      <a:pt x="51" y="37"/>
                      <a:pt x="51" y="37"/>
                      <a:pt x="51" y="37"/>
                    </a:cubicBezTo>
                    <a:cubicBezTo>
                      <a:pt x="50" y="37"/>
                      <a:pt x="50" y="37"/>
                      <a:pt x="50" y="36"/>
                    </a:cubicBezTo>
                    <a:cubicBezTo>
                      <a:pt x="50" y="36"/>
                      <a:pt x="50" y="37"/>
                      <a:pt x="50" y="37"/>
                    </a:cubicBezTo>
                    <a:cubicBezTo>
                      <a:pt x="50" y="37"/>
                      <a:pt x="50" y="37"/>
                      <a:pt x="50" y="37"/>
                    </a:cubicBezTo>
                    <a:cubicBezTo>
                      <a:pt x="50" y="37"/>
                      <a:pt x="50" y="37"/>
                      <a:pt x="50" y="36"/>
                    </a:cubicBezTo>
                    <a:cubicBezTo>
                      <a:pt x="50" y="36"/>
                      <a:pt x="50" y="36"/>
                      <a:pt x="50" y="36"/>
                    </a:cubicBezTo>
                    <a:close/>
                    <a:moveTo>
                      <a:pt x="47" y="36"/>
                    </a:moveTo>
                    <a:cubicBezTo>
                      <a:pt x="47" y="36"/>
                      <a:pt x="47" y="36"/>
                      <a:pt x="47" y="36"/>
                    </a:cubicBezTo>
                    <a:cubicBezTo>
                      <a:pt x="47" y="36"/>
                      <a:pt x="47" y="36"/>
                      <a:pt x="47" y="36"/>
                    </a:cubicBezTo>
                    <a:cubicBezTo>
                      <a:pt x="47" y="36"/>
                      <a:pt x="47" y="36"/>
                      <a:pt x="47" y="36"/>
                    </a:cubicBezTo>
                    <a:cubicBezTo>
                      <a:pt x="47" y="36"/>
                      <a:pt x="47" y="36"/>
                      <a:pt x="47" y="36"/>
                    </a:cubicBezTo>
                    <a:cubicBezTo>
                      <a:pt x="47" y="36"/>
                      <a:pt x="47" y="36"/>
                      <a:pt x="47" y="36"/>
                    </a:cubicBezTo>
                    <a:close/>
                    <a:moveTo>
                      <a:pt x="20" y="30"/>
                    </a:moveTo>
                    <a:cubicBezTo>
                      <a:pt x="20" y="30"/>
                      <a:pt x="20" y="30"/>
                      <a:pt x="20" y="30"/>
                    </a:cubicBezTo>
                    <a:cubicBezTo>
                      <a:pt x="20" y="30"/>
                      <a:pt x="20" y="30"/>
                      <a:pt x="20" y="30"/>
                    </a:cubicBezTo>
                    <a:cubicBezTo>
                      <a:pt x="20" y="30"/>
                      <a:pt x="20" y="30"/>
                      <a:pt x="20" y="30"/>
                    </a:cubicBezTo>
                    <a:close/>
                    <a:moveTo>
                      <a:pt x="22" y="31"/>
                    </a:moveTo>
                    <a:cubicBezTo>
                      <a:pt x="22" y="31"/>
                      <a:pt x="22" y="31"/>
                      <a:pt x="22" y="31"/>
                    </a:cubicBezTo>
                    <a:cubicBezTo>
                      <a:pt x="22" y="30"/>
                      <a:pt x="22" y="30"/>
                      <a:pt x="22" y="31"/>
                    </a:cubicBezTo>
                    <a:cubicBezTo>
                      <a:pt x="22" y="31"/>
                      <a:pt x="22" y="31"/>
                      <a:pt x="22" y="31"/>
                    </a:cubicBezTo>
                    <a:close/>
                    <a:moveTo>
                      <a:pt x="49" y="36"/>
                    </a:moveTo>
                    <a:cubicBezTo>
                      <a:pt x="49" y="36"/>
                      <a:pt x="50" y="36"/>
                      <a:pt x="50" y="37"/>
                    </a:cubicBezTo>
                    <a:cubicBezTo>
                      <a:pt x="50" y="38"/>
                      <a:pt x="50" y="38"/>
                      <a:pt x="49" y="38"/>
                    </a:cubicBezTo>
                    <a:cubicBezTo>
                      <a:pt x="49" y="38"/>
                      <a:pt x="50" y="37"/>
                      <a:pt x="50" y="37"/>
                    </a:cubicBezTo>
                    <a:cubicBezTo>
                      <a:pt x="49" y="37"/>
                      <a:pt x="49" y="38"/>
                      <a:pt x="48" y="38"/>
                    </a:cubicBezTo>
                    <a:cubicBezTo>
                      <a:pt x="48" y="38"/>
                      <a:pt x="49" y="37"/>
                      <a:pt x="49" y="36"/>
                    </a:cubicBezTo>
                    <a:cubicBezTo>
                      <a:pt x="49" y="36"/>
                      <a:pt x="49" y="37"/>
                      <a:pt x="49" y="37"/>
                    </a:cubicBezTo>
                    <a:cubicBezTo>
                      <a:pt x="49" y="37"/>
                      <a:pt x="49" y="36"/>
                      <a:pt x="49" y="36"/>
                    </a:cubicBezTo>
                    <a:cubicBezTo>
                      <a:pt x="49" y="36"/>
                      <a:pt x="49" y="36"/>
                      <a:pt x="49" y="36"/>
                    </a:cubicBezTo>
                    <a:close/>
                    <a:moveTo>
                      <a:pt x="21" y="30"/>
                    </a:moveTo>
                    <a:cubicBezTo>
                      <a:pt x="21" y="30"/>
                      <a:pt x="21" y="30"/>
                      <a:pt x="21" y="30"/>
                    </a:cubicBezTo>
                    <a:cubicBezTo>
                      <a:pt x="21" y="30"/>
                      <a:pt x="21" y="30"/>
                      <a:pt x="21" y="31"/>
                    </a:cubicBezTo>
                    <a:cubicBezTo>
                      <a:pt x="21" y="30"/>
                      <a:pt x="21" y="30"/>
                      <a:pt x="21" y="30"/>
                    </a:cubicBezTo>
                    <a:cubicBezTo>
                      <a:pt x="21" y="30"/>
                      <a:pt x="21" y="30"/>
                      <a:pt x="21" y="30"/>
                    </a:cubicBezTo>
                    <a:close/>
                    <a:moveTo>
                      <a:pt x="65" y="39"/>
                    </a:moveTo>
                    <a:cubicBezTo>
                      <a:pt x="65" y="39"/>
                      <a:pt x="66" y="38"/>
                      <a:pt x="66" y="38"/>
                    </a:cubicBezTo>
                    <a:cubicBezTo>
                      <a:pt x="65" y="38"/>
                      <a:pt x="64" y="39"/>
                      <a:pt x="63" y="40"/>
                    </a:cubicBezTo>
                    <a:cubicBezTo>
                      <a:pt x="63" y="39"/>
                      <a:pt x="64" y="39"/>
                      <a:pt x="65" y="39"/>
                    </a:cubicBezTo>
                    <a:cubicBezTo>
                      <a:pt x="65" y="39"/>
                      <a:pt x="65" y="39"/>
                      <a:pt x="65" y="39"/>
                    </a:cubicBezTo>
                    <a:close/>
                    <a:moveTo>
                      <a:pt x="60" y="39"/>
                    </a:moveTo>
                    <a:cubicBezTo>
                      <a:pt x="59" y="39"/>
                      <a:pt x="59" y="39"/>
                      <a:pt x="59" y="39"/>
                    </a:cubicBezTo>
                    <a:cubicBezTo>
                      <a:pt x="59" y="39"/>
                      <a:pt x="59" y="39"/>
                      <a:pt x="59" y="39"/>
                    </a:cubicBezTo>
                    <a:cubicBezTo>
                      <a:pt x="59" y="39"/>
                      <a:pt x="59" y="39"/>
                      <a:pt x="60" y="39"/>
                    </a:cubicBezTo>
                    <a:cubicBezTo>
                      <a:pt x="60" y="39"/>
                      <a:pt x="60" y="39"/>
                      <a:pt x="60" y="39"/>
                    </a:cubicBezTo>
                    <a:close/>
                    <a:moveTo>
                      <a:pt x="27" y="32"/>
                    </a:moveTo>
                    <a:cubicBezTo>
                      <a:pt x="27" y="32"/>
                      <a:pt x="27" y="32"/>
                      <a:pt x="27" y="32"/>
                    </a:cubicBezTo>
                    <a:cubicBezTo>
                      <a:pt x="27" y="32"/>
                      <a:pt x="27" y="32"/>
                      <a:pt x="27" y="32"/>
                    </a:cubicBezTo>
                    <a:cubicBezTo>
                      <a:pt x="27" y="32"/>
                      <a:pt x="27" y="32"/>
                      <a:pt x="27" y="32"/>
                    </a:cubicBezTo>
                    <a:cubicBezTo>
                      <a:pt x="27" y="32"/>
                      <a:pt x="27" y="32"/>
                      <a:pt x="27" y="32"/>
                    </a:cubicBezTo>
                    <a:close/>
                    <a:moveTo>
                      <a:pt x="55" y="38"/>
                    </a:moveTo>
                    <a:cubicBezTo>
                      <a:pt x="55" y="38"/>
                      <a:pt x="55" y="38"/>
                      <a:pt x="55" y="37"/>
                    </a:cubicBezTo>
                    <a:cubicBezTo>
                      <a:pt x="55" y="38"/>
                      <a:pt x="55" y="38"/>
                      <a:pt x="55" y="38"/>
                    </a:cubicBezTo>
                    <a:cubicBezTo>
                      <a:pt x="55" y="38"/>
                      <a:pt x="55" y="38"/>
                      <a:pt x="55" y="38"/>
                    </a:cubicBezTo>
                    <a:cubicBezTo>
                      <a:pt x="55" y="38"/>
                      <a:pt x="55" y="38"/>
                      <a:pt x="55" y="38"/>
                    </a:cubicBezTo>
                    <a:close/>
                    <a:moveTo>
                      <a:pt x="20" y="30"/>
                    </a:moveTo>
                    <a:cubicBezTo>
                      <a:pt x="20" y="30"/>
                      <a:pt x="20" y="30"/>
                      <a:pt x="19" y="30"/>
                    </a:cubicBezTo>
                    <a:cubicBezTo>
                      <a:pt x="19" y="30"/>
                      <a:pt x="20" y="30"/>
                      <a:pt x="20" y="30"/>
                    </a:cubicBezTo>
                    <a:cubicBezTo>
                      <a:pt x="20" y="30"/>
                      <a:pt x="20" y="30"/>
                      <a:pt x="20" y="30"/>
                    </a:cubicBezTo>
                    <a:close/>
                    <a:moveTo>
                      <a:pt x="21" y="30"/>
                    </a:moveTo>
                    <a:cubicBezTo>
                      <a:pt x="21" y="30"/>
                      <a:pt x="20" y="30"/>
                      <a:pt x="20" y="30"/>
                    </a:cubicBezTo>
                    <a:cubicBezTo>
                      <a:pt x="20" y="30"/>
                      <a:pt x="20" y="30"/>
                      <a:pt x="20" y="30"/>
                    </a:cubicBezTo>
                    <a:cubicBezTo>
                      <a:pt x="20" y="30"/>
                      <a:pt x="20" y="30"/>
                      <a:pt x="20" y="31"/>
                    </a:cubicBezTo>
                    <a:cubicBezTo>
                      <a:pt x="20" y="30"/>
                      <a:pt x="20" y="30"/>
                      <a:pt x="21" y="30"/>
                    </a:cubicBezTo>
                    <a:cubicBezTo>
                      <a:pt x="21" y="30"/>
                      <a:pt x="21" y="30"/>
                      <a:pt x="21" y="30"/>
                    </a:cubicBezTo>
                    <a:close/>
                    <a:moveTo>
                      <a:pt x="21" y="31"/>
                    </a:moveTo>
                    <a:cubicBezTo>
                      <a:pt x="22" y="31"/>
                      <a:pt x="22" y="31"/>
                      <a:pt x="22" y="31"/>
                    </a:cubicBezTo>
                    <a:cubicBezTo>
                      <a:pt x="22" y="31"/>
                      <a:pt x="22" y="31"/>
                      <a:pt x="22" y="31"/>
                    </a:cubicBezTo>
                    <a:cubicBezTo>
                      <a:pt x="22" y="31"/>
                      <a:pt x="22" y="31"/>
                      <a:pt x="21" y="31"/>
                    </a:cubicBezTo>
                    <a:cubicBezTo>
                      <a:pt x="21" y="31"/>
                      <a:pt x="21" y="31"/>
                      <a:pt x="21" y="31"/>
                    </a:cubicBezTo>
                    <a:close/>
                    <a:moveTo>
                      <a:pt x="56" y="38"/>
                    </a:moveTo>
                    <a:cubicBezTo>
                      <a:pt x="56" y="38"/>
                      <a:pt x="56" y="38"/>
                      <a:pt x="56" y="38"/>
                    </a:cubicBezTo>
                    <a:cubicBezTo>
                      <a:pt x="56" y="38"/>
                      <a:pt x="56" y="38"/>
                      <a:pt x="56" y="38"/>
                    </a:cubicBezTo>
                    <a:cubicBezTo>
                      <a:pt x="56" y="38"/>
                      <a:pt x="56" y="38"/>
                      <a:pt x="56" y="38"/>
                    </a:cubicBezTo>
                    <a:cubicBezTo>
                      <a:pt x="56" y="38"/>
                      <a:pt x="56" y="38"/>
                      <a:pt x="56" y="38"/>
                    </a:cubicBezTo>
                    <a:close/>
                    <a:moveTo>
                      <a:pt x="20" y="31"/>
                    </a:moveTo>
                    <a:cubicBezTo>
                      <a:pt x="21" y="31"/>
                      <a:pt x="21" y="31"/>
                      <a:pt x="21" y="30"/>
                    </a:cubicBezTo>
                    <a:cubicBezTo>
                      <a:pt x="21" y="31"/>
                      <a:pt x="21" y="31"/>
                      <a:pt x="21" y="31"/>
                    </a:cubicBezTo>
                    <a:cubicBezTo>
                      <a:pt x="21" y="31"/>
                      <a:pt x="21" y="31"/>
                      <a:pt x="20" y="31"/>
                    </a:cubicBezTo>
                    <a:cubicBezTo>
                      <a:pt x="20" y="31"/>
                      <a:pt x="20" y="31"/>
                      <a:pt x="20" y="31"/>
                    </a:cubicBezTo>
                    <a:close/>
                    <a:moveTo>
                      <a:pt x="43" y="34"/>
                    </a:moveTo>
                    <a:cubicBezTo>
                      <a:pt x="44" y="35"/>
                      <a:pt x="45" y="35"/>
                      <a:pt x="45" y="36"/>
                    </a:cubicBezTo>
                    <a:cubicBezTo>
                      <a:pt x="44" y="36"/>
                      <a:pt x="44" y="35"/>
                      <a:pt x="43" y="34"/>
                    </a:cubicBezTo>
                    <a:cubicBezTo>
                      <a:pt x="43" y="34"/>
                      <a:pt x="43" y="34"/>
                      <a:pt x="43" y="34"/>
                    </a:cubicBezTo>
                    <a:close/>
                    <a:moveTo>
                      <a:pt x="22" y="31"/>
                    </a:moveTo>
                    <a:cubicBezTo>
                      <a:pt x="22" y="31"/>
                      <a:pt x="22" y="31"/>
                      <a:pt x="22" y="31"/>
                    </a:cubicBezTo>
                    <a:cubicBezTo>
                      <a:pt x="22" y="31"/>
                      <a:pt x="22" y="31"/>
                      <a:pt x="22" y="31"/>
                    </a:cubicBezTo>
                    <a:cubicBezTo>
                      <a:pt x="22" y="31"/>
                      <a:pt x="22" y="31"/>
                      <a:pt x="22" y="31"/>
                    </a:cubicBezTo>
                    <a:cubicBezTo>
                      <a:pt x="22" y="31"/>
                      <a:pt x="22" y="31"/>
                      <a:pt x="22" y="31"/>
                    </a:cubicBezTo>
                    <a:cubicBezTo>
                      <a:pt x="22" y="31"/>
                      <a:pt x="22" y="31"/>
                      <a:pt x="22" y="31"/>
                    </a:cubicBezTo>
                    <a:cubicBezTo>
                      <a:pt x="22" y="31"/>
                      <a:pt x="22" y="32"/>
                      <a:pt x="22" y="32"/>
                    </a:cubicBezTo>
                    <a:cubicBezTo>
                      <a:pt x="22" y="32"/>
                      <a:pt x="22" y="32"/>
                      <a:pt x="22" y="32"/>
                    </a:cubicBezTo>
                    <a:cubicBezTo>
                      <a:pt x="22" y="31"/>
                      <a:pt x="22" y="31"/>
                      <a:pt x="22" y="31"/>
                    </a:cubicBezTo>
                    <a:cubicBezTo>
                      <a:pt x="22" y="31"/>
                      <a:pt x="22" y="31"/>
                      <a:pt x="22" y="31"/>
                    </a:cubicBezTo>
                    <a:close/>
                    <a:moveTo>
                      <a:pt x="58" y="39"/>
                    </a:moveTo>
                    <a:cubicBezTo>
                      <a:pt x="59" y="39"/>
                      <a:pt x="59" y="39"/>
                      <a:pt x="59" y="39"/>
                    </a:cubicBezTo>
                    <a:cubicBezTo>
                      <a:pt x="59" y="39"/>
                      <a:pt x="59" y="39"/>
                      <a:pt x="59" y="40"/>
                    </a:cubicBezTo>
                    <a:cubicBezTo>
                      <a:pt x="59" y="39"/>
                      <a:pt x="59" y="39"/>
                      <a:pt x="58" y="39"/>
                    </a:cubicBezTo>
                    <a:cubicBezTo>
                      <a:pt x="58" y="39"/>
                      <a:pt x="58" y="39"/>
                      <a:pt x="58" y="39"/>
                    </a:cubicBezTo>
                    <a:close/>
                    <a:moveTo>
                      <a:pt x="65" y="41"/>
                    </a:moveTo>
                    <a:cubicBezTo>
                      <a:pt x="65" y="41"/>
                      <a:pt x="65" y="41"/>
                      <a:pt x="65" y="41"/>
                    </a:cubicBezTo>
                    <a:cubicBezTo>
                      <a:pt x="65" y="41"/>
                      <a:pt x="65" y="41"/>
                      <a:pt x="64" y="41"/>
                    </a:cubicBezTo>
                    <a:cubicBezTo>
                      <a:pt x="64" y="41"/>
                      <a:pt x="64" y="41"/>
                      <a:pt x="64" y="41"/>
                    </a:cubicBezTo>
                    <a:cubicBezTo>
                      <a:pt x="64" y="41"/>
                      <a:pt x="64" y="41"/>
                      <a:pt x="65" y="41"/>
                    </a:cubicBezTo>
                    <a:cubicBezTo>
                      <a:pt x="65" y="41"/>
                      <a:pt x="65" y="41"/>
                      <a:pt x="65" y="41"/>
                    </a:cubicBezTo>
                    <a:close/>
                    <a:moveTo>
                      <a:pt x="23" y="31"/>
                    </a:moveTo>
                    <a:cubicBezTo>
                      <a:pt x="22" y="31"/>
                      <a:pt x="22" y="31"/>
                      <a:pt x="22" y="31"/>
                    </a:cubicBezTo>
                    <a:cubicBezTo>
                      <a:pt x="22" y="31"/>
                      <a:pt x="22" y="31"/>
                      <a:pt x="22" y="31"/>
                    </a:cubicBezTo>
                    <a:cubicBezTo>
                      <a:pt x="22" y="31"/>
                      <a:pt x="22" y="31"/>
                      <a:pt x="23" y="31"/>
                    </a:cubicBezTo>
                    <a:cubicBezTo>
                      <a:pt x="23" y="31"/>
                      <a:pt x="23" y="31"/>
                      <a:pt x="23" y="31"/>
                    </a:cubicBezTo>
                    <a:close/>
                    <a:moveTo>
                      <a:pt x="51" y="38"/>
                    </a:moveTo>
                    <a:cubicBezTo>
                      <a:pt x="51" y="38"/>
                      <a:pt x="51" y="38"/>
                      <a:pt x="51" y="38"/>
                    </a:cubicBezTo>
                    <a:cubicBezTo>
                      <a:pt x="50" y="38"/>
                      <a:pt x="50" y="38"/>
                      <a:pt x="50" y="38"/>
                    </a:cubicBezTo>
                    <a:cubicBezTo>
                      <a:pt x="50" y="38"/>
                      <a:pt x="50" y="38"/>
                      <a:pt x="51" y="38"/>
                    </a:cubicBezTo>
                    <a:cubicBezTo>
                      <a:pt x="51" y="38"/>
                      <a:pt x="51" y="38"/>
                      <a:pt x="51" y="38"/>
                    </a:cubicBezTo>
                    <a:close/>
                    <a:moveTo>
                      <a:pt x="61" y="40"/>
                    </a:moveTo>
                    <a:cubicBezTo>
                      <a:pt x="61" y="40"/>
                      <a:pt x="61" y="40"/>
                      <a:pt x="61" y="40"/>
                    </a:cubicBezTo>
                    <a:cubicBezTo>
                      <a:pt x="61" y="40"/>
                      <a:pt x="61" y="40"/>
                      <a:pt x="61" y="40"/>
                    </a:cubicBezTo>
                    <a:cubicBezTo>
                      <a:pt x="61" y="40"/>
                      <a:pt x="61" y="40"/>
                      <a:pt x="61" y="40"/>
                    </a:cubicBezTo>
                    <a:cubicBezTo>
                      <a:pt x="61" y="40"/>
                      <a:pt x="61" y="40"/>
                      <a:pt x="61" y="40"/>
                    </a:cubicBezTo>
                    <a:cubicBezTo>
                      <a:pt x="61" y="41"/>
                      <a:pt x="61" y="41"/>
                      <a:pt x="61" y="41"/>
                    </a:cubicBezTo>
                    <a:cubicBezTo>
                      <a:pt x="61" y="41"/>
                      <a:pt x="61" y="41"/>
                      <a:pt x="60" y="40"/>
                    </a:cubicBezTo>
                    <a:cubicBezTo>
                      <a:pt x="61" y="40"/>
                      <a:pt x="61" y="40"/>
                      <a:pt x="61" y="40"/>
                    </a:cubicBezTo>
                    <a:cubicBezTo>
                      <a:pt x="61" y="40"/>
                      <a:pt x="61" y="40"/>
                      <a:pt x="61" y="40"/>
                    </a:cubicBezTo>
                    <a:close/>
                    <a:moveTo>
                      <a:pt x="62" y="40"/>
                    </a:moveTo>
                    <a:cubicBezTo>
                      <a:pt x="62" y="40"/>
                      <a:pt x="61" y="40"/>
                      <a:pt x="61" y="40"/>
                    </a:cubicBezTo>
                    <a:cubicBezTo>
                      <a:pt x="61" y="40"/>
                      <a:pt x="61" y="40"/>
                      <a:pt x="61" y="40"/>
                    </a:cubicBezTo>
                    <a:cubicBezTo>
                      <a:pt x="62" y="40"/>
                      <a:pt x="62" y="40"/>
                      <a:pt x="62" y="40"/>
                    </a:cubicBezTo>
                    <a:cubicBezTo>
                      <a:pt x="62" y="40"/>
                      <a:pt x="62" y="40"/>
                      <a:pt x="62" y="40"/>
                    </a:cubicBezTo>
                    <a:cubicBezTo>
                      <a:pt x="62" y="40"/>
                      <a:pt x="62" y="40"/>
                      <a:pt x="62" y="40"/>
                    </a:cubicBezTo>
                    <a:close/>
                    <a:moveTo>
                      <a:pt x="22" y="32"/>
                    </a:moveTo>
                    <a:cubicBezTo>
                      <a:pt x="22" y="32"/>
                      <a:pt x="22" y="32"/>
                      <a:pt x="23" y="32"/>
                    </a:cubicBezTo>
                    <a:cubicBezTo>
                      <a:pt x="23" y="32"/>
                      <a:pt x="23" y="32"/>
                      <a:pt x="23" y="32"/>
                    </a:cubicBezTo>
                    <a:cubicBezTo>
                      <a:pt x="23" y="32"/>
                      <a:pt x="23" y="32"/>
                      <a:pt x="23" y="32"/>
                    </a:cubicBezTo>
                    <a:cubicBezTo>
                      <a:pt x="23" y="32"/>
                      <a:pt x="23" y="32"/>
                      <a:pt x="22" y="32"/>
                    </a:cubicBezTo>
                    <a:cubicBezTo>
                      <a:pt x="22" y="32"/>
                      <a:pt x="22" y="32"/>
                      <a:pt x="22" y="32"/>
                    </a:cubicBezTo>
                    <a:close/>
                    <a:moveTo>
                      <a:pt x="60" y="40"/>
                    </a:moveTo>
                    <a:cubicBezTo>
                      <a:pt x="60" y="40"/>
                      <a:pt x="60" y="40"/>
                      <a:pt x="60" y="40"/>
                    </a:cubicBezTo>
                    <a:cubicBezTo>
                      <a:pt x="60" y="40"/>
                      <a:pt x="60" y="40"/>
                      <a:pt x="60" y="40"/>
                    </a:cubicBezTo>
                    <a:cubicBezTo>
                      <a:pt x="60" y="40"/>
                      <a:pt x="60" y="40"/>
                      <a:pt x="60" y="40"/>
                    </a:cubicBezTo>
                    <a:cubicBezTo>
                      <a:pt x="60" y="40"/>
                      <a:pt x="60" y="40"/>
                      <a:pt x="60" y="40"/>
                    </a:cubicBezTo>
                    <a:close/>
                    <a:moveTo>
                      <a:pt x="31" y="34"/>
                    </a:moveTo>
                    <a:cubicBezTo>
                      <a:pt x="31" y="34"/>
                      <a:pt x="32" y="34"/>
                      <a:pt x="32" y="34"/>
                    </a:cubicBezTo>
                    <a:cubicBezTo>
                      <a:pt x="32" y="34"/>
                      <a:pt x="32" y="34"/>
                      <a:pt x="32" y="34"/>
                    </a:cubicBezTo>
                    <a:cubicBezTo>
                      <a:pt x="32" y="34"/>
                      <a:pt x="32" y="34"/>
                      <a:pt x="32" y="34"/>
                    </a:cubicBezTo>
                    <a:cubicBezTo>
                      <a:pt x="32" y="34"/>
                      <a:pt x="32" y="34"/>
                      <a:pt x="32" y="34"/>
                    </a:cubicBezTo>
                    <a:cubicBezTo>
                      <a:pt x="32" y="34"/>
                      <a:pt x="31" y="34"/>
                      <a:pt x="31" y="34"/>
                    </a:cubicBezTo>
                    <a:cubicBezTo>
                      <a:pt x="31" y="34"/>
                      <a:pt x="31" y="34"/>
                      <a:pt x="31" y="34"/>
                    </a:cubicBezTo>
                    <a:close/>
                    <a:moveTo>
                      <a:pt x="40" y="35"/>
                    </a:moveTo>
                    <a:cubicBezTo>
                      <a:pt x="41" y="35"/>
                      <a:pt x="41" y="36"/>
                      <a:pt x="41" y="36"/>
                    </a:cubicBezTo>
                    <a:cubicBezTo>
                      <a:pt x="41" y="35"/>
                      <a:pt x="40" y="35"/>
                      <a:pt x="39" y="34"/>
                    </a:cubicBezTo>
                    <a:cubicBezTo>
                      <a:pt x="40" y="34"/>
                      <a:pt x="40" y="35"/>
                      <a:pt x="40" y="35"/>
                    </a:cubicBezTo>
                    <a:cubicBezTo>
                      <a:pt x="40" y="35"/>
                      <a:pt x="40" y="35"/>
                      <a:pt x="40" y="35"/>
                    </a:cubicBezTo>
                    <a:close/>
                    <a:moveTo>
                      <a:pt x="64" y="41"/>
                    </a:moveTo>
                    <a:cubicBezTo>
                      <a:pt x="64" y="41"/>
                      <a:pt x="64" y="41"/>
                      <a:pt x="64" y="41"/>
                    </a:cubicBezTo>
                    <a:cubicBezTo>
                      <a:pt x="64" y="42"/>
                      <a:pt x="63" y="42"/>
                      <a:pt x="63" y="42"/>
                    </a:cubicBezTo>
                    <a:cubicBezTo>
                      <a:pt x="63" y="42"/>
                      <a:pt x="63" y="41"/>
                      <a:pt x="63" y="41"/>
                    </a:cubicBezTo>
                    <a:cubicBezTo>
                      <a:pt x="63" y="41"/>
                      <a:pt x="63" y="42"/>
                      <a:pt x="63" y="42"/>
                    </a:cubicBezTo>
                    <a:cubicBezTo>
                      <a:pt x="63" y="41"/>
                      <a:pt x="64" y="41"/>
                      <a:pt x="64" y="41"/>
                    </a:cubicBezTo>
                    <a:cubicBezTo>
                      <a:pt x="64" y="41"/>
                      <a:pt x="64" y="41"/>
                      <a:pt x="64" y="41"/>
                    </a:cubicBezTo>
                    <a:close/>
                    <a:moveTo>
                      <a:pt x="57" y="40"/>
                    </a:moveTo>
                    <a:cubicBezTo>
                      <a:pt x="58" y="40"/>
                      <a:pt x="58" y="40"/>
                      <a:pt x="58" y="40"/>
                    </a:cubicBezTo>
                    <a:cubicBezTo>
                      <a:pt x="58" y="40"/>
                      <a:pt x="57" y="41"/>
                      <a:pt x="57" y="41"/>
                    </a:cubicBezTo>
                    <a:cubicBezTo>
                      <a:pt x="57" y="41"/>
                      <a:pt x="57" y="41"/>
                      <a:pt x="57" y="41"/>
                    </a:cubicBezTo>
                    <a:cubicBezTo>
                      <a:pt x="57" y="40"/>
                      <a:pt x="57" y="40"/>
                      <a:pt x="57" y="40"/>
                    </a:cubicBezTo>
                    <a:cubicBezTo>
                      <a:pt x="57" y="40"/>
                      <a:pt x="57" y="40"/>
                      <a:pt x="57" y="40"/>
                    </a:cubicBezTo>
                    <a:cubicBezTo>
                      <a:pt x="57" y="40"/>
                      <a:pt x="57" y="40"/>
                      <a:pt x="57" y="40"/>
                    </a:cubicBezTo>
                    <a:cubicBezTo>
                      <a:pt x="57" y="40"/>
                      <a:pt x="57" y="40"/>
                      <a:pt x="57" y="40"/>
                    </a:cubicBezTo>
                    <a:close/>
                    <a:moveTo>
                      <a:pt x="50" y="38"/>
                    </a:moveTo>
                    <a:cubicBezTo>
                      <a:pt x="50" y="38"/>
                      <a:pt x="50" y="38"/>
                      <a:pt x="50" y="38"/>
                    </a:cubicBezTo>
                    <a:cubicBezTo>
                      <a:pt x="50" y="38"/>
                      <a:pt x="50" y="38"/>
                      <a:pt x="50" y="38"/>
                    </a:cubicBezTo>
                    <a:cubicBezTo>
                      <a:pt x="50" y="38"/>
                      <a:pt x="50" y="38"/>
                      <a:pt x="50" y="38"/>
                    </a:cubicBezTo>
                    <a:cubicBezTo>
                      <a:pt x="50" y="38"/>
                      <a:pt x="50" y="38"/>
                      <a:pt x="50" y="38"/>
                    </a:cubicBezTo>
                    <a:cubicBezTo>
                      <a:pt x="50" y="38"/>
                      <a:pt x="50" y="38"/>
                      <a:pt x="50" y="38"/>
                    </a:cubicBezTo>
                    <a:close/>
                    <a:moveTo>
                      <a:pt x="62" y="41"/>
                    </a:moveTo>
                    <a:cubicBezTo>
                      <a:pt x="62" y="41"/>
                      <a:pt x="62" y="41"/>
                      <a:pt x="61" y="41"/>
                    </a:cubicBezTo>
                    <a:cubicBezTo>
                      <a:pt x="61" y="41"/>
                      <a:pt x="61" y="41"/>
                      <a:pt x="61" y="41"/>
                    </a:cubicBezTo>
                    <a:cubicBezTo>
                      <a:pt x="61" y="41"/>
                      <a:pt x="61" y="41"/>
                      <a:pt x="62" y="41"/>
                    </a:cubicBezTo>
                    <a:cubicBezTo>
                      <a:pt x="61" y="41"/>
                      <a:pt x="61" y="41"/>
                      <a:pt x="61" y="41"/>
                    </a:cubicBezTo>
                    <a:cubicBezTo>
                      <a:pt x="61" y="41"/>
                      <a:pt x="61" y="41"/>
                      <a:pt x="61" y="41"/>
                    </a:cubicBezTo>
                    <a:cubicBezTo>
                      <a:pt x="61" y="41"/>
                      <a:pt x="61" y="41"/>
                      <a:pt x="61" y="41"/>
                    </a:cubicBezTo>
                    <a:cubicBezTo>
                      <a:pt x="61" y="41"/>
                      <a:pt x="61" y="41"/>
                      <a:pt x="61" y="41"/>
                    </a:cubicBezTo>
                    <a:cubicBezTo>
                      <a:pt x="62" y="41"/>
                      <a:pt x="62" y="41"/>
                      <a:pt x="62" y="41"/>
                    </a:cubicBezTo>
                    <a:cubicBezTo>
                      <a:pt x="62" y="41"/>
                      <a:pt x="62" y="41"/>
                      <a:pt x="62" y="41"/>
                    </a:cubicBezTo>
                    <a:cubicBezTo>
                      <a:pt x="62" y="41"/>
                      <a:pt x="62" y="41"/>
                      <a:pt x="62" y="41"/>
                    </a:cubicBezTo>
                    <a:cubicBezTo>
                      <a:pt x="62" y="41"/>
                      <a:pt x="62" y="41"/>
                      <a:pt x="62" y="41"/>
                    </a:cubicBezTo>
                    <a:cubicBezTo>
                      <a:pt x="62" y="41"/>
                      <a:pt x="62" y="41"/>
                      <a:pt x="62" y="41"/>
                    </a:cubicBezTo>
                    <a:close/>
                    <a:moveTo>
                      <a:pt x="20" y="32"/>
                    </a:moveTo>
                    <a:cubicBezTo>
                      <a:pt x="20" y="31"/>
                      <a:pt x="20" y="31"/>
                      <a:pt x="20" y="31"/>
                    </a:cubicBezTo>
                    <a:cubicBezTo>
                      <a:pt x="19" y="32"/>
                      <a:pt x="19" y="32"/>
                      <a:pt x="18" y="32"/>
                    </a:cubicBezTo>
                    <a:cubicBezTo>
                      <a:pt x="19" y="32"/>
                      <a:pt x="19" y="31"/>
                      <a:pt x="20" y="32"/>
                    </a:cubicBezTo>
                    <a:cubicBezTo>
                      <a:pt x="20" y="32"/>
                      <a:pt x="20" y="32"/>
                      <a:pt x="20" y="32"/>
                    </a:cubicBezTo>
                    <a:close/>
                    <a:moveTo>
                      <a:pt x="38" y="34"/>
                    </a:moveTo>
                    <a:cubicBezTo>
                      <a:pt x="39" y="34"/>
                      <a:pt x="39" y="35"/>
                      <a:pt x="40" y="36"/>
                    </a:cubicBezTo>
                    <a:cubicBezTo>
                      <a:pt x="39" y="35"/>
                      <a:pt x="39" y="34"/>
                      <a:pt x="38" y="34"/>
                    </a:cubicBezTo>
                    <a:cubicBezTo>
                      <a:pt x="38" y="34"/>
                      <a:pt x="38" y="34"/>
                      <a:pt x="38" y="34"/>
                    </a:cubicBezTo>
                    <a:close/>
                    <a:moveTo>
                      <a:pt x="52" y="39"/>
                    </a:moveTo>
                    <a:cubicBezTo>
                      <a:pt x="52" y="39"/>
                      <a:pt x="52" y="39"/>
                      <a:pt x="52" y="39"/>
                    </a:cubicBezTo>
                    <a:cubicBezTo>
                      <a:pt x="52" y="39"/>
                      <a:pt x="52" y="39"/>
                      <a:pt x="52" y="39"/>
                    </a:cubicBezTo>
                    <a:cubicBezTo>
                      <a:pt x="52" y="39"/>
                      <a:pt x="52" y="39"/>
                      <a:pt x="52" y="39"/>
                    </a:cubicBezTo>
                    <a:cubicBezTo>
                      <a:pt x="52" y="39"/>
                      <a:pt x="52" y="39"/>
                      <a:pt x="52" y="39"/>
                    </a:cubicBezTo>
                    <a:close/>
                    <a:moveTo>
                      <a:pt x="63" y="41"/>
                    </a:moveTo>
                    <a:cubicBezTo>
                      <a:pt x="63" y="41"/>
                      <a:pt x="63" y="41"/>
                      <a:pt x="63" y="41"/>
                    </a:cubicBezTo>
                    <a:cubicBezTo>
                      <a:pt x="63" y="41"/>
                      <a:pt x="63" y="42"/>
                      <a:pt x="62" y="42"/>
                    </a:cubicBezTo>
                    <a:cubicBezTo>
                      <a:pt x="62" y="42"/>
                      <a:pt x="63" y="41"/>
                      <a:pt x="63" y="41"/>
                    </a:cubicBezTo>
                    <a:cubicBezTo>
                      <a:pt x="63" y="41"/>
                      <a:pt x="63" y="41"/>
                      <a:pt x="63" y="41"/>
                    </a:cubicBezTo>
                    <a:close/>
                    <a:moveTo>
                      <a:pt x="52" y="39"/>
                    </a:moveTo>
                    <a:cubicBezTo>
                      <a:pt x="52" y="39"/>
                      <a:pt x="52" y="39"/>
                      <a:pt x="52" y="39"/>
                    </a:cubicBezTo>
                    <a:cubicBezTo>
                      <a:pt x="52" y="39"/>
                      <a:pt x="52" y="39"/>
                      <a:pt x="52" y="39"/>
                    </a:cubicBezTo>
                    <a:cubicBezTo>
                      <a:pt x="52" y="39"/>
                      <a:pt x="52" y="39"/>
                      <a:pt x="52" y="39"/>
                    </a:cubicBezTo>
                    <a:cubicBezTo>
                      <a:pt x="52" y="39"/>
                      <a:pt x="52" y="39"/>
                      <a:pt x="52" y="39"/>
                    </a:cubicBezTo>
                    <a:close/>
                    <a:moveTo>
                      <a:pt x="62" y="41"/>
                    </a:moveTo>
                    <a:cubicBezTo>
                      <a:pt x="62" y="41"/>
                      <a:pt x="62" y="41"/>
                      <a:pt x="62" y="41"/>
                    </a:cubicBezTo>
                    <a:cubicBezTo>
                      <a:pt x="62" y="41"/>
                      <a:pt x="62" y="41"/>
                      <a:pt x="62" y="41"/>
                    </a:cubicBezTo>
                    <a:cubicBezTo>
                      <a:pt x="62" y="41"/>
                      <a:pt x="62" y="41"/>
                      <a:pt x="62" y="41"/>
                    </a:cubicBezTo>
                    <a:cubicBezTo>
                      <a:pt x="62" y="41"/>
                      <a:pt x="62" y="41"/>
                      <a:pt x="62" y="41"/>
                    </a:cubicBezTo>
                    <a:close/>
                    <a:moveTo>
                      <a:pt x="62" y="41"/>
                    </a:moveTo>
                    <a:cubicBezTo>
                      <a:pt x="62" y="41"/>
                      <a:pt x="62" y="41"/>
                      <a:pt x="62" y="41"/>
                    </a:cubicBezTo>
                    <a:cubicBezTo>
                      <a:pt x="61" y="42"/>
                      <a:pt x="61" y="42"/>
                      <a:pt x="61" y="42"/>
                    </a:cubicBezTo>
                    <a:cubicBezTo>
                      <a:pt x="61" y="42"/>
                      <a:pt x="61" y="42"/>
                      <a:pt x="62" y="42"/>
                    </a:cubicBezTo>
                    <a:cubicBezTo>
                      <a:pt x="61" y="42"/>
                      <a:pt x="61" y="42"/>
                      <a:pt x="61" y="42"/>
                    </a:cubicBezTo>
                    <a:cubicBezTo>
                      <a:pt x="62" y="42"/>
                      <a:pt x="62" y="42"/>
                      <a:pt x="62" y="41"/>
                    </a:cubicBezTo>
                    <a:cubicBezTo>
                      <a:pt x="62" y="41"/>
                      <a:pt x="62" y="41"/>
                      <a:pt x="62" y="41"/>
                    </a:cubicBezTo>
                    <a:close/>
                    <a:moveTo>
                      <a:pt x="61" y="41"/>
                    </a:moveTo>
                    <a:cubicBezTo>
                      <a:pt x="61" y="41"/>
                      <a:pt x="61" y="41"/>
                      <a:pt x="61" y="41"/>
                    </a:cubicBezTo>
                    <a:cubicBezTo>
                      <a:pt x="61" y="42"/>
                      <a:pt x="61" y="42"/>
                      <a:pt x="61" y="42"/>
                    </a:cubicBezTo>
                    <a:cubicBezTo>
                      <a:pt x="61" y="42"/>
                      <a:pt x="61" y="42"/>
                      <a:pt x="60" y="42"/>
                    </a:cubicBezTo>
                    <a:cubicBezTo>
                      <a:pt x="61" y="42"/>
                      <a:pt x="61" y="41"/>
                      <a:pt x="61" y="41"/>
                    </a:cubicBezTo>
                    <a:cubicBezTo>
                      <a:pt x="61" y="41"/>
                      <a:pt x="61" y="41"/>
                      <a:pt x="61" y="41"/>
                    </a:cubicBezTo>
                    <a:close/>
                    <a:moveTo>
                      <a:pt x="48" y="38"/>
                    </a:moveTo>
                    <a:cubicBezTo>
                      <a:pt x="48" y="38"/>
                      <a:pt x="48" y="38"/>
                      <a:pt x="48" y="38"/>
                    </a:cubicBezTo>
                    <a:cubicBezTo>
                      <a:pt x="47" y="38"/>
                      <a:pt x="47" y="39"/>
                      <a:pt x="47" y="39"/>
                    </a:cubicBezTo>
                    <a:cubicBezTo>
                      <a:pt x="47" y="39"/>
                      <a:pt x="47" y="39"/>
                      <a:pt x="48" y="39"/>
                    </a:cubicBezTo>
                    <a:cubicBezTo>
                      <a:pt x="48" y="39"/>
                      <a:pt x="48" y="39"/>
                      <a:pt x="48" y="38"/>
                    </a:cubicBezTo>
                    <a:cubicBezTo>
                      <a:pt x="48" y="38"/>
                      <a:pt x="48" y="38"/>
                      <a:pt x="48" y="38"/>
                    </a:cubicBezTo>
                    <a:close/>
                    <a:moveTo>
                      <a:pt x="60" y="41"/>
                    </a:moveTo>
                    <a:cubicBezTo>
                      <a:pt x="60" y="41"/>
                      <a:pt x="60" y="41"/>
                      <a:pt x="60" y="41"/>
                    </a:cubicBezTo>
                    <a:cubicBezTo>
                      <a:pt x="60" y="41"/>
                      <a:pt x="60" y="42"/>
                      <a:pt x="60" y="42"/>
                    </a:cubicBezTo>
                    <a:cubicBezTo>
                      <a:pt x="60" y="42"/>
                      <a:pt x="60" y="41"/>
                      <a:pt x="60" y="41"/>
                    </a:cubicBezTo>
                    <a:cubicBezTo>
                      <a:pt x="60" y="41"/>
                      <a:pt x="60" y="41"/>
                      <a:pt x="60" y="41"/>
                    </a:cubicBezTo>
                    <a:cubicBezTo>
                      <a:pt x="60" y="41"/>
                      <a:pt x="60" y="41"/>
                      <a:pt x="60" y="41"/>
                    </a:cubicBezTo>
                    <a:cubicBezTo>
                      <a:pt x="60" y="41"/>
                      <a:pt x="60" y="41"/>
                      <a:pt x="60" y="41"/>
                    </a:cubicBezTo>
                    <a:close/>
                    <a:moveTo>
                      <a:pt x="59" y="41"/>
                    </a:moveTo>
                    <a:cubicBezTo>
                      <a:pt x="59" y="41"/>
                      <a:pt x="59" y="41"/>
                      <a:pt x="59" y="41"/>
                    </a:cubicBezTo>
                    <a:cubicBezTo>
                      <a:pt x="59" y="41"/>
                      <a:pt x="59" y="41"/>
                      <a:pt x="59" y="41"/>
                    </a:cubicBezTo>
                    <a:cubicBezTo>
                      <a:pt x="59" y="41"/>
                      <a:pt x="59" y="41"/>
                      <a:pt x="59" y="41"/>
                    </a:cubicBezTo>
                    <a:cubicBezTo>
                      <a:pt x="59" y="41"/>
                      <a:pt x="59" y="41"/>
                      <a:pt x="59" y="41"/>
                    </a:cubicBezTo>
                    <a:close/>
                    <a:moveTo>
                      <a:pt x="60" y="41"/>
                    </a:moveTo>
                    <a:cubicBezTo>
                      <a:pt x="60" y="41"/>
                      <a:pt x="60" y="41"/>
                      <a:pt x="60" y="41"/>
                    </a:cubicBezTo>
                    <a:cubicBezTo>
                      <a:pt x="59" y="41"/>
                      <a:pt x="59" y="41"/>
                      <a:pt x="59" y="41"/>
                    </a:cubicBezTo>
                    <a:cubicBezTo>
                      <a:pt x="59" y="41"/>
                      <a:pt x="60" y="41"/>
                      <a:pt x="60" y="41"/>
                    </a:cubicBezTo>
                    <a:cubicBezTo>
                      <a:pt x="60" y="41"/>
                      <a:pt x="60" y="41"/>
                      <a:pt x="60" y="41"/>
                    </a:cubicBezTo>
                    <a:cubicBezTo>
                      <a:pt x="60" y="41"/>
                      <a:pt x="60" y="41"/>
                      <a:pt x="60" y="41"/>
                    </a:cubicBezTo>
                    <a:close/>
                    <a:moveTo>
                      <a:pt x="55" y="40"/>
                    </a:moveTo>
                    <a:cubicBezTo>
                      <a:pt x="55" y="40"/>
                      <a:pt x="55" y="40"/>
                      <a:pt x="55" y="40"/>
                    </a:cubicBezTo>
                    <a:cubicBezTo>
                      <a:pt x="55" y="40"/>
                      <a:pt x="55" y="40"/>
                      <a:pt x="55" y="41"/>
                    </a:cubicBezTo>
                    <a:cubicBezTo>
                      <a:pt x="55" y="40"/>
                      <a:pt x="55" y="40"/>
                      <a:pt x="55" y="40"/>
                    </a:cubicBezTo>
                    <a:cubicBezTo>
                      <a:pt x="55" y="40"/>
                      <a:pt x="55" y="40"/>
                      <a:pt x="55" y="40"/>
                    </a:cubicBezTo>
                    <a:close/>
                    <a:moveTo>
                      <a:pt x="57" y="41"/>
                    </a:moveTo>
                    <a:cubicBezTo>
                      <a:pt x="57" y="41"/>
                      <a:pt x="57" y="41"/>
                      <a:pt x="57" y="41"/>
                    </a:cubicBezTo>
                    <a:cubicBezTo>
                      <a:pt x="57" y="41"/>
                      <a:pt x="57" y="41"/>
                      <a:pt x="57" y="41"/>
                    </a:cubicBezTo>
                    <a:cubicBezTo>
                      <a:pt x="57" y="41"/>
                      <a:pt x="57" y="41"/>
                      <a:pt x="57" y="41"/>
                    </a:cubicBezTo>
                    <a:cubicBezTo>
                      <a:pt x="57" y="41"/>
                      <a:pt x="57" y="41"/>
                      <a:pt x="57" y="41"/>
                    </a:cubicBezTo>
                    <a:close/>
                    <a:moveTo>
                      <a:pt x="57" y="41"/>
                    </a:moveTo>
                    <a:cubicBezTo>
                      <a:pt x="57" y="41"/>
                      <a:pt x="57" y="41"/>
                      <a:pt x="57" y="41"/>
                    </a:cubicBezTo>
                    <a:cubicBezTo>
                      <a:pt x="57" y="41"/>
                      <a:pt x="57" y="41"/>
                      <a:pt x="57" y="41"/>
                    </a:cubicBezTo>
                    <a:cubicBezTo>
                      <a:pt x="57" y="41"/>
                      <a:pt x="57" y="41"/>
                      <a:pt x="57" y="42"/>
                    </a:cubicBezTo>
                    <a:cubicBezTo>
                      <a:pt x="57" y="42"/>
                      <a:pt x="57" y="41"/>
                      <a:pt x="57" y="41"/>
                    </a:cubicBezTo>
                    <a:cubicBezTo>
                      <a:pt x="57" y="41"/>
                      <a:pt x="57" y="41"/>
                      <a:pt x="57" y="41"/>
                    </a:cubicBezTo>
                    <a:cubicBezTo>
                      <a:pt x="57" y="41"/>
                      <a:pt x="57" y="41"/>
                      <a:pt x="57" y="41"/>
                    </a:cubicBezTo>
                    <a:close/>
                    <a:moveTo>
                      <a:pt x="54" y="40"/>
                    </a:moveTo>
                    <a:cubicBezTo>
                      <a:pt x="54" y="40"/>
                      <a:pt x="54" y="40"/>
                      <a:pt x="55" y="40"/>
                    </a:cubicBezTo>
                    <a:cubicBezTo>
                      <a:pt x="55" y="40"/>
                      <a:pt x="55" y="41"/>
                      <a:pt x="55" y="41"/>
                    </a:cubicBezTo>
                    <a:cubicBezTo>
                      <a:pt x="55" y="41"/>
                      <a:pt x="55" y="41"/>
                      <a:pt x="55" y="41"/>
                    </a:cubicBezTo>
                    <a:cubicBezTo>
                      <a:pt x="54" y="41"/>
                      <a:pt x="54" y="41"/>
                      <a:pt x="54" y="41"/>
                    </a:cubicBezTo>
                    <a:cubicBezTo>
                      <a:pt x="54" y="41"/>
                      <a:pt x="54" y="41"/>
                      <a:pt x="54" y="40"/>
                    </a:cubicBezTo>
                    <a:cubicBezTo>
                      <a:pt x="54" y="40"/>
                      <a:pt x="54" y="40"/>
                      <a:pt x="54" y="40"/>
                    </a:cubicBezTo>
                    <a:close/>
                    <a:moveTo>
                      <a:pt x="55" y="41"/>
                    </a:moveTo>
                    <a:cubicBezTo>
                      <a:pt x="55" y="41"/>
                      <a:pt x="55" y="41"/>
                      <a:pt x="55" y="41"/>
                    </a:cubicBezTo>
                    <a:cubicBezTo>
                      <a:pt x="55" y="41"/>
                      <a:pt x="55" y="41"/>
                      <a:pt x="55" y="41"/>
                    </a:cubicBezTo>
                    <a:cubicBezTo>
                      <a:pt x="55" y="41"/>
                      <a:pt x="55" y="41"/>
                      <a:pt x="55" y="41"/>
                    </a:cubicBezTo>
                    <a:close/>
                    <a:moveTo>
                      <a:pt x="58" y="41"/>
                    </a:moveTo>
                    <a:cubicBezTo>
                      <a:pt x="57" y="41"/>
                      <a:pt x="57" y="41"/>
                      <a:pt x="57" y="41"/>
                    </a:cubicBezTo>
                    <a:cubicBezTo>
                      <a:pt x="57" y="41"/>
                      <a:pt x="57" y="41"/>
                      <a:pt x="57" y="41"/>
                    </a:cubicBezTo>
                    <a:cubicBezTo>
                      <a:pt x="57" y="41"/>
                      <a:pt x="57" y="41"/>
                      <a:pt x="57" y="41"/>
                    </a:cubicBezTo>
                    <a:cubicBezTo>
                      <a:pt x="57" y="41"/>
                      <a:pt x="57" y="41"/>
                      <a:pt x="57" y="41"/>
                    </a:cubicBezTo>
                    <a:cubicBezTo>
                      <a:pt x="57" y="41"/>
                      <a:pt x="57" y="41"/>
                      <a:pt x="57" y="42"/>
                    </a:cubicBezTo>
                    <a:cubicBezTo>
                      <a:pt x="57" y="41"/>
                      <a:pt x="57" y="41"/>
                      <a:pt x="58" y="41"/>
                    </a:cubicBezTo>
                    <a:cubicBezTo>
                      <a:pt x="58" y="41"/>
                      <a:pt x="58" y="41"/>
                      <a:pt x="58" y="41"/>
                    </a:cubicBezTo>
                    <a:close/>
                    <a:moveTo>
                      <a:pt x="55" y="41"/>
                    </a:moveTo>
                    <a:cubicBezTo>
                      <a:pt x="55" y="41"/>
                      <a:pt x="55" y="41"/>
                      <a:pt x="55" y="41"/>
                    </a:cubicBezTo>
                    <a:cubicBezTo>
                      <a:pt x="55" y="41"/>
                      <a:pt x="55" y="41"/>
                      <a:pt x="55" y="41"/>
                    </a:cubicBezTo>
                    <a:cubicBezTo>
                      <a:pt x="55" y="41"/>
                      <a:pt x="55" y="41"/>
                      <a:pt x="55" y="41"/>
                    </a:cubicBezTo>
                    <a:cubicBezTo>
                      <a:pt x="55" y="41"/>
                      <a:pt x="55" y="41"/>
                      <a:pt x="55" y="41"/>
                    </a:cubicBezTo>
                    <a:close/>
                    <a:moveTo>
                      <a:pt x="58" y="42"/>
                    </a:moveTo>
                    <a:cubicBezTo>
                      <a:pt x="58" y="41"/>
                      <a:pt x="58" y="41"/>
                      <a:pt x="58" y="41"/>
                    </a:cubicBezTo>
                    <a:cubicBezTo>
                      <a:pt x="58" y="42"/>
                      <a:pt x="58" y="42"/>
                      <a:pt x="58" y="42"/>
                    </a:cubicBezTo>
                    <a:cubicBezTo>
                      <a:pt x="58" y="42"/>
                      <a:pt x="58" y="42"/>
                      <a:pt x="58" y="42"/>
                    </a:cubicBezTo>
                    <a:cubicBezTo>
                      <a:pt x="58" y="42"/>
                      <a:pt x="58" y="42"/>
                      <a:pt x="57" y="42"/>
                    </a:cubicBezTo>
                    <a:cubicBezTo>
                      <a:pt x="58" y="42"/>
                      <a:pt x="58" y="42"/>
                      <a:pt x="58" y="42"/>
                    </a:cubicBezTo>
                    <a:cubicBezTo>
                      <a:pt x="58" y="42"/>
                      <a:pt x="58" y="42"/>
                      <a:pt x="58" y="42"/>
                    </a:cubicBezTo>
                    <a:close/>
                    <a:moveTo>
                      <a:pt x="58" y="42"/>
                    </a:moveTo>
                    <a:cubicBezTo>
                      <a:pt x="58" y="42"/>
                      <a:pt x="58" y="42"/>
                      <a:pt x="58" y="42"/>
                    </a:cubicBezTo>
                    <a:cubicBezTo>
                      <a:pt x="58" y="42"/>
                      <a:pt x="58" y="42"/>
                      <a:pt x="58" y="42"/>
                    </a:cubicBezTo>
                    <a:cubicBezTo>
                      <a:pt x="58" y="42"/>
                      <a:pt x="58" y="42"/>
                      <a:pt x="58" y="42"/>
                    </a:cubicBezTo>
                    <a:cubicBezTo>
                      <a:pt x="58" y="42"/>
                      <a:pt x="58" y="42"/>
                      <a:pt x="58" y="42"/>
                    </a:cubicBezTo>
                    <a:close/>
                    <a:moveTo>
                      <a:pt x="56" y="41"/>
                    </a:moveTo>
                    <a:cubicBezTo>
                      <a:pt x="56" y="41"/>
                      <a:pt x="56" y="41"/>
                      <a:pt x="57" y="41"/>
                    </a:cubicBezTo>
                    <a:cubicBezTo>
                      <a:pt x="56" y="41"/>
                      <a:pt x="56" y="41"/>
                      <a:pt x="56" y="41"/>
                    </a:cubicBezTo>
                    <a:cubicBezTo>
                      <a:pt x="56" y="41"/>
                      <a:pt x="56" y="41"/>
                      <a:pt x="56" y="41"/>
                    </a:cubicBezTo>
                    <a:close/>
                    <a:moveTo>
                      <a:pt x="31" y="36"/>
                    </a:moveTo>
                    <a:cubicBezTo>
                      <a:pt x="31" y="36"/>
                      <a:pt x="31" y="35"/>
                      <a:pt x="30" y="35"/>
                    </a:cubicBezTo>
                    <a:cubicBezTo>
                      <a:pt x="31" y="35"/>
                      <a:pt x="31" y="35"/>
                      <a:pt x="31" y="35"/>
                    </a:cubicBezTo>
                    <a:cubicBezTo>
                      <a:pt x="31" y="36"/>
                      <a:pt x="31" y="36"/>
                      <a:pt x="32" y="36"/>
                    </a:cubicBezTo>
                    <a:cubicBezTo>
                      <a:pt x="32" y="36"/>
                      <a:pt x="32" y="36"/>
                      <a:pt x="32" y="36"/>
                    </a:cubicBezTo>
                    <a:cubicBezTo>
                      <a:pt x="32" y="36"/>
                      <a:pt x="32" y="36"/>
                      <a:pt x="31" y="36"/>
                    </a:cubicBezTo>
                    <a:cubicBezTo>
                      <a:pt x="31" y="36"/>
                      <a:pt x="31" y="36"/>
                      <a:pt x="31" y="36"/>
                    </a:cubicBezTo>
                    <a:cubicBezTo>
                      <a:pt x="31" y="36"/>
                      <a:pt x="31" y="36"/>
                      <a:pt x="31" y="36"/>
                    </a:cubicBezTo>
                    <a:close/>
                    <a:moveTo>
                      <a:pt x="48" y="39"/>
                    </a:moveTo>
                    <a:cubicBezTo>
                      <a:pt x="48" y="39"/>
                      <a:pt x="49" y="39"/>
                      <a:pt x="49" y="39"/>
                    </a:cubicBezTo>
                    <a:cubicBezTo>
                      <a:pt x="49" y="39"/>
                      <a:pt x="49" y="39"/>
                      <a:pt x="49" y="39"/>
                    </a:cubicBezTo>
                    <a:cubicBezTo>
                      <a:pt x="49" y="39"/>
                      <a:pt x="48" y="39"/>
                      <a:pt x="48" y="39"/>
                    </a:cubicBezTo>
                    <a:cubicBezTo>
                      <a:pt x="48" y="39"/>
                      <a:pt x="48" y="39"/>
                      <a:pt x="48" y="39"/>
                    </a:cubicBezTo>
                    <a:close/>
                    <a:moveTo>
                      <a:pt x="59" y="42"/>
                    </a:moveTo>
                    <a:cubicBezTo>
                      <a:pt x="59" y="42"/>
                      <a:pt x="59" y="42"/>
                      <a:pt x="58" y="42"/>
                    </a:cubicBezTo>
                    <a:cubicBezTo>
                      <a:pt x="58" y="42"/>
                      <a:pt x="58" y="42"/>
                      <a:pt x="58" y="42"/>
                    </a:cubicBezTo>
                    <a:cubicBezTo>
                      <a:pt x="58" y="42"/>
                      <a:pt x="58" y="42"/>
                      <a:pt x="59" y="42"/>
                    </a:cubicBezTo>
                    <a:cubicBezTo>
                      <a:pt x="59" y="42"/>
                      <a:pt x="59" y="42"/>
                      <a:pt x="59" y="42"/>
                    </a:cubicBezTo>
                    <a:close/>
                    <a:moveTo>
                      <a:pt x="59" y="42"/>
                    </a:moveTo>
                    <a:cubicBezTo>
                      <a:pt x="60" y="42"/>
                      <a:pt x="60" y="42"/>
                      <a:pt x="60" y="42"/>
                    </a:cubicBezTo>
                    <a:cubicBezTo>
                      <a:pt x="60" y="42"/>
                      <a:pt x="59" y="42"/>
                      <a:pt x="59" y="43"/>
                    </a:cubicBezTo>
                    <a:cubicBezTo>
                      <a:pt x="59" y="43"/>
                      <a:pt x="59" y="43"/>
                      <a:pt x="59" y="43"/>
                    </a:cubicBezTo>
                    <a:cubicBezTo>
                      <a:pt x="59" y="42"/>
                      <a:pt x="59" y="42"/>
                      <a:pt x="59" y="42"/>
                    </a:cubicBezTo>
                    <a:cubicBezTo>
                      <a:pt x="59" y="42"/>
                      <a:pt x="59" y="42"/>
                      <a:pt x="59" y="42"/>
                    </a:cubicBezTo>
                    <a:close/>
                    <a:moveTo>
                      <a:pt x="59" y="42"/>
                    </a:moveTo>
                    <a:cubicBezTo>
                      <a:pt x="59" y="42"/>
                      <a:pt x="59" y="42"/>
                      <a:pt x="59" y="42"/>
                    </a:cubicBezTo>
                    <a:cubicBezTo>
                      <a:pt x="59" y="42"/>
                      <a:pt x="58" y="43"/>
                      <a:pt x="58" y="43"/>
                    </a:cubicBezTo>
                    <a:cubicBezTo>
                      <a:pt x="58" y="43"/>
                      <a:pt x="58" y="43"/>
                      <a:pt x="58" y="43"/>
                    </a:cubicBezTo>
                    <a:cubicBezTo>
                      <a:pt x="58" y="43"/>
                      <a:pt x="58" y="43"/>
                      <a:pt x="58" y="43"/>
                    </a:cubicBezTo>
                    <a:cubicBezTo>
                      <a:pt x="59" y="43"/>
                      <a:pt x="59" y="42"/>
                      <a:pt x="59" y="42"/>
                    </a:cubicBezTo>
                    <a:cubicBezTo>
                      <a:pt x="59" y="42"/>
                      <a:pt x="59" y="42"/>
                      <a:pt x="59" y="42"/>
                    </a:cubicBezTo>
                    <a:close/>
                    <a:moveTo>
                      <a:pt x="3" y="30"/>
                    </a:moveTo>
                    <a:cubicBezTo>
                      <a:pt x="5" y="30"/>
                      <a:pt x="6" y="30"/>
                      <a:pt x="7" y="30"/>
                    </a:cubicBezTo>
                    <a:cubicBezTo>
                      <a:pt x="6" y="30"/>
                      <a:pt x="6" y="30"/>
                      <a:pt x="6" y="30"/>
                    </a:cubicBezTo>
                    <a:cubicBezTo>
                      <a:pt x="6" y="30"/>
                      <a:pt x="6" y="30"/>
                      <a:pt x="6" y="30"/>
                    </a:cubicBezTo>
                    <a:cubicBezTo>
                      <a:pt x="5" y="30"/>
                      <a:pt x="4" y="30"/>
                      <a:pt x="3" y="30"/>
                    </a:cubicBezTo>
                    <a:cubicBezTo>
                      <a:pt x="3" y="30"/>
                      <a:pt x="3" y="30"/>
                      <a:pt x="3" y="30"/>
                    </a:cubicBezTo>
                    <a:close/>
                    <a:moveTo>
                      <a:pt x="50" y="40"/>
                    </a:moveTo>
                    <a:cubicBezTo>
                      <a:pt x="50" y="40"/>
                      <a:pt x="50" y="40"/>
                      <a:pt x="50" y="40"/>
                    </a:cubicBezTo>
                    <a:cubicBezTo>
                      <a:pt x="50" y="40"/>
                      <a:pt x="50" y="40"/>
                      <a:pt x="50" y="40"/>
                    </a:cubicBezTo>
                    <a:cubicBezTo>
                      <a:pt x="50" y="40"/>
                      <a:pt x="50" y="40"/>
                      <a:pt x="50" y="40"/>
                    </a:cubicBezTo>
                    <a:cubicBezTo>
                      <a:pt x="50" y="40"/>
                      <a:pt x="50" y="40"/>
                      <a:pt x="50" y="40"/>
                    </a:cubicBezTo>
                    <a:close/>
                    <a:moveTo>
                      <a:pt x="56" y="42"/>
                    </a:moveTo>
                    <a:cubicBezTo>
                      <a:pt x="57" y="42"/>
                      <a:pt x="57" y="42"/>
                      <a:pt x="57" y="42"/>
                    </a:cubicBezTo>
                    <a:cubicBezTo>
                      <a:pt x="57" y="42"/>
                      <a:pt x="57" y="42"/>
                      <a:pt x="57" y="42"/>
                    </a:cubicBezTo>
                    <a:cubicBezTo>
                      <a:pt x="56" y="42"/>
                      <a:pt x="56" y="42"/>
                      <a:pt x="56" y="42"/>
                    </a:cubicBezTo>
                    <a:cubicBezTo>
                      <a:pt x="56" y="42"/>
                      <a:pt x="56" y="42"/>
                      <a:pt x="56" y="42"/>
                    </a:cubicBezTo>
                    <a:cubicBezTo>
                      <a:pt x="56" y="42"/>
                      <a:pt x="56" y="42"/>
                      <a:pt x="56" y="42"/>
                    </a:cubicBezTo>
                    <a:close/>
                    <a:moveTo>
                      <a:pt x="9" y="31"/>
                    </a:moveTo>
                    <a:cubicBezTo>
                      <a:pt x="9" y="31"/>
                      <a:pt x="9" y="31"/>
                      <a:pt x="9" y="31"/>
                    </a:cubicBezTo>
                    <a:cubicBezTo>
                      <a:pt x="9" y="31"/>
                      <a:pt x="9" y="31"/>
                      <a:pt x="9" y="31"/>
                    </a:cubicBezTo>
                    <a:cubicBezTo>
                      <a:pt x="9" y="31"/>
                      <a:pt x="9" y="31"/>
                      <a:pt x="9" y="31"/>
                    </a:cubicBezTo>
                    <a:cubicBezTo>
                      <a:pt x="9" y="31"/>
                      <a:pt x="9" y="31"/>
                      <a:pt x="9" y="31"/>
                    </a:cubicBezTo>
                    <a:close/>
                    <a:moveTo>
                      <a:pt x="42" y="38"/>
                    </a:moveTo>
                    <a:cubicBezTo>
                      <a:pt x="42" y="38"/>
                      <a:pt x="42" y="38"/>
                      <a:pt x="42" y="38"/>
                    </a:cubicBezTo>
                    <a:cubicBezTo>
                      <a:pt x="42" y="38"/>
                      <a:pt x="42" y="39"/>
                      <a:pt x="41" y="39"/>
                    </a:cubicBezTo>
                    <a:cubicBezTo>
                      <a:pt x="41" y="39"/>
                      <a:pt x="42" y="38"/>
                      <a:pt x="42" y="38"/>
                    </a:cubicBezTo>
                    <a:cubicBezTo>
                      <a:pt x="42" y="38"/>
                      <a:pt x="42" y="38"/>
                      <a:pt x="42" y="38"/>
                    </a:cubicBezTo>
                    <a:close/>
                    <a:moveTo>
                      <a:pt x="10" y="32"/>
                    </a:moveTo>
                    <a:cubicBezTo>
                      <a:pt x="9" y="31"/>
                      <a:pt x="9" y="30"/>
                      <a:pt x="9" y="28"/>
                    </a:cubicBezTo>
                    <a:cubicBezTo>
                      <a:pt x="10" y="29"/>
                      <a:pt x="10" y="31"/>
                      <a:pt x="10" y="32"/>
                    </a:cubicBezTo>
                    <a:cubicBezTo>
                      <a:pt x="10" y="32"/>
                      <a:pt x="10" y="32"/>
                      <a:pt x="10" y="32"/>
                    </a:cubicBezTo>
                    <a:close/>
                    <a:moveTo>
                      <a:pt x="20" y="34"/>
                    </a:moveTo>
                    <a:cubicBezTo>
                      <a:pt x="20" y="34"/>
                      <a:pt x="20" y="34"/>
                      <a:pt x="20" y="34"/>
                    </a:cubicBezTo>
                    <a:cubicBezTo>
                      <a:pt x="20" y="34"/>
                      <a:pt x="20" y="34"/>
                      <a:pt x="20" y="34"/>
                    </a:cubicBezTo>
                    <a:cubicBezTo>
                      <a:pt x="20" y="34"/>
                      <a:pt x="20" y="34"/>
                      <a:pt x="20" y="34"/>
                    </a:cubicBezTo>
                    <a:cubicBezTo>
                      <a:pt x="20" y="34"/>
                      <a:pt x="20" y="34"/>
                      <a:pt x="20" y="34"/>
                    </a:cubicBezTo>
                    <a:close/>
                    <a:moveTo>
                      <a:pt x="52" y="41"/>
                    </a:moveTo>
                    <a:cubicBezTo>
                      <a:pt x="52" y="41"/>
                      <a:pt x="52" y="41"/>
                      <a:pt x="52" y="41"/>
                    </a:cubicBezTo>
                    <a:cubicBezTo>
                      <a:pt x="52" y="41"/>
                      <a:pt x="51" y="41"/>
                      <a:pt x="51" y="41"/>
                    </a:cubicBezTo>
                    <a:cubicBezTo>
                      <a:pt x="51" y="41"/>
                      <a:pt x="51" y="41"/>
                      <a:pt x="51" y="41"/>
                    </a:cubicBezTo>
                    <a:cubicBezTo>
                      <a:pt x="51" y="42"/>
                      <a:pt x="52" y="42"/>
                      <a:pt x="52" y="42"/>
                    </a:cubicBezTo>
                    <a:cubicBezTo>
                      <a:pt x="52" y="42"/>
                      <a:pt x="52" y="42"/>
                      <a:pt x="52" y="41"/>
                    </a:cubicBezTo>
                    <a:cubicBezTo>
                      <a:pt x="52" y="41"/>
                      <a:pt x="52" y="41"/>
                      <a:pt x="52" y="41"/>
                    </a:cubicBezTo>
                    <a:close/>
                    <a:moveTo>
                      <a:pt x="21" y="34"/>
                    </a:moveTo>
                    <a:cubicBezTo>
                      <a:pt x="21" y="34"/>
                      <a:pt x="21" y="34"/>
                      <a:pt x="21" y="34"/>
                    </a:cubicBezTo>
                    <a:cubicBezTo>
                      <a:pt x="21" y="34"/>
                      <a:pt x="20" y="34"/>
                      <a:pt x="20" y="34"/>
                    </a:cubicBezTo>
                    <a:cubicBezTo>
                      <a:pt x="20" y="34"/>
                      <a:pt x="21" y="34"/>
                      <a:pt x="21" y="34"/>
                    </a:cubicBezTo>
                    <a:cubicBezTo>
                      <a:pt x="21" y="34"/>
                      <a:pt x="21" y="34"/>
                      <a:pt x="21" y="34"/>
                    </a:cubicBezTo>
                    <a:close/>
                    <a:moveTo>
                      <a:pt x="54" y="42"/>
                    </a:moveTo>
                    <a:cubicBezTo>
                      <a:pt x="54" y="42"/>
                      <a:pt x="54" y="42"/>
                      <a:pt x="54" y="42"/>
                    </a:cubicBezTo>
                    <a:cubicBezTo>
                      <a:pt x="54" y="42"/>
                      <a:pt x="54" y="42"/>
                      <a:pt x="54" y="42"/>
                    </a:cubicBezTo>
                    <a:cubicBezTo>
                      <a:pt x="54" y="42"/>
                      <a:pt x="54" y="42"/>
                      <a:pt x="54" y="42"/>
                    </a:cubicBezTo>
                    <a:cubicBezTo>
                      <a:pt x="54" y="42"/>
                      <a:pt x="54" y="42"/>
                      <a:pt x="54" y="42"/>
                    </a:cubicBezTo>
                    <a:cubicBezTo>
                      <a:pt x="54" y="42"/>
                      <a:pt x="54" y="42"/>
                      <a:pt x="54" y="42"/>
                    </a:cubicBezTo>
                    <a:close/>
                    <a:moveTo>
                      <a:pt x="52" y="42"/>
                    </a:moveTo>
                    <a:cubicBezTo>
                      <a:pt x="52" y="42"/>
                      <a:pt x="52" y="42"/>
                      <a:pt x="52" y="41"/>
                    </a:cubicBezTo>
                    <a:cubicBezTo>
                      <a:pt x="52" y="42"/>
                      <a:pt x="52" y="42"/>
                      <a:pt x="52" y="42"/>
                    </a:cubicBezTo>
                    <a:cubicBezTo>
                      <a:pt x="52" y="42"/>
                      <a:pt x="52" y="42"/>
                      <a:pt x="52" y="42"/>
                    </a:cubicBezTo>
                    <a:cubicBezTo>
                      <a:pt x="52" y="42"/>
                      <a:pt x="52" y="42"/>
                      <a:pt x="52" y="42"/>
                    </a:cubicBezTo>
                    <a:close/>
                    <a:moveTo>
                      <a:pt x="21" y="35"/>
                    </a:moveTo>
                    <a:cubicBezTo>
                      <a:pt x="21" y="35"/>
                      <a:pt x="21" y="35"/>
                      <a:pt x="21" y="35"/>
                    </a:cubicBezTo>
                    <a:cubicBezTo>
                      <a:pt x="21" y="35"/>
                      <a:pt x="21" y="35"/>
                      <a:pt x="21" y="35"/>
                    </a:cubicBezTo>
                    <a:cubicBezTo>
                      <a:pt x="21" y="35"/>
                      <a:pt x="21" y="35"/>
                      <a:pt x="21" y="35"/>
                    </a:cubicBezTo>
                    <a:cubicBezTo>
                      <a:pt x="21" y="35"/>
                      <a:pt x="21" y="35"/>
                      <a:pt x="21" y="35"/>
                    </a:cubicBezTo>
                    <a:close/>
                    <a:moveTo>
                      <a:pt x="51" y="41"/>
                    </a:moveTo>
                    <a:cubicBezTo>
                      <a:pt x="51" y="41"/>
                      <a:pt x="51" y="41"/>
                      <a:pt x="51" y="41"/>
                    </a:cubicBezTo>
                    <a:cubicBezTo>
                      <a:pt x="51" y="41"/>
                      <a:pt x="51" y="41"/>
                      <a:pt x="51" y="41"/>
                    </a:cubicBezTo>
                    <a:cubicBezTo>
                      <a:pt x="51" y="41"/>
                      <a:pt x="51" y="41"/>
                      <a:pt x="51" y="41"/>
                    </a:cubicBezTo>
                    <a:cubicBezTo>
                      <a:pt x="51" y="41"/>
                      <a:pt x="51" y="41"/>
                      <a:pt x="51" y="41"/>
                    </a:cubicBezTo>
                    <a:close/>
                    <a:moveTo>
                      <a:pt x="55" y="42"/>
                    </a:move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lose/>
                    <a:moveTo>
                      <a:pt x="54" y="42"/>
                    </a:moveTo>
                    <a:cubicBezTo>
                      <a:pt x="54" y="42"/>
                      <a:pt x="54" y="42"/>
                      <a:pt x="54" y="42"/>
                    </a:cubicBezTo>
                    <a:cubicBezTo>
                      <a:pt x="54" y="42"/>
                      <a:pt x="54" y="42"/>
                      <a:pt x="54" y="42"/>
                    </a:cubicBezTo>
                    <a:cubicBezTo>
                      <a:pt x="54" y="42"/>
                      <a:pt x="54" y="42"/>
                      <a:pt x="54" y="42"/>
                    </a:cubicBezTo>
                    <a:cubicBezTo>
                      <a:pt x="54" y="42"/>
                      <a:pt x="54" y="42"/>
                      <a:pt x="54" y="42"/>
                    </a:cubicBezTo>
                    <a:cubicBezTo>
                      <a:pt x="54" y="42"/>
                      <a:pt x="54" y="42"/>
                      <a:pt x="54" y="42"/>
                    </a:cubicBezTo>
                    <a:cubicBezTo>
                      <a:pt x="54" y="42"/>
                      <a:pt x="54" y="42"/>
                      <a:pt x="54" y="42"/>
                    </a:cubicBezTo>
                    <a:cubicBezTo>
                      <a:pt x="54" y="42"/>
                      <a:pt x="54" y="43"/>
                      <a:pt x="54" y="43"/>
                    </a:cubicBezTo>
                    <a:cubicBezTo>
                      <a:pt x="54" y="43"/>
                      <a:pt x="54" y="43"/>
                      <a:pt x="54" y="43"/>
                    </a:cubicBezTo>
                    <a:cubicBezTo>
                      <a:pt x="54" y="42"/>
                      <a:pt x="54" y="42"/>
                      <a:pt x="54" y="42"/>
                    </a:cubicBezTo>
                    <a:cubicBezTo>
                      <a:pt x="54" y="42"/>
                      <a:pt x="54" y="42"/>
                      <a:pt x="54" y="42"/>
                    </a:cubicBezTo>
                    <a:cubicBezTo>
                      <a:pt x="54" y="42"/>
                      <a:pt x="54" y="42"/>
                      <a:pt x="54" y="42"/>
                    </a:cubicBezTo>
                    <a:close/>
                    <a:moveTo>
                      <a:pt x="61" y="44"/>
                    </a:moveTo>
                    <a:cubicBezTo>
                      <a:pt x="61" y="44"/>
                      <a:pt x="61" y="44"/>
                      <a:pt x="61" y="44"/>
                    </a:cubicBezTo>
                    <a:cubicBezTo>
                      <a:pt x="61" y="44"/>
                      <a:pt x="61" y="44"/>
                      <a:pt x="61" y="44"/>
                    </a:cubicBezTo>
                    <a:cubicBezTo>
                      <a:pt x="61" y="44"/>
                      <a:pt x="61" y="44"/>
                      <a:pt x="61" y="44"/>
                    </a:cubicBezTo>
                    <a:close/>
                    <a:moveTo>
                      <a:pt x="54" y="42"/>
                    </a:moveTo>
                    <a:cubicBezTo>
                      <a:pt x="54" y="42"/>
                      <a:pt x="54" y="42"/>
                      <a:pt x="54" y="42"/>
                    </a:cubicBezTo>
                    <a:cubicBezTo>
                      <a:pt x="54" y="42"/>
                      <a:pt x="54" y="42"/>
                      <a:pt x="54" y="42"/>
                    </a:cubicBezTo>
                    <a:cubicBezTo>
                      <a:pt x="54" y="42"/>
                      <a:pt x="54" y="42"/>
                      <a:pt x="54" y="42"/>
                    </a:cubicBezTo>
                    <a:cubicBezTo>
                      <a:pt x="54" y="42"/>
                      <a:pt x="54" y="42"/>
                      <a:pt x="54" y="42"/>
                    </a:cubicBezTo>
                    <a:cubicBezTo>
                      <a:pt x="54" y="42"/>
                      <a:pt x="54" y="42"/>
                      <a:pt x="54" y="42"/>
                    </a:cubicBezTo>
                    <a:close/>
                    <a:moveTo>
                      <a:pt x="53" y="42"/>
                    </a:moveTo>
                    <a:cubicBezTo>
                      <a:pt x="53"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3" y="42"/>
                      <a:pt x="53" y="42"/>
                    </a:cubicBezTo>
                    <a:cubicBezTo>
                      <a:pt x="53" y="42"/>
                      <a:pt x="53" y="42"/>
                      <a:pt x="53" y="42"/>
                    </a:cubicBezTo>
                    <a:close/>
                    <a:moveTo>
                      <a:pt x="53" y="42"/>
                    </a:moveTo>
                    <a:cubicBezTo>
                      <a:pt x="53" y="42"/>
                      <a:pt x="53" y="42"/>
                      <a:pt x="53" y="42"/>
                    </a:cubicBezTo>
                    <a:cubicBezTo>
                      <a:pt x="53" y="42"/>
                      <a:pt x="53" y="42"/>
                      <a:pt x="53" y="42"/>
                    </a:cubicBezTo>
                    <a:cubicBezTo>
                      <a:pt x="53" y="42"/>
                      <a:pt x="53" y="42"/>
                      <a:pt x="53" y="42"/>
                    </a:cubicBezTo>
                    <a:cubicBezTo>
                      <a:pt x="53" y="42"/>
                      <a:pt x="53" y="42"/>
                      <a:pt x="53" y="42"/>
                    </a:cubicBezTo>
                    <a:cubicBezTo>
                      <a:pt x="53" y="42"/>
                      <a:pt x="53" y="42"/>
                      <a:pt x="53" y="42"/>
                    </a:cubicBezTo>
                    <a:close/>
                    <a:moveTo>
                      <a:pt x="50" y="41"/>
                    </a:moveTo>
                    <a:cubicBezTo>
                      <a:pt x="50" y="41"/>
                      <a:pt x="50" y="41"/>
                      <a:pt x="50" y="41"/>
                    </a:cubicBezTo>
                    <a:cubicBezTo>
                      <a:pt x="50" y="41"/>
                      <a:pt x="50" y="42"/>
                      <a:pt x="51" y="42"/>
                    </a:cubicBezTo>
                    <a:cubicBezTo>
                      <a:pt x="51" y="42"/>
                      <a:pt x="51" y="42"/>
                      <a:pt x="51" y="42"/>
                    </a:cubicBezTo>
                    <a:cubicBezTo>
                      <a:pt x="50" y="42"/>
                      <a:pt x="50" y="42"/>
                      <a:pt x="50" y="41"/>
                    </a:cubicBezTo>
                    <a:cubicBezTo>
                      <a:pt x="50" y="41"/>
                      <a:pt x="50" y="41"/>
                      <a:pt x="50" y="41"/>
                    </a:cubicBezTo>
                    <a:cubicBezTo>
                      <a:pt x="50" y="41"/>
                      <a:pt x="50" y="41"/>
                      <a:pt x="50" y="41"/>
                    </a:cubicBezTo>
                    <a:close/>
                    <a:moveTo>
                      <a:pt x="50" y="41"/>
                    </a:moveTo>
                    <a:cubicBezTo>
                      <a:pt x="50" y="41"/>
                      <a:pt x="49" y="41"/>
                      <a:pt x="49" y="41"/>
                    </a:cubicBezTo>
                    <a:cubicBezTo>
                      <a:pt x="49" y="42"/>
                      <a:pt x="49" y="42"/>
                      <a:pt x="50" y="43"/>
                    </a:cubicBezTo>
                    <a:cubicBezTo>
                      <a:pt x="50" y="42"/>
                      <a:pt x="50" y="42"/>
                      <a:pt x="50" y="42"/>
                    </a:cubicBezTo>
                    <a:cubicBezTo>
                      <a:pt x="50" y="42"/>
                      <a:pt x="50" y="42"/>
                      <a:pt x="50" y="42"/>
                    </a:cubicBezTo>
                    <a:cubicBezTo>
                      <a:pt x="50" y="42"/>
                      <a:pt x="50" y="42"/>
                      <a:pt x="50" y="42"/>
                    </a:cubicBezTo>
                    <a:cubicBezTo>
                      <a:pt x="50" y="42"/>
                      <a:pt x="50" y="42"/>
                      <a:pt x="50" y="42"/>
                    </a:cubicBezTo>
                    <a:cubicBezTo>
                      <a:pt x="50" y="42"/>
                      <a:pt x="50" y="41"/>
                      <a:pt x="50" y="41"/>
                    </a:cubicBezTo>
                    <a:cubicBezTo>
                      <a:pt x="50" y="41"/>
                      <a:pt x="50" y="41"/>
                      <a:pt x="50" y="41"/>
                    </a:cubicBezTo>
                    <a:close/>
                    <a:moveTo>
                      <a:pt x="21" y="35"/>
                    </a:moveTo>
                    <a:cubicBezTo>
                      <a:pt x="21"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lose/>
                    <a:moveTo>
                      <a:pt x="54" y="42"/>
                    </a:moveTo>
                    <a:cubicBezTo>
                      <a:pt x="54" y="42"/>
                      <a:pt x="54" y="42"/>
                      <a:pt x="54" y="42"/>
                    </a:cubicBezTo>
                    <a:cubicBezTo>
                      <a:pt x="54" y="42"/>
                      <a:pt x="54" y="43"/>
                      <a:pt x="54" y="43"/>
                    </a:cubicBezTo>
                    <a:cubicBezTo>
                      <a:pt x="54" y="43"/>
                      <a:pt x="54" y="43"/>
                      <a:pt x="54" y="43"/>
                    </a:cubicBezTo>
                    <a:cubicBezTo>
                      <a:pt x="54" y="43"/>
                      <a:pt x="54" y="43"/>
                      <a:pt x="54" y="42"/>
                    </a:cubicBezTo>
                    <a:cubicBezTo>
                      <a:pt x="54" y="42"/>
                      <a:pt x="54" y="42"/>
                      <a:pt x="54" y="42"/>
                    </a:cubicBezTo>
                    <a:close/>
                    <a:moveTo>
                      <a:pt x="19" y="35"/>
                    </a:moveTo>
                    <a:cubicBezTo>
                      <a:pt x="19" y="35"/>
                      <a:pt x="19" y="35"/>
                      <a:pt x="19" y="35"/>
                    </a:cubicBezTo>
                    <a:cubicBezTo>
                      <a:pt x="19" y="35"/>
                      <a:pt x="19" y="35"/>
                      <a:pt x="19" y="35"/>
                    </a:cubicBezTo>
                    <a:cubicBezTo>
                      <a:pt x="19" y="35"/>
                      <a:pt x="19" y="35"/>
                      <a:pt x="19" y="35"/>
                    </a:cubicBezTo>
                    <a:cubicBezTo>
                      <a:pt x="19" y="35"/>
                      <a:pt x="19" y="35"/>
                      <a:pt x="19" y="35"/>
                    </a:cubicBezTo>
                    <a:close/>
                    <a:moveTo>
                      <a:pt x="55" y="43"/>
                    </a:moveTo>
                    <a:cubicBezTo>
                      <a:pt x="55" y="43"/>
                      <a:pt x="55" y="43"/>
                      <a:pt x="55" y="43"/>
                    </a:cubicBezTo>
                    <a:cubicBezTo>
                      <a:pt x="55" y="43"/>
                      <a:pt x="55" y="43"/>
                      <a:pt x="55" y="43"/>
                    </a:cubicBezTo>
                    <a:cubicBezTo>
                      <a:pt x="55" y="43"/>
                      <a:pt x="55" y="43"/>
                      <a:pt x="55" y="43"/>
                    </a:cubicBezTo>
                    <a:cubicBezTo>
                      <a:pt x="55" y="43"/>
                      <a:pt x="55" y="43"/>
                      <a:pt x="55" y="43"/>
                    </a:cubicBezTo>
                    <a:close/>
                    <a:moveTo>
                      <a:pt x="21" y="35"/>
                    </a:moveTo>
                    <a:cubicBezTo>
                      <a:pt x="21" y="35"/>
                      <a:pt x="21" y="35"/>
                      <a:pt x="21" y="35"/>
                    </a:cubicBezTo>
                    <a:cubicBezTo>
                      <a:pt x="21" y="35"/>
                      <a:pt x="21" y="35"/>
                      <a:pt x="21" y="35"/>
                    </a:cubicBezTo>
                    <a:cubicBezTo>
                      <a:pt x="21" y="35"/>
                      <a:pt x="21" y="35"/>
                      <a:pt x="21" y="35"/>
                    </a:cubicBezTo>
                    <a:cubicBezTo>
                      <a:pt x="21" y="35"/>
                      <a:pt x="21" y="35"/>
                      <a:pt x="21" y="35"/>
                    </a:cubicBezTo>
                    <a:cubicBezTo>
                      <a:pt x="21" y="35"/>
                      <a:pt x="21" y="35"/>
                      <a:pt x="21" y="35"/>
                    </a:cubicBezTo>
                    <a:close/>
                    <a:moveTo>
                      <a:pt x="49" y="41"/>
                    </a:moveTo>
                    <a:cubicBezTo>
                      <a:pt x="49" y="41"/>
                      <a:pt x="49" y="41"/>
                      <a:pt x="49" y="41"/>
                    </a:cubicBezTo>
                    <a:cubicBezTo>
                      <a:pt x="49" y="41"/>
                      <a:pt x="49" y="41"/>
                      <a:pt x="49" y="41"/>
                    </a:cubicBezTo>
                    <a:cubicBezTo>
                      <a:pt x="49" y="41"/>
                      <a:pt x="49" y="41"/>
                      <a:pt x="49" y="41"/>
                    </a:cubicBezTo>
                    <a:cubicBezTo>
                      <a:pt x="49" y="41"/>
                      <a:pt x="49" y="41"/>
                      <a:pt x="49" y="41"/>
                    </a:cubicBezTo>
                    <a:close/>
                    <a:moveTo>
                      <a:pt x="53" y="42"/>
                    </a:moveTo>
                    <a:cubicBezTo>
                      <a:pt x="53" y="42"/>
                      <a:pt x="53" y="42"/>
                      <a:pt x="53" y="42"/>
                    </a:cubicBezTo>
                    <a:cubicBezTo>
                      <a:pt x="52" y="42"/>
                      <a:pt x="52" y="42"/>
                      <a:pt x="52" y="42"/>
                    </a:cubicBezTo>
                    <a:cubicBezTo>
                      <a:pt x="52" y="42"/>
                      <a:pt x="52" y="42"/>
                      <a:pt x="53" y="42"/>
                    </a:cubicBezTo>
                    <a:cubicBezTo>
                      <a:pt x="53" y="42"/>
                      <a:pt x="53" y="42"/>
                      <a:pt x="53" y="42"/>
                    </a:cubicBezTo>
                    <a:close/>
                    <a:moveTo>
                      <a:pt x="53" y="43"/>
                    </a:moveTo>
                    <a:cubicBezTo>
                      <a:pt x="53" y="43"/>
                      <a:pt x="54" y="43"/>
                      <a:pt x="54" y="43"/>
                    </a:cubicBezTo>
                    <a:cubicBezTo>
                      <a:pt x="54" y="43"/>
                      <a:pt x="54" y="43"/>
                      <a:pt x="53" y="43"/>
                    </a:cubicBezTo>
                    <a:cubicBezTo>
                      <a:pt x="53" y="43"/>
                      <a:pt x="53" y="43"/>
                      <a:pt x="53" y="43"/>
                    </a:cubicBezTo>
                    <a:cubicBezTo>
                      <a:pt x="53" y="43"/>
                      <a:pt x="53" y="43"/>
                      <a:pt x="53" y="43"/>
                    </a:cubicBezTo>
                    <a:cubicBezTo>
                      <a:pt x="53" y="43"/>
                      <a:pt x="53" y="43"/>
                      <a:pt x="53" y="43"/>
                    </a:cubicBezTo>
                    <a:close/>
                    <a:moveTo>
                      <a:pt x="21" y="35"/>
                    </a:moveTo>
                    <a:cubicBezTo>
                      <a:pt x="21" y="35"/>
                      <a:pt x="21" y="35"/>
                      <a:pt x="21" y="35"/>
                    </a:cubicBezTo>
                    <a:cubicBezTo>
                      <a:pt x="21" y="35"/>
                      <a:pt x="21" y="35"/>
                      <a:pt x="21" y="35"/>
                    </a:cubicBezTo>
                    <a:cubicBezTo>
                      <a:pt x="21" y="35"/>
                      <a:pt x="21" y="35"/>
                      <a:pt x="21" y="35"/>
                    </a:cubicBezTo>
                    <a:cubicBezTo>
                      <a:pt x="21" y="35"/>
                      <a:pt x="21" y="35"/>
                      <a:pt x="21" y="35"/>
                    </a:cubicBezTo>
                    <a:close/>
                    <a:moveTo>
                      <a:pt x="12" y="33"/>
                    </a:moveTo>
                    <a:cubicBezTo>
                      <a:pt x="12" y="33"/>
                      <a:pt x="12" y="33"/>
                      <a:pt x="12" y="33"/>
                    </a:cubicBezTo>
                    <a:cubicBezTo>
                      <a:pt x="12" y="33"/>
                      <a:pt x="12" y="33"/>
                      <a:pt x="13" y="34"/>
                    </a:cubicBezTo>
                    <a:cubicBezTo>
                      <a:pt x="12" y="33"/>
                      <a:pt x="12" y="33"/>
                      <a:pt x="12" y="33"/>
                    </a:cubicBezTo>
                    <a:cubicBezTo>
                      <a:pt x="12" y="33"/>
                      <a:pt x="12" y="33"/>
                      <a:pt x="12" y="33"/>
                    </a:cubicBezTo>
                    <a:close/>
                    <a:moveTo>
                      <a:pt x="51" y="42"/>
                    </a:moveTo>
                    <a:cubicBezTo>
                      <a:pt x="51" y="42"/>
                      <a:pt x="51" y="42"/>
                      <a:pt x="51" y="42"/>
                    </a:cubicBezTo>
                    <a:cubicBezTo>
                      <a:pt x="51" y="42"/>
                      <a:pt x="51" y="42"/>
                      <a:pt x="51" y="42"/>
                    </a:cubicBezTo>
                    <a:cubicBezTo>
                      <a:pt x="51" y="42"/>
                      <a:pt x="51" y="42"/>
                      <a:pt x="51" y="42"/>
                    </a:cubicBezTo>
                    <a:cubicBezTo>
                      <a:pt x="51" y="42"/>
                      <a:pt x="51" y="42"/>
                      <a:pt x="51" y="42"/>
                    </a:cubicBezTo>
                    <a:cubicBezTo>
                      <a:pt x="51" y="42"/>
                      <a:pt x="51" y="42"/>
                      <a:pt x="51" y="42"/>
                    </a:cubicBezTo>
                    <a:cubicBezTo>
                      <a:pt x="51" y="42"/>
                      <a:pt x="51" y="42"/>
                      <a:pt x="51" y="42"/>
                    </a:cubicBezTo>
                    <a:close/>
                    <a:moveTo>
                      <a:pt x="51" y="42"/>
                    </a:moveTo>
                    <a:cubicBezTo>
                      <a:pt x="51" y="42"/>
                      <a:pt x="51" y="42"/>
                      <a:pt x="51" y="42"/>
                    </a:cubicBezTo>
                    <a:cubicBezTo>
                      <a:pt x="51" y="42"/>
                      <a:pt x="51" y="42"/>
                      <a:pt x="51" y="42"/>
                    </a:cubicBezTo>
                    <a:cubicBezTo>
                      <a:pt x="51" y="42"/>
                      <a:pt x="51" y="42"/>
                      <a:pt x="51" y="42"/>
                    </a:cubicBezTo>
                    <a:cubicBezTo>
                      <a:pt x="51" y="42"/>
                      <a:pt x="51" y="42"/>
                      <a:pt x="51" y="42"/>
                    </a:cubicBezTo>
                    <a:cubicBezTo>
                      <a:pt x="51" y="42"/>
                      <a:pt x="51" y="42"/>
                      <a:pt x="51" y="42"/>
                    </a:cubicBezTo>
                    <a:close/>
                    <a:moveTo>
                      <a:pt x="9" y="34"/>
                    </a:moveTo>
                    <a:cubicBezTo>
                      <a:pt x="9" y="35"/>
                      <a:pt x="9" y="35"/>
                      <a:pt x="11" y="35"/>
                    </a:cubicBezTo>
                    <a:cubicBezTo>
                      <a:pt x="11" y="35"/>
                      <a:pt x="11" y="35"/>
                      <a:pt x="11" y="34"/>
                    </a:cubicBezTo>
                    <a:cubicBezTo>
                      <a:pt x="11" y="35"/>
                      <a:pt x="11" y="34"/>
                      <a:pt x="11" y="34"/>
                    </a:cubicBezTo>
                    <a:cubicBezTo>
                      <a:pt x="11" y="34"/>
                      <a:pt x="11" y="34"/>
                      <a:pt x="11" y="34"/>
                    </a:cubicBezTo>
                    <a:cubicBezTo>
                      <a:pt x="11" y="34"/>
                      <a:pt x="10" y="34"/>
                      <a:pt x="10" y="34"/>
                    </a:cubicBezTo>
                    <a:cubicBezTo>
                      <a:pt x="11" y="34"/>
                      <a:pt x="11" y="33"/>
                      <a:pt x="12" y="34"/>
                    </a:cubicBezTo>
                    <a:cubicBezTo>
                      <a:pt x="10" y="32"/>
                      <a:pt x="10" y="33"/>
                      <a:pt x="8" y="33"/>
                    </a:cubicBezTo>
                    <a:cubicBezTo>
                      <a:pt x="8" y="33"/>
                      <a:pt x="9" y="33"/>
                      <a:pt x="9" y="34"/>
                    </a:cubicBezTo>
                    <a:cubicBezTo>
                      <a:pt x="9" y="33"/>
                      <a:pt x="10" y="33"/>
                      <a:pt x="11" y="33"/>
                    </a:cubicBezTo>
                    <a:cubicBezTo>
                      <a:pt x="10" y="34"/>
                      <a:pt x="10" y="34"/>
                      <a:pt x="9" y="34"/>
                    </a:cubicBezTo>
                    <a:cubicBezTo>
                      <a:pt x="9" y="34"/>
                      <a:pt x="9" y="34"/>
                      <a:pt x="9" y="34"/>
                    </a:cubicBezTo>
                    <a:close/>
                    <a:moveTo>
                      <a:pt x="54" y="43"/>
                    </a:moveTo>
                    <a:cubicBezTo>
                      <a:pt x="54" y="43"/>
                      <a:pt x="54" y="43"/>
                      <a:pt x="54" y="43"/>
                    </a:cubicBezTo>
                    <a:cubicBezTo>
                      <a:pt x="54" y="43"/>
                      <a:pt x="54" y="43"/>
                      <a:pt x="54" y="43"/>
                    </a:cubicBezTo>
                    <a:cubicBezTo>
                      <a:pt x="54" y="43"/>
                      <a:pt x="54" y="43"/>
                      <a:pt x="54" y="43"/>
                    </a:cubicBezTo>
                    <a:cubicBezTo>
                      <a:pt x="54" y="43"/>
                      <a:pt x="54" y="43"/>
                      <a:pt x="54" y="43"/>
                    </a:cubicBezTo>
                    <a:close/>
                    <a:moveTo>
                      <a:pt x="54" y="43"/>
                    </a:moveTo>
                    <a:cubicBezTo>
                      <a:pt x="54" y="43"/>
                      <a:pt x="54" y="43"/>
                      <a:pt x="54" y="43"/>
                    </a:cubicBezTo>
                    <a:cubicBezTo>
                      <a:pt x="54" y="43"/>
                      <a:pt x="54" y="43"/>
                      <a:pt x="54" y="43"/>
                    </a:cubicBezTo>
                    <a:cubicBezTo>
                      <a:pt x="54" y="43"/>
                      <a:pt x="54" y="43"/>
                      <a:pt x="54" y="43"/>
                    </a:cubicBezTo>
                    <a:cubicBezTo>
                      <a:pt x="54" y="43"/>
                      <a:pt x="54" y="43"/>
                      <a:pt x="54" y="43"/>
                    </a:cubicBezTo>
                    <a:cubicBezTo>
                      <a:pt x="54" y="43"/>
                      <a:pt x="54" y="43"/>
                      <a:pt x="54" y="43"/>
                    </a:cubicBezTo>
                    <a:cubicBezTo>
                      <a:pt x="54" y="43"/>
                      <a:pt x="54" y="43"/>
                      <a:pt x="54" y="43"/>
                    </a:cubicBezTo>
                    <a:cubicBezTo>
                      <a:pt x="54" y="43"/>
                      <a:pt x="54" y="43"/>
                      <a:pt x="54" y="43"/>
                    </a:cubicBezTo>
                    <a:cubicBezTo>
                      <a:pt x="54" y="43"/>
                      <a:pt x="54" y="43"/>
                      <a:pt x="54" y="43"/>
                    </a:cubicBezTo>
                    <a:close/>
                    <a:moveTo>
                      <a:pt x="51" y="42"/>
                    </a:moveTo>
                    <a:cubicBezTo>
                      <a:pt x="51" y="42"/>
                      <a:pt x="51" y="42"/>
                      <a:pt x="51" y="42"/>
                    </a:cubicBezTo>
                    <a:cubicBezTo>
                      <a:pt x="51" y="42"/>
                      <a:pt x="51" y="42"/>
                      <a:pt x="51" y="42"/>
                    </a:cubicBezTo>
                    <a:cubicBezTo>
                      <a:pt x="51" y="42"/>
                      <a:pt x="51" y="42"/>
                      <a:pt x="51" y="42"/>
                    </a:cubicBezTo>
                    <a:cubicBezTo>
                      <a:pt x="51" y="42"/>
                      <a:pt x="51" y="42"/>
                      <a:pt x="51" y="42"/>
                    </a:cubicBezTo>
                    <a:close/>
                    <a:moveTo>
                      <a:pt x="8" y="33"/>
                    </a:moveTo>
                    <a:cubicBezTo>
                      <a:pt x="8" y="33"/>
                      <a:pt x="8" y="32"/>
                      <a:pt x="8" y="32"/>
                    </a:cubicBezTo>
                    <a:cubicBezTo>
                      <a:pt x="8" y="32"/>
                      <a:pt x="8" y="33"/>
                      <a:pt x="8" y="33"/>
                    </a:cubicBezTo>
                    <a:cubicBezTo>
                      <a:pt x="8" y="33"/>
                      <a:pt x="8" y="33"/>
                      <a:pt x="8" y="33"/>
                    </a:cubicBezTo>
                    <a:cubicBezTo>
                      <a:pt x="8" y="33"/>
                      <a:pt x="8" y="33"/>
                      <a:pt x="8" y="33"/>
                    </a:cubicBezTo>
                    <a:close/>
                    <a:moveTo>
                      <a:pt x="52" y="43"/>
                    </a:moveTo>
                    <a:cubicBezTo>
                      <a:pt x="52" y="43"/>
                      <a:pt x="52" y="43"/>
                      <a:pt x="52" y="43"/>
                    </a:cubicBezTo>
                    <a:cubicBezTo>
                      <a:pt x="52" y="43"/>
                      <a:pt x="53" y="43"/>
                      <a:pt x="53" y="43"/>
                    </a:cubicBezTo>
                    <a:cubicBezTo>
                      <a:pt x="53" y="43"/>
                      <a:pt x="53" y="43"/>
                      <a:pt x="53" y="43"/>
                    </a:cubicBezTo>
                    <a:cubicBezTo>
                      <a:pt x="53" y="43"/>
                      <a:pt x="52" y="43"/>
                      <a:pt x="52" y="43"/>
                    </a:cubicBezTo>
                    <a:cubicBezTo>
                      <a:pt x="52" y="43"/>
                      <a:pt x="52" y="43"/>
                      <a:pt x="52" y="43"/>
                    </a:cubicBezTo>
                    <a:close/>
                    <a:moveTo>
                      <a:pt x="52" y="43"/>
                    </a:moveTo>
                    <a:cubicBezTo>
                      <a:pt x="51" y="43"/>
                      <a:pt x="51" y="43"/>
                      <a:pt x="51" y="42"/>
                    </a:cubicBezTo>
                    <a:cubicBezTo>
                      <a:pt x="51" y="43"/>
                      <a:pt x="51" y="43"/>
                      <a:pt x="51" y="43"/>
                    </a:cubicBezTo>
                    <a:cubicBezTo>
                      <a:pt x="51" y="43"/>
                      <a:pt x="51" y="43"/>
                      <a:pt x="52" y="43"/>
                    </a:cubicBezTo>
                    <a:cubicBezTo>
                      <a:pt x="52" y="43"/>
                      <a:pt x="52" y="43"/>
                      <a:pt x="52" y="43"/>
                    </a:cubicBezTo>
                    <a:close/>
                    <a:moveTo>
                      <a:pt x="51" y="42"/>
                    </a:moveTo>
                    <a:cubicBezTo>
                      <a:pt x="51" y="42"/>
                      <a:pt x="51" y="42"/>
                      <a:pt x="50" y="42"/>
                    </a:cubicBezTo>
                    <a:cubicBezTo>
                      <a:pt x="50" y="42"/>
                      <a:pt x="50" y="43"/>
                      <a:pt x="50" y="43"/>
                    </a:cubicBezTo>
                    <a:cubicBezTo>
                      <a:pt x="50" y="43"/>
                      <a:pt x="51" y="43"/>
                      <a:pt x="51" y="42"/>
                    </a:cubicBezTo>
                    <a:cubicBezTo>
                      <a:pt x="51" y="42"/>
                      <a:pt x="51" y="42"/>
                      <a:pt x="51" y="42"/>
                    </a:cubicBezTo>
                    <a:close/>
                    <a:moveTo>
                      <a:pt x="45" y="41"/>
                    </a:moveTo>
                    <a:cubicBezTo>
                      <a:pt x="45" y="41"/>
                      <a:pt x="45" y="41"/>
                      <a:pt x="44" y="41"/>
                    </a:cubicBezTo>
                    <a:cubicBezTo>
                      <a:pt x="45" y="41"/>
                      <a:pt x="45" y="42"/>
                      <a:pt x="45" y="42"/>
                    </a:cubicBezTo>
                    <a:cubicBezTo>
                      <a:pt x="45" y="42"/>
                      <a:pt x="45" y="42"/>
                      <a:pt x="46" y="42"/>
                    </a:cubicBezTo>
                    <a:cubicBezTo>
                      <a:pt x="46" y="41"/>
                      <a:pt x="45" y="41"/>
                      <a:pt x="45" y="41"/>
                    </a:cubicBezTo>
                    <a:cubicBezTo>
                      <a:pt x="45" y="41"/>
                      <a:pt x="45" y="41"/>
                      <a:pt x="45" y="41"/>
                    </a:cubicBezTo>
                    <a:close/>
                    <a:moveTo>
                      <a:pt x="53" y="43"/>
                    </a:moveTo>
                    <a:cubicBezTo>
                      <a:pt x="53" y="43"/>
                      <a:pt x="53" y="43"/>
                      <a:pt x="53" y="43"/>
                    </a:cubicBezTo>
                    <a:cubicBezTo>
                      <a:pt x="53" y="43"/>
                      <a:pt x="53" y="43"/>
                      <a:pt x="53" y="43"/>
                    </a:cubicBezTo>
                    <a:cubicBezTo>
                      <a:pt x="53" y="43"/>
                      <a:pt x="53" y="43"/>
                      <a:pt x="53" y="43"/>
                    </a:cubicBezTo>
                    <a:cubicBezTo>
                      <a:pt x="53" y="43"/>
                      <a:pt x="53" y="43"/>
                      <a:pt x="53" y="43"/>
                    </a:cubicBezTo>
                    <a:cubicBezTo>
                      <a:pt x="53" y="43"/>
                      <a:pt x="53" y="43"/>
                      <a:pt x="53" y="43"/>
                    </a:cubicBezTo>
                    <a:cubicBezTo>
                      <a:pt x="53" y="43"/>
                      <a:pt x="53" y="43"/>
                      <a:pt x="53" y="43"/>
                    </a:cubicBezTo>
                    <a:cubicBezTo>
                      <a:pt x="53" y="43"/>
                      <a:pt x="53" y="43"/>
                      <a:pt x="53" y="43"/>
                    </a:cubicBezTo>
                    <a:close/>
                    <a:moveTo>
                      <a:pt x="46" y="41"/>
                    </a:moveTo>
                    <a:cubicBezTo>
                      <a:pt x="46" y="41"/>
                      <a:pt x="46" y="41"/>
                      <a:pt x="46" y="41"/>
                    </a:cubicBezTo>
                    <a:cubicBezTo>
                      <a:pt x="46" y="41"/>
                      <a:pt x="46" y="41"/>
                      <a:pt x="46" y="41"/>
                    </a:cubicBezTo>
                    <a:cubicBezTo>
                      <a:pt x="46" y="42"/>
                      <a:pt x="46" y="42"/>
                      <a:pt x="46" y="42"/>
                    </a:cubicBezTo>
                    <a:cubicBezTo>
                      <a:pt x="46" y="42"/>
                      <a:pt x="46" y="42"/>
                      <a:pt x="46" y="41"/>
                    </a:cubicBezTo>
                    <a:cubicBezTo>
                      <a:pt x="46" y="41"/>
                      <a:pt x="46" y="41"/>
                      <a:pt x="46" y="41"/>
                    </a:cubicBezTo>
                    <a:close/>
                    <a:moveTo>
                      <a:pt x="46" y="41"/>
                    </a:moveTo>
                    <a:cubicBezTo>
                      <a:pt x="46" y="41"/>
                      <a:pt x="46" y="41"/>
                      <a:pt x="46" y="41"/>
                    </a:cubicBezTo>
                    <a:cubicBezTo>
                      <a:pt x="46" y="41"/>
                      <a:pt x="46" y="41"/>
                      <a:pt x="46" y="41"/>
                    </a:cubicBezTo>
                    <a:cubicBezTo>
                      <a:pt x="46" y="41"/>
                      <a:pt x="46" y="41"/>
                      <a:pt x="46" y="41"/>
                    </a:cubicBezTo>
                    <a:cubicBezTo>
                      <a:pt x="46" y="41"/>
                      <a:pt x="46" y="41"/>
                      <a:pt x="46" y="41"/>
                    </a:cubicBezTo>
                    <a:close/>
                    <a:moveTo>
                      <a:pt x="14" y="34"/>
                    </a:moveTo>
                    <a:cubicBezTo>
                      <a:pt x="14" y="34"/>
                      <a:pt x="14" y="34"/>
                      <a:pt x="14" y="34"/>
                    </a:cubicBezTo>
                    <a:cubicBezTo>
                      <a:pt x="14" y="34"/>
                      <a:pt x="14" y="34"/>
                      <a:pt x="14" y="34"/>
                    </a:cubicBezTo>
                    <a:cubicBezTo>
                      <a:pt x="14" y="34"/>
                      <a:pt x="14" y="34"/>
                      <a:pt x="14" y="34"/>
                    </a:cubicBezTo>
                    <a:cubicBezTo>
                      <a:pt x="14" y="34"/>
                      <a:pt x="14" y="34"/>
                      <a:pt x="14" y="34"/>
                    </a:cubicBezTo>
                    <a:cubicBezTo>
                      <a:pt x="14" y="34"/>
                      <a:pt x="14" y="34"/>
                      <a:pt x="14" y="34"/>
                    </a:cubicBezTo>
                    <a:close/>
                    <a:moveTo>
                      <a:pt x="8" y="33"/>
                    </a:move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lose/>
                    <a:moveTo>
                      <a:pt x="24" y="38"/>
                    </a:moveTo>
                    <a:cubicBezTo>
                      <a:pt x="24" y="38"/>
                      <a:pt x="24" y="38"/>
                      <a:pt x="25" y="38"/>
                    </a:cubicBezTo>
                    <a:cubicBezTo>
                      <a:pt x="25" y="38"/>
                      <a:pt x="25" y="38"/>
                      <a:pt x="24" y="38"/>
                    </a:cubicBezTo>
                    <a:cubicBezTo>
                      <a:pt x="24" y="38"/>
                      <a:pt x="24" y="38"/>
                      <a:pt x="25" y="38"/>
                    </a:cubicBezTo>
                    <a:cubicBezTo>
                      <a:pt x="24" y="37"/>
                      <a:pt x="24" y="37"/>
                      <a:pt x="24" y="37"/>
                    </a:cubicBezTo>
                    <a:cubicBezTo>
                      <a:pt x="24" y="37"/>
                      <a:pt x="24" y="37"/>
                      <a:pt x="24" y="37"/>
                    </a:cubicBezTo>
                    <a:cubicBezTo>
                      <a:pt x="24" y="37"/>
                      <a:pt x="23" y="37"/>
                      <a:pt x="22" y="37"/>
                    </a:cubicBezTo>
                    <a:cubicBezTo>
                      <a:pt x="22" y="37"/>
                      <a:pt x="23" y="37"/>
                      <a:pt x="23" y="37"/>
                    </a:cubicBezTo>
                    <a:cubicBezTo>
                      <a:pt x="23" y="37"/>
                      <a:pt x="23" y="37"/>
                      <a:pt x="23" y="37"/>
                    </a:cubicBezTo>
                    <a:cubicBezTo>
                      <a:pt x="23" y="37"/>
                      <a:pt x="23" y="37"/>
                      <a:pt x="24" y="36"/>
                    </a:cubicBezTo>
                    <a:cubicBezTo>
                      <a:pt x="22" y="36"/>
                      <a:pt x="22" y="36"/>
                      <a:pt x="20" y="36"/>
                    </a:cubicBezTo>
                    <a:cubicBezTo>
                      <a:pt x="21" y="36"/>
                      <a:pt x="21" y="36"/>
                      <a:pt x="21" y="36"/>
                    </a:cubicBezTo>
                    <a:cubicBezTo>
                      <a:pt x="21" y="36"/>
                      <a:pt x="21" y="36"/>
                      <a:pt x="21" y="36"/>
                    </a:cubicBezTo>
                    <a:cubicBezTo>
                      <a:pt x="21" y="36"/>
                      <a:pt x="21" y="36"/>
                      <a:pt x="21" y="36"/>
                    </a:cubicBezTo>
                    <a:cubicBezTo>
                      <a:pt x="21" y="36"/>
                      <a:pt x="21" y="36"/>
                      <a:pt x="21" y="36"/>
                    </a:cubicBezTo>
                    <a:cubicBezTo>
                      <a:pt x="20" y="36"/>
                      <a:pt x="20" y="36"/>
                      <a:pt x="20" y="36"/>
                    </a:cubicBezTo>
                    <a:cubicBezTo>
                      <a:pt x="20" y="36"/>
                      <a:pt x="20" y="36"/>
                      <a:pt x="20" y="37"/>
                    </a:cubicBezTo>
                    <a:cubicBezTo>
                      <a:pt x="21" y="37"/>
                      <a:pt x="21" y="37"/>
                      <a:pt x="21" y="37"/>
                    </a:cubicBezTo>
                    <a:cubicBezTo>
                      <a:pt x="21" y="37"/>
                      <a:pt x="21" y="37"/>
                      <a:pt x="21" y="37"/>
                    </a:cubicBezTo>
                    <a:cubicBezTo>
                      <a:pt x="21" y="37"/>
                      <a:pt x="21" y="37"/>
                      <a:pt x="22" y="37"/>
                    </a:cubicBezTo>
                    <a:cubicBezTo>
                      <a:pt x="23" y="37"/>
                      <a:pt x="23" y="38"/>
                      <a:pt x="24" y="38"/>
                    </a:cubicBezTo>
                    <a:cubicBezTo>
                      <a:pt x="24" y="38"/>
                      <a:pt x="24" y="38"/>
                      <a:pt x="24" y="38"/>
                    </a:cubicBezTo>
                    <a:close/>
                    <a:moveTo>
                      <a:pt x="48" y="42"/>
                    </a:moveTo>
                    <a:cubicBezTo>
                      <a:pt x="48" y="42"/>
                      <a:pt x="49" y="43"/>
                      <a:pt x="49" y="43"/>
                    </a:cubicBezTo>
                    <a:cubicBezTo>
                      <a:pt x="49" y="43"/>
                      <a:pt x="49" y="43"/>
                      <a:pt x="49" y="43"/>
                    </a:cubicBezTo>
                    <a:cubicBezTo>
                      <a:pt x="49" y="43"/>
                      <a:pt x="49" y="43"/>
                      <a:pt x="49" y="43"/>
                    </a:cubicBezTo>
                    <a:cubicBezTo>
                      <a:pt x="49" y="43"/>
                      <a:pt x="49" y="43"/>
                      <a:pt x="49" y="43"/>
                    </a:cubicBezTo>
                    <a:cubicBezTo>
                      <a:pt x="49" y="43"/>
                      <a:pt x="49" y="43"/>
                      <a:pt x="49" y="43"/>
                    </a:cubicBezTo>
                    <a:cubicBezTo>
                      <a:pt x="48" y="43"/>
                      <a:pt x="48" y="42"/>
                      <a:pt x="48" y="42"/>
                    </a:cubicBezTo>
                    <a:cubicBezTo>
                      <a:pt x="48" y="42"/>
                      <a:pt x="48" y="42"/>
                      <a:pt x="48" y="42"/>
                    </a:cubicBezTo>
                    <a:close/>
                    <a:moveTo>
                      <a:pt x="53" y="43"/>
                    </a:moveTo>
                    <a:cubicBezTo>
                      <a:pt x="53" y="43"/>
                      <a:pt x="53" y="43"/>
                      <a:pt x="53" y="43"/>
                    </a:cubicBezTo>
                    <a:cubicBezTo>
                      <a:pt x="53" y="43"/>
                      <a:pt x="53" y="43"/>
                      <a:pt x="53" y="43"/>
                    </a:cubicBezTo>
                    <a:cubicBezTo>
                      <a:pt x="53" y="43"/>
                      <a:pt x="53" y="43"/>
                      <a:pt x="53" y="43"/>
                    </a:cubicBezTo>
                    <a:cubicBezTo>
                      <a:pt x="53" y="43"/>
                      <a:pt x="53" y="43"/>
                      <a:pt x="53" y="43"/>
                    </a:cubicBezTo>
                    <a:cubicBezTo>
                      <a:pt x="53" y="43"/>
                      <a:pt x="53" y="43"/>
                      <a:pt x="53" y="43"/>
                    </a:cubicBezTo>
                    <a:close/>
                    <a:moveTo>
                      <a:pt x="44" y="41"/>
                    </a:moveTo>
                    <a:cubicBezTo>
                      <a:pt x="44" y="41"/>
                      <a:pt x="44" y="41"/>
                      <a:pt x="44" y="41"/>
                    </a:cubicBezTo>
                    <a:cubicBezTo>
                      <a:pt x="44" y="41"/>
                      <a:pt x="44" y="41"/>
                      <a:pt x="45" y="42"/>
                    </a:cubicBezTo>
                    <a:cubicBezTo>
                      <a:pt x="44" y="41"/>
                      <a:pt x="44" y="41"/>
                      <a:pt x="44" y="41"/>
                    </a:cubicBezTo>
                    <a:cubicBezTo>
                      <a:pt x="44" y="41"/>
                      <a:pt x="44" y="41"/>
                      <a:pt x="44" y="41"/>
                    </a:cubicBezTo>
                    <a:cubicBezTo>
                      <a:pt x="44" y="41"/>
                      <a:pt x="44" y="41"/>
                      <a:pt x="44" y="41"/>
                    </a:cubicBezTo>
                    <a:cubicBezTo>
                      <a:pt x="44" y="41"/>
                      <a:pt x="44" y="41"/>
                      <a:pt x="44" y="41"/>
                    </a:cubicBezTo>
                    <a:cubicBezTo>
                      <a:pt x="44" y="41"/>
                      <a:pt x="44" y="41"/>
                      <a:pt x="44" y="41"/>
                    </a:cubicBezTo>
                    <a:close/>
                    <a:moveTo>
                      <a:pt x="38" y="40"/>
                    </a:moveTo>
                    <a:cubicBezTo>
                      <a:pt x="38" y="40"/>
                      <a:pt x="38" y="40"/>
                      <a:pt x="38" y="40"/>
                    </a:cubicBezTo>
                    <a:cubicBezTo>
                      <a:pt x="38" y="40"/>
                      <a:pt x="38" y="40"/>
                      <a:pt x="38" y="40"/>
                    </a:cubicBezTo>
                    <a:cubicBezTo>
                      <a:pt x="38" y="40"/>
                      <a:pt x="38" y="40"/>
                      <a:pt x="38" y="40"/>
                    </a:cubicBezTo>
                    <a:cubicBezTo>
                      <a:pt x="38" y="40"/>
                      <a:pt x="38" y="40"/>
                      <a:pt x="38" y="40"/>
                    </a:cubicBezTo>
                    <a:cubicBezTo>
                      <a:pt x="38" y="40"/>
                      <a:pt x="38" y="40"/>
                      <a:pt x="38" y="40"/>
                    </a:cubicBezTo>
                    <a:cubicBezTo>
                      <a:pt x="38" y="40"/>
                      <a:pt x="38" y="40"/>
                      <a:pt x="38" y="40"/>
                    </a:cubicBezTo>
                    <a:close/>
                    <a:moveTo>
                      <a:pt x="52" y="43"/>
                    </a:moveTo>
                    <a:cubicBezTo>
                      <a:pt x="52" y="43"/>
                      <a:pt x="52" y="43"/>
                      <a:pt x="52" y="43"/>
                    </a:cubicBezTo>
                    <a:cubicBezTo>
                      <a:pt x="52" y="43"/>
                      <a:pt x="52" y="43"/>
                      <a:pt x="52" y="43"/>
                    </a:cubicBezTo>
                    <a:cubicBezTo>
                      <a:pt x="52" y="43"/>
                      <a:pt x="52" y="43"/>
                      <a:pt x="52" y="43"/>
                    </a:cubicBezTo>
                    <a:cubicBezTo>
                      <a:pt x="52" y="43"/>
                      <a:pt x="52" y="43"/>
                      <a:pt x="52" y="43"/>
                    </a:cubicBezTo>
                    <a:close/>
                    <a:moveTo>
                      <a:pt x="47" y="42"/>
                    </a:moveTo>
                    <a:cubicBezTo>
                      <a:pt x="47" y="42"/>
                      <a:pt x="47" y="42"/>
                      <a:pt x="47" y="42"/>
                    </a:cubicBezTo>
                    <a:cubicBezTo>
                      <a:pt x="47" y="42"/>
                      <a:pt x="47" y="42"/>
                      <a:pt x="46" y="42"/>
                    </a:cubicBezTo>
                    <a:cubicBezTo>
                      <a:pt x="46" y="42"/>
                      <a:pt x="46" y="42"/>
                      <a:pt x="46" y="42"/>
                    </a:cubicBezTo>
                    <a:cubicBezTo>
                      <a:pt x="46" y="42"/>
                      <a:pt x="46" y="42"/>
                      <a:pt x="46" y="41"/>
                    </a:cubicBezTo>
                    <a:cubicBezTo>
                      <a:pt x="46" y="42"/>
                      <a:pt x="47" y="42"/>
                      <a:pt x="47" y="42"/>
                    </a:cubicBezTo>
                    <a:cubicBezTo>
                      <a:pt x="47" y="42"/>
                      <a:pt x="47" y="42"/>
                      <a:pt x="47" y="42"/>
                    </a:cubicBezTo>
                    <a:close/>
                    <a:moveTo>
                      <a:pt x="52" y="43"/>
                    </a:moveTo>
                    <a:cubicBezTo>
                      <a:pt x="52" y="43"/>
                      <a:pt x="52" y="43"/>
                      <a:pt x="52" y="43"/>
                    </a:cubicBezTo>
                    <a:cubicBezTo>
                      <a:pt x="52" y="43"/>
                      <a:pt x="52" y="43"/>
                      <a:pt x="52" y="43"/>
                    </a:cubicBezTo>
                    <a:cubicBezTo>
                      <a:pt x="52" y="43"/>
                      <a:pt x="52" y="43"/>
                      <a:pt x="52" y="43"/>
                    </a:cubicBezTo>
                    <a:cubicBezTo>
                      <a:pt x="52" y="43"/>
                      <a:pt x="52" y="43"/>
                      <a:pt x="52" y="43"/>
                    </a:cubicBezTo>
                    <a:close/>
                    <a:moveTo>
                      <a:pt x="43" y="41"/>
                    </a:moveTo>
                    <a:cubicBezTo>
                      <a:pt x="43" y="41"/>
                      <a:pt x="43" y="41"/>
                      <a:pt x="44" y="41"/>
                    </a:cubicBezTo>
                    <a:cubicBezTo>
                      <a:pt x="44" y="41"/>
                      <a:pt x="44" y="41"/>
                      <a:pt x="44" y="41"/>
                    </a:cubicBezTo>
                    <a:cubicBezTo>
                      <a:pt x="44" y="41"/>
                      <a:pt x="43" y="41"/>
                      <a:pt x="43" y="41"/>
                    </a:cubicBezTo>
                    <a:cubicBezTo>
                      <a:pt x="43" y="41"/>
                      <a:pt x="43" y="41"/>
                      <a:pt x="43" y="41"/>
                    </a:cubicBezTo>
                    <a:close/>
                    <a:moveTo>
                      <a:pt x="36" y="40"/>
                    </a:moveTo>
                    <a:cubicBezTo>
                      <a:pt x="36" y="39"/>
                      <a:pt x="36" y="39"/>
                      <a:pt x="36" y="39"/>
                    </a:cubicBezTo>
                    <a:cubicBezTo>
                      <a:pt x="36" y="39"/>
                      <a:pt x="36" y="40"/>
                      <a:pt x="36" y="40"/>
                    </a:cubicBezTo>
                    <a:cubicBezTo>
                      <a:pt x="36" y="40"/>
                      <a:pt x="36" y="40"/>
                      <a:pt x="36" y="40"/>
                    </a:cubicBezTo>
                    <a:cubicBezTo>
                      <a:pt x="36" y="40"/>
                      <a:pt x="36" y="40"/>
                      <a:pt x="36" y="40"/>
                    </a:cubicBezTo>
                    <a:close/>
                    <a:moveTo>
                      <a:pt x="52" y="43"/>
                    </a:moveTo>
                    <a:cubicBezTo>
                      <a:pt x="52" y="43"/>
                      <a:pt x="52" y="43"/>
                      <a:pt x="52" y="43"/>
                    </a:cubicBezTo>
                    <a:cubicBezTo>
                      <a:pt x="52" y="43"/>
                      <a:pt x="52" y="43"/>
                      <a:pt x="52" y="43"/>
                    </a:cubicBezTo>
                    <a:cubicBezTo>
                      <a:pt x="52" y="43"/>
                      <a:pt x="52" y="43"/>
                      <a:pt x="52" y="43"/>
                    </a:cubicBezTo>
                    <a:cubicBezTo>
                      <a:pt x="52" y="43"/>
                      <a:pt x="52" y="43"/>
                      <a:pt x="52" y="43"/>
                    </a:cubicBezTo>
                    <a:close/>
                    <a:moveTo>
                      <a:pt x="52" y="43"/>
                    </a:moveTo>
                    <a:cubicBezTo>
                      <a:pt x="52" y="43"/>
                      <a:pt x="52" y="43"/>
                      <a:pt x="52" y="43"/>
                    </a:cubicBezTo>
                    <a:cubicBezTo>
                      <a:pt x="53" y="43"/>
                      <a:pt x="53" y="43"/>
                      <a:pt x="53" y="43"/>
                    </a:cubicBezTo>
                    <a:cubicBezTo>
                      <a:pt x="53" y="43"/>
                      <a:pt x="53" y="43"/>
                      <a:pt x="53" y="43"/>
                    </a:cubicBezTo>
                    <a:cubicBezTo>
                      <a:pt x="53" y="43"/>
                      <a:pt x="52" y="43"/>
                      <a:pt x="52" y="43"/>
                    </a:cubicBezTo>
                    <a:cubicBezTo>
                      <a:pt x="52" y="43"/>
                      <a:pt x="52" y="43"/>
                      <a:pt x="52" y="43"/>
                    </a:cubicBezTo>
                    <a:close/>
                    <a:moveTo>
                      <a:pt x="15" y="35"/>
                    </a:moveTo>
                    <a:cubicBezTo>
                      <a:pt x="15" y="35"/>
                      <a:pt x="15" y="35"/>
                      <a:pt x="15" y="35"/>
                    </a:cubicBezTo>
                    <a:cubicBezTo>
                      <a:pt x="15" y="35"/>
                      <a:pt x="15" y="36"/>
                      <a:pt x="15" y="36"/>
                    </a:cubicBezTo>
                    <a:cubicBezTo>
                      <a:pt x="14" y="36"/>
                      <a:pt x="14" y="36"/>
                      <a:pt x="13" y="36"/>
                    </a:cubicBezTo>
                    <a:cubicBezTo>
                      <a:pt x="13" y="36"/>
                      <a:pt x="13" y="35"/>
                      <a:pt x="13" y="35"/>
                    </a:cubicBezTo>
                    <a:cubicBezTo>
                      <a:pt x="13" y="35"/>
                      <a:pt x="13" y="35"/>
                      <a:pt x="13" y="35"/>
                    </a:cubicBezTo>
                    <a:cubicBezTo>
                      <a:pt x="13" y="35"/>
                      <a:pt x="13" y="35"/>
                      <a:pt x="13" y="35"/>
                    </a:cubicBezTo>
                    <a:cubicBezTo>
                      <a:pt x="13" y="35"/>
                      <a:pt x="13" y="35"/>
                      <a:pt x="13" y="35"/>
                    </a:cubicBezTo>
                    <a:cubicBezTo>
                      <a:pt x="13" y="36"/>
                      <a:pt x="13" y="36"/>
                      <a:pt x="13" y="36"/>
                    </a:cubicBezTo>
                    <a:cubicBezTo>
                      <a:pt x="12" y="36"/>
                      <a:pt x="12" y="35"/>
                      <a:pt x="12" y="35"/>
                    </a:cubicBezTo>
                    <a:cubicBezTo>
                      <a:pt x="12" y="35"/>
                      <a:pt x="13" y="34"/>
                      <a:pt x="13" y="34"/>
                    </a:cubicBezTo>
                    <a:cubicBezTo>
                      <a:pt x="13" y="34"/>
                      <a:pt x="12" y="34"/>
                      <a:pt x="12" y="34"/>
                    </a:cubicBezTo>
                    <a:cubicBezTo>
                      <a:pt x="12" y="34"/>
                      <a:pt x="12" y="34"/>
                      <a:pt x="12" y="34"/>
                    </a:cubicBezTo>
                    <a:cubicBezTo>
                      <a:pt x="13" y="34"/>
                      <a:pt x="14" y="35"/>
                      <a:pt x="15" y="35"/>
                    </a:cubicBezTo>
                    <a:cubicBezTo>
                      <a:pt x="15" y="35"/>
                      <a:pt x="15" y="35"/>
                      <a:pt x="15" y="35"/>
                    </a:cubicBezTo>
                    <a:close/>
                    <a:moveTo>
                      <a:pt x="36" y="40"/>
                    </a:moveTo>
                    <a:cubicBezTo>
                      <a:pt x="36" y="40"/>
                      <a:pt x="36" y="40"/>
                      <a:pt x="36" y="40"/>
                    </a:cubicBezTo>
                    <a:cubicBezTo>
                      <a:pt x="36" y="40"/>
                      <a:pt x="36" y="40"/>
                      <a:pt x="36" y="40"/>
                    </a:cubicBezTo>
                    <a:cubicBezTo>
                      <a:pt x="36" y="40"/>
                      <a:pt x="36" y="40"/>
                      <a:pt x="36" y="40"/>
                    </a:cubicBezTo>
                    <a:cubicBezTo>
                      <a:pt x="36" y="40"/>
                      <a:pt x="36" y="40"/>
                      <a:pt x="36" y="40"/>
                    </a:cubicBezTo>
                    <a:close/>
                    <a:moveTo>
                      <a:pt x="51" y="43"/>
                    </a:moveTo>
                    <a:cubicBezTo>
                      <a:pt x="51" y="43"/>
                      <a:pt x="51" y="43"/>
                      <a:pt x="51" y="43"/>
                    </a:cubicBezTo>
                    <a:cubicBezTo>
                      <a:pt x="51" y="43"/>
                      <a:pt x="51" y="43"/>
                      <a:pt x="51" y="43"/>
                    </a:cubicBezTo>
                    <a:cubicBezTo>
                      <a:pt x="51" y="43"/>
                      <a:pt x="51" y="43"/>
                      <a:pt x="51" y="43"/>
                    </a:cubicBezTo>
                    <a:cubicBezTo>
                      <a:pt x="51" y="43"/>
                      <a:pt x="51" y="43"/>
                      <a:pt x="51" y="43"/>
                    </a:cubicBezTo>
                    <a:close/>
                    <a:moveTo>
                      <a:pt x="46" y="42"/>
                    </a:moveTo>
                    <a:cubicBezTo>
                      <a:pt x="46" y="42"/>
                      <a:pt x="46" y="42"/>
                      <a:pt x="46" y="42"/>
                    </a:cubicBezTo>
                    <a:cubicBezTo>
                      <a:pt x="46" y="42"/>
                      <a:pt x="46" y="42"/>
                      <a:pt x="45" y="42"/>
                    </a:cubicBezTo>
                    <a:cubicBezTo>
                      <a:pt x="45" y="42"/>
                      <a:pt x="45" y="42"/>
                      <a:pt x="45" y="42"/>
                    </a:cubicBezTo>
                    <a:cubicBezTo>
                      <a:pt x="45" y="42"/>
                      <a:pt x="46" y="42"/>
                      <a:pt x="46" y="42"/>
                    </a:cubicBezTo>
                    <a:cubicBezTo>
                      <a:pt x="46" y="42"/>
                      <a:pt x="46" y="42"/>
                      <a:pt x="46" y="42"/>
                    </a:cubicBezTo>
                    <a:close/>
                    <a:moveTo>
                      <a:pt x="47" y="42"/>
                    </a:moveTo>
                    <a:cubicBezTo>
                      <a:pt x="47" y="42"/>
                      <a:pt x="48" y="43"/>
                      <a:pt x="48" y="43"/>
                    </a:cubicBezTo>
                    <a:cubicBezTo>
                      <a:pt x="48" y="43"/>
                      <a:pt x="47" y="43"/>
                      <a:pt x="47" y="43"/>
                    </a:cubicBezTo>
                    <a:cubicBezTo>
                      <a:pt x="47" y="43"/>
                      <a:pt x="47" y="43"/>
                      <a:pt x="47" y="43"/>
                    </a:cubicBezTo>
                    <a:cubicBezTo>
                      <a:pt x="47" y="42"/>
                      <a:pt x="47" y="42"/>
                      <a:pt x="47" y="42"/>
                    </a:cubicBezTo>
                    <a:cubicBezTo>
                      <a:pt x="47" y="42"/>
                      <a:pt x="47" y="42"/>
                      <a:pt x="47" y="42"/>
                    </a:cubicBezTo>
                    <a:close/>
                    <a:moveTo>
                      <a:pt x="52" y="43"/>
                    </a:moveTo>
                    <a:cubicBezTo>
                      <a:pt x="52" y="43"/>
                      <a:pt x="52" y="43"/>
                      <a:pt x="52" y="43"/>
                    </a:cubicBezTo>
                    <a:cubicBezTo>
                      <a:pt x="52" y="43"/>
                      <a:pt x="52" y="43"/>
                      <a:pt x="52" y="43"/>
                    </a:cubicBezTo>
                    <a:cubicBezTo>
                      <a:pt x="52" y="43"/>
                      <a:pt x="52" y="43"/>
                      <a:pt x="52" y="44"/>
                    </a:cubicBezTo>
                    <a:cubicBezTo>
                      <a:pt x="52" y="43"/>
                      <a:pt x="52" y="43"/>
                      <a:pt x="52" y="43"/>
                    </a:cubicBezTo>
                    <a:cubicBezTo>
                      <a:pt x="52" y="43"/>
                      <a:pt x="52" y="43"/>
                      <a:pt x="52" y="43"/>
                    </a:cubicBezTo>
                    <a:cubicBezTo>
                      <a:pt x="52" y="43"/>
                      <a:pt x="52" y="43"/>
                      <a:pt x="52" y="43"/>
                    </a:cubicBezTo>
                    <a:close/>
                    <a:moveTo>
                      <a:pt x="12" y="34"/>
                    </a:moveTo>
                    <a:cubicBezTo>
                      <a:pt x="12" y="34"/>
                      <a:pt x="12" y="34"/>
                      <a:pt x="12" y="34"/>
                    </a:cubicBezTo>
                    <a:cubicBezTo>
                      <a:pt x="12" y="34"/>
                      <a:pt x="12" y="34"/>
                      <a:pt x="12" y="34"/>
                    </a:cubicBezTo>
                    <a:cubicBezTo>
                      <a:pt x="12" y="34"/>
                      <a:pt x="12" y="34"/>
                      <a:pt x="12" y="34"/>
                    </a:cubicBezTo>
                    <a:cubicBezTo>
                      <a:pt x="12" y="34"/>
                      <a:pt x="12" y="34"/>
                      <a:pt x="12" y="34"/>
                    </a:cubicBezTo>
                    <a:cubicBezTo>
                      <a:pt x="12" y="34"/>
                      <a:pt x="12" y="34"/>
                      <a:pt x="12" y="34"/>
                    </a:cubicBezTo>
                    <a:cubicBezTo>
                      <a:pt x="12" y="34"/>
                      <a:pt x="12" y="34"/>
                      <a:pt x="12" y="34"/>
                    </a:cubicBezTo>
                    <a:cubicBezTo>
                      <a:pt x="12" y="34"/>
                      <a:pt x="12" y="34"/>
                      <a:pt x="12" y="34"/>
                    </a:cubicBezTo>
                    <a:cubicBezTo>
                      <a:pt x="12" y="34"/>
                      <a:pt x="12" y="34"/>
                      <a:pt x="12" y="34"/>
                    </a:cubicBezTo>
                    <a:close/>
                    <a:moveTo>
                      <a:pt x="52" y="43"/>
                    </a:moveTo>
                    <a:cubicBezTo>
                      <a:pt x="52" y="43"/>
                      <a:pt x="52" y="43"/>
                      <a:pt x="52" y="43"/>
                    </a:cubicBezTo>
                    <a:cubicBezTo>
                      <a:pt x="52" y="43"/>
                      <a:pt x="52" y="43"/>
                      <a:pt x="53" y="43"/>
                    </a:cubicBezTo>
                    <a:cubicBezTo>
                      <a:pt x="53" y="44"/>
                      <a:pt x="52" y="44"/>
                      <a:pt x="52" y="44"/>
                    </a:cubicBezTo>
                    <a:cubicBezTo>
                      <a:pt x="52" y="43"/>
                      <a:pt x="52" y="43"/>
                      <a:pt x="52" y="43"/>
                    </a:cubicBezTo>
                    <a:cubicBezTo>
                      <a:pt x="52" y="43"/>
                      <a:pt x="52" y="43"/>
                      <a:pt x="52" y="43"/>
                    </a:cubicBezTo>
                    <a:close/>
                    <a:moveTo>
                      <a:pt x="54" y="44"/>
                    </a:moveTo>
                    <a:cubicBezTo>
                      <a:pt x="54" y="44"/>
                      <a:pt x="54" y="44"/>
                      <a:pt x="54" y="44"/>
                    </a:cubicBezTo>
                    <a:cubicBezTo>
                      <a:pt x="54" y="44"/>
                      <a:pt x="54" y="44"/>
                      <a:pt x="54" y="44"/>
                    </a:cubicBezTo>
                    <a:cubicBezTo>
                      <a:pt x="54" y="44"/>
                      <a:pt x="54" y="44"/>
                      <a:pt x="54" y="44"/>
                    </a:cubicBezTo>
                    <a:cubicBezTo>
                      <a:pt x="54" y="44"/>
                      <a:pt x="54" y="44"/>
                      <a:pt x="54" y="44"/>
                    </a:cubicBezTo>
                    <a:close/>
                    <a:moveTo>
                      <a:pt x="51" y="43"/>
                    </a:moveTo>
                    <a:cubicBezTo>
                      <a:pt x="51" y="43"/>
                      <a:pt x="51" y="43"/>
                      <a:pt x="51" y="43"/>
                    </a:cubicBezTo>
                    <a:cubicBezTo>
                      <a:pt x="51" y="43"/>
                      <a:pt x="51" y="43"/>
                      <a:pt x="51" y="43"/>
                    </a:cubicBezTo>
                    <a:cubicBezTo>
                      <a:pt x="51" y="43"/>
                      <a:pt x="51" y="43"/>
                      <a:pt x="51" y="43"/>
                    </a:cubicBezTo>
                    <a:cubicBezTo>
                      <a:pt x="51" y="43"/>
                      <a:pt x="51" y="43"/>
                      <a:pt x="51" y="43"/>
                    </a:cubicBezTo>
                    <a:close/>
                    <a:moveTo>
                      <a:pt x="37" y="40"/>
                    </a:moveTo>
                    <a:cubicBezTo>
                      <a:pt x="38" y="39"/>
                      <a:pt x="38" y="38"/>
                      <a:pt x="40" y="37"/>
                    </a:cubicBezTo>
                    <a:cubicBezTo>
                      <a:pt x="39" y="38"/>
                      <a:pt x="38" y="39"/>
                      <a:pt x="37" y="40"/>
                    </a:cubicBezTo>
                    <a:cubicBezTo>
                      <a:pt x="37" y="40"/>
                      <a:pt x="37" y="40"/>
                      <a:pt x="37" y="40"/>
                    </a:cubicBezTo>
                    <a:close/>
                    <a:moveTo>
                      <a:pt x="52" y="44"/>
                    </a:moveTo>
                    <a:cubicBezTo>
                      <a:pt x="52" y="44"/>
                      <a:pt x="52" y="44"/>
                      <a:pt x="52" y="43"/>
                    </a:cubicBezTo>
                    <a:cubicBezTo>
                      <a:pt x="52" y="44"/>
                      <a:pt x="52" y="44"/>
                      <a:pt x="52" y="44"/>
                    </a:cubicBezTo>
                    <a:cubicBezTo>
                      <a:pt x="52" y="44"/>
                      <a:pt x="52" y="44"/>
                      <a:pt x="52" y="44"/>
                    </a:cubicBezTo>
                    <a:cubicBezTo>
                      <a:pt x="52" y="44"/>
                      <a:pt x="52" y="44"/>
                      <a:pt x="52" y="44"/>
                    </a:cubicBezTo>
                    <a:cubicBezTo>
                      <a:pt x="52" y="44"/>
                      <a:pt x="52" y="44"/>
                      <a:pt x="52" y="44"/>
                    </a:cubicBezTo>
                    <a:close/>
                    <a:moveTo>
                      <a:pt x="46" y="42"/>
                    </a:moveTo>
                    <a:cubicBezTo>
                      <a:pt x="46" y="42"/>
                      <a:pt x="46" y="42"/>
                      <a:pt x="46" y="42"/>
                    </a:cubicBezTo>
                    <a:cubicBezTo>
                      <a:pt x="46" y="42"/>
                      <a:pt x="46" y="42"/>
                      <a:pt x="46" y="43"/>
                    </a:cubicBezTo>
                    <a:cubicBezTo>
                      <a:pt x="46" y="43"/>
                      <a:pt x="46" y="43"/>
                      <a:pt x="46" y="43"/>
                    </a:cubicBezTo>
                    <a:cubicBezTo>
                      <a:pt x="46" y="42"/>
                      <a:pt x="46" y="42"/>
                      <a:pt x="46" y="42"/>
                    </a:cubicBezTo>
                    <a:cubicBezTo>
                      <a:pt x="46" y="42"/>
                      <a:pt x="46" y="42"/>
                      <a:pt x="46" y="42"/>
                    </a:cubicBezTo>
                    <a:close/>
                    <a:moveTo>
                      <a:pt x="52" y="44"/>
                    </a:moveTo>
                    <a:cubicBezTo>
                      <a:pt x="52" y="43"/>
                      <a:pt x="52" y="43"/>
                      <a:pt x="52" y="43"/>
                    </a:cubicBezTo>
                    <a:cubicBezTo>
                      <a:pt x="52" y="44"/>
                      <a:pt x="52" y="44"/>
                      <a:pt x="51" y="44"/>
                    </a:cubicBezTo>
                    <a:cubicBezTo>
                      <a:pt x="51" y="44"/>
                      <a:pt x="51" y="44"/>
                      <a:pt x="51" y="44"/>
                    </a:cubicBezTo>
                    <a:cubicBezTo>
                      <a:pt x="52" y="44"/>
                      <a:pt x="52" y="44"/>
                      <a:pt x="52" y="44"/>
                    </a:cubicBezTo>
                    <a:cubicBezTo>
                      <a:pt x="52" y="44"/>
                      <a:pt x="52" y="44"/>
                      <a:pt x="52" y="44"/>
                    </a:cubicBezTo>
                    <a:cubicBezTo>
                      <a:pt x="52" y="44"/>
                      <a:pt x="52" y="44"/>
                      <a:pt x="52" y="44"/>
                    </a:cubicBezTo>
                    <a:close/>
                    <a:moveTo>
                      <a:pt x="42" y="41"/>
                    </a:moveTo>
                    <a:cubicBezTo>
                      <a:pt x="42" y="41"/>
                      <a:pt x="42" y="41"/>
                      <a:pt x="43" y="41"/>
                    </a:cubicBezTo>
                    <a:cubicBezTo>
                      <a:pt x="43" y="41"/>
                      <a:pt x="43" y="42"/>
                      <a:pt x="43" y="42"/>
                    </a:cubicBezTo>
                    <a:cubicBezTo>
                      <a:pt x="43" y="42"/>
                      <a:pt x="43" y="42"/>
                      <a:pt x="43" y="42"/>
                    </a:cubicBezTo>
                    <a:cubicBezTo>
                      <a:pt x="43" y="42"/>
                      <a:pt x="42" y="41"/>
                      <a:pt x="42" y="41"/>
                    </a:cubicBezTo>
                    <a:cubicBezTo>
                      <a:pt x="42" y="41"/>
                      <a:pt x="42" y="41"/>
                      <a:pt x="42" y="41"/>
                    </a:cubicBezTo>
                    <a:close/>
                    <a:moveTo>
                      <a:pt x="52" y="44"/>
                    </a:moveTo>
                    <a:cubicBezTo>
                      <a:pt x="52" y="44"/>
                      <a:pt x="52" y="44"/>
                      <a:pt x="52" y="44"/>
                    </a:cubicBezTo>
                    <a:cubicBezTo>
                      <a:pt x="52" y="44"/>
                      <a:pt x="52" y="44"/>
                      <a:pt x="52" y="44"/>
                    </a:cubicBezTo>
                    <a:cubicBezTo>
                      <a:pt x="52" y="44"/>
                      <a:pt x="52" y="44"/>
                      <a:pt x="52" y="44"/>
                    </a:cubicBezTo>
                    <a:cubicBezTo>
                      <a:pt x="52" y="44"/>
                      <a:pt x="52" y="44"/>
                      <a:pt x="52" y="44"/>
                    </a:cubicBezTo>
                    <a:cubicBezTo>
                      <a:pt x="52" y="44"/>
                      <a:pt x="52" y="44"/>
                      <a:pt x="52" y="44"/>
                    </a:cubicBezTo>
                    <a:close/>
                    <a:moveTo>
                      <a:pt x="50" y="43"/>
                    </a:moveTo>
                    <a:cubicBezTo>
                      <a:pt x="50" y="43"/>
                      <a:pt x="50" y="43"/>
                      <a:pt x="50" y="43"/>
                    </a:cubicBezTo>
                    <a:cubicBezTo>
                      <a:pt x="50" y="43"/>
                      <a:pt x="50" y="43"/>
                      <a:pt x="50" y="43"/>
                    </a:cubicBezTo>
                    <a:cubicBezTo>
                      <a:pt x="50" y="43"/>
                      <a:pt x="50" y="43"/>
                      <a:pt x="50" y="43"/>
                    </a:cubicBezTo>
                    <a:cubicBezTo>
                      <a:pt x="50" y="43"/>
                      <a:pt x="50" y="43"/>
                      <a:pt x="50" y="43"/>
                    </a:cubicBezTo>
                    <a:close/>
                    <a:moveTo>
                      <a:pt x="12" y="35"/>
                    </a:moveTo>
                    <a:cubicBezTo>
                      <a:pt x="12" y="35"/>
                      <a:pt x="12" y="35"/>
                      <a:pt x="12" y="35"/>
                    </a:cubicBezTo>
                    <a:cubicBezTo>
                      <a:pt x="12" y="35"/>
                      <a:pt x="12" y="35"/>
                      <a:pt x="12" y="35"/>
                    </a:cubicBezTo>
                    <a:cubicBezTo>
                      <a:pt x="12" y="35"/>
                      <a:pt x="12" y="35"/>
                      <a:pt x="12" y="35"/>
                    </a:cubicBezTo>
                    <a:cubicBezTo>
                      <a:pt x="12" y="35"/>
                      <a:pt x="12" y="35"/>
                      <a:pt x="12" y="35"/>
                    </a:cubicBezTo>
                    <a:close/>
                    <a:moveTo>
                      <a:pt x="48" y="43"/>
                    </a:moveTo>
                    <a:cubicBezTo>
                      <a:pt x="48" y="43"/>
                      <a:pt x="48" y="43"/>
                      <a:pt x="48" y="43"/>
                    </a:cubicBezTo>
                    <a:cubicBezTo>
                      <a:pt x="48" y="43"/>
                      <a:pt x="48" y="43"/>
                      <a:pt x="48" y="43"/>
                    </a:cubicBezTo>
                    <a:cubicBezTo>
                      <a:pt x="48" y="43"/>
                      <a:pt x="48" y="43"/>
                      <a:pt x="48" y="43"/>
                    </a:cubicBezTo>
                    <a:cubicBezTo>
                      <a:pt x="48" y="43"/>
                      <a:pt x="48" y="43"/>
                      <a:pt x="48" y="43"/>
                    </a:cubicBezTo>
                    <a:close/>
                    <a:moveTo>
                      <a:pt x="25" y="38"/>
                    </a:moveTo>
                    <a:cubicBezTo>
                      <a:pt x="25" y="38"/>
                      <a:pt x="25" y="38"/>
                      <a:pt x="25" y="38"/>
                    </a:cubicBezTo>
                    <a:cubicBezTo>
                      <a:pt x="25" y="38"/>
                      <a:pt x="25" y="38"/>
                      <a:pt x="25" y="38"/>
                    </a:cubicBezTo>
                    <a:cubicBezTo>
                      <a:pt x="25" y="38"/>
                      <a:pt x="25" y="38"/>
                      <a:pt x="25" y="38"/>
                    </a:cubicBezTo>
                    <a:cubicBezTo>
                      <a:pt x="25" y="38"/>
                      <a:pt x="25" y="38"/>
                      <a:pt x="25" y="38"/>
                    </a:cubicBezTo>
                    <a:cubicBezTo>
                      <a:pt x="25" y="38"/>
                      <a:pt x="25" y="38"/>
                      <a:pt x="25" y="38"/>
                    </a:cubicBezTo>
                    <a:close/>
                    <a:moveTo>
                      <a:pt x="12" y="35"/>
                    </a:moveTo>
                    <a:cubicBezTo>
                      <a:pt x="12" y="35"/>
                      <a:pt x="12" y="35"/>
                      <a:pt x="12" y="35"/>
                    </a:cubicBezTo>
                    <a:cubicBezTo>
                      <a:pt x="12" y="35"/>
                      <a:pt x="12" y="35"/>
                      <a:pt x="12" y="36"/>
                    </a:cubicBezTo>
                    <a:cubicBezTo>
                      <a:pt x="12" y="35"/>
                      <a:pt x="12" y="35"/>
                      <a:pt x="12" y="35"/>
                    </a:cubicBezTo>
                    <a:cubicBezTo>
                      <a:pt x="12" y="35"/>
                      <a:pt x="12" y="35"/>
                      <a:pt x="12" y="35"/>
                    </a:cubicBezTo>
                    <a:close/>
                    <a:moveTo>
                      <a:pt x="50" y="43"/>
                    </a:moveTo>
                    <a:cubicBezTo>
                      <a:pt x="50" y="43"/>
                      <a:pt x="50" y="43"/>
                      <a:pt x="50" y="43"/>
                    </a:cubicBezTo>
                    <a:cubicBezTo>
                      <a:pt x="50" y="43"/>
                      <a:pt x="50" y="43"/>
                      <a:pt x="50" y="44"/>
                    </a:cubicBezTo>
                    <a:cubicBezTo>
                      <a:pt x="50" y="44"/>
                      <a:pt x="50" y="43"/>
                      <a:pt x="50" y="43"/>
                    </a:cubicBezTo>
                    <a:cubicBezTo>
                      <a:pt x="50" y="43"/>
                      <a:pt x="50" y="43"/>
                      <a:pt x="50" y="43"/>
                    </a:cubicBezTo>
                    <a:close/>
                    <a:moveTo>
                      <a:pt x="19" y="37"/>
                    </a:moveTo>
                    <a:cubicBezTo>
                      <a:pt x="19" y="36"/>
                      <a:pt x="19" y="36"/>
                      <a:pt x="20" y="36"/>
                    </a:cubicBezTo>
                    <a:cubicBezTo>
                      <a:pt x="20" y="37"/>
                      <a:pt x="20" y="37"/>
                      <a:pt x="20" y="37"/>
                    </a:cubicBezTo>
                    <a:cubicBezTo>
                      <a:pt x="20" y="37"/>
                      <a:pt x="20" y="37"/>
                      <a:pt x="19" y="37"/>
                    </a:cubicBezTo>
                    <a:cubicBezTo>
                      <a:pt x="19" y="37"/>
                      <a:pt x="19" y="37"/>
                      <a:pt x="19" y="37"/>
                    </a:cubicBezTo>
                    <a:cubicBezTo>
                      <a:pt x="19" y="37"/>
                      <a:pt x="19" y="37"/>
                      <a:pt x="19" y="37"/>
                    </a:cubicBezTo>
                    <a:close/>
                    <a:moveTo>
                      <a:pt x="43" y="42"/>
                    </a:moveTo>
                    <a:cubicBezTo>
                      <a:pt x="43" y="42"/>
                      <a:pt x="43" y="42"/>
                      <a:pt x="43" y="42"/>
                    </a:cubicBezTo>
                    <a:cubicBezTo>
                      <a:pt x="43" y="42"/>
                      <a:pt x="43" y="42"/>
                      <a:pt x="43" y="42"/>
                    </a:cubicBezTo>
                    <a:cubicBezTo>
                      <a:pt x="43" y="42"/>
                      <a:pt x="43" y="42"/>
                      <a:pt x="43" y="42"/>
                    </a:cubicBezTo>
                    <a:cubicBezTo>
                      <a:pt x="43" y="42"/>
                      <a:pt x="43" y="42"/>
                      <a:pt x="43" y="42"/>
                    </a:cubicBezTo>
                    <a:close/>
                    <a:moveTo>
                      <a:pt x="51" y="44"/>
                    </a:moveTo>
                    <a:cubicBezTo>
                      <a:pt x="51" y="44"/>
                      <a:pt x="51" y="44"/>
                      <a:pt x="51" y="44"/>
                    </a:cubicBezTo>
                    <a:cubicBezTo>
                      <a:pt x="51" y="44"/>
                      <a:pt x="51" y="44"/>
                      <a:pt x="51" y="44"/>
                    </a:cubicBezTo>
                    <a:cubicBezTo>
                      <a:pt x="51" y="44"/>
                      <a:pt x="51" y="44"/>
                      <a:pt x="51" y="44"/>
                    </a:cubicBezTo>
                    <a:cubicBezTo>
                      <a:pt x="51" y="44"/>
                      <a:pt x="51" y="44"/>
                      <a:pt x="51" y="44"/>
                    </a:cubicBezTo>
                    <a:close/>
                    <a:moveTo>
                      <a:pt x="49" y="43"/>
                    </a:moveTo>
                    <a:cubicBezTo>
                      <a:pt x="49" y="43"/>
                      <a:pt x="49" y="43"/>
                      <a:pt x="49" y="43"/>
                    </a:cubicBezTo>
                    <a:cubicBezTo>
                      <a:pt x="49" y="43"/>
                      <a:pt x="49" y="44"/>
                      <a:pt x="49" y="44"/>
                    </a:cubicBezTo>
                    <a:cubicBezTo>
                      <a:pt x="49" y="43"/>
                      <a:pt x="49" y="43"/>
                      <a:pt x="49" y="43"/>
                    </a:cubicBezTo>
                    <a:cubicBezTo>
                      <a:pt x="49" y="43"/>
                      <a:pt x="49" y="43"/>
                      <a:pt x="49" y="43"/>
                    </a:cubicBezTo>
                    <a:close/>
                    <a:moveTo>
                      <a:pt x="49" y="44"/>
                    </a:moveTo>
                    <a:cubicBezTo>
                      <a:pt x="49" y="44"/>
                      <a:pt x="49" y="43"/>
                      <a:pt x="49" y="43"/>
                    </a:cubicBezTo>
                    <a:cubicBezTo>
                      <a:pt x="49" y="44"/>
                      <a:pt x="49" y="44"/>
                      <a:pt x="49" y="44"/>
                    </a:cubicBezTo>
                    <a:cubicBezTo>
                      <a:pt x="49" y="44"/>
                      <a:pt x="49" y="44"/>
                      <a:pt x="49" y="44"/>
                    </a:cubicBezTo>
                    <a:cubicBezTo>
                      <a:pt x="49" y="44"/>
                      <a:pt x="49" y="44"/>
                      <a:pt x="49" y="44"/>
                    </a:cubicBezTo>
                    <a:cubicBezTo>
                      <a:pt x="49" y="44"/>
                      <a:pt x="49" y="44"/>
                      <a:pt x="49" y="44"/>
                    </a:cubicBezTo>
                    <a:cubicBezTo>
                      <a:pt x="49" y="44"/>
                      <a:pt x="49" y="44"/>
                      <a:pt x="50" y="44"/>
                    </a:cubicBezTo>
                    <a:cubicBezTo>
                      <a:pt x="50" y="44"/>
                      <a:pt x="50" y="44"/>
                      <a:pt x="49" y="44"/>
                    </a:cubicBezTo>
                    <a:cubicBezTo>
                      <a:pt x="49" y="44"/>
                      <a:pt x="49" y="44"/>
                      <a:pt x="49" y="44"/>
                    </a:cubicBezTo>
                    <a:close/>
                    <a:moveTo>
                      <a:pt x="46" y="43"/>
                    </a:moveTo>
                    <a:cubicBezTo>
                      <a:pt x="46" y="43"/>
                      <a:pt x="46" y="43"/>
                      <a:pt x="46" y="43"/>
                    </a:cubicBezTo>
                    <a:cubicBezTo>
                      <a:pt x="46" y="43"/>
                      <a:pt x="46" y="43"/>
                      <a:pt x="46" y="43"/>
                    </a:cubicBezTo>
                    <a:cubicBezTo>
                      <a:pt x="46" y="43"/>
                      <a:pt x="46" y="43"/>
                      <a:pt x="46" y="43"/>
                    </a:cubicBezTo>
                    <a:cubicBezTo>
                      <a:pt x="46" y="43"/>
                      <a:pt x="46" y="43"/>
                      <a:pt x="46" y="43"/>
                    </a:cubicBezTo>
                    <a:cubicBezTo>
                      <a:pt x="46" y="43"/>
                      <a:pt x="46" y="43"/>
                      <a:pt x="46" y="43"/>
                    </a:cubicBezTo>
                    <a:close/>
                    <a:moveTo>
                      <a:pt x="55" y="45"/>
                    </a:moveTo>
                    <a:cubicBezTo>
                      <a:pt x="55" y="45"/>
                      <a:pt x="55" y="45"/>
                      <a:pt x="55" y="45"/>
                    </a:cubicBezTo>
                    <a:cubicBezTo>
                      <a:pt x="55" y="45"/>
                      <a:pt x="55" y="45"/>
                      <a:pt x="55" y="45"/>
                    </a:cubicBezTo>
                    <a:cubicBezTo>
                      <a:pt x="55" y="45"/>
                      <a:pt x="55" y="45"/>
                      <a:pt x="55" y="45"/>
                    </a:cubicBezTo>
                    <a:cubicBezTo>
                      <a:pt x="55" y="45"/>
                      <a:pt x="55" y="45"/>
                      <a:pt x="55" y="45"/>
                    </a:cubicBezTo>
                    <a:cubicBezTo>
                      <a:pt x="55" y="45"/>
                      <a:pt x="55" y="45"/>
                      <a:pt x="55" y="45"/>
                    </a:cubicBezTo>
                    <a:close/>
                    <a:moveTo>
                      <a:pt x="50" y="44"/>
                    </a:moveTo>
                    <a:cubicBezTo>
                      <a:pt x="50" y="44"/>
                      <a:pt x="50" y="44"/>
                      <a:pt x="50" y="44"/>
                    </a:cubicBezTo>
                    <a:cubicBezTo>
                      <a:pt x="50" y="44"/>
                      <a:pt x="50" y="44"/>
                      <a:pt x="50" y="44"/>
                    </a:cubicBezTo>
                    <a:cubicBezTo>
                      <a:pt x="50" y="44"/>
                      <a:pt x="50" y="44"/>
                      <a:pt x="50" y="44"/>
                    </a:cubicBezTo>
                    <a:cubicBezTo>
                      <a:pt x="50" y="44"/>
                      <a:pt x="50" y="44"/>
                      <a:pt x="50" y="44"/>
                    </a:cubicBezTo>
                    <a:close/>
                    <a:moveTo>
                      <a:pt x="8" y="34"/>
                    </a:moveTo>
                    <a:cubicBezTo>
                      <a:pt x="8" y="34"/>
                      <a:pt x="8" y="34"/>
                      <a:pt x="8" y="34"/>
                    </a:cubicBezTo>
                    <a:cubicBezTo>
                      <a:pt x="8" y="34"/>
                      <a:pt x="8" y="34"/>
                      <a:pt x="8" y="35"/>
                    </a:cubicBezTo>
                    <a:cubicBezTo>
                      <a:pt x="8" y="34"/>
                      <a:pt x="8" y="34"/>
                      <a:pt x="8" y="34"/>
                    </a:cubicBezTo>
                    <a:cubicBezTo>
                      <a:pt x="8" y="34"/>
                      <a:pt x="8" y="34"/>
                      <a:pt x="8" y="34"/>
                    </a:cubicBezTo>
                    <a:close/>
                    <a:moveTo>
                      <a:pt x="17" y="36"/>
                    </a:moveTo>
                    <a:cubicBezTo>
                      <a:pt x="17" y="36"/>
                      <a:pt x="16" y="36"/>
                      <a:pt x="16" y="36"/>
                    </a:cubicBezTo>
                    <a:cubicBezTo>
                      <a:pt x="16" y="36"/>
                      <a:pt x="16" y="36"/>
                      <a:pt x="16" y="36"/>
                    </a:cubicBezTo>
                    <a:cubicBezTo>
                      <a:pt x="16" y="36"/>
                      <a:pt x="16" y="36"/>
                      <a:pt x="16" y="36"/>
                    </a:cubicBezTo>
                    <a:cubicBezTo>
                      <a:pt x="16" y="36"/>
                      <a:pt x="16" y="36"/>
                      <a:pt x="16" y="36"/>
                    </a:cubicBezTo>
                    <a:cubicBezTo>
                      <a:pt x="16" y="37"/>
                      <a:pt x="16" y="37"/>
                      <a:pt x="17" y="38"/>
                    </a:cubicBezTo>
                    <a:cubicBezTo>
                      <a:pt x="17" y="38"/>
                      <a:pt x="17" y="38"/>
                      <a:pt x="17" y="38"/>
                    </a:cubicBezTo>
                    <a:cubicBezTo>
                      <a:pt x="17" y="37"/>
                      <a:pt x="17" y="37"/>
                      <a:pt x="17" y="37"/>
                    </a:cubicBezTo>
                    <a:cubicBezTo>
                      <a:pt x="17" y="37"/>
                      <a:pt x="17" y="37"/>
                      <a:pt x="17" y="37"/>
                    </a:cubicBezTo>
                    <a:cubicBezTo>
                      <a:pt x="18" y="37"/>
                      <a:pt x="18" y="37"/>
                      <a:pt x="19" y="37"/>
                    </a:cubicBezTo>
                    <a:cubicBezTo>
                      <a:pt x="19" y="37"/>
                      <a:pt x="19" y="37"/>
                      <a:pt x="19" y="37"/>
                    </a:cubicBezTo>
                    <a:cubicBezTo>
                      <a:pt x="19" y="37"/>
                      <a:pt x="19" y="37"/>
                      <a:pt x="19" y="37"/>
                    </a:cubicBezTo>
                    <a:cubicBezTo>
                      <a:pt x="19" y="37"/>
                      <a:pt x="18" y="37"/>
                      <a:pt x="17" y="37"/>
                    </a:cubicBezTo>
                    <a:cubicBezTo>
                      <a:pt x="17" y="37"/>
                      <a:pt x="17" y="36"/>
                      <a:pt x="17" y="36"/>
                    </a:cubicBezTo>
                    <a:cubicBezTo>
                      <a:pt x="17" y="36"/>
                      <a:pt x="17" y="36"/>
                      <a:pt x="17" y="36"/>
                    </a:cubicBezTo>
                    <a:close/>
                    <a:moveTo>
                      <a:pt x="45" y="43"/>
                    </a:moveTo>
                    <a:cubicBezTo>
                      <a:pt x="44" y="43"/>
                      <a:pt x="44" y="42"/>
                      <a:pt x="44" y="42"/>
                    </a:cubicBezTo>
                    <a:cubicBezTo>
                      <a:pt x="44" y="43"/>
                      <a:pt x="44" y="43"/>
                      <a:pt x="44" y="43"/>
                    </a:cubicBezTo>
                    <a:cubicBezTo>
                      <a:pt x="45" y="43"/>
                      <a:pt x="45" y="43"/>
                      <a:pt x="45" y="43"/>
                    </a:cubicBezTo>
                    <a:cubicBezTo>
                      <a:pt x="45" y="43"/>
                      <a:pt x="45" y="43"/>
                      <a:pt x="45" y="43"/>
                    </a:cubicBezTo>
                    <a:close/>
                    <a:moveTo>
                      <a:pt x="6" y="33"/>
                    </a:moveTo>
                    <a:cubicBezTo>
                      <a:pt x="6" y="33"/>
                      <a:pt x="6" y="33"/>
                      <a:pt x="6" y="33"/>
                    </a:cubicBezTo>
                    <a:cubicBezTo>
                      <a:pt x="6" y="34"/>
                      <a:pt x="6" y="34"/>
                      <a:pt x="6" y="34"/>
                    </a:cubicBezTo>
                    <a:cubicBezTo>
                      <a:pt x="7" y="33"/>
                      <a:pt x="6" y="31"/>
                      <a:pt x="6" y="30"/>
                    </a:cubicBezTo>
                    <a:cubicBezTo>
                      <a:pt x="6" y="31"/>
                      <a:pt x="6" y="31"/>
                      <a:pt x="6" y="32"/>
                    </a:cubicBezTo>
                    <a:cubicBezTo>
                      <a:pt x="6" y="31"/>
                      <a:pt x="5" y="30"/>
                      <a:pt x="5" y="30"/>
                    </a:cubicBezTo>
                    <a:cubicBezTo>
                      <a:pt x="5" y="32"/>
                      <a:pt x="6" y="33"/>
                      <a:pt x="6" y="34"/>
                    </a:cubicBezTo>
                    <a:cubicBezTo>
                      <a:pt x="6" y="34"/>
                      <a:pt x="6" y="34"/>
                      <a:pt x="6" y="34"/>
                    </a:cubicBezTo>
                    <a:cubicBezTo>
                      <a:pt x="6" y="34"/>
                      <a:pt x="6" y="34"/>
                      <a:pt x="6" y="33"/>
                    </a:cubicBezTo>
                    <a:cubicBezTo>
                      <a:pt x="6" y="33"/>
                      <a:pt x="6" y="33"/>
                      <a:pt x="6" y="33"/>
                    </a:cubicBezTo>
                    <a:close/>
                    <a:moveTo>
                      <a:pt x="48" y="43"/>
                    </a:moveTo>
                    <a:cubicBezTo>
                      <a:pt x="48" y="43"/>
                      <a:pt x="48" y="43"/>
                      <a:pt x="49" y="43"/>
                    </a:cubicBezTo>
                    <a:cubicBezTo>
                      <a:pt x="49" y="44"/>
                      <a:pt x="49" y="44"/>
                      <a:pt x="48" y="44"/>
                    </a:cubicBezTo>
                    <a:cubicBezTo>
                      <a:pt x="49" y="44"/>
                      <a:pt x="49" y="44"/>
                      <a:pt x="49" y="44"/>
                    </a:cubicBezTo>
                    <a:cubicBezTo>
                      <a:pt x="49" y="44"/>
                      <a:pt x="49" y="44"/>
                      <a:pt x="49" y="44"/>
                    </a:cubicBezTo>
                    <a:cubicBezTo>
                      <a:pt x="49" y="44"/>
                      <a:pt x="48" y="44"/>
                      <a:pt x="48" y="44"/>
                    </a:cubicBezTo>
                    <a:cubicBezTo>
                      <a:pt x="48" y="44"/>
                      <a:pt x="49" y="44"/>
                      <a:pt x="49" y="44"/>
                    </a:cubicBezTo>
                    <a:cubicBezTo>
                      <a:pt x="48" y="45"/>
                      <a:pt x="47" y="44"/>
                      <a:pt x="46" y="44"/>
                    </a:cubicBezTo>
                    <a:cubicBezTo>
                      <a:pt x="46" y="44"/>
                      <a:pt x="46" y="44"/>
                      <a:pt x="46" y="44"/>
                    </a:cubicBezTo>
                    <a:cubicBezTo>
                      <a:pt x="46" y="44"/>
                      <a:pt x="45" y="44"/>
                      <a:pt x="45" y="44"/>
                    </a:cubicBezTo>
                    <a:cubicBezTo>
                      <a:pt x="45" y="44"/>
                      <a:pt x="45" y="44"/>
                      <a:pt x="45" y="44"/>
                    </a:cubicBezTo>
                    <a:cubicBezTo>
                      <a:pt x="45" y="45"/>
                      <a:pt x="43" y="44"/>
                      <a:pt x="42" y="44"/>
                    </a:cubicBezTo>
                    <a:cubicBezTo>
                      <a:pt x="43" y="44"/>
                      <a:pt x="43" y="44"/>
                      <a:pt x="44" y="43"/>
                    </a:cubicBezTo>
                    <a:cubicBezTo>
                      <a:pt x="44" y="43"/>
                      <a:pt x="44" y="43"/>
                      <a:pt x="44" y="43"/>
                    </a:cubicBezTo>
                    <a:cubicBezTo>
                      <a:pt x="44" y="44"/>
                      <a:pt x="43" y="44"/>
                      <a:pt x="43" y="44"/>
                    </a:cubicBezTo>
                    <a:cubicBezTo>
                      <a:pt x="43"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ubicBezTo>
                      <a:pt x="45" y="44"/>
                      <a:pt x="46" y="44"/>
                      <a:pt x="46" y="44"/>
                    </a:cubicBezTo>
                    <a:cubicBezTo>
                      <a:pt x="46" y="44"/>
                      <a:pt x="45" y="44"/>
                      <a:pt x="45" y="44"/>
                    </a:cubicBezTo>
                    <a:cubicBezTo>
                      <a:pt x="45" y="44"/>
                      <a:pt x="46" y="44"/>
                      <a:pt x="46" y="44"/>
                    </a:cubicBezTo>
                    <a:cubicBezTo>
                      <a:pt x="46" y="44"/>
                      <a:pt x="46" y="44"/>
                      <a:pt x="46" y="44"/>
                    </a:cubicBezTo>
                    <a:cubicBezTo>
                      <a:pt x="46" y="44"/>
                      <a:pt x="46" y="44"/>
                      <a:pt x="46" y="43"/>
                    </a:cubicBezTo>
                    <a:cubicBezTo>
                      <a:pt x="46" y="43"/>
                      <a:pt x="47" y="44"/>
                      <a:pt x="47" y="44"/>
                    </a:cubicBezTo>
                    <a:cubicBezTo>
                      <a:pt x="47" y="44"/>
                      <a:pt x="47" y="44"/>
                      <a:pt x="47" y="43"/>
                    </a:cubicBezTo>
                    <a:cubicBezTo>
                      <a:pt x="47" y="43"/>
                      <a:pt x="47" y="43"/>
                      <a:pt x="47" y="44"/>
                    </a:cubicBezTo>
                    <a:cubicBezTo>
                      <a:pt x="47" y="44"/>
                      <a:pt x="47" y="44"/>
                      <a:pt x="47" y="43"/>
                    </a:cubicBezTo>
                    <a:cubicBezTo>
                      <a:pt x="47" y="43"/>
                      <a:pt x="48" y="43"/>
                      <a:pt x="48" y="43"/>
                    </a:cubicBezTo>
                    <a:cubicBezTo>
                      <a:pt x="48" y="43"/>
                      <a:pt x="48" y="43"/>
                      <a:pt x="48" y="43"/>
                    </a:cubicBezTo>
                    <a:close/>
                    <a:moveTo>
                      <a:pt x="15" y="36"/>
                    </a:moveTo>
                    <a:cubicBezTo>
                      <a:pt x="15" y="36"/>
                      <a:pt x="15" y="36"/>
                      <a:pt x="15" y="36"/>
                    </a:cubicBezTo>
                    <a:cubicBezTo>
                      <a:pt x="14" y="36"/>
                      <a:pt x="14" y="36"/>
                      <a:pt x="13" y="36"/>
                    </a:cubicBezTo>
                    <a:cubicBezTo>
                      <a:pt x="13" y="36"/>
                      <a:pt x="13" y="37"/>
                      <a:pt x="13" y="37"/>
                    </a:cubicBezTo>
                    <a:cubicBezTo>
                      <a:pt x="13" y="37"/>
                      <a:pt x="14" y="37"/>
                      <a:pt x="14" y="37"/>
                    </a:cubicBezTo>
                    <a:cubicBezTo>
                      <a:pt x="14" y="36"/>
                      <a:pt x="14" y="36"/>
                      <a:pt x="13" y="36"/>
                    </a:cubicBezTo>
                    <a:cubicBezTo>
                      <a:pt x="14" y="36"/>
                      <a:pt x="14" y="36"/>
                      <a:pt x="14" y="37"/>
                    </a:cubicBezTo>
                    <a:cubicBezTo>
                      <a:pt x="14" y="36"/>
                      <a:pt x="15" y="36"/>
                      <a:pt x="15" y="36"/>
                    </a:cubicBezTo>
                    <a:cubicBezTo>
                      <a:pt x="15" y="36"/>
                      <a:pt x="15" y="36"/>
                      <a:pt x="15" y="36"/>
                    </a:cubicBezTo>
                    <a:close/>
                    <a:moveTo>
                      <a:pt x="10" y="35"/>
                    </a:moveTo>
                    <a:cubicBezTo>
                      <a:pt x="10" y="35"/>
                      <a:pt x="11" y="35"/>
                      <a:pt x="11" y="35"/>
                    </a:cubicBezTo>
                    <a:cubicBezTo>
                      <a:pt x="11" y="35"/>
                      <a:pt x="11" y="35"/>
                      <a:pt x="11" y="35"/>
                    </a:cubicBezTo>
                    <a:cubicBezTo>
                      <a:pt x="11" y="35"/>
                      <a:pt x="10" y="35"/>
                      <a:pt x="10" y="35"/>
                    </a:cubicBezTo>
                    <a:cubicBezTo>
                      <a:pt x="10" y="35"/>
                      <a:pt x="10" y="35"/>
                      <a:pt x="10" y="35"/>
                    </a:cubicBezTo>
                    <a:close/>
                    <a:moveTo>
                      <a:pt x="8" y="35"/>
                    </a:moveTo>
                    <a:cubicBezTo>
                      <a:pt x="8" y="35"/>
                      <a:pt x="8" y="34"/>
                      <a:pt x="8" y="34"/>
                    </a:cubicBezTo>
                    <a:cubicBezTo>
                      <a:pt x="8" y="34"/>
                      <a:pt x="8" y="35"/>
                      <a:pt x="8" y="35"/>
                    </a:cubicBezTo>
                    <a:cubicBezTo>
                      <a:pt x="8" y="35"/>
                      <a:pt x="8" y="35"/>
                      <a:pt x="8" y="35"/>
                    </a:cubicBezTo>
                    <a:cubicBezTo>
                      <a:pt x="8" y="35"/>
                      <a:pt x="8" y="35"/>
                      <a:pt x="8" y="35"/>
                    </a:cubicBezTo>
                    <a:close/>
                    <a:moveTo>
                      <a:pt x="16" y="36"/>
                    </a:moveTo>
                    <a:cubicBezTo>
                      <a:pt x="16" y="36"/>
                      <a:pt x="16" y="36"/>
                      <a:pt x="16" y="36"/>
                    </a:cubicBezTo>
                    <a:cubicBezTo>
                      <a:pt x="16" y="36"/>
                      <a:pt x="16" y="36"/>
                      <a:pt x="16" y="36"/>
                    </a:cubicBezTo>
                    <a:cubicBezTo>
                      <a:pt x="16" y="36"/>
                      <a:pt x="16" y="36"/>
                      <a:pt x="16" y="36"/>
                    </a:cubicBezTo>
                    <a:cubicBezTo>
                      <a:pt x="16" y="36"/>
                      <a:pt x="16" y="36"/>
                      <a:pt x="16" y="37"/>
                    </a:cubicBezTo>
                    <a:cubicBezTo>
                      <a:pt x="16" y="36"/>
                      <a:pt x="16" y="36"/>
                      <a:pt x="16" y="36"/>
                    </a:cubicBezTo>
                    <a:cubicBezTo>
                      <a:pt x="16" y="36"/>
                      <a:pt x="15" y="37"/>
                      <a:pt x="15" y="37"/>
                    </a:cubicBezTo>
                    <a:cubicBezTo>
                      <a:pt x="15" y="37"/>
                      <a:pt x="14" y="37"/>
                      <a:pt x="14" y="37"/>
                    </a:cubicBezTo>
                    <a:cubicBezTo>
                      <a:pt x="14" y="37"/>
                      <a:pt x="14" y="37"/>
                      <a:pt x="14" y="37"/>
                    </a:cubicBezTo>
                    <a:cubicBezTo>
                      <a:pt x="15" y="37"/>
                      <a:pt x="15" y="36"/>
                      <a:pt x="16" y="36"/>
                    </a:cubicBezTo>
                    <a:cubicBezTo>
                      <a:pt x="16" y="36"/>
                      <a:pt x="16" y="36"/>
                      <a:pt x="16" y="36"/>
                    </a:cubicBezTo>
                    <a:close/>
                    <a:moveTo>
                      <a:pt x="43" y="42"/>
                    </a:moveTo>
                    <a:cubicBezTo>
                      <a:pt x="43" y="42"/>
                      <a:pt x="42" y="42"/>
                      <a:pt x="42" y="42"/>
                    </a:cubicBezTo>
                    <a:cubicBezTo>
                      <a:pt x="42" y="42"/>
                      <a:pt x="42" y="42"/>
                      <a:pt x="42" y="42"/>
                    </a:cubicBezTo>
                    <a:cubicBezTo>
                      <a:pt x="42" y="42"/>
                      <a:pt x="42" y="42"/>
                      <a:pt x="43" y="42"/>
                    </a:cubicBezTo>
                    <a:cubicBezTo>
                      <a:pt x="43" y="42"/>
                      <a:pt x="43" y="42"/>
                      <a:pt x="43" y="42"/>
                    </a:cubicBezTo>
                    <a:cubicBezTo>
                      <a:pt x="43" y="42"/>
                      <a:pt x="43" y="42"/>
                      <a:pt x="43" y="42"/>
                    </a:cubicBezTo>
                    <a:cubicBezTo>
                      <a:pt x="43" y="42"/>
                      <a:pt x="43" y="42"/>
                      <a:pt x="43" y="42"/>
                    </a:cubicBezTo>
                    <a:cubicBezTo>
                      <a:pt x="43" y="42"/>
                      <a:pt x="43" y="42"/>
                      <a:pt x="43" y="42"/>
                    </a:cubicBezTo>
                    <a:cubicBezTo>
                      <a:pt x="43" y="42"/>
                      <a:pt x="43" y="42"/>
                      <a:pt x="43" y="42"/>
                    </a:cubicBezTo>
                    <a:close/>
                    <a:moveTo>
                      <a:pt x="10" y="35"/>
                    </a:moveTo>
                    <a:cubicBezTo>
                      <a:pt x="10" y="35"/>
                      <a:pt x="9" y="35"/>
                      <a:pt x="9" y="35"/>
                    </a:cubicBezTo>
                    <a:cubicBezTo>
                      <a:pt x="9" y="35"/>
                      <a:pt x="10" y="36"/>
                      <a:pt x="10" y="36"/>
                    </a:cubicBezTo>
                    <a:cubicBezTo>
                      <a:pt x="10" y="36"/>
                      <a:pt x="10" y="36"/>
                      <a:pt x="10" y="36"/>
                    </a:cubicBezTo>
                    <a:cubicBezTo>
                      <a:pt x="10" y="37"/>
                      <a:pt x="11" y="37"/>
                      <a:pt x="12" y="37"/>
                    </a:cubicBezTo>
                    <a:cubicBezTo>
                      <a:pt x="12" y="37"/>
                      <a:pt x="12" y="37"/>
                      <a:pt x="12" y="37"/>
                    </a:cubicBezTo>
                    <a:cubicBezTo>
                      <a:pt x="11" y="37"/>
                      <a:pt x="11" y="37"/>
                      <a:pt x="10" y="36"/>
                    </a:cubicBezTo>
                    <a:cubicBezTo>
                      <a:pt x="11" y="36"/>
                      <a:pt x="11" y="36"/>
                      <a:pt x="12" y="37"/>
                    </a:cubicBezTo>
                    <a:cubicBezTo>
                      <a:pt x="12" y="36"/>
                      <a:pt x="12" y="36"/>
                      <a:pt x="12" y="36"/>
                    </a:cubicBezTo>
                    <a:cubicBezTo>
                      <a:pt x="12" y="36"/>
                      <a:pt x="11" y="36"/>
                      <a:pt x="11" y="36"/>
                    </a:cubicBezTo>
                    <a:cubicBezTo>
                      <a:pt x="11" y="36"/>
                      <a:pt x="12" y="36"/>
                      <a:pt x="12" y="36"/>
                    </a:cubicBezTo>
                    <a:cubicBezTo>
                      <a:pt x="10" y="35"/>
                      <a:pt x="11" y="36"/>
                      <a:pt x="10" y="35"/>
                    </a:cubicBezTo>
                    <a:cubicBezTo>
                      <a:pt x="10" y="35"/>
                      <a:pt x="10" y="35"/>
                      <a:pt x="10" y="35"/>
                    </a:cubicBezTo>
                    <a:close/>
                    <a:moveTo>
                      <a:pt x="60" y="46"/>
                    </a:moveTo>
                    <a:cubicBezTo>
                      <a:pt x="60" y="46"/>
                      <a:pt x="60" y="46"/>
                      <a:pt x="60" y="46"/>
                    </a:cubicBezTo>
                    <a:cubicBezTo>
                      <a:pt x="60" y="46"/>
                      <a:pt x="60" y="46"/>
                      <a:pt x="60" y="46"/>
                    </a:cubicBezTo>
                    <a:cubicBezTo>
                      <a:pt x="60" y="46"/>
                      <a:pt x="60" y="46"/>
                      <a:pt x="60" y="46"/>
                    </a:cubicBezTo>
                    <a:cubicBezTo>
                      <a:pt x="60" y="46"/>
                      <a:pt x="60" y="46"/>
                      <a:pt x="60" y="46"/>
                    </a:cubicBezTo>
                    <a:close/>
                    <a:moveTo>
                      <a:pt x="13" y="36"/>
                    </a:moveTo>
                    <a:cubicBezTo>
                      <a:pt x="13" y="36"/>
                      <a:pt x="13" y="36"/>
                      <a:pt x="13" y="36"/>
                    </a:cubicBezTo>
                    <a:cubicBezTo>
                      <a:pt x="13" y="36"/>
                      <a:pt x="13" y="36"/>
                      <a:pt x="13" y="36"/>
                    </a:cubicBezTo>
                    <a:cubicBezTo>
                      <a:pt x="13" y="36"/>
                      <a:pt x="13" y="36"/>
                      <a:pt x="13" y="36"/>
                    </a:cubicBezTo>
                    <a:cubicBezTo>
                      <a:pt x="13" y="36"/>
                      <a:pt x="13" y="36"/>
                      <a:pt x="13" y="36"/>
                    </a:cubicBezTo>
                    <a:close/>
                    <a:moveTo>
                      <a:pt x="45" y="43"/>
                    </a:moveTo>
                    <a:cubicBezTo>
                      <a:pt x="45" y="43"/>
                      <a:pt x="45" y="43"/>
                      <a:pt x="45" y="43"/>
                    </a:cubicBezTo>
                    <a:cubicBezTo>
                      <a:pt x="45" y="43"/>
                      <a:pt x="45" y="43"/>
                      <a:pt x="45" y="43"/>
                    </a:cubicBezTo>
                    <a:cubicBezTo>
                      <a:pt x="45" y="43"/>
                      <a:pt x="45" y="43"/>
                      <a:pt x="45" y="43"/>
                    </a:cubicBezTo>
                    <a:cubicBezTo>
                      <a:pt x="45" y="43"/>
                      <a:pt x="45" y="43"/>
                      <a:pt x="45" y="44"/>
                    </a:cubicBezTo>
                    <a:cubicBezTo>
                      <a:pt x="45" y="43"/>
                      <a:pt x="45" y="43"/>
                      <a:pt x="45" y="43"/>
                    </a:cubicBezTo>
                    <a:cubicBezTo>
                      <a:pt x="45" y="43"/>
                      <a:pt x="45" y="43"/>
                      <a:pt x="45" y="43"/>
                    </a:cubicBezTo>
                    <a:cubicBezTo>
                      <a:pt x="45" y="43"/>
                      <a:pt x="45" y="43"/>
                      <a:pt x="45" y="43"/>
                    </a:cubicBezTo>
                    <a:close/>
                    <a:moveTo>
                      <a:pt x="20" y="38"/>
                    </a:moveTo>
                    <a:cubicBezTo>
                      <a:pt x="19" y="37"/>
                      <a:pt x="18" y="38"/>
                      <a:pt x="18" y="38"/>
                    </a:cubicBezTo>
                    <a:cubicBezTo>
                      <a:pt x="18" y="38"/>
                      <a:pt x="18" y="38"/>
                      <a:pt x="18" y="38"/>
                    </a:cubicBezTo>
                    <a:cubicBezTo>
                      <a:pt x="19" y="38"/>
                      <a:pt x="19" y="38"/>
                      <a:pt x="20" y="38"/>
                    </a:cubicBezTo>
                    <a:cubicBezTo>
                      <a:pt x="20" y="38"/>
                      <a:pt x="20" y="38"/>
                      <a:pt x="20" y="38"/>
                    </a:cubicBezTo>
                    <a:cubicBezTo>
                      <a:pt x="20" y="38"/>
                      <a:pt x="20" y="38"/>
                      <a:pt x="20" y="38"/>
                    </a:cubicBezTo>
                    <a:close/>
                    <a:moveTo>
                      <a:pt x="46" y="44"/>
                    </a:moveTo>
                    <a:cubicBezTo>
                      <a:pt x="46" y="43"/>
                      <a:pt x="46" y="43"/>
                      <a:pt x="46" y="43"/>
                    </a:cubicBezTo>
                    <a:cubicBezTo>
                      <a:pt x="45" y="44"/>
                      <a:pt x="45" y="44"/>
                      <a:pt x="45" y="44"/>
                    </a:cubicBezTo>
                    <a:cubicBezTo>
                      <a:pt x="45" y="44"/>
                      <a:pt x="45" y="44"/>
                      <a:pt x="45" y="44"/>
                    </a:cubicBezTo>
                    <a:cubicBezTo>
                      <a:pt x="45" y="44"/>
                      <a:pt x="46" y="44"/>
                      <a:pt x="46" y="44"/>
                    </a:cubicBezTo>
                    <a:cubicBezTo>
                      <a:pt x="46" y="44"/>
                      <a:pt x="46" y="44"/>
                      <a:pt x="46" y="44"/>
                    </a:cubicBezTo>
                    <a:close/>
                    <a:moveTo>
                      <a:pt x="12" y="36"/>
                    </a:moveTo>
                    <a:cubicBezTo>
                      <a:pt x="12" y="36"/>
                      <a:pt x="12" y="36"/>
                      <a:pt x="12" y="36"/>
                    </a:cubicBezTo>
                    <a:cubicBezTo>
                      <a:pt x="12" y="36"/>
                      <a:pt x="12" y="36"/>
                      <a:pt x="12" y="36"/>
                    </a:cubicBezTo>
                    <a:cubicBezTo>
                      <a:pt x="12" y="36"/>
                      <a:pt x="12" y="36"/>
                      <a:pt x="12" y="36"/>
                    </a:cubicBezTo>
                    <a:cubicBezTo>
                      <a:pt x="12" y="36"/>
                      <a:pt x="12" y="36"/>
                      <a:pt x="12" y="36"/>
                    </a:cubicBezTo>
                    <a:cubicBezTo>
                      <a:pt x="12" y="36"/>
                      <a:pt x="12" y="36"/>
                      <a:pt x="12" y="36"/>
                    </a:cubicBezTo>
                    <a:close/>
                    <a:moveTo>
                      <a:pt x="13" y="36"/>
                    </a:move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lose/>
                    <a:moveTo>
                      <a:pt x="53" y="45"/>
                    </a:moveTo>
                    <a:cubicBezTo>
                      <a:pt x="53" y="45"/>
                      <a:pt x="53" y="45"/>
                      <a:pt x="53" y="45"/>
                    </a:cubicBezTo>
                    <a:cubicBezTo>
                      <a:pt x="53" y="45"/>
                      <a:pt x="52" y="45"/>
                      <a:pt x="52" y="45"/>
                    </a:cubicBezTo>
                    <a:cubicBezTo>
                      <a:pt x="52" y="45"/>
                      <a:pt x="52" y="45"/>
                      <a:pt x="53" y="45"/>
                    </a:cubicBezTo>
                    <a:cubicBezTo>
                      <a:pt x="53" y="45"/>
                      <a:pt x="53" y="45"/>
                      <a:pt x="53" y="45"/>
                    </a:cubicBezTo>
                    <a:cubicBezTo>
                      <a:pt x="53" y="45"/>
                      <a:pt x="53" y="45"/>
                      <a:pt x="53" y="45"/>
                    </a:cubicBezTo>
                    <a:close/>
                    <a:moveTo>
                      <a:pt x="44" y="43"/>
                    </a:moveTo>
                    <a:cubicBezTo>
                      <a:pt x="44" y="43"/>
                      <a:pt x="44" y="43"/>
                      <a:pt x="44" y="43"/>
                    </a:cubicBezTo>
                    <a:cubicBezTo>
                      <a:pt x="44" y="43"/>
                      <a:pt x="44" y="43"/>
                      <a:pt x="44" y="43"/>
                    </a:cubicBezTo>
                    <a:cubicBezTo>
                      <a:pt x="44" y="43"/>
                      <a:pt x="44" y="43"/>
                      <a:pt x="44" y="43"/>
                    </a:cubicBezTo>
                    <a:cubicBezTo>
                      <a:pt x="44" y="43"/>
                      <a:pt x="44" y="43"/>
                      <a:pt x="44" y="43"/>
                    </a:cubicBezTo>
                    <a:close/>
                    <a:moveTo>
                      <a:pt x="45" y="44"/>
                    </a:moveTo>
                    <a:cubicBezTo>
                      <a:pt x="45" y="44"/>
                      <a:pt x="45" y="44"/>
                      <a:pt x="45" y="44"/>
                    </a:cubicBezTo>
                    <a:cubicBezTo>
                      <a:pt x="45" y="44"/>
                      <a:pt x="45" y="44"/>
                      <a:pt x="45" y="44"/>
                    </a:cubicBezTo>
                    <a:cubicBezTo>
                      <a:pt x="45" y="44"/>
                      <a:pt x="45" y="44"/>
                      <a:pt x="45" y="44"/>
                    </a:cubicBezTo>
                    <a:cubicBezTo>
                      <a:pt x="45" y="44"/>
                      <a:pt x="45" y="44"/>
                      <a:pt x="45" y="44"/>
                    </a:cubicBezTo>
                    <a:cubicBezTo>
                      <a:pt x="45" y="44"/>
                      <a:pt x="45" y="44"/>
                      <a:pt x="45" y="44"/>
                    </a:cubicBezTo>
                    <a:close/>
                    <a:moveTo>
                      <a:pt x="42" y="43"/>
                    </a:moveTo>
                    <a:cubicBezTo>
                      <a:pt x="42" y="43"/>
                      <a:pt x="42" y="43"/>
                      <a:pt x="42" y="43"/>
                    </a:cubicBezTo>
                    <a:cubicBezTo>
                      <a:pt x="42" y="43"/>
                      <a:pt x="42" y="43"/>
                      <a:pt x="42" y="43"/>
                    </a:cubicBezTo>
                    <a:cubicBezTo>
                      <a:pt x="42" y="43"/>
                      <a:pt x="42" y="43"/>
                      <a:pt x="42" y="43"/>
                    </a:cubicBezTo>
                    <a:cubicBezTo>
                      <a:pt x="42" y="43"/>
                      <a:pt x="42" y="43"/>
                      <a:pt x="42" y="43"/>
                    </a:cubicBezTo>
                    <a:cubicBezTo>
                      <a:pt x="42" y="43"/>
                      <a:pt x="42" y="43"/>
                      <a:pt x="42" y="43"/>
                    </a:cubicBezTo>
                    <a:cubicBezTo>
                      <a:pt x="42" y="43"/>
                      <a:pt x="42" y="43"/>
                      <a:pt x="42" y="43"/>
                    </a:cubicBezTo>
                    <a:close/>
                    <a:moveTo>
                      <a:pt x="44" y="43"/>
                    </a:moveTo>
                    <a:cubicBezTo>
                      <a:pt x="44" y="43"/>
                      <a:pt x="44" y="43"/>
                      <a:pt x="44" y="43"/>
                    </a:cubicBezTo>
                    <a:cubicBezTo>
                      <a:pt x="43" y="43"/>
                      <a:pt x="43" y="43"/>
                      <a:pt x="43" y="43"/>
                    </a:cubicBezTo>
                    <a:cubicBezTo>
                      <a:pt x="43" y="43"/>
                      <a:pt x="44" y="43"/>
                      <a:pt x="44" y="43"/>
                    </a:cubicBezTo>
                    <a:cubicBezTo>
                      <a:pt x="44" y="43"/>
                      <a:pt x="44" y="43"/>
                      <a:pt x="44" y="43"/>
                    </a:cubicBezTo>
                    <a:close/>
                    <a:moveTo>
                      <a:pt x="51" y="45"/>
                    </a:moveTo>
                    <a:cubicBezTo>
                      <a:pt x="51" y="45"/>
                      <a:pt x="51" y="45"/>
                      <a:pt x="51" y="45"/>
                    </a:cubicBezTo>
                    <a:cubicBezTo>
                      <a:pt x="51" y="45"/>
                      <a:pt x="51" y="45"/>
                      <a:pt x="51" y="45"/>
                    </a:cubicBezTo>
                    <a:cubicBezTo>
                      <a:pt x="51" y="45"/>
                      <a:pt x="51" y="45"/>
                      <a:pt x="51" y="45"/>
                    </a:cubicBezTo>
                    <a:cubicBezTo>
                      <a:pt x="51" y="45"/>
                      <a:pt x="51" y="45"/>
                      <a:pt x="51" y="45"/>
                    </a:cubicBezTo>
                    <a:close/>
                    <a:moveTo>
                      <a:pt x="42" y="43"/>
                    </a:moveTo>
                    <a:cubicBezTo>
                      <a:pt x="41" y="43"/>
                      <a:pt x="41" y="43"/>
                      <a:pt x="41" y="43"/>
                    </a:cubicBezTo>
                    <a:cubicBezTo>
                      <a:pt x="41" y="43"/>
                      <a:pt x="41" y="43"/>
                      <a:pt x="41" y="43"/>
                    </a:cubicBezTo>
                    <a:cubicBezTo>
                      <a:pt x="41" y="43"/>
                      <a:pt x="41" y="43"/>
                      <a:pt x="42" y="43"/>
                    </a:cubicBezTo>
                    <a:cubicBezTo>
                      <a:pt x="42" y="43"/>
                      <a:pt x="42" y="43"/>
                      <a:pt x="42" y="43"/>
                    </a:cubicBezTo>
                    <a:close/>
                    <a:moveTo>
                      <a:pt x="22" y="38"/>
                    </a:moveTo>
                    <a:cubicBezTo>
                      <a:pt x="21" y="38"/>
                      <a:pt x="21" y="38"/>
                      <a:pt x="21" y="38"/>
                    </a:cubicBezTo>
                    <a:cubicBezTo>
                      <a:pt x="21" y="38"/>
                      <a:pt x="21" y="39"/>
                      <a:pt x="21" y="39"/>
                    </a:cubicBezTo>
                    <a:cubicBezTo>
                      <a:pt x="21" y="39"/>
                      <a:pt x="21" y="38"/>
                      <a:pt x="22" y="38"/>
                    </a:cubicBezTo>
                    <a:cubicBezTo>
                      <a:pt x="22" y="38"/>
                      <a:pt x="22" y="38"/>
                      <a:pt x="22" y="38"/>
                    </a:cubicBezTo>
                    <a:close/>
                    <a:moveTo>
                      <a:pt x="44" y="43"/>
                    </a:moveTo>
                    <a:cubicBezTo>
                      <a:pt x="44" y="43"/>
                      <a:pt x="44" y="43"/>
                      <a:pt x="44" y="43"/>
                    </a:cubicBezTo>
                    <a:cubicBezTo>
                      <a:pt x="44" y="43"/>
                      <a:pt x="44" y="44"/>
                      <a:pt x="44" y="44"/>
                    </a:cubicBezTo>
                    <a:cubicBezTo>
                      <a:pt x="44" y="44"/>
                      <a:pt x="44" y="43"/>
                      <a:pt x="44" y="43"/>
                    </a:cubicBezTo>
                    <a:cubicBezTo>
                      <a:pt x="44" y="43"/>
                      <a:pt x="44" y="43"/>
                      <a:pt x="44" y="43"/>
                    </a:cubicBezTo>
                    <a:close/>
                    <a:moveTo>
                      <a:pt x="37" y="42"/>
                    </a:moveTo>
                    <a:cubicBezTo>
                      <a:pt x="37" y="42"/>
                      <a:pt x="37" y="42"/>
                      <a:pt x="37" y="42"/>
                    </a:cubicBezTo>
                    <a:cubicBezTo>
                      <a:pt x="37" y="42"/>
                      <a:pt x="37" y="42"/>
                      <a:pt x="37" y="42"/>
                    </a:cubicBezTo>
                    <a:cubicBezTo>
                      <a:pt x="37" y="42"/>
                      <a:pt x="37" y="42"/>
                      <a:pt x="37" y="42"/>
                    </a:cubicBezTo>
                    <a:cubicBezTo>
                      <a:pt x="37" y="42"/>
                      <a:pt x="37" y="42"/>
                      <a:pt x="37" y="42"/>
                    </a:cubicBezTo>
                    <a:cubicBezTo>
                      <a:pt x="37" y="42"/>
                      <a:pt x="37" y="42"/>
                      <a:pt x="37" y="42"/>
                    </a:cubicBezTo>
                    <a:close/>
                    <a:moveTo>
                      <a:pt x="25" y="39"/>
                    </a:moveTo>
                    <a:cubicBezTo>
                      <a:pt x="21" y="38"/>
                      <a:pt x="22" y="39"/>
                      <a:pt x="21" y="39"/>
                    </a:cubicBezTo>
                    <a:cubicBezTo>
                      <a:pt x="21" y="40"/>
                      <a:pt x="22" y="40"/>
                      <a:pt x="22" y="40"/>
                    </a:cubicBezTo>
                    <a:cubicBezTo>
                      <a:pt x="22" y="40"/>
                      <a:pt x="23" y="40"/>
                      <a:pt x="24" y="39"/>
                    </a:cubicBezTo>
                    <a:cubicBezTo>
                      <a:pt x="23" y="40"/>
                      <a:pt x="22" y="40"/>
                      <a:pt x="22" y="40"/>
                    </a:cubicBezTo>
                    <a:cubicBezTo>
                      <a:pt x="22" y="41"/>
                      <a:pt x="23" y="41"/>
                      <a:pt x="23" y="41"/>
                    </a:cubicBezTo>
                    <a:cubicBezTo>
                      <a:pt x="24" y="41"/>
                      <a:pt x="24" y="41"/>
                      <a:pt x="24" y="40"/>
                    </a:cubicBezTo>
                    <a:cubicBezTo>
                      <a:pt x="24" y="40"/>
                      <a:pt x="24" y="40"/>
                      <a:pt x="24" y="39"/>
                    </a:cubicBezTo>
                    <a:cubicBezTo>
                      <a:pt x="24" y="40"/>
                      <a:pt x="24" y="40"/>
                      <a:pt x="24" y="40"/>
                    </a:cubicBezTo>
                    <a:cubicBezTo>
                      <a:pt x="25" y="40"/>
                      <a:pt x="25" y="40"/>
                      <a:pt x="25" y="40"/>
                    </a:cubicBezTo>
                    <a:cubicBezTo>
                      <a:pt x="25" y="40"/>
                      <a:pt x="25" y="40"/>
                      <a:pt x="25" y="39"/>
                    </a:cubicBezTo>
                    <a:cubicBezTo>
                      <a:pt x="25" y="39"/>
                      <a:pt x="25" y="39"/>
                      <a:pt x="25" y="39"/>
                    </a:cubicBezTo>
                    <a:close/>
                    <a:moveTo>
                      <a:pt x="14" y="37"/>
                    </a:moveTo>
                    <a:cubicBezTo>
                      <a:pt x="15" y="37"/>
                      <a:pt x="15" y="37"/>
                      <a:pt x="16" y="36"/>
                    </a:cubicBezTo>
                    <a:cubicBezTo>
                      <a:pt x="16" y="37"/>
                      <a:pt x="16" y="37"/>
                      <a:pt x="16" y="38"/>
                    </a:cubicBezTo>
                    <a:cubicBezTo>
                      <a:pt x="16" y="38"/>
                      <a:pt x="16" y="38"/>
                      <a:pt x="16" y="38"/>
                    </a:cubicBezTo>
                    <a:cubicBezTo>
                      <a:pt x="16" y="38"/>
                      <a:pt x="16" y="38"/>
                      <a:pt x="16" y="38"/>
                    </a:cubicBezTo>
                    <a:cubicBezTo>
                      <a:pt x="17" y="38"/>
                      <a:pt x="17" y="38"/>
                      <a:pt x="17" y="38"/>
                    </a:cubicBezTo>
                    <a:cubicBezTo>
                      <a:pt x="16" y="38"/>
                      <a:pt x="16" y="38"/>
                      <a:pt x="16" y="39"/>
                    </a:cubicBezTo>
                    <a:cubicBezTo>
                      <a:pt x="16" y="39"/>
                      <a:pt x="16" y="38"/>
                      <a:pt x="17" y="38"/>
                    </a:cubicBezTo>
                    <a:cubicBezTo>
                      <a:pt x="17" y="39"/>
                      <a:pt x="17" y="39"/>
                      <a:pt x="17" y="39"/>
                    </a:cubicBezTo>
                    <a:cubicBezTo>
                      <a:pt x="17" y="39"/>
                      <a:pt x="17" y="39"/>
                      <a:pt x="17" y="39"/>
                    </a:cubicBezTo>
                    <a:cubicBezTo>
                      <a:pt x="17" y="39"/>
                      <a:pt x="16" y="39"/>
                      <a:pt x="15" y="38"/>
                    </a:cubicBezTo>
                    <a:cubicBezTo>
                      <a:pt x="15" y="38"/>
                      <a:pt x="15" y="38"/>
                      <a:pt x="15" y="38"/>
                    </a:cubicBezTo>
                    <a:cubicBezTo>
                      <a:pt x="15" y="38"/>
                      <a:pt x="15" y="38"/>
                      <a:pt x="15" y="38"/>
                    </a:cubicBezTo>
                    <a:cubicBezTo>
                      <a:pt x="15" y="38"/>
                      <a:pt x="15" y="37"/>
                      <a:pt x="14" y="37"/>
                    </a:cubicBezTo>
                    <a:cubicBezTo>
                      <a:pt x="14" y="37"/>
                      <a:pt x="14" y="37"/>
                      <a:pt x="14" y="37"/>
                    </a:cubicBezTo>
                    <a:close/>
                    <a:moveTo>
                      <a:pt x="26" y="40"/>
                    </a:moveTo>
                    <a:cubicBezTo>
                      <a:pt x="26" y="40"/>
                      <a:pt x="25" y="39"/>
                      <a:pt x="25" y="39"/>
                    </a:cubicBezTo>
                    <a:cubicBezTo>
                      <a:pt x="25" y="40"/>
                      <a:pt x="25" y="40"/>
                      <a:pt x="25" y="40"/>
                    </a:cubicBezTo>
                    <a:cubicBezTo>
                      <a:pt x="26" y="40"/>
                      <a:pt x="26" y="40"/>
                      <a:pt x="26" y="40"/>
                    </a:cubicBezTo>
                    <a:cubicBezTo>
                      <a:pt x="26" y="40"/>
                      <a:pt x="26" y="40"/>
                      <a:pt x="25" y="40"/>
                    </a:cubicBezTo>
                    <a:cubicBezTo>
                      <a:pt x="25" y="40"/>
                      <a:pt x="26" y="40"/>
                      <a:pt x="26" y="40"/>
                    </a:cubicBezTo>
                    <a:cubicBezTo>
                      <a:pt x="26" y="40"/>
                      <a:pt x="26" y="40"/>
                      <a:pt x="26" y="40"/>
                    </a:cubicBezTo>
                    <a:cubicBezTo>
                      <a:pt x="26" y="40"/>
                      <a:pt x="26" y="40"/>
                      <a:pt x="26" y="40"/>
                    </a:cubicBezTo>
                    <a:cubicBezTo>
                      <a:pt x="26" y="40"/>
                      <a:pt x="26" y="40"/>
                      <a:pt x="26" y="40"/>
                    </a:cubicBezTo>
                    <a:cubicBezTo>
                      <a:pt x="26" y="40"/>
                      <a:pt x="26" y="40"/>
                      <a:pt x="26" y="40"/>
                    </a:cubicBezTo>
                    <a:cubicBezTo>
                      <a:pt x="26" y="40"/>
                      <a:pt x="26" y="40"/>
                      <a:pt x="26" y="40"/>
                    </a:cubicBezTo>
                    <a:cubicBezTo>
                      <a:pt x="26" y="40"/>
                      <a:pt x="26" y="40"/>
                      <a:pt x="26" y="40"/>
                    </a:cubicBezTo>
                    <a:cubicBezTo>
                      <a:pt x="26" y="40"/>
                      <a:pt x="26" y="40"/>
                      <a:pt x="26" y="40"/>
                    </a:cubicBezTo>
                    <a:cubicBezTo>
                      <a:pt x="26" y="40"/>
                      <a:pt x="26" y="40"/>
                      <a:pt x="26" y="40"/>
                    </a:cubicBezTo>
                    <a:cubicBezTo>
                      <a:pt x="26" y="40"/>
                      <a:pt x="26" y="40"/>
                      <a:pt x="26" y="40"/>
                    </a:cubicBezTo>
                    <a:close/>
                    <a:moveTo>
                      <a:pt x="26" y="40"/>
                    </a:moveTo>
                    <a:cubicBezTo>
                      <a:pt x="26" y="40"/>
                      <a:pt x="26" y="40"/>
                      <a:pt x="26" y="40"/>
                    </a:cubicBezTo>
                    <a:cubicBezTo>
                      <a:pt x="26" y="40"/>
                      <a:pt x="26" y="40"/>
                      <a:pt x="26" y="40"/>
                    </a:cubicBezTo>
                    <a:cubicBezTo>
                      <a:pt x="26" y="40"/>
                      <a:pt x="26" y="40"/>
                      <a:pt x="26" y="40"/>
                    </a:cubicBezTo>
                    <a:cubicBezTo>
                      <a:pt x="26" y="40"/>
                      <a:pt x="26" y="40"/>
                      <a:pt x="26" y="40"/>
                    </a:cubicBezTo>
                    <a:close/>
                    <a:moveTo>
                      <a:pt x="38" y="42"/>
                    </a:moveTo>
                    <a:cubicBezTo>
                      <a:pt x="38" y="42"/>
                      <a:pt x="38" y="42"/>
                      <a:pt x="38" y="42"/>
                    </a:cubicBezTo>
                    <a:cubicBezTo>
                      <a:pt x="38" y="42"/>
                      <a:pt x="38" y="43"/>
                      <a:pt x="38" y="43"/>
                    </a:cubicBezTo>
                    <a:cubicBezTo>
                      <a:pt x="38" y="43"/>
                      <a:pt x="38" y="43"/>
                      <a:pt x="38" y="43"/>
                    </a:cubicBezTo>
                    <a:cubicBezTo>
                      <a:pt x="38" y="43"/>
                      <a:pt x="38" y="42"/>
                      <a:pt x="38" y="42"/>
                    </a:cubicBezTo>
                    <a:cubicBezTo>
                      <a:pt x="38" y="42"/>
                      <a:pt x="38" y="42"/>
                      <a:pt x="38" y="42"/>
                    </a:cubicBezTo>
                    <a:close/>
                    <a:moveTo>
                      <a:pt x="12" y="37"/>
                    </a:moveTo>
                    <a:cubicBezTo>
                      <a:pt x="12" y="37"/>
                      <a:pt x="12" y="37"/>
                      <a:pt x="12" y="37"/>
                    </a:cubicBezTo>
                    <a:cubicBezTo>
                      <a:pt x="12" y="37"/>
                      <a:pt x="12" y="37"/>
                      <a:pt x="12" y="37"/>
                    </a:cubicBezTo>
                    <a:cubicBezTo>
                      <a:pt x="12" y="37"/>
                      <a:pt x="12" y="37"/>
                      <a:pt x="12" y="37"/>
                    </a:cubicBezTo>
                    <a:cubicBezTo>
                      <a:pt x="12" y="37"/>
                      <a:pt x="12" y="37"/>
                      <a:pt x="12" y="37"/>
                    </a:cubicBezTo>
                    <a:close/>
                    <a:moveTo>
                      <a:pt x="13" y="37"/>
                    </a:moveTo>
                    <a:cubicBezTo>
                      <a:pt x="14" y="37"/>
                      <a:pt x="14" y="37"/>
                      <a:pt x="14" y="37"/>
                    </a:cubicBezTo>
                    <a:cubicBezTo>
                      <a:pt x="14" y="37"/>
                      <a:pt x="14" y="37"/>
                      <a:pt x="14" y="37"/>
                    </a:cubicBezTo>
                    <a:cubicBezTo>
                      <a:pt x="14" y="37"/>
                      <a:pt x="14" y="37"/>
                      <a:pt x="14" y="37"/>
                    </a:cubicBezTo>
                    <a:cubicBezTo>
                      <a:pt x="14" y="37"/>
                      <a:pt x="13" y="37"/>
                      <a:pt x="13" y="37"/>
                    </a:cubicBezTo>
                    <a:cubicBezTo>
                      <a:pt x="13" y="37"/>
                      <a:pt x="13" y="37"/>
                      <a:pt x="13" y="37"/>
                    </a:cubicBezTo>
                    <a:close/>
                    <a:moveTo>
                      <a:pt x="18" y="38"/>
                    </a:moveTo>
                    <a:cubicBezTo>
                      <a:pt x="18" y="38"/>
                      <a:pt x="17" y="38"/>
                      <a:pt x="17" y="38"/>
                    </a:cubicBezTo>
                    <a:cubicBezTo>
                      <a:pt x="17" y="38"/>
                      <a:pt x="17" y="38"/>
                      <a:pt x="17" y="38"/>
                    </a:cubicBezTo>
                    <a:cubicBezTo>
                      <a:pt x="18" y="38"/>
                      <a:pt x="18" y="38"/>
                      <a:pt x="18" y="38"/>
                    </a:cubicBezTo>
                    <a:cubicBezTo>
                      <a:pt x="18" y="38"/>
                      <a:pt x="18" y="38"/>
                      <a:pt x="18" y="38"/>
                    </a:cubicBezTo>
                    <a:cubicBezTo>
                      <a:pt x="18" y="38"/>
                      <a:pt x="18" y="38"/>
                      <a:pt x="18" y="38"/>
                    </a:cubicBezTo>
                    <a:close/>
                    <a:moveTo>
                      <a:pt x="12" y="37"/>
                    </a:moveTo>
                    <a:cubicBezTo>
                      <a:pt x="12" y="37"/>
                      <a:pt x="12" y="37"/>
                      <a:pt x="12" y="37"/>
                    </a:cubicBezTo>
                    <a:cubicBezTo>
                      <a:pt x="12" y="37"/>
                      <a:pt x="12" y="37"/>
                      <a:pt x="12" y="37"/>
                    </a:cubicBezTo>
                    <a:cubicBezTo>
                      <a:pt x="12" y="37"/>
                      <a:pt x="12" y="37"/>
                      <a:pt x="12" y="37"/>
                    </a:cubicBezTo>
                    <a:cubicBezTo>
                      <a:pt x="12" y="37"/>
                      <a:pt x="12" y="37"/>
                      <a:pt x="12" y="37"/>
                    </a:cubicBezTo>
                    <a:cubicBezTo>
                      <a:pt x="12" y="37"/>
                      <a:pt x="12" y="37"/>
                      <a:pt x="12" y="37"/>
                    </a:cubicBezTo>
                    <a:close/>
                    <a:moveTo>
                      <a:pt x="23" y="42"/>
                    </a:moveTo>
                    <a:cubicBezTo>
                      <a:pt x="23" y="42"/>
                      <a:pt x="22" y="41"/>
                      <a:pt x="22" y="41"/>
                    </a:cubicBezTo>
                    <a:cubicBezTo>
                      <a:pt x="22" y="41"/>
                      <a:pt x="22" y="41"/>
                      <a:pt x="22" y="41"/>
                    </a:cubicBezTo>
                    <a:cubicBezTo>
                      <a:pt x="22" y="41"/>
                      <a:pt x="22" y="41"/>
                      <a:pt x="21" y="39"/>
                    </a:cubicBezTo>
                    <a:cubicBezTo>
                      <a:pt x="21" y="39"/>
                      <a:pt x="20" y="39"/>
                      <a:pt x="20" y="39"/>
                    </a:cubicBezTo>
                    <a:cubicBezTo>
                      <a:pt x="20" y="39"/>
                      <a:pt x="20" y="39"/>
                      <a:pt x="21" y="39"/>
                    </a:cubicBezTo>
                    <a:cubicBezTo>
                      <a:pt x="21" y="39"/>
                      <a:pt x="20" y="39"/>
                      <a:pt x="20" y="39"/>
                    </a:cubicBezTo>
                    <a:cubicBezTo>
                      <a:pt x="21" y="39"/>
                      <a:pt x="21" y="39"/>
                      <a:pt x="21" y="39"/>
                    </a:cubicBezTo>
                    <a:cubicBezTo>
                      <a:pt x="21" y="39"/>
                      <a:pt x="21" y="39"/>
                      <a:pt x="21" y="39"/>
                    </a:cubicBezTo>
                    <a:cubicBezTo>
                      <a:pt x="21" y="39"/>
                      <a:pt x="21" y="38"/>
                      <a:pt x="20" y="38"/>
                    </a:cubicBezTo>
                    <a:cubicBezTo>
                      <a:pt x="20" y="39"/>
                      <a:pt x="20" y="39"/>
                      <a:pt x="19" y="39"/>
                    </a:cubicBezTo>
                    <a:cubicBezTo>
                      <a:pt x="21" y="41"/>
                      <a:pt x="19" y="41"/>
                      <a:pt x="23" y="42"/>
                    </a:cubicBezTo>
                    <a:cubicBezTo>
                      <a:pt x="23" y="42"/>
                      <a:pt x="23" y="42"/>
                      <a:pt x="23" y="42"/>
                    </a:cubicBezTo>
                    <a:close/>
                    <a:moveTo>
                      <a:pt x="17" y="38"/>
                    </a:moveTo>
                    <a:cubicBezTo>
                      <a:pt x="17" y="38"/>
                      <a:pt x="17" y="38"/>
                      <a:pt x="17" y="38"/>
                    </a:cubicBezTo>
                    <a:cubicBezTo>
                      <a:pt x="17" y="38"/>
                      <a:pt x="17" y="38"/>
                      <a:pt x="17" y="38"/>
                    </a:cubicBezTo>
                    <a:cubicBezTo>
                      <a:pt x="17" y="38"/>
                      <a:pt x="17" y="38"/>
                      <a:pt x="17" y="38"/>
                    </a:cubicBezTo>
                    <a:cubicBezTo>
                      <a:pt x="17" y="38"/>
                      <a:pt x="17" y="38"/>
                      <a:pt x="17" y="38"/>
                    </a:cubicBezTo>
                    <a:cubicBezTo>
                      <a:pt x="17" y="38"/>
                      <a:pt x="17" y="38"/>
                      <a:pt x="17" y="38"/>
                    </a:cubicBezTo>
                    <a:close/>
                    <a:moveTo>
                      <a:pt x="27" y="40"/>
                    </a:moveTo>
                    <a:cubicBezTo>
                      <a:pt x="27" y="40"/>
                      <a:pt x="27" y="40"/>
                      <a:pt x="27" y="40"/>
                    </a:cubicBezTo>
                    <a:cubicBezTo>
                      <a:pt x="27" y="40"/>
                      <a:pt x="27" y="40"/>
                      <a:pt x="27" y="40"/>
                    </a:cubicBezTo>
                    <a:cubicBezTo>
                      <a:pt x="27" y="40"/>
                      <a:pt x="27" y="40"/>
                      <a:pt x="27" y="40"/>
                    </a:cubicBezTo>
                    <a:cubicBezTo>
                      <a:pt x="27" y="40"/>
                      <a:pt x="27" y="40"/>
                      <a:pt x="27" y="40"/>
                    </a:cubicBezTo>
                    <a:cubicBezTo>
                      <a:pt x="27" y="40"/>
                      <a:pt x="27" y="40"/>
                      <a:pt x="27" y="40"/>
                    </a:cubicBezTo>
                    <a:close/>
                    <a:moveTo>
                      <a:pt x="29" y="41"/>
                    </a:moveTo>
                    <a:cubicBezTo>
                      <a:pt x="29" y="41"/>
                      <a:pt x="29" y="41"/>
                      <a:pt x="29" y="41"/>
                    </a:cubicBezTo>
                    <a:cubicBezTo>
                      <a:pt x="29" y="41"/>
                      <a:pt x="29" y="41"/>
                      <a:pt x="28" y="41"/>
                    </a:cubicBezTo>
                    <a:cubicBezTo>
                      <a:pt x="29" y="41"/>
                      <a:pt x="29" y="41"/>
                      <a:pt x="30" y="41"/>
                    </a:cubicBezTo>
                    <a:cubicBezTo>
                      <a:pt x="30" y="41"/>
                      <a:pt x="30" y="41"/>
                      <a:pt x="30" y="41"/>
                    </a:cubicBezTo>
                    <a:cubicBezTo>
                      <a:pt x="29" y="41"/>
                      <a:pt x="29" y="41"/>
                      <a:pt x="28" y="42"/>
                    </a:cubicBezTo>
                    <a:cubicBezTo>
                      <a:pt x="29" y="42"/>
                      <a:pt x="29" y="42"/>
                      <a:pt x="29" y="42"/>
                    </a:cubicBezTo>
                    <a:cubicBezTo>
                      <a:pt x="29" y="42"/>
                      <a:pt x="29" y="42"/>
                      <a:pt x="29" y="42"/>
                    </a:cubicBezTo>
                    <a:cubicBezTo>
                      <a:pt x="29" y="42"/>
                      <a:pt x="29" y="42"/>
                      <a:pt x="29" y="42"/>
                    </a:cubicBezTo>
                    <a:cubicBezTo>
                      <a:pt x="29" y="42"/>
                      <a:pt x="29" y="42"/>
                      <a:pt x="28" y="42"/>
                    </a:cubicBezTo>
                    <a:cubicBezTo>
                      <a:pt x="28" y="42"/>
                      <a:pt x="28" y="41"/>
                      <a:pt x="28" y="41"/>
                    </a:cubicBezTo>
                    <a:cubicBezTo>
                      <a:pt x="28" y="41"/>
                      <a:pt x="28" y="41"/>
                      <a:pt x="29" y="41"/>
                    </a:cubicBezTo>
                    <a:cubicBezTo>
                      <a:pt x="29" y="41"/>
                      <a:pt x="29" y="41"/>
                      <a:pt x="29" y="41"/>
                    </a:cubicBezTo>
                    <a:close/>
                    <a:moveTo>
                      <a:pt x="12" y="37"/>
                    </a:moveTo>
                    <a:cubicBezTo>
                      <a:pt x="12" y="37"/>
                      <a:pt x="12" y="37"/>
                      <a:pt x="12" y="37"/>
                    </a:cubicBezTo>
                    <a:cubicBezTo>
                      <a:pt x="13" y="37"/>
                      <a:pt x="13" y="38"/>
                      <a:pt x="13" y="38"/>
                    </a:cubicBezTo>
                    <a:cubicBezTo>
                      <a:pt x="13" y="38"/>
                      <a:pt x="13" y="38"/>
                      <a:pt x="13" y="38"/>
                    </a:cubicBezTo>
                    <a:cubicBezTo>
                      <a:pt x="13" y="38"/>
                      <a:pt x="13" y="37"/>
                      <a:pt x="13" y="37"/>
                    </a:cubicBezTo>
                    <a:cubicBezTo>
                      <a:pt x="13" y="37"/>
                      <a:pt x="13" y="38"/>
                      <a:pt x="13" y="38"/>
                    </a:cubicBezTo>
                    <a:cubicBezTo>
                      <a:pt x="13" y="38"/>
                      <a:pt x="13" y="38"/>
                      <a:pt x="13" y="38"/>
                    </a:cubicBezTo>
                    <a:cubicBezTo>
                      <a:pt x="13" y="38"/>
                      <a:pt x="13" y="38"/>
                      <a:pt x="13" y="38"/>
                    </a:cubicBezTo>
                    <a:cubicBezTo>
                      <a:pt x="13" y="38"/>
                      <a:pt x="14" y="38"/>
                      <a:pt x="14" y="39"/>
                    </a:cubicBezTo>
                    <a:cubicBezTo>
                      <a:pt x="13" y="38"/>
                      <a:pt x="12" y="38"/>
                      <a:pt x="11" y="37"/>
                    </a:cubicBezTo>
                    <a:cubicBezTo>
                      <a:pt x="12" y="37"/>
                      <a:pt x="12" y="37"/>
                      <a:pt x="12" y="37"/>
                    </a:cubicBezTo>
                    <a:cubicBezTo>
                      <a:pt x="12" y="37"/>
                      <a:pt x="12" y="37"/>
                      <a:pt x="12" y="38"/>
                    </a:cubicBezTo>
                    <a:cubicBezTo>
                      <a:pt x="12" y="38"/>
                      <a:pt x="12" y="38"/>
                      <a:pt x="12" y="38"/>
                    </a:cubicBezTo>
                    <a:cubicBezTo>
                      <a:pt x="12" y="37"/>
                      <a:pt x="12" y="37"/>
                      <a:pt x="12" y="37"/>
                    </a:cubicBezTo>
                    <a:cubicBezTo>
                      <a:pt x="12" y="37"/>
                      <a:pt x="12" y="38"/>
                      <a:pt x="12" y="38"/>
                    </a:cubicBezTo>
                    <a:cubicBezTo>
                      <a:pt x="12" y="37"/>
                      <a:pt x="12" y="37"/>
                      <a:pt x="12" y="37"/>
                    </a:cubicBezTo>
                    <a:cubicBezTo>
                      <a:pt x="12" y="37"/>
                      <a:pt x="12" y="37"/>
                      <a:pt x="12" y="37"/>
                    </a:cubicBezTo>
                    <a:close/>
                    <a:moveTo>
                      <a:pt x="50" y="45"/>
                    </a:moveTo>
                    <a:cubicBezTo>
                      <a:pt x="50" y="45"/>
                      <a:pt x="50" y="46"/>
                      <a:pt x="50" y="46"/>
                    </a:cubicBezTo>
                    <a:cubicBezTo>
                      <a:pt x="50" y="46"/>
                      <a:pt x="50" y="46"/>
                      <a:pt x="50" y="46"/>
                    </a:cubicBezTo>
                    <a:cubicBezTo>
                      <a:pt x="50" y="46"/>
                      <a:pt x="49" y="46"/>
                      <a:pt x="49" y="46"/>
                    </a:cubicBezTo>
                    <a:cubicBezTo>
                      <a:pt x="49" y="45"/>
                      <a:pt x="49" y="45"/>
                      <a:pt x="50" y="45"/>
                    </a:cubicBezTo>
                    <a:cubicBezTo>
                      <a:pt x="50" y="45"/>
                      <a:pt x="50" y="45"/>
                      <a:pt x="50" y="45"/>
                    </a:cubicBezTo>
                    <a:close/>
                    <a:moveTo>
                      <a:pt x="18" y="38"/>
                    </a:moveTo>
                    <a:cubicBezTo>
                      <a:pt x="18" y="38"/>
                      <a:pt x="18" y="38"/>
                      <a:pt x="18" y="38"/>
                    </a:cubicBezTo>
                    <a:cubicBezTo>
                      <a:pt x="18" y="38"/>
                      <a:pt x="18" y="38"/>
                      <a:pt x="18" y="39"/>
                    </a:cubicBezTo>
                    <a:cubicBezTo>
                      <a:pt x="18" y="39"/>
                      <a:pt x="18" y="38"/>
                      <a:pt x="18" y="38"/>
                    </a:cubicBezTo>
                    <a:cubicBezTo>
                      <a:pt x="18" y="38"/>
                      <a:pt x="18" y="38"/>
                      <a:pt x="18" y="38"/>
                    </a:cubicBezTo>
                    <a:close/>
                    <a:moveTo>
                      <a:pt x="14" y="37"/>
                    </a:moveTo>
                    <a:cubicBezTo>
                      <a:pt x="14" y="37"/>
                      <a:pt x="14" y="37"/>
                      <a:pt x="14" y="37"/>
                    </a:cubicBezTo>
                    <a:cubicBezTo>
                      <a:pt x="14" y="37"/>
                      <a:pt x="14" y="38"/>
                      <a:pt x="14" y="38"/>
                    </a:cubicBezTo>
                    <a:cubicBezTo>
                      <a:pt x="14" y="38"/>
                      <a:pt x="14" y="37"/>
                      <a:pt x="14" y="37"/>
                    </a:cubicBezTo>
                    <a:cubicBezTo>
                      <a:pt x="14" y="37"/>
                      <a:pt x="14" y="37"/>
                      <a:pt x="14" y="37"/>
                    </a:cubicBezTo>
                    <a:close/>
                    <a:moveTo>
                      <a:pt x="36" y="42"/>
                    </a:moveTo>
                    <a:cubicBezTo>
                      <a:pt x="36" y="42"/>
                      <a:pt x="36" y="43"/>
                      <a:pt x="37" y="43"/>
                    </a:cubicBezTo>
                    <a:cubicBezTo>
                      <a:pt x="36" y="43"/>
                      <a:pt x="36" y="43"/>
                      <a:pt x="36" y="43"/>
                    </a:cubicBezTo>
                    <a:cubicBezTo>
                      <a:pt x="36" y="43"/>
                      <a:pt x="37" y="43"/>
                      <a:pt x="37" y="43"/>
                    </a:cubicBezTo>
                    <a:cubicBezTo>
                      <a:pt x="37" y="43"/>
                      <a:pt x="36" y="43"/>
                      <a:pt x="36" y="43"/>
                    </a:cubicBezTo>
                    <a:cubicBezTo>
                      <a:pt x="36" y="43"/>
                      <a:pt x="36" y="43"/>
                      <a:pt x="36" y="43"/>
                    </a:cubicBezTo>
                    <a:cubicBezTo>
                      <a:pt x="36" y="43"/>
                      <a:pt x="36" y="43"/>
                      <a:pt x="36" y="42"/>
                    </a:cubicBezTo>
                    <a:cubicBezTo>
                      <a:pt x="36" y="42"/>
                      <a:pt x="36" y="42"/>
                      <a:pt x="36" y="42"/>
                    </a:cubicBezTo>
                    <a:close/>
                    <a:moveTo>
                      <a:pt x="27" y="40"/>
                    </a:moveTo>
                    <a:cubicBezTo>
                      <a:pt x="27" y="40"/>
                      <a:pt x="27" y="40"/>
                      <a:pt x="27" y="40"/>
                    </a:cubicBezTo>
                    <a:cubicBezTo>
                      <a:pt x="27" y="40"/>
                      <a:pt x="27" y="40"/>
                      <a:pt x="27" y="40"/>
                    </a:cubicBezTo>
                    <a:cubicBezTo>
                      <a:pt x="27" y="41"/>
                      <a:pt x="27" y="41"/>
                      <a:pt x="27" y="41"/>
                    </a:cubicBezTo>
                    <a:cubicBezTo>
                      <a:pt x="27" y="41"/>
                      <a:pt x="27" y="40"/>
                      <a:pt x="27" y="40"/>
                    </a:cubicBezTo>
                    <a:cubicBezTo>
                      <a:pt x="27" y="40"/>
                      <a:pt x="27" y="40"/>
                      <a:pt x="27" y="40"/>
                    </a:cubicBezTo>
                    <a:close/>
                    <a:moveTo>
                      <a:pt x="27" y="41"/>
                    </a:moveTo>
                    <a:cubicBezTo>
                      <a:pt x="27" y="40"/>
                      <a:pt x="28" y="40"/>
                      <a:pt x="28" y="40"/>
                    </a:cubicBezTo>
                    <a:cubicBezTo>
                      <a:pt x="28" y="41"/>
                      <a:pt x="27" y="41"/>
                      <a:pt x="27" y="41"/>
                    </a:cubicBezTo>
                    <a:cubicBezTo>
                      <a:pt x="27" y="41"/>
                      <a:pt x="27" y="41"/>
                      <a:pt x="27" y="41"/>
                    </a:cubicBezTo>
                    <a:cubicBezTo>
                      <a:pt x="27" y="41"/>
                      <a:pt x="27" y="41"/>
                      <a:pt x="27" y="41"/>
                    </a:cubicBezTo>
                    <a:cubicBezTo>
                      <a:pt x="27" y="41"/>
                      <a:pt x="27" y="41"/>
                      <a:pt x="27" y="41"/>
                    </a:cubicBezTo>
                    <a:close/>
                    <a:moveTo>
                      <a:pt x="48" y="45"/>
                    </a:moveTo>
                    <a:cubicBezTo>
                      <a:pt x="48" y="45"/>
                      <a:pt x="48" y="45"/>
                      <a:pt x="48" y="45"/>
                    </a:cubicBezTo>
                    <a:cubicBezTo>
                      <a:pt x="48" y="45"/>
                      <a:pt x="48" y="45"/>
                      <a:pt x="48" y="45"/>
                    </a:cubicBezTo>
                    <a:cubicBezTo>
                      <a:pt x="48" y="45"/>
                      <a:pt x="48" y="45"/>
                      <a:pt x="48" y="45"/>
                    </a:cubicBezTo>
                    <a:cubicBezTo>
                      <a:pt x="48" y="45"/>
                      <a:pt x="48" y="45"/>
                      <a:pt x="48" y="45"/>
                    </a:cubicBezTo>
                    <a:cubicBezTo>
                      <a:pt x="48" y="45"/>
                      <a:pt x="48" y="45"/>
                      <a:pt x="48" y="45"/>
                    </a:cubicBezTo>
                    <a:close/>
                    <a:moveTo>
                      <a:pt x="37" y="43"/>
                    </a:moveTo>
                    <a:cubicBezTo>
                      <a:pt x="37" y="43"/>
                      <a:pt x="37" y="43"/>
                      <a:pt x="37" y="43"/>
                    </a:cubicBezTo>
                    <a:cubicBezTo>
                      <a:pt x="37" y="43"/>
                      <a:pt x="37" y="43"/>
                      <a:pt x="37" y="43"/>
                    </a:cubicBezTo>
                    <a:cubicBezTo>
                      <a:pt x="37" y="43"/>
                      <a:pt x="37" y="43"/>
                      <a:pt x="38" y="43"/>
                    </a:cubicBezTo>
                    <a:cubicBezTo>
                      <a:pt x="38" y="43"/>
                      <a:pt x="37" y="43"/>
                      <a:pt x="37" y="43"/>
                    </a:cubicBezTo>
                    <a:cubicBezTo>
                      <a:pt x="37" y="43"/>
                      <a:pt x="37" y="43"/>
                      <a:pt x="37" y="43"/>
                    </a:cubicBezTo>
                    <a:cubicBezTo>
                      <a:pt x="37" y="43"/>
                      <a:pt x="37" y="43"/>
                      <a:pt x="37" y="43"/>
                    </a:cubicBezTo>
                    <a:close/>
                    <a:moveTo>
                      <a:pt x="25" y="40"/>
                    </a:moveTo>
                    <a:cubicBezTo>
                      <a:pt x="25" y="40"/>
                      <a:pt x="25" y="40"/>
                      <a:pt x="25" y="40"/>
                    </a:cubicBezTo>
                    <a:cubicBezTo>
                      <a:pt x="25" y="40"/>
                      <a:pt x="25" y="40"/>
                      <a:pt x="25" y="41"/>
                    </a:cubicBezTo>
                    <a:cubicBezTo>
                      <a:pt x="25" y="41"/>
                      <a:pt x="25" y="42"/>
                      <a:pt x="26" y="42"/>
                    </a:cubicBezTo>
                    <a:cubicBezTo>
                      <a:pt x="24" y="41"/>
                      <a:pt x="25" y="40"/>
                      <a:pt x="23" y="41"/>
                    </a:cubicBezTo>
                    <a:cubicBezTo>
                      <a:pt x="24" y="42"/>
                      <a:pt x="26" y="43"/>
                      <a:pt x="27" y="43"/>
                    </a:cubicBezTo>
                    <a:cubicBezTo>
                      <a:pt x="27" y="43"/>
                      <a:pt x="27" y="43"/>
                      <a:pt x="27" y="43"/>
                    </a:cubicBezTo>
                    <a:cubicBezTo>
                      <a:pt x="27" y="43"/>
                      <a:pt x="27" y="43"/>
                      <a:pt x="27" y="43"/>
                    </a:cubicBezTo>
                    <a:cubicBezTo>
                      <a:pt x="27" y="43"/>
                      <a:pt x="27" y="43"/>
                      <a:pt x="27" y="43"/>
                    </a:cubicBezTo>
                    <a:cubicBezTo>
                      <a:pt x="27" y="43"/>
                      <a:pt x="28" y="43"/>
                      <a:pt x="28" y="43"/>
                    </a:cubicBezTo>
                    <a:cubicBezTo>
                      <a:pt x="27" y="43"/>
                      <a:pt x="27" y="42"/>
                      <a:pt x="27" y="42"/>
                    </a:cubicBezTo>
                    <a:cubicBezTo>
                      <a:pt x="27" y="42"/>
                      <a:pt x="27" y="42"/>
                      <a:pt x="27" y="43"/>
                    </a:cubicBezTo>
                    <a:cubicBezTo>
                      <a:pt x="27" y="43"/>
                      <a:pt x="27" y="43"/>
                      <a:pt x="27" y="43"/>
                    </a:cubicBezTo>
                    <a:cubicBezTo>
                      <a:pt x="27" y="42"/>
                      <a:pt x="27" y="41"/>
                      <a:pt x="26" y="41"/>
                    </a:cubicBezTo>
                    <a:cubicBezTo>
                      <a:pt x="26" y="40"/>
                      <a:pt x="26" y="40"/>
                      <a:pt x="26" y="40"/>
                    </a:cubicBezTo>
                    <a:cubicBezTo>
                      <a:pt x="26" y="41"/>
                      <a:pt x="27" y="42"/>
                      <a:pt x="27" y="43"/>
                    </a:cubicBezTo>
                    <a:cubicBezTo>
                      <a:pt x="27" y="42"/>
                      <a:pt x="26" y="41"/>
                      <a:pt x="25" y="40"/>
                    </a:cubicBezTo>
                    <a:cubicBezTo>
                      <a:pt x="25" y="40"/>
                      <a:pt x="25" y="40"/>
                      <a:pt x="25" y="40"/>
                    </a:cubicBezTo>
                    <a:close/>
                    <a:moveTo>
                      <a:pt x="27" y="41"/>
                    </a:moveTo>
                    <a:cubicBezTo>
                      <a:pt x="27" y="41"/>
                      <a:pt x="27" y="41"/>
                      <a:pt x="27" y="41"/>
                    </a:cubicBezTo>
                    <a:cubicBezTo>
                      <a:pt x="27" y="41"/>
                      <a:pt x="27" y="41"/>
                      <a:pt x="27" y="41"/>
                    </a:cubicBezTo>
                    <a:cubicBezTo>
                      <a:pt x="27" y="41"/>
                      <a:pt x="27" y="41"/>
                      <a:pt x="27" y="41"/>
                    </a:cubicBezTo>
                    <a:cubicBezTo>
                      <a:pt x="27" y="41"/>
                      <a:pt x="27" y="41"/>
                      <a:pt x="27" y="41"/>
                    </a:cubicBezTo>
                    <a:cubicBezTo>
                      <a:pt x="27" y="41"/>
                      <a:pt x="27" y="41"/>
                      <a:pt x="27" y="41"/>
                    </a:cubicBezTo>
                    <a:close/>
                    <a:moveTo>
                      <a:pt x="27" y="41"/>
                    </a:moveTo>
                    <a:cubicBezTo>
                      <a:pt x="27" y="41"/>
                      <a:pt x="27" y="41"/>
                      <a:pt x="27" y="40"/>
                    </a:cubicBezTo>
                    <a:cubicBezTo>
                      <a:pt x="27" y="41"/>
                      <a:pt x="27" y="41"/>
                      <a:pt x="26" y="41"/>
                    </a:cubicBezTo>
                    <a:cubicBezTo>
                      <a:pt x="27" y="41"/>
                      <a:pt x="27" y="41"/>
                      <a:pt x="27" y="41"/>
                    </a:cubicBezTo>
                    <a:cubicBezTo>
                      <a:pt x="27" y="41"/>
                      <a:pt x="27" y="41"/>
                      <a:pt x="27" y="41"/>
                    </a:cubicBezTo>
                    <a:cubicBezTo>
                      <a:pt x="27" y="41"/>
                      <a:pt x="27" y="41"/>
                      <a:pt x="27" y="41"/>
                    </a:cubicBezTo>
                    <a:cubicBezTo>
                      <a:pt x="27" y="41"/>
                      <a:pt x="27" y="41"/>
                      <a:pt x="27" y="41"/>
                    </a:cubicBezTo>
                    <a:close/>
                    <a:moveTo>
                      <a:pt x="17" y="38"/>
                    </a:moveTo>
                    <a:cubicBezTo>
                      <a:pt x="17" y="38"/>
                      <a:pt x="17" y="38"/>
                      <a:pt x="17" y="38"/>
                    </a:cubicBezTo>
                    <a:cubicBezTo>
                      <a:pt x="18" y="40"/>
                      <a:pt x="18" y="40"/>
                      <a:pt x="19" y="40"/>
                    </a:cubicBezTo>
                    <a:cubicBezTo>
                      <a:pt x="17" y="39"/>
                      <a:pt x="17" y="40"/>
                      <a:pt x="17" y="38"/>
                    </a:cubicBezTo>
                    <a:cubicBezTo>
                      <a:pt x="17" y="38"/>
                      <a:pt x="17" y="38"/>
                      <a:pt x="17" y="38"/>
                    </a:cubicBezTo>
                    <a:close/>
                    <a:moveTo>
                      <a:pt x="6" y="36"/>
                    </a:moveTo>
                    <a:cubicBezTo>
                      <a:pt x="7" y="36"/>
                      <a:pt x="8" y="36"/>
                      <a:pt x="8" y="36"/>
                    </a:cubicBezTo>
                    <a:cubicBezTo>
                      <a:pt x="8" y="36"/>
                      <a:pt x="7" y="36"/>
                      <a:pt x="7" y="36"/>
                    </a:cubicBezTo>
                    <a:cubicBezTo>
                      <a:pt x="8" y="36"/>
                      <a:pt x="8" y="36"/>
                      <a:pt x="8" y="36"/>
                    </a:cubicBezTo>
                    <a:cubicBezTo>
                      <a:pt x="8" y="36"/>
                      <a:pt x="8" y="36"/>
                      <a:pt x="8" y="36"/>
                    </a:cubicBezTo>
                    <a:cubicBezTo>
                      <a:pt x="6" y="37"/>
                      <a:pt x="6" y="37"/>
                      <a:pt x="4" y="37"/>
                    </a:cubicBezTo>
                    <a:cubicBezTo>
                      <a:pt x="5" y="37"/>
                      <a:pt x="5" y="37"/>
                      <a:pt x="5" y="37"/>
                    </a:cubicBezTo>
                    <a:cubicBezTo>
                      <a:pt x="5" y="37"/>
                      <a:pt x="4" y="37"/>
                      <a:pt x="4" y="37"/>
                    </a:cubicBezTo>
                    <a:cubicBezTo>
                      <a:pt x="4" y="37"/>
                      <a:pt x="4" y="36"/>
                      <a:pt x="5" y="36"/>
                    </a:cubicBezTo>
                    <a:cubicBezTo>
                      <a:pt x="4" y="36"/>
                      <a:pt x="4" y="36"/>
                      <a:pt x="4" y="36"/>
                    </a:cubicBezTo>
                    <a:cubicBezTo>
                      <a:pt x="5" y="36"/>
                      <a:pt x="6" y="36"/>
                      <a:pt x="7" y="36"/>
                    </a:cubicBezTo>
                    <a:cubicBezTo>
                      <a:pt x="7" y="36"/>
                      <a:pt x="7" y="36"/>
                      <a:pt x="6" y="36"/>
                    </a:cubicBezTo>
                    <a:cubicBezTo>
                      <a:pt x="6" y="36"/>
                      <a:pt x="6" y="36"/>
                      <a:pt x="6" y="36"/>
                    </a:cubicBezTo>
                    <a:close/>
                    <a:moveTo>
                      <a:pt x="49" y="46"/>
                    </a:moveTo>
                    <a:cubicBezTo>
                      <a:pt x="49" y="46"/>
                      <a:pt x="49" y="46"/>
                      <a:pt x="49" y="46"/>
                    </a:cubicBezTo>
                    <a:cubicBezTo>
                      <a:pt x="49" y="46"/>
                      <a:pt x="49" y="46"/>
                      <a:pt x="49" y="46"/>
                    </a:cubicBezTo>
                    <a:cubicBezTo>
                      <a:pt x="49" y="46"/>
                      <a:pt x="49" y="46"/>
                      <a:pt x="49" y="46"/>
                    </a:cubicBezTo>
                    <a:cubicBezTo>
                      <a:pt x="49" y="46"/>
                      <a:pt x="49" y="46"/>
                      <a:pt x="49" y="46"/>
                    </a:cubicBezTo>
                    <a:close/>
                    <a:moveTo>
                      <a:pt x="39" y="44"/>
                    </a:moveTo>
                    <a:cubicBezTo>
                      <a:pt x="39" y="43"/>
                      <a:pt x="39" y="43"/>
                      <a:pt x="39" y="43"/>
                    </a:cubicBezTo>
                    <a:cubicBezTo>
                      <a:pt x="39" y="43"/>
                      <a:pt x="39" y="44"/>
                      <a:pt x="39" y="44"/>
                    </a:cubicBezTo>
                    <a:cubicBezTo>
                      <a:pt x="39" y="44"/>
                      <a:pt x="39" y="44"/>
                      <a:pt x="39" y="44"/>
                    </a:cubicBezTo>
                    <a:cubicBezTo>
                      <a:pt x="39" y="44"/>
                      <a:pt x="39" y="44"/>
                      <a:pt x="39" y="44"/>
                    </a:cubicBezTo>
                    <a:cubicBezTo>
                      <a:pt x="39" y="44"/>
                      <a:pt x="39" y="44"/>
                      <a:pt x="39" y="44"/>
                    </a:cubicBezTo>
                    <a:close/>
                    <a:moveTo>
                      <a:pt x="40" y="44"/>
                    </a:moveTo>
                    <a:cubicBezTo>
                      <a:pt x="40" y="44"/>
                      <a:pt x="40" y="44"/>
                      <a:pt x="39" y="44"/>
                    </a:cubicBezTo>
                    <a:cubicBezTo>
                      <a:pt x="39" y="44"/>
                      <a:pt x="39" y="44"/>
                      <a:pt x="39" y="44"/>
                    </a:cubicBezTo>
                    <a:cubicBezTo>
                      <a:pt x="39" y="44"/>
                      <a:pt x="39" y="44"/>
                      <a:pt x="39" y="44"/>
                    </a:cubicBezTo>
                    <a:cubicBezTo>
                      <a:pt x="39" y="44"/>
                      <a:pt x="39" y="44"/>
                      <a:pt x="39" y="44"/>
                    </a:cubicBezTo>
                    <a:cubicBezTo>
                      <a:pt x="39" y="44"/>
                      <a:pt x="39" y="44"/>
                      <a:pt x="39" y="44"/>
                    </a:cubicBezTo>
                    <a:cubicBezTo>
                      <a:pt x="39" y="44"/>
                      <a:pt x="39" y="44"/>
                      <a:pt x="39" y="44"/>
                    </a:cubicBezTo>
                    <a:cubicBezTo>
                      <a:pt x="39" y="44"/>
                      <a:pt x="39" y="44"/>
                      <a:pt x="39" y="44"/>
                    </a:cubicBezTo>
                    <a:cubicBezTo>
                      <a:pt x="40" y="44"/>
                      <a:pt x="40" y="44"/>
                      <a:pt x="40" y="44"/>
                    </a:cubicBezTo>
                    <a:cubicBezTo>
                      <a:pt x="40" y="44"/>
                      <a:pt x="40" y="44"/>
                      <a:pt x="40" y="44"/>
                    </a:cubicBezTo>
                    <a:close/>
                    <a:moveTo>
                      <a:pt x="36" y="43"/>
                    </a:moveTo>
                    <a:cubicBezTo>
                      <a:pt x="36" y="43"/>
                      <a:pt x="36" y="43"/>
                      <a:pt x="36" y="43"/>
                    </a:cubicBezTo>
                    <a:cubicBezTo>
                      <a:pt x="36" y="43"/>
                      <a:pt x="36" y="43"/>
                      <a:pt x="36" y="43"/>
                    </a:cubicBezTo>
                    <a:cubicBezTo>
                      <a:pt x="36" y="43"/>
                      <a:pt x="36" y="43"/>
                      <a:pt x="36" y="43"/>
                    </a:cubicBezTo>
                    <a:cubicBezTo>
                      <a:pt x="36" y="43"/>
                      <a:pt x="36" y="43"/>
                      <a:pt x="36" y="43"/>
                    </a:cubicBezTo>
                    <a:close/>
                    <a:moveTo>
                      <a:pt x="27" y="41"/>
                    </a:moveTo>
                    <a:cubicBezTo>
                      <a:pt x="27" y="41"/>
                      <a:pt x="27" y="41"/>
                      <a:pt x="28" y="41"/>
                    </a:cubicBezTo>
                    <a:cubicBezTo>
                      <a:pt x="28" y="41"/>
                      <a:pt x="28" y="42"/>
                      <a:pt x="28" y="42"/>
                    </a:cubicBezTo>
                    <a:cubicBezTo>
                      <a:pt x="28" y="42"/>
                      <a:pt x="28" y="41"/>
                      <a:pt x="27" y="41"/>
                    </a:cubicBezTo>
                    <a:cubicBezTo>
                      <a:pt x="27" y="41"/>
                      <a:pt x="27" y="41"/>
                      <a:pt x="27" y="41"/>
                    </a:cubicBezTo>
                    <a:close/>
                    <a:moveTo>
                      <a:pt x="14" y="38"/>
                    </a:moveTo>
                    <a:cubicBezTo>
                      <a:pt x="14" y="38"/>
                      <a:pt x="14" y="38"/>
                      <a:pt x="14" y="38"/>
                    </a:cubicBezTo>
                    <a:cubicBezTo>
                      <a:pt x="14" y="38"/>
                      <a:pt x="14" y="38"/>
                      <a:pt x="14" y="38"/>
                    </a:cubicBezTo>
                    <a:cubicBezTo>
                      <a:pt x="14" y="38"/>
                      <a:pt x="14" y="38"/>
                      <a:pt x="14" y="39"/>
                    </a:cubicBezTo>
                    <a:cubicBezTo>
                      <a:pt x="14" y="38"/>
                      <a:pt x="14" y="38"/>
                      <a:pt x="14" y="38"/>
                    </a:cubicBezTo>
                    <a:cubicBezTo>
                      <a:pt x="14" y="38"/>
                      <a:pt x="14" y="38"/>
                      <a:pt x="14" y="38"/>
                    </a:cubicBezTo>
                    <a:close/>
                    <a:moveTo>
                      <a:pt x="39" y="44"/>
                    </a:moveTo>
                    <a:cubicBezTo>
                      <a:pt x="39" y="44"/>
                      <a:pt x="39" y="44"/>
                      <a:pt x="39" y="44"/>
                    </a:cubicBezTo>
                    <a:cubicBezTo>
                      <a:pt x="38" y="44"/>
                      <a:pt x="38" y="44"/>
                      <a:pt x="38" y="44"/>
                    </a:cubicBezTo>
                    <a:cubicBezTo>
                      <a:pt x="38" y="44"/>
                      <a:pt x="39" y="44"/>
                      <a:pt x="39" y="44"/>
                    </a:cubicBezTo>
                    <a:cubicBezTo>
                      <a:pt x="39" y="44"/>
                      <a:pt x="39" y="44"/>
                      <a:pt x="39" y="44"/>
                    </a:cubicBezTo>
                    <a:close/>
                    <a:moveTo>
                      <a:pt x="47" y="46"/>
                    </a:moveTo>
                    <a:cubicBezTo>
                      <a:pt x="47" y="46"/>
                      <a:pt x="47" y="46"/>
                      <a:pt x="47" y="46"/>
                    </a:cubicBezTo>
                    <a:cubicBezTo>
                      <a:pt x="46" y="46"/>
                      <a:pt x="46" y="46"/>
                      <a:pt x="46" y="46"/>
                    </a:cubicBezTo>
                    <a:cubicBezTo>
                      <a:pt x="46" y="46"/>
                      <a:pt x="47" y="46"/>
                      <a:pt x="47" y="46"/>
                    </a:cubicBezTo>
                    <a:cubicBezTo>
                      <a:pt x="47" y="46"/>
                      <a:pt x="47" y="46"/>
                      <a:pt x="47" y="46"/>
                    </a:cubicBezTo>
                    <a:cubicBezTo>
                      <a:pt x="47" y="46"/>
                      <a:pt x="47" y="46"/>
                      <a:pt x="47" y="46"/>
                    </a:cubicBezTo>
                    <a:close/>
                    <a:moveTo>
                      <a:pt x="27" y="41"/>
                    </a:moveTo>
                    <a:cubicBezTo>
                      <a:pt x="27" y="41"/>
                      <a:pt x="27" y="41"/>
                      <a:pt x="27" y="41"/>
                    </a:cubicBezTo>
                    <a:cubicBezTo>
                      <a:pt x="27" y="42"/>
                      <a:pt x="28" y="42"/>
                      <a:pt x="28" y="42"/>
                    </a:cubicBezTo>
                    <a:cubicBezTo>
                      <a:pt x="28" y="42"/>
                      <a:pt x="28" y="42"/>
                      <a:pt x="28" y="42"/>
                    </a:cubicBezTo>
                    <a:cubicBezTo>
                      <a:pt x="28" y="42"/>
                      <a:pt x="28" y="42"/>
                      <a:pt x="28" y="42"/>
                    </a:cubicBezTo>
                    <a:cubicBezTo>
                      <a:pt x="28" y="42"/>
                      <a:pt x="28" y="42"/>
                      <a:pt x="28" y="42"/>
                    </a:cubicBezTo>
                    <a:cubicBezTo>
                      <a:pt x="28" y="43"/>
                      <a:pt x="28" y="43"/>
                      <a:pt x="28" y="43"/>
                    </a:cubicBezTo>
                    <a:cubicBezTo>
                      <a:pt x="28" y="43"/>
                      <a:pt x="28" y="43"/>
                      <a:pt x="28" y="43"/>
                    </a:cubicBezTo>
                    <a:cubicBezTo>
                      <a:pt x="27" y="42"/>
                      <a:pt x="27" y="42"/>
                      <a:pt x="27" y="41"/>
                    </a:cubicBezTo>
                    <a:cubicBezTo>
                      <a:pt x="27" y="41"/>
                      <a:pt x="27" y="41"/>
                      <a:pt x="27" y="41"/>
                    </a:cubicBezTo>
                    <a:close/>
                    <a:moveTo>
                      <a:pt x="50" y="46"/>
                    </a:moveTo>
                    <a:cubicBezTo>
                      <a:pt x="49" y="46"/>
                      <a:pt x="49" y="46"/>
                      <a:pt x="49" y="46"/>
                    </a:cubicBezTo>
                    <a:cubicBezTo>
                      <a:pt x="49" y="46"/>
                      <a:pt x="49" y="46"/>
                      <a:pt x="49" y="46"/>
                    </a:cubicBezTo>
                    <a:cubicBezTo>
                      <a:pt x="49" y="46"/>
                      <a:pt x="49" y="46"/>
                      <a:pt x="49" y="46"/>
                    </a:cubicBezTo>
                    <a:cubicBezTo>
                      <a:pt x="49" y="46"/>
                      <a:pt x="49" y="46"/>
                      <a:pt x="50" y="46"/>
                    </a:cubicBezTo>
                    <a:cubicBezTo>
                      <a:pt x="50" y="46"/>
                      <a:pt x="50" y="46"/>
                      <a:pt x="50" y="46"/>
                    </a:cubicBezTo>
                    <a:close/>
                    <a:moveTo>
                      <a:pt x="37" y="43"/>
                    </a:moveTo>
                    <a:cubicBezTo>
                      <a:pt x="37" y="43"/>
                      <a:pt x="37" y="43"/>
                      <a:pt x="37" y="44"/>
                    </a:cubicBezTo>
                    <a:cubicBezTo>
                      <a:pt x="37" y="44"/>
                      <a:pt x="37" y="44"/>
                      <a:pt x="37" y="44"/>
                    </a:cubicBezTo>
                    <a:cubicBezTo>
                      <a:pt x="37" y="43"/>
                      <a:pt x="37" y="43"/>
                      <a:pt x="37" y="43"/>
                    </a:cubicBezTo>
                    <a:cubicBezTo>
                      <a:pt x="37" y="43"/>
                      <a:pt x="37" y="43"/>
                      <a:pt x="37" y="43"/>
                    </a:cubicBezTo>
                    <a:close/>
                    <a:moveTo>
                      <a:pt x="47" y="46"/>
                    </a:moveTo>
                    <a:cubicBezTo>
                      <a:pt x="47" y="46"/>
                      <a:pt x="47" y="46"/>
                      <a:pt x="47" y="46"/>
                    </a:cubicBezTo>
                    <a:cubicBezTo>
                      <a:pt x="47" y="46"/>
                      <a:pt x="47" y="46"/>
                      <a:pt x="47" y="46"/>
                    </a:cubicBezTo>
                    <a:cubicBezTo>
                      <a:pt x="47" y="46"/>
                      <a:pt x="47" y="46"/>
                      <a:pt x="47" y="46"/>
                    </a:cubicBezTo>
                    <a:cubicBezTo>
                      <a:pt x="47" y="46"/>
                      <a:pt x="47" y="46"/>
                      <a:pt x="47" y="46"/>
                    </a:cubicBezTo>
                    <a:close/>
                    <a:moveTo>
                      <a:pt x="37" y="44"/>
                    </a:moveTo>
                    <a:cubicBezTo>
                      <a:pt x="37" y="44"/>
                      <a:pt x="38" y="44"/>
                      <a:pt x="38" y="44"/>
                    </a:cubicBezTo>
                    <a:cubicBezTo>
                      <a:pt x="37" y="44"/>
                      <a:pt x="37" y="44"/>
                      <a:pt x="37" y="44"/>
                    </a:cubicBezTo>
                    <a:cubicBezTo>
                      <a:pt x="37" y="44"/>
                      <a:pt x="37" y="44"/>
                      <a:pt x="37" y="44"/>
                    </a:cubicBezTo>
                    <a:cubicBezTo>
                      <a:pt x="37" y="44"/>
                      <a:pt x="37" y="44"/>
                      <a:pt x="37" y="44"/>
                    </a:cubicBezTo>
                    <a:close/>
                    <a:moveTo>
                      <a:pt x="38" y="44"/>
                    </a:moveTo>
                    <a:cubicBezTo>
                      <a:pt x="38" y="44"/>
                      <a:pt x="38" y="44"/>
                      <a:pt x="38" y="44"/>
                    </a:cubicBezTo>
                    <a:cubicBezTo>
                      <a:pt x="38" y="44"/>
                      <a:pt x="38" y="44"/>
                      <a:pt x="38" y="44"/>
                    </a:cubicBezTo>
                    <a:cubicBezTo>
                      <a:pt x="38" y="44"/>
                      <a:pt x="39" y="44"/>
                      <a:pt x="39" y="44"/>
                    </a:cubicBezTo>
                    <a:cubicBezTo>
                      <a:pt x="39" y="44"/>
                      <a:pt x="39" y="44"/>
                      <a:pt x="38" y="44"/>
                    </a:cubicBezTo>
                    <a:cubicBezTo>
                      <a:pt x="38" y="44"/>
                      <a:pt x="39" y="44"/>
                      <a:pt x="39" y="44"/>
                    </a:cubicBezTo>
                    <a:cubicBezTo>
                      <a:pt x="39" y="44"/>
                      <a:pt x="38" y="44"/>
                      <a:pt x="38" y="44"/>
                    </a:cubicBezTo>
                    <a:cubicBezTo>
                      <a:pt x="38" y="44"/>
                      <a:pt x="38" y="44"/>
                      <a:pt x="38" y="44"/>
                    </a:cubicBezTo>
                    <a:close/>
                    <a:moveTo>
                      <a:pt x="37" y="44"/>
                    </a:moveTo>
                    <a:cubicBezTo>
                      <a:pt x="37" y="43"/>
                      <a:pt x="37" y="43"/>
                      <a:pt x="37" y="43"/>
                    </a:cubicBezTo>
                    <a:cubicBezTo>
                      <a:pt x="36" y="43"/>
                      <a:pt x="36" y="44"/>
                      <a:pt x="36" y="44"/>
                    </a:cubicBezTo>
                    <a:cubicBezTo>
                      <a:pt x="36" y="44"/>
                      <a:pt x="36" y="44"/>
                      <a:pt x="37" y="44"/>
                    </a:cubicBezTo>
                    <a:cubicBezTo>
                      <a:pt x="37" y="44"/>
                      <a:pt x="37" y="44"/>
                      <a:pt x="37" y="44"/>
                    </a:cubicBezTo>
                    <a:cubicBezTo>
                      <a:pt x="37" y="44"/>
                      <a:pt x="37" y="44"/>
                      <a:pt x="37" y="44"/>
                    </a:cubicBezTo>
                    <a:cubicBezTo>
                      <a:pt x="37" y="44"/>
                      <a:pt x="37" y="44"/>
                      <a:pt x="37" y="44"/>
                    </a:cubicBezTo>
                    <a:cubicBezTo>
                      <a:pt x="37" y="44"/>
                      <a:pt x="37" y="44"/>
                      <a:pt x="37" y="44"/>
                    </a:cubicBezTo>
                    <a:close/>
                    <a:moveTo>
                      <a:pt x="15" y="39"/>
                    </a:moveTo>
                    <a:cubicBezTo>
                      <a:pt x="15" y="39"/>
                      <a:pt x="15" y="38"/>
                      <a:pt x="14" y="38"/>
                    </a:cubicBezTo>
                    <a:cubicBezTo>
                      <a:pt x="14" y="38"/>
                      <a:pt x="14" y="39"/>
                      <a:pt x="14" y="39"/>
                    </a:cubicBezTo>
                    <a:cubicBezTo>
                      <a:pt x="15" y="39"/>
                      <a:pt x="16" y="39"/>
                      <a:pt x="16" y="40"/>
                    </a:cubicBezTo>
                    <a:cubicBezTo>
                      <a:pt x="16" y="39"/>
                      <a:pt x="16" y="39"/>
                      <a:pt x="16" y="39"/>
                    </a:cubicBezTo>
                    <a:cubicBezTo>
                      <a:pt x="16" y="39"/>
                      <a:pt x="16" y="39"/>
                      <a:pt x="16" y="39"/>
                    </a:cubicBezTo>
                    <a:cubicBezTo>
                      <a:pt x="15" y="39"/>
                      <a:pt x="15" y="39"/>
                      <a:pt x="15" y="39"/>
                    </a:cubicBezTo>
                    <a:cubicBezTo>
                      <a:pt x="15" y="39"/>
                      <a:pt x="15" y="39"/>
                      <a:pt x="15" y="39"/>
                    </a:cubicBezTo>
                    <a:close/>
                    <a:moveTo>
                      <a:pt x="49" y="47"/>
                    </a:moveTo>
                    <a:cubicBezTo>
                      <a:pt x="49" y="46"/>
                      <a:pt x="49" y="46"/>
                      <a:pt x="49" y="46"/>
                    </a:cubicBezTo>
                    <a:cubicBezTo>
                      <a:pt x="48" y="46"/>
                      <a:pt x="48" y="46"/>
                      <a:pt x="48" y="47"/>
                    </a:cubicBezTo>
                    <a:cubicBezTo>
                      <a:pt x="48" y="46"/>
                      <a:pt x="48" y="46"/>
                      <a:pt x="48" y="46"/>
                    </a:cubicBezTo>
                    <a:cubicBezTo>
                      <a:pt x="48" y="46"/>
                      <a:pt x="48" y="46"/>
                      <a:pt x="48" y="47"/>
                    </a:cubicBezTo>
                    <a:cubicBezTo>
                      <a:pt x="48" y="47"/>
                      <a:pt x="49" y="47"/>
                      <a:pt x="49" y="47"/>
                    </a:cubicBezTo>
                    <a:cubicBezTo>
                      <a:pt x="49" y="47"/>
                      <a:pt x="49" y="47"/>
                      <a:pt x="49" y="47"/>
                    </a:cubicBezTo>
                    <a:close/>
                    <a:moveTo>
                      <a:pt x="43" y="45"/>
                    </a:moveTo>
                    <a:cubicBezTo>
                      <a:pt x="44" y="45"/>
                      <a:pt x="44" y="45"/>
                      <a:pt x="44" y="45"/>
                    </a:cubicBezTo>
                    <a:cubicBezTo>
                      <a:pt x="44" y="45"/>
                      <a:pt x="44" y="46"/>
                      <a:pt x="44" y="46"/>
                    </a:cubicBezTo>
                    <a:cubicBezTo>
                      <a:pt x="44" y="46"/>
                      <a:pt x="43" y="45"/>
                      <a:pt x="43" y="45"/>
                    </a:cubicBezTo>
                    <a:cubicBezTo>
                      <a:pt x="43" y="45"/>
                      <a:pt x="43" y="45"/>
                      <a:pt x="43" y="45"/>
                    </a:cubicBezTo>
                    <a:close/>
                    <a:moveTo>
                      <a:pt x="36" y="44"/>
                    </a:moveTo>
                    <a:cubicBezTo>
                      <a:pt x="36" y="44"/>
                      <a:pt x="36" y="44"/>
                      <a:pt x="36" y="44"/>
                    </a:cubicBezTo>
                    <a:cubicBezTo>
                      <a:pt x="36" y="44"/>
                      <a:pt x="36" y="44"/>
                      <a:pt x="36" y="44"/>
                    </a:cubicBezTo>
                    <a:cubicBezTo>
                      <a:pt x="36" y="44"/>
                      <a:pt x="36" y="44"/>
                      <a:pt x="36" y="44"/>
                    </a:cubicBezTo>
                    <a:cubicBezTo>
                      <a:pt x="36" y="44"/>
                      <a:pt x="36" y="44"/>
                      <a:pt x="36" y="44"/>
                    </a:cubicBezTo>
                    <a:close/>
                    <a:moveTo>
                      <a:pt x="37" y="44"/>
                    </a:moveTo>
                    <a:cubicBezTo>
                      <a:pt x="37" y="44"/>
                      <a:pt x="37" y="44"/>
                      <a:pt x="37" y="44"/>
                    </a:cubicBezTo>
                    <a:cubicBezTo>
                      <a:pt x="37" y="44"/>
                      <a:pt x="37" y="44"/>
                      <a:pt x="37" y="44"/>
                    </a:cubicBezTo>
                    <a:cubicBezTo>
                      <a:pt x="37" y="44"/>
                      <a:pt x="37" y="44"/>
                      <a:pt x="37" y="44"/>
                    </a:cubicBezTo>
                    <a:cubicBezTo>
                      <a:pt x="37" y="44"/>
                      <a:pt x="37" y="44"/>
                      <a:pt x="37" y="44"/>
                    </a:cubicBezTo>
                    <a:cubicBezTo>
                      <a:pt x="37" y="44"/>
                      <a:pt x="37" y="44"/>
                      <a:pt x="37" y="44"/>
                    </a:cubicBezTo>
                    <a:close/>
                    <a:moveTo>
                      <a:pt x="12" y="38"/>
                    </a:moveTo>
                    <a:cubicBezTo>
                      <a:pt x="12" y="38"/>
                      <a:pt x="11" y="38"/>
                      <a:pt x="11" y="38"/>
                    </a:cubicBezTo>
                    <a:cubicBezTo>
                      <a:pt x="11" y="38"/>
                      <a:pt x="10" y="38"/>
                      <a:pt x="10" y="39"/>
                    </a:cubicBezTo>
                    <a:cubicBezTo>
                      <a:pt x="11" y="38"/>
                      <a:pt x="11" y="38"/>
                      <a:pt x="12" y="38"/>
                    </a:cubicBezTo>
                    <a:cubicBezTo>
                      <a:pt x="12" y="38"/>
                      <a:pt x="12" y="38"/>
                      <a:pt x="12" y="38"/>
                    </a:cubicBezTo>
                    <a:cubicBezTo>
                      <a:pt x="12" y="38"/>
                      <a:pt x="12" y="38"/>
                      <a:pt x="12" y="38"/>
                    </a:cubicBezTo>
                    <a:close/>
                    <a:moveTo>
                      <a:pt x="43" y="45"/>
                    </a:moveTo>
                    <a:cubicBezTo>
                      <a:pt x="43" y="45"/>
                      <a:pt x="43" y="45"/>
                      <a:pt x="44" y="46"/>
                    </a:cubicBezTo>
                    <a:cubicBezTo>
                      <a:pt x="43" y="46"/>
                      <a:pt x="43" y="46"/>
                      <a:pt x="43" y="45"/>
                    </a:cubicBezTo>
                    <a:cubicBezTo>
                      <a:pt x="43" y="45"/>
                      <a:pt x="43" y="45"/>
                      <a:pt x="43" y="45"/>
                    </a:cubicBezTo>
                    <a:close/>
                    <a:moveTo>
                      <a:pt x="42" y="45"/>
                    </a:moveTo>
                    <a:cubicBezTo>
                      <a:pt x="42" y="45"/>
                      <a:pt x="42" y="46"/>
                      <a:pt x="42" y="46"/>
                    </a:cubicBezTo>
                    <a:cubicBezTo>
                      <a:pt x="42" y="46"/>
                      <a:pt x="42" y="46"/>
                      <a:pt x="43" y="46"/>
                    </a:cubicBezTo>
                    <a:cubicBezTo>
                      <a:pt x="43" y="46"/>
                      <a:pt x="43" y="46"/>
                      <a:pt x="42" y="45"/>
                    </a:cubicBezTo>
                    <a:cubicBezTo>
                      <a:pt x="42" y="45"/>
                      <a:pt x="42" y="45"/>
                      <a:pt x="42" y="45"/>
                    </a:cubicBezTo>
                    <a:close/>
                    <a:moveTo>
                      <a:pt x="28" y="42"/>
                    </a:moveTo>
                    <a:cubicBezTo>
                      <a:pt x="28" y="42"/>
                      <a:pt x="28" y="42"/>
                      <a:pt x="28" y="42"/>
                    </a:cubicBezTo>
                    <a:cubicBezTo>
                      <a:pt x="28" y="42"/>
                      <a:pt x="28" y="42"/>
                      <a:pt x="28" y="42"/>
                    </a:cubicBezTo>
                    <a:cubicBezTo>
                      <a:pt x="28" y="42"/>
                      <a:pt x="28" y="42"/>
                      <a:pt x="28" y="42"/>
                    </a:cubicBezTo>
                    <a:cubicBezTo>
                      <a:pt x="28" y="42"/>
                      <a:pt x="28" y="42"/>
                      <a:pt x="28" y="42"/>
                    </a:cubicBezTo>
                    <a:close/>
                    <a:moveTo>
                      <a:pt x="29" y="42"/>
                    </a:moveTo>
                    <a:cubicBezTo>
                      <a:pt x="29" y="42"/>
                      <a:pt x="29" y="42"/>
                      <a:pt x="29" y="42"/>
                    </a:cubicBezTo>
                    <a:cubicBezTo>
                      <a:pt x="29" y="42"/>
                      <a:pt x="29" y="43"/>
                      <a:pt x="29" y="43"/>
                    </a:cubicBezTo>
                    <a:cubicBezTo>
                      <a:pt x="29" y="43"/>
                      <a:pt x="29" y="43"/>
                      <a:pt x="29" y="42"/>
                    </a:cubicBezTo>
                    <a:cubicBezTo>
                      <a:pt x="29" y="42"/>
                      <a:pt x="29" y="42"/>
                      <a:pt x="29" y="42"/>
                    </a:cubicBezTo>
                    <a:close/>
                    <a:moveTo>
                      <a:pt x="37" y="44"/>
                    </a:moveTo>
                    <a:cubicBezTo>
                      <a:pt x="37" y="44"/>
                      <a:pt x="37" y="44"/>
                      <a:pt x="37" y="44"/>
                    </a:cubicBezTo>
                    <a:cubicBezTo>
                      <a:pt x="37" y="44"/>
                      <a:pt x="36" y="44"/>
                      <a:pt x="36" y="44"/>
                    </a:cubicBezTo>
                    <a:cubicBezTo>
                      <a:pt x="36" y="44"/>
                      <a:pt x="36" y="44"/>
                      <a:pt x="37" y="44"/>
                    </a:cubicBezTo>
                    <a:cubicBezTo>
                      <a:pt x="36" y="44"/>
                      <a:pt x="36" y="44"/>
                      <a:pt x="36" y="44"/>
                    </a:cubicBezTo>
                    <a:cubicBezTo>
                      <a:pt x="36" y="44"/>
                      <a:pt x="36" y="44"/>
                      <a:pt x="37" y="44"/>
                    </a:cubicBezTo>
                    <a:cubicBezTo>
                      <a:pt x="37" y="44"/>
                      <a:pt x="37" y="44"/>
                      <a:pt x="37" y="44"/>
                    </a:cubicBezTo>
                    <a:cubicBezTo>
                      <a:pt x="37" y="44"/>
                      <a:pt x="37" y="44"/>
                      <a:pt x="37" y="44"/>
                    </a:cubicBezTo>
                    <a:close/>
                    <a:moveTo>
                      <a:pt x="28" y="42"/>
                    </a:moveTo>
                    <a:cubicBezTo>
                      <a:pt x="28" y="42"/>
                      <a:pt x="28" y="42"/>
                      <a:pt x="28" y="42"/>
                    </a:cubicBezTo>
                    <a:cubicBezTo>
                      <a:pt x="29" y="43"/>
                      <a:pt x="29" y="43"/>
                      <a:pt x="29" y="43"/>
                    </a:cubicBezTo>
                    <a:cubicBezTo>
                      <a:pt x="29" y="43"/>
                      <a:pt x="28" y="43"/>
                      <a:pt x="28" y="42"/>
                    </a:cubicBezTo>
                    <a:cubicBezTo>
                      <a:pt x="28" y="42"/>
                      <a:pt x="28" y="42"/>
                      <a:pt x="28" y="42"/>
                    </a:cubicBezTo>
                    <a:close/>
                    <a:moveTo>
                      <a:pt x="14" y="40"/>
                    </a:moveTo>
                    <a:cubicBezTo>
                      <a:pt x="14" y="40"/>
                      <a:pt x="14" y="40"/>
                      <a:pt x="14" y="39"/>
                    </a:cubicBezTo>
                    <a:cubicBezTo>
                      <a:pt x="14" y="40"/>
                      <a:pt x="14" y="40"/>
                      <a:pt x="14" y="40"/>
                    </a:cubicBezTo>
                    <a:cubicBezTo>
                      <a:pt x="14" y="40"/>
                      <a:pt x="14" y="40"/>
                      <a:pt x="14" y="40"/>
                    </a:cubicBezTo>
                    <a:cubicBezTo>
                      <a:pt x="14" y="40"/>
                      <a:pt x="14" y="40"/>
                      <a:pt x="14" y="40"/>
                    </a:cubicBezTo>
                    <a:close/>
                    <a:moveTo>
                      <a:pt x="51" y="48"/>
                    </a:moveTo>
                    <a:cubicBezTo>
                      <a:pt x="51" y="48"/>
                      <a:pt x="51" y="48"/>
                      <a:pt x="51" y="48"/>
                    </a:cubicBezTo>
                    <a:cubicBezTo>
                      <a:pt x="51" y="48"/>
                      <a:pt x="51" y="48"/>
                      <a:pt x="51" y="49"/>
                    </a:cubicBezTo>
                    <a:cubicBezTo>
                      <a:pt x="51" y="48"/>
                      <a:pt x="51" y="48"/>
                      <a:pt x="51" y="48"/>
                    </a:cubicBezTo>
                    <a:cubicBezTo>
                      <a:pt x="51" y="48"/>
                      <a:pt x="51" y="48"/>
                      <a:pt x="51" y="48"/>
                    </a:cubicBezTo>
                    <a:cubicBezTo>
                      <a:pt x="50" y="48"/>
                      <a:pt x="50" y="48"/>
                      <a:pt x="49" y="48"/>
                    </a:cubicBezTo>
                    <a:cubicBezTo>
                      <a:pt x="50" y="47"/>
                      <a:pt x="50" y="48"/>
                      <a:pt x="51" y="48"/>
                    </a:cubicBezTo>
                    <a:cubicBezTo>
                      <a:pt x="51" y="48"/>
                      <a:pt x="51" y="48"/>
                      <a:pt x="51" y="48"/>
                    </a:cubicBezTo>
                    <a:cubicBezTo>
                      <a:pt x="51" y="48"/>
                      <a:pt x="51" y="48"/>
                      <a:pt x="51" y="48"/>
                    </a:cubicBezTo>
                    <a:close/>
                    <a:moveTo>
                      <a:pt x="17" y="41"/>
                    </a:moveTo>
                    <a:cubicBezTo>
                      <a:pt x="17" y="40"/>
                      <a:pt x="17" y="40"/>
                      <a:pt x="16" y="40"/>
                    </a:cubicBezTo>
                    <a:cubicBezTo>
                      <a:pt x="16" y="40"/>
                      <a:pt x="16" y="40"/>
                      <a:pt x="16" y="40"/>
                    </a:cubicBezTo>
                    <a:cubicBezTo>
                      <a:pt x="16" y="40"/>
                      <a:pt x="16" y="40"/>
                      <a:pt x="17" y="40"/>
                    </a:cubicBezTo>
                    <a:cubicBezTo>
                      <a:pt x="17" y="40"/>
                      <a:pt x="17" y="40"/>
                      <a:pt x="17" y="40"/>
                    </a:cubicBezTo>
                    <a:cubicBezTo>
                      <a:pt x="17" y="40"/>
                      <a:pt x="17" y="40"/>
                      <a:pt x="16" y="40"/>
                    </a:cubicBezTo>
                    <a:cubicBezTo>
                      <a:pt x="17" y="40"/>
                      <a:pt x="17" y="40"/>
                      <a:pt x="17" y="40"/>
                    </a:cubicBezTo>
                    <a:cubicBezTo>
                      <a:pt x="17" y="41"/>
                      <a:pt x="16" y="41"/>
                      <a:pt x="16" y="41"/>
                    </a:cubicBezTo>
                    <a:cubicBezTo>
                      <a:pt x="16" y="41"/>
                      <a:pt x="17" y="41"/>
                      <a:pt x="17" y="41"/>
                    </a:cubicBezTo>
                    <a:cubicBezTo>
                      <a:pt x="17" y="41"/>
                      <a:pt x="17" y="41"/>
                      <a:pt x="17" y="41"/>
                    </a:cubicBezTo>
                    <a:close/>
                    <a:moveTo>
                      <a:pt x="18" y="41"/>
                    </a:moveTo>
                    <a:cubicBezTo>
                      <a:pt x="18" y="41"/>
                      <a:pt x="18" y="41"/>
                      <a:pt x="18" y="41"/>
                    </a:cubicBezTo>
                    <a:cubicBezTo>
                      <a:pt x="17" y="41"/>
                      <a:pt x="17" y="41"/>
                      <a:pt x="17" y="41"/>
                    </a:cubicBezTo>
                    <a:cubicBezTo>
                      <a:pt x="17" y="41"/>
                      <a:pt x="18" y="41"/>
                      <a:pt x="18" y="41"/>
                    </a:cubicBezTo>
                    <a:cubicBezTo>
                      <a:pt x="18" y="41"/>
                      <a:pt x="18" y="41"/>
                      <a:pt x="18" y="41"/>
                    </a:cubicBezTo>
                    <a:close/>
                    <a:moveTo>
                      <a:pt x="23" y="42"/>
                    </a:moveTo>
                    <a:cubicBezTo>
                      <a:pt x="23" y="42"/>
                      <a:pt x="23" y="42"/>
                      <a:pt x="23" y="41"/>
                    </a:cubicBezTo>
                    <a:cubicBezTo>
                      <a:pt x="23" y="42"/>
                      <a:pt x="23" y="42"/>
                      <a:pt x="24" y="42"/>
                    </a:cubicBezTo>
                    <a:cubicBezTo>
                      <a:pt x="24" y="42"/>
                      <a:pt x="23" y="42"/>
                      <a:pt x="23" y="42"/>
                    </a:cubicBezTo>
                    <a:cubicBezTo>
                      <a:pt x="23" y="42"/>
                      <a:pt x="23" y="42"/>
                      <a:pt x="23" y="42"/>
                    </a:cubicBezTo>
                    <a:close/>
                    <a:moveTo>
                      <a:pt x="20" y="42"/>
                    </a:moveTo>
                    <a:cubicBezTo>
                      <a:pt x="20" y="42"/>
                      <a:pt x="20" y="42"/>
                      <a:pt x="21" y="42"/>
                    </a:cubicBezTo>
                    <a:cubicBezTo>
                      <a:pt x="20" y="42"/>
                      <a:pt x="20" y="42"/>
                      <a:pt x="20" y="42"/>
                    </a:cubicBezTo>
                    <a:cubicBezTo>
                      <a:pt x="20" y="42"/>
                      <a:pt x="20" y="42"/>
                      <a:pt x="20" y="42"/>
                    </a:cubicBezTo>
                    <a:close/>
                    <a:moveTo>
                      <a:pt x="17" y="41"/>
                    </a:moveTo>
                    <a:cubicBezTo>
                      <a:pt x="17" y="41"/>
                      <a:pt x="17" y="41"/>
                      <a:pt x="17" y="41"/>
                    </a:cubicBezTo>
                    <a:cubicBezTo>
                      <a:pt x="17" y="41"/>
                      <a:pt x="17" y="41"/>
                      <a:pt x="16" y="41"/>
                    </a:cubicBezTo>
                    <a:cubicBezTo>
                      <a:pt x="16" y="41"/>
                      <a:pt x="17" y="41"/>
                      <a:pt x="17" y="41"/>
                    </a:cubicBezTo>
                    <a:cubicBezTo>
                      <a:pt x="17" y="41"/>
                      <a:pt x="17" y="41"/>
                      <a:pt x="17" y="41"/>
                    </a:cubicBezTo>
                    <a:close/>
                    <a:moveTo>
                      <a:pt x="44" y="47"/>
                    </a:moveTo>
                    <a:cubicBezTo>
                      <a:pt x="45" y="47"/>
                      <a:pt x="45" y="47"/>
                      <a:pt x="45" y="48"/>
                    </a:cubicBezTo>
                    <a:cubicBezTo>
                      <a:pt x="45" y="47"/>
                      <a:pt x="45" y="47"/>
                      <a:pt x="44" y="47"/>
                    </a:cubicBezTo>
                    <a:cubicBezTo>
                      <a:pt x="44" y="47"/>
                      <a:pt x="44" y="47"/>
                      <a:pt x="44" y="47"/>
                    </a:cubicBezTo>
                    <a:close/>
                    <a:moveTo>
                      <a:pt x="43" y="47"/>
                    </a:moveTo>
                    <a:cubicBezTo>
                      <a:pt x="44" y="47"/>
                      <a:pt x="45" y="47"/>
                      <a:pt x="45" y="48"/>
                    </a:cubicBezTo>
                    <a:cubicBezTo>
                      <a:pt x="45" y="48"/>
                      <a:pt x="44" y="48"/>
                      <a:pt x="44" y="48"/>
                    </a:cubicBezTo>
                    <a:cubicBezTo>
                      <a:pt x="44" y="48"/>
                      <a:pt x="44" y="48"/>
                      <a:pt x="44" y="48"/>
                    </a:cubicBezTo>
                    <a:cubicBezTo>
                      <a:pt x="44" y="48"/>
                      <a:pt x="43" y="48"/>
                      <a:pt x="43" y="47"/>
                    </a:cubicBezTo>
                    <a:cubicBezTo>
                      <a:pt x="43" y="47"/>
                      <a:pt x="43" y="47"/>
                      <a:pt x="43" y="47"/>
                    </a:cubicBezTo>
                    <a:close/>
                    <a:moveTo>
                      <a:pt x="26" y="44"/>
                    </a:moveTo>
                    <a:cubicBezTo>
                      <a:pt x="26" y="44"/>
                      <a:pt x="26" y="44"/>
                      <a:pt x="26" y="44"/>
                    </a:cubicBezTo>
                    <a:cubicBezTo>
                      <a:pt x="26" y="44"/>
                      <a:pt x="26" y="44"/>
                      <a:pt x="25" y="44"/>
                    </a:cubicBezTo>
                    <a:cubicBezTo>
                      <a:pt x="25" y="44"/>
                      <a:pt x="26" y="44"/>
                      <a:pt x="26" y="44"/>
                    </a:cubicBezTo>
                    <a:cubicBezTo>
                      <a:pt x="26" y="44"/>
                      <a:pt x="26" y="44"/>
                      <a:pt x="26" y="44"/>
                    </a:cubicBezTo>
                    <a:close/>
                    <a:moveTo>
                      <a:pt x="26" y="44"/>
                    </a:moveTo>
                    <a:cubicBezTo>
                      <a:pt x="26" y="44"/>
                      <a:pt x="26" y="44"/>
                      <a:pt x="27" y="44"/>
                    </a:cubicBezTo>
                    <a:cubicBezTo>
                      <a:pt x="26" y="44"/>
                      <a:pt x="26" y="44"/>
                      <a:pt x="26" y="44"/>
                    </a:cubicBezTo>
                    <a:cubicBezTo>
                      <a:pt x="26" y="44"/>
                      <a:pt x="26" y="44"/>
                      <a:pt x="26" y="44"/>
                    </a:cubicBezTo>
                    <a:cubicBezTo>
                      <a:pt x="26" y="44"/>
                      <a:pt x="26" y="44"/>
                      <a:pt x="26" y="44"/>
                    </a:cubicBezTo>
                    <a:cubicBezTo>
                      <a:pt x="26" y="44"/>
                      <a:pt x="26" y="44"/>
                      <a:pt x="26" y="44"/>
                    </a:cubicBezTo>
                    <a:cubicBezTo>
                      <a:pt x="26" y="44"/>
                      <a:pt x="26" y="44"/>
                      <a:pt x="26" y="44"/>
                    </a:cubicBezTo>
                    <a:close/>
                    <a:moveTo>
                      <a:pt x="17" y="42"/>
                    </a:moveTo>
                    <a:cubicBezTo>
                      <a:pt x="17" y="42"/>
                      <a:pt x="17" y="42"/>
                      <a:pt x="17" y="42"/>
                    </a:cubicBezTo>
                    <a:cubicBezTo>
                      <a:pt x="17" y="42"/>
                      <a:pt x="17" y="42"/>
                      <a:pt x="17" y="42"/>
                    </a:cubicBezTo>
                    <a:cubicBezTo>
                      <a:pt x="17" y="42"/>
                      <a:pt x="17" y="42"/>
                      <a:pt x="17" y="42"/>
                    </a:cubicBezTo>
                    <a:cubicBezTo>
                      <a:pt x="17" y="42"/>
                      <a:pt x="17" y="42"/>
                      <a:pt x="17" y="42"/>
                    </a:cubicBezTo>
                    <a:close/>
                    <a:moveTo>
                      <a:pt x="38" y="47"/>
                    </a:moveTo>
                    <a:cubicBezTo>
                      <a:pt x="39" y="47"/>
                      <a:pt x="39" y="48"/>
                      <a:pt x="39" y="48"/>
                    </a:cubicBezTo>
                    <a:cubicBezTo>
                      <a:pt x="39" y="48"/>
                      <a:pt x="38" y="47"/>
                      <a:pt x="38" y="47"/>
                    </a:cubicBezTo>
                    <a:cubicBezTo>
                      <a:pt x="38" y="47"/>
                      <a:pt x="38" y="47"/>
                      <a:pt x="38" y="47"/>
                    </a:cubicBezTo>
                    <a:close/>
                    <a:moveTo>
                      <a:pt x="43" y="48"/>
                    </a:moveTo>
                    <a:cubicBezTo>
                      <a:pt x="43" y="48"/>
                      <a:pt x="43" y="48"/>
                      <a:pt x="43" y="48"/>
                    </a:cubicBezTo>
                    <a:cubicBezTo>
                      <a:pt x="43" y="48"/>
                      <a:pt x="43" y="49"/>
                      <a:pt x="43" y="49"/>
                    </a:cubicBezTo>
                    <a:cubicBezTo>
                      <a:pt x="43" y="49"/>
                      <a:pt x="43" y="48"/>
                      <a:pt x="43" y="48"/>
                    </a:cubicBezTo>
                    <a:cubicBezTo>
                      <a:pt x="43" y="48"/>
                      <a:pt x="43" y="48"/>
                      <a:pt x="43" y="48"/>
                    </a:cubicBezTo>
                    <a:cubicBezTo>
                      <a:pt x="43" y="48"/>
                      <a:pt x="43" y="48"/>
                      <a:pt x="43" y="48"/>
                    </a:cubicBezTo>
                    <a:cubicBezTo>
                      <a:pt x="43" y="48"/>
                      <a:pt x="43" y="48"/>
                      <a:pt x="43" y="48"/>
                    </a:cubicBezTo>
                    <a:close/>
                    <a:moveTo>
                      <a:pt x="38" y="47"/>
                    </a:moveTo>
                    <a:cubicBezTo>
                      <a:pt x="38" y="47"/>
                      <a:pt x="38" y="47"/>
                      <a:pt x="38" y="47"/>
                    </a:cubicBezTo>
                    <a:cubicBezTo>
                      <a:pt x="38" y="47"/>
                      <a:pt x="38" y="47"/>
                      <a:pt x="38" y="47"/>
                    </a:cubicBezTo>
                    <a:cubicBezTo>
                      <a:pt x="38" y="47"/>
                      <a:pt x="38" y="47"/>
                      <a:pt x="38" y="47"/>
                    </a:cubicBezTo>
                    <a:cubicBezTo>
                      <a:pt x="38" y="47"/>
                      <a:pt x="38" y="47"/>
                      <a:pt x="38" y="47"/>
                    </a:cubicBezTo>
                    <a:close/>
                    <a:moveTo>
                      <a:pt x="16" y="42"/>
                    </a:moveTo>
                    <a:cubicBezTo>
                      <a:pt x="16" y="42"/>
                      <a:pt x="16" y="42"/>
                      <a:pt x="16" y="42"/>
                    </a:cubicBezTo>
                    <a:cubicBezTo>
                      <a:pt x="16" y="42"/>
                      <a:pt x="16" y="42"/>
                      <a:pt x="16" y="42"/>
                    </a:cubicBezTo>
                    <a:cubicBezTo>
                      <a:pt x="16" y="42"/>
                      <a:pt x="16" y="42"/>
                      <a:pt x="16" y="42"/>
                    </a:cubicBezTo>
                    <a:cubicBezTo>
                      <a:pt x="16" y="42"/>
                      <a:pt x="16" y="42"/>
                      <a:pt x="16" y="42"/>
                    </a:cubicBezTo>
                    <a:close/>
                    <a:moveTo>
                      <a:pt x="35" y="47"/>
                    </a:moveTo>
                    <a:cubicBezTo>
                      <a:pt x="35" y="47"/>
                      <a:pt x="35" y="47"/>
                      <a:pt x="35" y="46"/>
                    </a:cubicBezTo>
                    <a:cubicBezTo>
                      <a:pt x="35" y="47"/>
                      <a:pt x="35" y="47"/>
                      <a:pt x="36" y="47"/>
                    </a:cubicBezTo>
                    <a:cubicBezTo>
                      <a:pt x="36" y="47"/>
                      <a:pt x="36" y="47"/>
                      <a:pt x="35" y="47"/>
                    </a:cubicBezTo>
                    <a:cubicBezTo>
                      <a:pt x="35" y="47"/>
                      <a:pt x="35" y="47"/>
                      <a:pt x="35" y="47"/>
                    </a:cubicBezTo>
                    <a:close/>
                    <a:moveTo>
                      <a:pt x="36" y="47"/>
                    </a:moveTo>
                    <a:cubicBezTo>
                      <a:pt x="36" y="47"/>
                      <a:pt x="36" y="47"/>
                      <a:pt x="36" y="47"/>
                    </a:cubicBezTo>
                    <a:cubicBezTo>
                      <a:pt x="36" y="47"/>
                      <a:pt x="36" y="47"/>
                      <a:pt x="36" y="47"/>
                    </a:cubicBezTo>
                    <a:cubicBezTo>
                      <a:pt x="36" y="47"/>
                      <a:pt x="36" y="47"/>
                      <a:pt x="36" y="47"/>
                    </a:cubicBezTo>
                    <a:cubicBezTo>
                      <a:pt x="36" y="47"/>
                      <a:pt x="36" y="47"/>
                      <a:pt x="36" y="47"/>
                    </a:cubicBezTo>
                    <a:close/>
                    <a:moveTo>
                      <a:pt x="43" y="49"/>
                    </a:moveTo>
                    <a:cubicBezTo>
                      <a:pt x="43" y="49"/>
                      <a:pt x="43" y="49"/>
                      <a:pt x="43" y="49"/>
                    </a:cubicBezTo>
                    <a:cubicBezTo>
                      <a:pt x="43" y="49"/>
                      <a:pt x="43" y="49"/>
                      <a:pt x="43" y="49"/>
                    </a:cubicBezTo>
                    <a:cubicBezTo>
                      <a:pt x="43" y="49"/>
                      <a:pt x="43" y="49"/>
                      <a:pt x="43" y="49"/>
                    </a:cubicBezTo>
                    <a:cubicBezTo>
                      <a:pt x="43" y="49"/>
                      <a:pt x="43" y="49"/>
                      <a:pt x="43" y="49"/>
                    </a:cubicBezTo>
                    <a:close/>
                    <a:moveTo>
                      <a:pt x="37" y="48"/>
                    </a:moveTo>
                    <a:cubicBezTo>
                      <a:pt x="37" y="48"/>
                      <a:pt x="37" y="48"/>
                      <a:pt x="37" y="48"/>
                    </a:cubicBezTo>
                    <a:cubicBezTo>
                      <a:pt x="37" y="48"/>
                      <a:pt x="37" y="48"/>
                      <a:pt x="37" y="48"/>
                    </a:cubicBezTo>
                    <a:cubicBezTo>
                      <a:pt x="37" y="48"/>
                      <a:pt x="37" y="48"/>
                      <a:pt x="37" y="48"/>
                    </a:cubicBezTo>
                    <a:cubicBezTo>
                      <a:pt x="37" y="48"/>
                      <a:pt x="37" y="48"/>
                      <a:pt x="37"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79">
                <a:extLst>
                  <a:ext uri="{FF2B5EF4-FFF2-40B4-BE49-F238E27FC236}">
                    <a16:creationId xmlns:a16="http://schemas.microsoft.com/office/drawing/2014/main" id="{EFC82F7C-D31E-411A-89F6-CDF403BECBB7}"/>
                  </a:ext>
                </a:extLst>
              </p:cNvPr>
              <p:cNvSpPr>
                <a:spLocks noEditPoints="1"/>
              </p:cNvSpPr>
              <p:nvPr/>
            </p:nvSpPr>
            <p:spPr bwMode="auto">
              <a:xfrm>
                <a:off x="5548287" y="2062582"/>
                <a:ext cx="133851" cy="191907"/>
              </a:xfrm>
              <a:custGeom>
                <a:avLst/>
                <a:gdLst/>
                <a:ahLst/>
                <a:cxnLst>
                  <a:cxn ang="0">
                    <a:pos x="22" y="68"/>
                  </a:cxn>
                  <a:cxn ang="0">
                    <a:pos x="14" y="58"/>
                  </a:cxn>
                  <a:cxn ang="0">
                    <a:pos x="23" y="50"/>
                  </a:cxn>
                  <a:cxn ang="0">
                    <a:pos x="32" y="35"/>
                  </a:cxn>
                  <a:cxn ang="0">
                    <a:pos x="34" y="21"/>
                  </a:cxn>
                  <a:cxn ang="0">
                    <a:pos x="40" y="6"/>
                  </a:cxn>
                  <a:cxn ang="0">
                    <a:pos x="68" y="10"/>
                  </a:cxn>
                  <a:cxn ang="0">
                    <a:pos x="71" y="22"/>
                  </a:cxn>
                  <a:cxn ang="0">
                    <a:pos x="69" y="34"/>
                  </a:cxn>
                  <a:cxn ang="0">
                    <a:pos x="83" y="35"/>
                  </a:cxn>
                  <a:cxn ang="0">
                    <a:pos x="93" y="47"/>
                  </a:cxn>
                  <a:cxn ang="0">
                    <a:pos x="91" y="64"/>
                  </a:cxn>
                  <a:cxn ang="0">
                    <a:pos x="62" y="76"/>
                  </a:cxn>
                  <a:cxn ang="0">
                    <a:pos x="53" y="10"/>
                  </a:cxn>
                  <a:cxn ang="0">
                    <a:pos x="53" y="11"/>
                  </a:cxn>
                  <a:cxn ang="0">
                    <a:pos x="45" y="17"/>
                  </a:cxn>
                  <a:cxn ang="0">
                    <a:pos x="46" y="19"/>
                  </a:cxn>
                  <a:cxn ang="0">
                    <a:pos x="46" y="20"/>
                  </a:cxn>
                  <a:cxn ang="0">
                    <a:pos x="38" y="22"/>
                  </a:cxn>
                  <a:cxn ang="0">
                    <a:pos x="46" y="24"/>
                  </a:cxn>
                  <a:cxn ang="0">
                    <a:pos x="38" y="26"/>
                  </a:cxn>
                  <a:cxn ang="0">
                    <a:pos x="44" y="28"/>
                  </a:cxn>
                  <a:cxn ang="0">
                    <a:pos x="41" y="30"/>
                  </a:cxn>
                  <a:cxn ang="0">
                    <a:pos x="66" y="31"/>
                  </a:cxn>
                  <a:cxn ang="0">
                    <a:pos x="40" y="33"/>
                  </a:cxn>
                  <a:cxn ang="0">
                    <a:pos x="48" y="36"/>
                  </a:cxn>
                  <a:cxn ang="0">
                    <a:pos x="23" y="38"/>
                  </a:cxn>
                  <a:cxn ang="0">
                    <a:pos x="22" y="39"/>
                  </a:cxn>
                  <a:cxn ang="0">
                    <a:pos x="70" y="40"/>
                  </a:cxn>
                  <a:cxn ang="0">
                    <a:pos x="68" y="41"/>
                  </a:cxn>
                  <a:cxn ang="0">
                    <a:pos x="46" y="44"/>
                  </a:cxn>
                  <a:cxn ang="0">
                    <a:pos x="36" y="44"/>
                  </a:cxn>
                  <a:cxn ang="0">
                    <a:pos x="41" y="45"/>
                  </a:cxn>
                  <a:cxn ang="0">
                    <a:pos x="84" y="46"/>
                  </a:cxn>
                  <a:cxn ang="0">
                    <a:pos x="43" y="46"/>
                  </a:cxn>
                  <a:cxn ang="0">
                    <a:pos x="34" y="47"/>
                  </a:cxn>
                  <a:cxn ang="0">
                    <a:pos x="32" y="49"/>
                  </a:cxn>
                  <a:cxn ang="0">
                    <a:pos x="87" y="53"/>
                  </a:cxn>
                  <a:cxn ang="0">
                    <a:pos x="87" y="51"/>
                  </a:cxn>
                  <a:cxn ang="0">
                    <a:pos x="69" y="56"/>
                  </a:cxn>
                  <a:cxn ang="0">
                    <a:pos x="79" y="52"/>
                  </a:cxn>
                  <a:cxn ang="0">
                    <a:pos x="43" y="51"/>
                  </a:cxn>
                  <a:cxn ang="0">
                    <a:pos x="30" y="53"/>
                  </a:cxn>
                  <a:cxn ang="0">
                    <a:pos x="34" y="54"/>
                  </a:cxn>
                  <a:cxn ang="0">
                    <a:pos x="97" y="55"/>
                  </a:cxn>
                  <a:cxn ang="0">
                    <a:pos x="86" y="57"/>
                  </a:cxn>
                  <a:cxn ang="0">
                    <a:pos x="65" y="58"/>
                  </a:cxn>
                  <a:cxn ang="0">
                    <a:pos x="82" y="60"/>
                  </a:cxn>
                  <a:cxn ang="0">
                    <a:pos x="19" y="60"/>
                  </a:cxn>
                  <a:cxn ang="0">
                    <a:pos x="84" y="61"/>
                  </a:cxn>
                  <a:cxn ang="0">
                    <a:pos x="60" y="61"/>
                  </a:cxn>
                  <a:cxn ang="0">
                    <a:pos x="75" y="61"/>
                  </a:cxn>
                  <a:cxn ang="0">
                    <a:pos x="19" y="62"/>
                  </a:cxn>
                  <a:cxn ang="0">
                    <a:pos x="26" y="63"/>
                  </a:cxn>
                  <a:cxn ang="0">
                    <a:pos x="17" y="63"/>
                  </a:cxn>
                  <a:cxn ang="0">
                    <a:pos x="19" y="64"/>
                  </a:cxn>
                  <a:cxn ang="0">
                    <a:pos x="26" y="66"/>
                  </a:cxn>
                  <a:cxn ang="0">
                    <a:pos x="28" y="66"/>
                  </a:cxn>
                  <a:cxn ang="0">
                    <a:pos x="77" y="66"/>
                  </a:cxn>
                  <a:cxn ang="0">
                    <a:pos x="64" y="67"/>
                  </a:cxn>
                  <a:cxn ang="0">
                    <a:pos x="60" y="67"/>
                  </a:cxn>
                  <a:cxn ang="0">
                    <a:pos x="83" y="70"/>
                  </a:cxn>
                  <a:cxn ang="0">
                    <a:pos x="63" y="72"/>
                  </a:cxn>
                </a:cxnLst>
                <a:rect l="0" t="0" r="r" b="b"/>
                <a:pathLst>
                  <a:path w="105" h="151">
                    <a:moveTo>
                      <a:pt x="49" y="151"/>
                    </a:moveTo>
                    <a:cubicBezTo>
                      <a:pt x="49" y="151"/>
                      <a:pt x="54" y="141"/>
                      <a:pt x="54" y="128"/>
                    </a:cubicBezTo>
                    <a:cubicBezTo>
                      <a:pt x="54" y="119"/>
                      <a:pt x="49" y="108"/>
                      <a:pt x="49" y="98"/>
                    </a:cubicBezTo>
                    <a:cubicBezTo>
                      <a:pt x="47" y="85"/>
                      <a:pt x="51" y="74"/>
                      <a:pt x="51" y="74"/>
                    </a:cubicBezTo>
                    <a:cubicBezTo>
                      <a:pt x="50" y="74"/>
                      <a:pt x="48" y="75"/>
                      <a:pt x="47" y="75"/>
                    </a:cubicBezTo>
                    <a:cubicBezTo>
                      <a:pt x="47" y="75"/>
                      <a:pt x="48" y="74"/>
                      <a:pt x="48" y="74"/>
                    </a:cubicBezTo>
                    <a:cubicBezTo>
                      <a:pt x="48" y="74"/>
                      <a:pt x="47" y="75"/>
                      <a:pt x="46" y="75"/>
                    </a:cubicBezTo>
                    <a:cubicBezTo>
                      <a:pt x="47" y="74"/>
                      <a:pt x="48" y="73"/>
                      <a:pt x="49" y="73"/>
                    </a:cubicBezTo>
                    <a:cubicBezTo>
                      <a:pt x="49" y="73"/>
                      <a:pt x="49" y="72"/>
                      <a:pt x="49" y="72"/>
                    </a:cubicBezTo>
                    <a:cubicBezTo>
                      <a:pt x="48" y="73"/>
                      <a:pt x="47" y="72"/>
                      <a:pt x="46" y="72"/>
                    </a:cubicBezTo>
                    <a:cubicBezTo>
                      <a:pt x="46" y="72"/>
                      <a:pt x="47" y="72"/>
                      <a:pt x="47" y="72"/>
                    </a:cubicBezTo>
                    <a:cubicBezTo>
                      <a:pt x="47" y="72"/>
                      <a:pt x="47" y="71"/>
                      <a:pt x="47" y="71"/>
                    </a:cubicBezTo>
                    <a:cubicBezTo>
                      <a:pt x="46" y="71"/>
                      <a:pt x="44" y="75"/>
                      <a:pt x="42" y="75"/>
                    </a:cubicBezTo>
                    <a:cubicBezTo>
                      <a:pt x="43" y="74"/>
                      <a:pt x="45" y="72"/>
                      <a:pt x="46" y="72"/>
                    </a:cubicBezTo>
                    <a:cubicBezTo>
                      <a:pt x="45" y="72"/>
                      <a:pt x="43" y="74"/>
                      <a:pt x="41" y="75"/>
                    </a:cubicBezTo>
                    <a:cubicBezTo>
                      <a:pt x="43" y="74"/>
                      <a:pt x="44" y="73"/>
                      <a:pt x="45" y="72"/>
                    </a:cubicBezTo>
                    <a:cubicBezTo>
                      <a:pt x="43" y="72"/>
                      <a:pt x="41" y="74"/>
                      <a:pt x="40" y="74"/>
                    </a:cubicBezTo>
                    <a:cubicBezTo>
                      <a:pt x="40" y="74"/>
                      <a:pt x="41" y="73"/>
                      <a:pt x="41" y="73"/>
                    </a:cubicBezTo>
                    <a:cubicBezTo>
                      <a:pt x="40" y="74"/>
                      <a:pt x="39" y="74"/>
                      <a:pt x="38" y="74"/>
                    </a:cubicBezTo>
                    <a:cubicBezTo>
                      <a:pt x="38" y="74"/>
                      <a:pt x="38" y="74"/>
                      <a:pt x="39" y="73"/>
                    </a:cubicBezTo>
                    <a:cubicBezTo>
                      <a:pt x="38" y="73"/>
                      <a:pt x="38" y="74"/>
                      <a:pt x="37" y="74"/>
                    </a:cubicBezTo>
                    <a:cubicBezTo>
                      <a:pt x="38" y="73"/>
                      <a:pt x="38" y="73"/>
                      <a:pt x="39" y="72"/>
                    </a:cubicBezTo>
                    <a:cubicBezTo>
                      <a:pt x="39" y="72"/>
                      <a:pt x="39" y="72"/>
                      <a:pt x="38" y="72"/>
                    </a:cubicBezTo>
                    <a:cubicBezTo>
                      <a:pt x="39" y="72"/>
                      <a:pt x="39" y="72"/>
                      <a:pt x="39" y="72"/>
                    </a:cubicBezTo>
                    <a:cubicBezTo>
                      <a:pt x="37" y="72"/>
                      <a:pt x="36" y="74"/>
                      <a:pt x="34" y="75"/>
                    </a:cubicBezTo>
                    <a:cubicBezTo>
                      <a:pt x="35" y="74"/>
                      <a:pt x="37" y="73"/>
                      <a:pt x="37" y="72"/>
                    </a:cubicBezTo>
                    <a:cubicBezTo>
                      <a:pt x="36" y="72"/>
                      <a:pt x="35" y="73"/>
                      <a:pt x="33" y="73"/>
                    </a:cubicBezTo>
                    <a:cubicBezTo>
                      <a:pt x="34" y="72"/>
                      <a:pt x="35" y="72"/>
                      <a:pt x="36" y="71"/>
                    </a:cubicBezTo>
                    <a:cubicBezTo>
                      <a:pt x="35" y="71"/>
                      <a:pt x="35" y="71"/>
                      <a:pt x="34" y="71"/>
                    </a:cubicBezTo>
                    <a:cubicBezTo>
                      <a:pt x="33" y="71"/>
                      <a:pt x="32" y="73"/>
                      <a:pt x="30" y="73"/>
                    </a:cubicBezTo>
                    <a:cubicBezTo>
                      <a:pt x="30" y="73"/>
                      <a:pt x="31" y="73"/>
                      <a:pt x="31" y="72"/>
                    </a:cubicBezTo>
                    <a:cubicBezTo>
                      <a:pt x="31" y="73"/>
                      <a:pt x="30" y="73"/>
                      <a:pt x="29" y="73"/>
                    </a:cubicBezTo>
                    <a:cubicBezTo>
                      <a:pt x="30" y="73"/>
                      <a:pt x="30" y="72"/>
                      <a:pt x="31" y="72"/>
                    </a:cubicBezTo>
                    <a:cubicBezTo>
                      <a:pt x="30" y="72"/>
                      <a:pt x="30" y="72"/>
                      <a:pt x="29" y="72"/>
                    </a:cubicBezTo>
                    <a:cubicBezTo>
                      <a:pt x="30" y="72"/>
                      <a:pt x="30" y="72"/>
                      <a:pt x="31" y="71"/>
                    </a:cubicBezTo>
                    <a:cubicBezTo>
                      <a:pt x="31" y="71"/>
                      <a:pt x="30" y="71"/>
                      <a:pt x="30" y="71"/>
                    </a:cubicBezTo>
                    <a:cubicBezTo>
                      <a:pt x="31" y="71"/>
                      <a:pt x="32" y="70"/>
                      <a:pt x="33" y="70"/>
                    </a:cubicBezTo>
                    <a:cubicBezTo>
                      <a:pt x="33" y="70"/>
                      <a:pt x="33" y="70"/>
                      <a:pt x="33" y="70"/>
                    </a:cubicBezTo>
                    <a:cubicBezTo>
                      <a:pt x="31" y="71"/>
                      <a:pt x="28" y="73"/>
                      <a:pt x="26" y="73"/>
                    </a:cubicBezTo>
                    <a:cubicBezTo>
                      <a:pt x="27" y="73"/>
                      <a:pt x="27" y="73"/>
                      <a:pt x="28" y="72"/>
                    </a:cubicBezTo>
                    <a:cubicBezTo>
                      <a:pt x="27" y="73"/>
                      <a:pt x="27" y="73"/>
                      <a:pt x="26" y="74"/>
                    </a:cubicBezTo>
                    <a:cubicBezTo>
                      <a:pt x="26" y="73"/>
                      <a:pt x="27" y="73"/>
                      <a:pt x="28" y="72"/>
                    </a:cubicBezTo>
                    <a:cubicBezTo>
                      <a:pt x="27" y="72"/>
                      <a:pt x="27" y="72"/>
                      <a:pt x="26" y="73"/>
                    </a:cubicBezTo>
                    <a:cubicBezTo>
                      <a:pt x="27" y="72"/>
                      <a:pt x="27" y="72"/>
                      <a:pt x="28" y="71"/>
                    </a:cubicBezTo>
                    <a:cubicBezTo>
                      <a:pt x="28" y="71"/>
                      <a:pt x="28" y="71"/>
                      <a:pt x="28" y="71"/>
                    </a:cubicBezTo>
                    <a:cubicBezTo>
                      <a:pt x="28" y="71"/>
                      <a:pt x="28" y="71"/>
                      <a:pt x="28" y="71"/>
                    </a:cubicBezTo>
                    <a:cubicBezTo>
                      <a:pt x="27" y="71"/>
                      <a:pt x="25" y="72"/>
                      <a:pt x="23" y="73"/>
                    </a:cubicBezTo>
                    <a:cubicBezTo>
                      <a:pt x="24" y="72"/>
                      <a:pt x="25" y="72"/>
                      <a:pt x="25" y="71"/>
                    </a:cubicBezTo>
                    <a:cubicBezTo>
                      <a:pt x="24" y="71"/>
                      <a:pt x="23" y="72"/>
                      <a:pt x="22" y="73"/>
                    </a:cubicBezTo>
                    <a:cubicBezTo>
                      <a:pt x="23" y="72"/>
                      <a:pt x="23" y="72"/>
                      <a:pt x="24" y="72"/>
                    </a:cubicBezTo>
                    <a:cubicBezTo>
                      <a:pt x="23" y="72"/>
                      <a:pt x="22" y="72"/>
                      <a:pt x="22" y="73"/>
                    </a:cubicBezTo>
                    <a:cubicBezTo>
                      <a:pt x="22" y="72"/>
                      <a:pt x="22" y="72"/>
                      <a:pt x="23" y="72"/>
                    </a:cubicBezTo>
                    <a:cubicBezTo>
                      <a:pt x="22" y="72"/>
                      <a:pt x="22" y="72"/>
                      <a:pt x="21" y="73"/>
                    </a:cubicBezTo>
                    <a:cubicBezTo>
                      <a:pt x="23" y="72"/>
                      <a:pt x="25" y="70"/>
                      <a:pt x="26" y="69"/>
                    </a:cubicBezTo>
                    <a:cubicBezTo>
                      <a:pt x="26" y="70"/>
                      <a:pt x="26" y="70"/>
                      <a:pt x="25" y="70"/>
                    </a:cubicBezTo>
                    <a:cubicBezTo>
                      <a:pt x="26" y="70"/>
                      <a:pt x="26" y="70"/>
                      <a:pt x="27" y="69"/>
                    </a:cubicBezTo>
                    <a:cubicBezTo>
                      <a:pt x="27" y="69"/>
                      <a:pt x="27" y="69"/>
                      <a:pt x="26" y="70"/>
                    </a:cubicBezTo>
                    <a:cubicBezTo>
                      <a:pt x="27" y="70"/>
                      <a:pt x="27" y="69"/>
                      <a:pt x="27" y="69"/>
                    </a:cubicBezTo>
                    <a:cubicBezTo>
                      <a:pt x="26" y="69"/>
                      <a:pt x="26" y="69"/>
                      <a:pt x="25" y="70"/>
                    </a:cubicBezTo>
                    <a:cubicBezTo>
                      <a:pt x="26" y="69"/>
                      <a:pt x="26" y="69"/>
                      <a:pt x="26" y="69"/>
                    </a:cubicBezTo>
                    <a:cubicBezTo>
                      <a:pt x="25" y="69"/>
                      <a:pt x="25" y="69"/>
                      <a:pt x="24" y="69"/>
                    </a:cubicBezTo>
                    <a:cubicBezTo>
                      <a:pt x="22" y="70"/>
                      <a:pt x="21" y="71"/>
                      <a:pt x="19" y="72"/>
                    </a:cubicBezTo>
                    <a:cubicBezTo>
                      <a:pt x="19" y="72"/>
                      <a:pt x="20" y="72"/>
                      <a:pt x="20" y="71"/>
                    </a:cubicBezTo>
                    <a:cubicBezTo>
                      <a:pt x="20" y="71"/>
                      <a:pt x="19" y="72"/>
                      <a:pt x="19" y="72"/>
                    </a:cubicBezTo>
                    <a:cubicBezTo>
                      <a:pt x="19" y="72"/>
                      <a:pt x="19" y="72"/>
                      <a:pt x="19" y="72"/>
                    </a:cubicBezTo>
                    <a:cubicBezTo>
                      <a:pt x="22" y="70"/>
                      <a:pt x="22" y="70"/>
                      <a:pt x="24" y="69"/>
                    </a:cubicBezTo>
                    <a:cubicBezTo>
                      <a:pt x="23" y="69"/>
                      <a:pt x="23" y="68"/>
                      <a:pt x="23" y="68"/>
                    </a:cubicBezTo>
                    <a:cubicBezTo>
                      <a:pt x="22" y="69"/>
                      <a:pt x="21" y="69"/>
                      <a:pt x="20" y="70"/>
                    </a:cubicBezTo>
                    <a:cubicBezTo>
                      <a:pt x="21" y="69"/>
                      <a:pt x="22" y="69"/>
                      <a:pt x="23" y="69"/>
                    </a:cubicBezTo>
                    <a:cubicBezTo>
                      <a:pt x="21" y="70"/>
                      <a:pt x="20" y="71"/>
                      <a:pt x="17" y="72"/>
                    </a:cubicBezTo>
                    <a:cubicBezTo>
                      <a:pt x="18" y="71"/>
                      <a:pt x="19" y="71"/>
                      <a:pt x="19" y="70"/>
                    </a:cubicBezTo>
                    <a:cubicBezTo>
                      <a:pt x="19" y="71"/>
                      <a:pt x="18" y="71"/>
                      <a:pt x="17" y="72"/>
                    </a:cubicBezTo>
                    <a:cubicBezTo>
                      <a:pt x="17" y="71"/>
                      <a:pt x="18" y="71"/>
                      <a:pt x="19" y="70"/>
                    </a:cubicBezTo>
                    <a:cubicBezTo>
                      <a:pt x="18" y="71"/>
                      <a:pt x="17" y="71"/>
                      <a:pt x="17" y="71"/>
                    </a:cubicBezTo>
                    <a:cubicBezTo>
                      <a:pt x="20" y="69"/>
                      <a:pt x="20" y="69"/>
                      <a:pt x="23" y="68"/>
                    </a:cubicBezTo>
                    <a:cubicBezTo>
                      <a:pt x="22" y="68"/>
                      <a:pt x="22" y="68"/>
                      <a:pt x="22" y="68"/>
                    </a:cubicBezTo>
                    <a:cubicBezTo>
                      <a:pt x="22" y="68"/>
                      <a:pt x="22" y="68"/>
                      <a:pt x="22" y="68"/>
                    </a:cubicBezTo>
                    <a:cubicBezTo>
                      <a:pt x="22" y="68"/>
                      <a:pt x="22" y="68"/>
                      <a:pt x="22" y="68"/>
                    </a:cubicBezTo>
                    <a:cubicBezTo>
                      <a:pt x="20" y="67"/>
                      <a:pt x="16" y="70"/>
                      <a:pt x="13" y="71"/>
                    </a:cubicBezTo>
                    <a:cubicBezTo>
                      <a:pt x="14" y="70"/>
                      <a:pt x="15" y="70"/>
                      <a:pt x="16" y="69"/>
                    </a:cubicBezTo>
                    <a:cubicBezTo>
                      <a:pt x="15" y="69"/>
                      <a:pt x="14" y="69"/>
                      <a:pt x="14" y="69"/>
                    </a:cubicBezTo>
                    <a:cubicBezTo>
                      <a:pt x="15" y="68"/>
                      <a:pt x="17" y="68"/>
                      <a:pt x="19" y="68"/>
                    </a:cubicBezTo>
                    <a:cubicBezTo>
                      <a:pt x="19" y="67"/>
                      <a:pt x="19" y="67"/>
                      <a:pt x="19" y="67"/>
                    </a:cubicBezTo>
                    <a:cubicBezTo>
                      <a:pt x="17" y="66"/>
                      <a:pt x="13" y="69"/>
                      <a:pt x="12" y="70"/>
                    </a:cubicBezTo>
                    <a:cubicBezTo>
                      <a:pt x="13" y="69"/>
                      <a:pt x="14" y="68"/>
                      <a:pt x="16" y="68"/>
                    </a:cubicBezTo>
                    <a:cubicBezTo>
                      <a:pt x="11" y="67"/>
                      <a:pt x="14" y="68"/>
                      <a:pt x="9" y="69"/>
                    </a:cubicBezTo>
                    <a:cubicBezTo>
                      <a:pt x="11" y="68"/>
                      <a:pt x="13" y="67"/>
                      <a:pt x="15" y="66"/>
                    </a:cubicBezTo>
                    <a:cubicBezTo>
                      <a:pt x="14" y="67"/>
                      <a:pt x="14" y="67"/>
                      <a:pt x="14" y="67"/>
                    </a:cubicBezTo>
                    <a:cubicBezTo>
                      <a:pt x="16" y="67"/>
                      <a:pt x="16" y="66"/>
                      <a:pt x="18" y="67"/>
                    </a:cubicBezTo>
                    <a:cubicBezTo>
                      <a:pt x="11" y="65"/>
                      <a:pt x="11" y="66"/>
                      <a:pt x="5" y="66"/>
                    </a:cubicBezTo>
                    <a:cubicBezTo>
                      <a:pt x="6" y="66"/>
                      <a:pt x="6" y="65"/>
                      <a:pt x="7" y="65"/>
                    </a:cubicBezTo>
                    <a:cubicBezTo>
                      <a:pt x="7" y="65"/>
                      <a:pt x="6" y="65"/>
                      <a:pt x="6" y="65"/>
                    </a:cubicBezTo>
                    <a:cubicBezTo>
                      <a:pt x="7" y="65"/>
                      <a:pt x="7" y="65"/>
                      <a:pt x="7" y="65"/>
                    </a:cubicBezTo>
                    <a:cubicBezTo>
                      <a:pt x="7" y="65"/>
                      <a:pt x="6" y="65"/>
                      <a:pt x="6" y="65"/>
                    </a:cubicBezTo>
                    <a:cubicBezTo>
                      <a:pt x="7" y="64"/>
                      <a:pt x="9" y="64"/>
                      <a:pt x="10" y="64"/>
                    </a:cubicBezTo>
                    <a:cubicBezTo>
                      <a:pt x="9" y="63"/>
                      <a:pt x="4" y="64"/>
                      <a:pt x="2" y="64"/>
                    </a:cubicBezTo>
                    <a:cubicBezTo>
                      <a:pt x="4" y="64"/>
                      <a:pt x="6" y="64"/>
                      <a:pt x="8" y="64"/>
                    </a:cubicBezTo>
                    <a:cubicBezTo>
                      <a:pt x="7" y="63"/>
                      <a:pt x="2" y="63"/>
                      <a:pt x="0" y="62"/>
                    </a:cubicBezTo>
                    <a:cubicBezTo>
                      <a:pt x="0" y="62"/>
                      <a:pt x="1" y="62"/>
                      <a:pt x="1" y="62"/>
                    </a:cubicBezTo>
                    <a:cubicBezTo>
                      <a:pt x="1" y="62"/>
                      <a:pt x="0" y="62"/>
                      <a:pt x="0" y="62"/>
                    </a:cubicBezTo>
                    <a:cubicBezTo>
                      <a:pt x="0" y="62"/>
                      <a:pt x="1" y="62"/>
                      <a:pt x="2" y="62"/>
                    </a:cubicBezTo>
                    <a:cubicBezTo>
                      <a:pt x="1" y="61"/>
                      <a:pt x="0" y="61"/>
                      <a:pt x="0" y="61"/>
                    </a:cubicBezTo>
                    <a:cubicBezTo>
                      <a:pt x="0" y="61"/>
                      <a:pt x="1" y="61"/>
                      <a:pt x="2" y="61"/>
                    </a:cubicBezTo>
                    <a:cubicBezTo>
                      <a:pt x="1" y="60"/>
                      <a:pt x="0" y="60"/>
                      <a:pt x="0" y="59"/>
                    </a:cubicBezTo>
                    <a:cubicBezTo>
                      <a:pt x="1" y="60"/>
                      <a:pt x="2" y="60"/>
                      <a:pt x="2" y="60"/>
                    </a:cubicBezTo>
                    <a:cubicBezTo>
                      <a:pt x="2" y="60"/>
                      <a:pt x="2" y="59"/>
                      <a:pt x="2" y="59"/>
                    </a:cubicBezTo>
                    <a:cubicBezTo>
                      <a:pt x="2" y="59"/>
                      <a:pt x="2" y="59"/>
                      <a:pt x="3" y="59"/>
                    </a:cubicBezTo>
                    <a:cubicBezTo>
                      <a:pt x="2" y="59"/>
                      <a:pt x="1" y="58"/>
                      <a:pt x="0" y="57"/>
                    </a:cubicBezTo>
                    <a:cubicBezTo>
                      <a:pt x="0" y="57"/>
                      <a:pt x="0" y="57"/>
                      <a:pt x="0" y="57"/>
                    </a:cubicBezTo>
                    <a:cubicBezTo>
                      <a:pt x="2" y="58"/>
                      <a:pt x="9" y="63"/>
                      <a:pt x="11" y="63"/>
                    </a:cubicBezTo>
                    <a:cubicBezTo>
                      <a:pt x="11" y="63"/>
                      <a:pt x="11" y="63"/>
                      <a:pt x="11" y="63"/>
                    </a:cubicBezTo>
                    <a:cubicBezTo>
                      <a:pt x="11" y="63"/>
                      <a:pt x="11" y="63"/>
                      <a:pt x="11" y="63"/>
                    </a:cubicBezTo>
                    <a:cubicBezTo>
                      <a:pt x="10" y="62"/>
                      <a:pt x="10" y="60"/>
                      <a:pt x="9" y="58"/>
                    </a:cubicBezTo>
                    <a:cubicBezTo>
                      <a:pt x="10" y="60"/>
                      <a:pt x="11" y="61"/>
                      <a:pt x="12" y="63"/>
                    </a:cubicBezTo>
                    <a:cubicBezTo>
                      <a:pt x="12" y="63"/>
                      <a:pt x="12" y="63"/>
                      <a:pt x="12" y="63"/>
                    </a:cubicBezTo>
                    <a:cubicBezTo>
                      <a:pt x="12" y="63"/>
                      <a:pt x="12" y="63"/>
                      <a:pt x="12" y="63"/>
                    </a:cubicBezTo>
                    <a:cubicBezTo>
                      <a:pt x="12" y="63"/>
                      <a:pt x="12" y="63"/>
                      <a:pt x="13" y="62"/>
                    </a:cubicBezTo>
                    <a:cubicBezTo>
                      <a:pt x="12" y="62"/>
                      <a:pt x="12" y="62"/>
                      <a:pt x="12" y="62"/>
                    </a:cubicBezTo>
                    <a:cubicBezTo>
                      <a:pt x="12" y="62"/>
                      <a:pt x="12" y="62"/>
                      <a:pt x="13" y="62"/>
                    </a:cubicBezTo>
                    <a:cubicBezTo>
                      <a:pt x="12" y="62"/>
                      <a:pt x="12" y="61"/>
                      <a:pt x="12" y="61"/>
                    </a:cubicBezTo>
                    <a:cubicBezTo>
                      <a:pt x="11" y="61"/>
                      <a:pt x="11" y="61"/>
                      <a:pt x="11" y="61"/>
                    </a:cubicBezTo>
                    <a:cubicBezTo>
                      <a:pt x="11" y="61"/>
                      <a:pt x="11" y="61"/>
                      <a:pt x="12" y="61"/>
                    </a:cubicBezTo>
                    <a:cubicBezTo>
                      <a:pt x="11" y="60"/>
                      <a:pt x="11" y="60"/>
                      <a:pt x="11" y="59"/>
                    </a:cubicBezTo>
                    <a:cubicBezTo>
                      <a:pt x="11" y="60"/>
                      <a:pt x="12" y="60"/>
                      <a:pt x="12" y="61"/>
                    </a:cubicBezTo>
                    <a:cubicBezTo>
                      <a:pt x="12" y="61"/>
                      <a:pt x="12" y="61"/>
                      <a:pt x="12" y="61"/>
                    </a:cubicBezTo>
                    <a:cubicBezTo>
                      <a:pt x="12" y="60"/>
                      <a:pt x="12" y="60"/>
                      <a:pt x="11" y="60"/>
                    </a:cubicBezTo>
                    <a:cubicBezTo>
                      <a:pt x="12" y="60"/>
                      <a:pt x="12" y="60"/>
                      <a:pt x="12" y="60"/>
                    </a:cubicBezTo>
                    <a:cubicBezTo>
                      <a:pt x="12" y="60"/>
                      <a:pt x="12" y="60"/>
                      <a:pt x="13" y="60"/>
                    </a:cubicBezTo>
                    <a:cubicBezTo>
                      <a:pt x="13" y="60"/>
                      <a:pt x="13" y="60"/>
                      <a:pt x="13" y="60"/>
                    </a:cubicBezTo>
                    <a:cubicBezTo>
                      <a:pt x="13" y="59"/>
                      <a:pt x="13" y="59"/>
                      <a:pt x="14" y="59"/>
                    </a:cubicBezTo>
                    <a:cubicBezTo>
                      <a:pt x="14" y="59"/>
                      <a:pt x="13" y="59"/>
                      <a:pt x="13" y="59"/>
                    </a:cubicBezTo>
                    <a:cubicBezTo>
                      <a:pt x="10" y="56"/>
                      <a:pt x="7" y="57"/>
                      <a:pt x="4" y="57"/>
                    </a:cubicBezTo>
                    <a:cubicBezTo>
                      <a:pt x="4" y="57"/>
                      <a:pt x="5" y="57"/>
                      <a:pt x="5" y="57"/>
                    </a:cubicBezTo>
                    <a:cubicBezTo>
                      <a:pt x="5" y="57"/>
                      <a:pt x="5" y="57"/>
                      <a:pt x="4" y="57"/>
                    </a:cubicBezTo>
                    <a:cubicBezTo>
                      <a:pt x="5" y="56"/>
                      <a:pt x="5" y="56"/>
                      <a:pt x="5" y="56"/>
                    </a:cubicBezTo>
                    <a:cubicBezTo>
                      <a:pt x="4" y="56"/>
                      <a:pt x="4" y="56"/>
                      <a:pt x="3" y="56"/>
                    </a:cubicBezTo>
                    <a:cubicBezTo>
                      <a:pt x="3" y="56"/>
                      <a:pt x="4" y="56"/>
                      <a:pt x="4" y="56"/>
                    </a:cubicBezTo>
                    <a:cubicBezTo>
                      <a:pt x="4" y="56"/>
                      <a:pt x="3" y="56"/>
                      <a:pt x="3" y="56"/>
                    </a:cubicBezTo>
                    <a:cubicBezTo>
                      <a:pt x="4" y="56"/>
                      <a:pt x="5" y="56"/>
                      <a:pt x="6" y="56"/>
                    </a:cubicBezTo>
                    <a:cubicBezTo>
                      <a:pt x="6" y="56"/>
                      <a:pt x="6" y="55"/>
                      <a:pt x="6" y="55"/>
                    </a:cubicBezTo>
                    <a:cubicBezTo>
                      <a:pt x="6" y="55"/>
                      <a:pt x="6" y="55"/>
                      <a:pt x="6" y="55"/>
                    </a:cubicBezTo>
                    <a:cubicBezTo>
                      <a:pt x="6" y="55"/>
                      <a:pt x="5" y="54"/>
                      <a:pt x="5" y="54"/>
                    </a:cubicBezTo>
                    <a:cubicBezTo>
                      <a:pt x="5" y="54"/>
                      <a:pt x="6" y="54"/>
                      <a:pt x="6" y="54"/>
                    </a:cubicBezTo>
                    <a:cubicBezTo>
                      <a:pt x="6" y="53"/>
                      <a:pt x="5" y="53"/>
                      <a:pt x="4" y="52"/>
                    </a:cubicBezTo>
                    <a:cubicBezTo>
                      <a:pt x="6" y="52"/>
                      <a:pt x="10" y="55"/>
                      <a:pt x="10" y="56"/>
                    </a:cubicBezTo>
                    <a:cubicBezTo>
                      <a:pt x="10" y="56"/>
                      <a:pt x="10" y="55"/>
                      <a:pt x="9" y="55"/>
                    </a:cubicBezTo>
                    <a:cubicBezTo>
                      <a:pt x="10" y="54"/>
                      <a:pt x="10" y="55"/>
                      <a:pt x="10" y="55"/>
                    </a:cubicBezTo>
                    <a:cubicBezTo>
                      <a:pt x="10" y="54"/>
                      <a:pt x="10" y="54"/>
                      <a:pt x="10" y="54"/>
                    </a:cubicBezTo>
                    <a:cubicBezTo>
                      <a:pt x="10" y="54"/>
                      <a:pt x="10" y="53"/>
                      <a:pt x="10" y="53"/>
                    </a:cubicBezTo>
                    <a:cubicBezTo>
                      <a:pt x="10" y="54"/>
                      <a:pt x="10" y="54"/>
                      <a:pt x="10" y="54"/>
                    </a:cubicBezTo>
                    <a:cubicBezTo>
                      <a:pt x="10" y="53"/>
                      <a:pt x="10" y="53"/>
                      <a:pt x="9" y="52"/>
                    </a:cubicBezTo>
                    <a:cubicBezTo>
                      <a:pt x="9" y="52"/>
                      <a:pt x="9" y="52"/>
                      <a:pt x="9" y="52"/>
                    </a:cubicBezTo>
                    <a:cubicBezTo>
                      <a:pt x="11" y="55"/>
                      <a:pt x="11" y="55"/>
                      <a:pt x="13" y="58"/>
                    </a:cubicBezTo>
                    <a:cubicBezTo>
                      <a:pt x="13" y="58"/>
                      <a:pt x="13" y="58"/>
                      <a:pt x="14" y="58"/>
                    </a:cubicBezTo>
                    <a:cubicBezTo>
                      <a:pt x="15" y="59"/>
                      <a:pt x="15" y="59"/>
                      <a:pt x="16" y="59"/>
                    </a:cubicBezTo>
                    <a:cubicBezTo>
                      <a:pt x="16" y="59"/>
                      <a:pt x="16" y="59"/>
                      <a:pt x="16" y="59"/>
                    </a:cubicBezTo>
                    <a:cubicBezTo>
                      <a:pt x="16" y="59"/>
                      <a:pt x="16" y="59"/>
                      <a:pt x="17" y="59"/>
                    </a:cubicBezTo>
                    <a:cubicBezTo>
                      <a:pt x="16" y="58"/>
                      <a:pt x="16" y="57"/>
                      <a:pt x="15" y="56"/>
                    </a:cubicBezTo>
                    <a:cubicBezTo>
                      <a:pt x="16" y="56"/>
                      <a:pt x="16" y="56"/>
                      <a:pt x="16" y="56"/>
                    </a:cubicBezTo>
                    <a:cubicBezTo>
                      <a:pt x="17" y="58"/>
                      <a:pt x="19" y="60"/>
                      <a:pt x="21" y="61"/>
                    </a:cubicBezTo>
                    <a:cubicBezTo>
                      <a:pt x="21" y="61"/>
                      <a:pt x="21" y="61"/>
                      <a:pt x="21" y="60"/>
                    </a:cubicBezTo>
                    <a:cubicBezTo>
                      <a:pt x="21" y="60"/>
                      <a:pt x="21" y="60"/>
                      <a:pt x="21" y="60"/>
                    </a:cubicBezTo>
                    <a:cubicBezTo>
                      <a:pt x="19" y="59"/>
                      <a:pt x="20" y="60"/>
                      <a:pt x="18" y="57"/>
                    </a:cubicBezTo>
                    <a:cubicBezTo>
                      <a:pt x="18" y="57"/>
                      <a:pt x="18" y="57"/>
                      <a:pt x="18" y="57"/>
                    </a:cubicBezTo>
                    <a:cubicBezTo>
                      <a:pt x="19" y="57"/>
                      <a:pt x="19" y="57"/>
                      <a:pt x="19" y="57"/>
                    </a:cubicBezTo>
                    <a:cubicBezTo>
                      <a:pt x="19" y="57"/>
                      <a:pt x="18" y="56"/>
                      <a:pt x="18" y="56"/>
                    </a:cubicBezTo>
                    <a:cubicBezTo>
                      <a:pt x="18" y="56"/>
                      <a:pt x="18" y="56"/>
                      <a:pt x="18" y="56"/>
                    </a:cubicBezTo>
                    <a:cubicBezTo>
                      <a:pt x="19" y="56"/>
                      <a:pt x="19" y="57"/>
                      <a:pt x="19" y="57"/>
                    </a:cubicBezTo>
                    <a:cubicBezTo>
                      <a:pt x="19" y="57"/>
                      <a:pt x="19" y="57"/>
                      <a:pt x="19" y="57"/>
                    </a:cubicBezTo>
                    <a:cubicBezTo>
                      <a:pt x="19" y="57"/>
                      <a:pt x="19" y="57"/>
                      <a:pt x="19" y="57"/>
                    </a:cubicBezTo>
                    <a:cubicBezTo>
                      <a:pt x="19" y="57"/>
                      <a:pt x="20" y="57"/>
                      <a:pt x="20" y="58"/>
                    </a:cubicBezTo>
                    <a:cubicBezTo>
                      <a:pt x="20" y="57"/>
                      <a:pt x="19" y="57"/>
                      <a:pt x="19" y="56"/>
                    </a:cubicBezTo>
                    <a:cubicBezTo>
                      <a:pt x="19" y="56"/>
                      <a:pt x="19" y="56"/>
                      <a:pt x="19" y="56"/>
                    </a:cubicBezTo>
                    <a:cubicBezTo>
                      <a:pt x="20" y="57"/>
                      <a:pt x="20" y="58"/>
                      <a:pt x="21" y="59"/>
                    </a:cubicBezTo>
                    <a:cubicBezTo>
                      <a:pt x="21" y="58"/>
                      <a:pt x="20" y="57"/>
                      <a:pt x="20" y="56"/>
                    </a:cubicBezTo>
                    <a:cubicBezTo>
                      <a:pt x="20" y="56"/>
                      <a:pt x="20" y="56"/>
                      <a:pt x="20" y="56"/>
                    </a:cubicBezTo>
                    <a:cubicBezTo>
                      <a:pt x="20" y="57"/>
                      <a:pt x="21" y="58"/>
                      <a:pt x="22" y="59"/>
                    </a:cubicBezTo>
                    <a:cubicBezTo>
                      <a:pt x="22" y="59"/>
                      <a:pt x="22" y="59"/>
                      <a:pt x="22" y="59"/>
                    </a:cubicBezTo>
                    <a:cubicBezTo>
                      <a:pt x="21" y="58"/>
                      <a:pt x="21" y="57"/>
                      <a:pt x="20" y="56"/>
                    </a:cubicBezTo>
                    <a:cubicBezTo>
                      <a:pt x="20" y="56"/>
                      <a:pt x="20" y="56"/>
                      <a:pt x="20" y="56"/>
                    </a:cubicBezTo>
                    <a:cubicBezTo>
                      <a:pt x="21" y="57"/>
                      <a:pt x="21" y="57"/>
                      <a:pt x="21" y="58"/>
                    </a:cubicBezTo>
                    <a:cubicBezTo>
                      <a:pt x="21" y="57"/>
                      <a:pt x="21" y="57"/>
                      <a:pt x="21" y="56"/>
                    </a:cubicBezTo>
                    <a:cubicBezTo>
                      <a:pt x="23" y="57"/>
                      <a:pt x="23" y="59"/>
                      <a:pt x="25" y="62"/>
                    </a:cubicBezTo>
                    <a:cubicBezTo>
                      <a:pt x="25" y="62"/>
                      <a:pt x="25" y="62"/>
                      <a:pt x="25" y="62"/>
                    </a:cubicBezTo>
                    <a:cubicBezTo>
                      <a:pt x="26" y="62"/>
                      <a:pt x="26" y="62"/>
                      <a:pt x="27" y="62"/>
                    </a:cubicBezTo>
                    <a:cubicBezTo>
                      <a:pt x="27" y="62"/>
                      <a:pt x="27" y="62"/>
                      <a:pt x="27" y="62"/>
                    </a:cubicBezTo>
                    <a:cubicBezTo>
                      <a:pt x="26" y="61"/>
                      <a:pt x="25" y="60"/>
                      <a:pt x="24" y="58"/>
                    </a:cubicBezTo>
                    <a:cubicBezTo>
                      <a:pt x="24" y="59"/>
                      <a:pt x="25" y="59"/>
                      <a:pt x="25" y="59"/>
                    </a:cubicBezTo>
                    <a:cubicBezTo>
                      <a:pt x="25" y="59"/>
                      <a:pt x="24" y="58"/>
                      <a:pt x="24" y="58"/>
                    </a:cubicBezTo>
                    <a:cubicBezTo>
                      <a:pt x="24" y="58"/>
                      <a:pt x="27" y="61"/>
                      <a:pt x="27" y="61"/>
                    </a:cubicBezTo>
                    <a:cubicBezTo>
                      <a:pt x="27" y="61"/>
                      <a:pt x="28" y="60"/>
                      <a:pt x="28" y="60"/>
                    </a:cubicBezTo>
                    <a:cubicBezTo>
                      <a:pt x="28" y="60"/>
                      <a:pt x="28" y="60"/>
                      <a:pt x="28" y="60"/>
                    </a:cubicBezTo>
                    <a:cubicBezTo>
                      <a:pt x="28" y="59"/>
                      <a:pt x="29" y="58"/>
                      <a:pt x="29" y="57"/>
                    </a:cubicBezTo>
                    <a:cubicBezTo>
                      <a:pt x="29" y="58"/>
                      <a:pt x="30" y="59"/>
                      <a:pt x="30" y="60"/>
                    </a:cubicBezTo>
                    <a:cubicBezTo>
                      <a:pt x="30" y="60"/>
                      <a:pt x="30" y="59"/>
                      <a:pt x="30" y="59"/>
                    </a:cubicBezTo>
                    <a:cubicBezTo>
                      <a:pt x="30" y="59"/>
                      <a:pt x="31" y="58"/>
                      <a:pt x="30" y="58"/>
                    </a:cubicBezTo>
                    <a:cubicBezTo>
                      <a:pt x="30" y="58"/>
                      <a:pt x="31" y="58"/>
                      <a:pt x="31" y="58"/>
                    </a:cubicBezTo>
                    <a:cubicBezTo>
                      <a:pt x="31" y="58"/>
                      <a:pt x="31" y="59"/>
                      <a:pt x="31" y="59"/>
                    </a:cubicBezTo>
                    <a:cubicBezTo>
                      <a:pt x="31" y="59"/>
                      <a:pt x="31" y="59"/>
                      <a:pt x="31" y="59"/>
                    </a:cubicBezTo>
                    <a:cubicBezTo>
                      <a:pt x="31" y="58"/>
                      <a:pt x="31" y="58"/>
                      <a:pt x="31" y="58"/>
                    </a:cubicBezTo>
                    <a:cubicBezTo>
                      <a:pt x="30" y="58"/>
                      <a:pt x="30" y="58"/>
                      <a:pt x="30" y="58"/>
                    </a:cubicBezTo>
                    <a:cubicBezTo>
                      <a:pt x="30" y="58"/>
                      <a:pt x="30" y="58"/>
                      <a:pt x="31" y="57"/>
                    </a:cubicBezTo>
                    <a:cubicBezTo>
                      <a:pt x="30" y="57"/>
                      <a:pt x="30" y="57"/>
                      <a:pt x="30" y="57"/>
                    </a:cubicBezTo>
                    <a:cubicBezTo>
                      <a:pt x="30" y="57"/>
                      <a:pt x="29" y="57"/>
                      <a:pt x="28" y="57"/>
                    </a:cubicBezTo>
                    <a:cubicBezTo>
                      <a:pt x="29" y="57"/>
                      <a:pt x="29" y="57"/>
                      <a:pt x="29" y="57"/>
                    </a:cubicBezTo>
                    <a:cubicBezTo>
                      <a:pt x="29" y="57"/>
                      <a:pt x="29" y="57"/>
                      <a:pt x="29" y="57"/>
                    </a:cubicBezTo>
                    <a:cubicBezTo>
                      <a:pt x="29" y="56"/>
                      <a:pt x="29" y="56"/>
                      <a:pt x="30" y="56"/>
                    </a:cubicBezTo>
                    <a:cubicBezTo>
                      <a:pt x="30" y="56"/>
                      <a:pt x="30" y="56"/>
                      <a:pt x="30" y="56"/>
                    </a:cubicBezTo>
                    <a:cubicBezTo>
                      <a:pt x="29" y="56"/>
                      <a:pt x="28" y="56"/>
                      <a:pt x="27" y="56"/>
                    </a:cubicBezTo>
                    <a:cubicBezTo>
                      <a:pt x="27" y="56"/>
                      <a:pt x="27" y="56"/>
                      <a:pt x="27" y="56"/>
                    </a:cubicBezTo>
                    <a:cubicBezTo>
                      <a:pt x="27" y="56"/>
                      <a:pt x="27" y="56"/>
                      <a:pt x="27" y="56"/>
                    </a:cubicBezTo>
                    <a:cubicBezTo>
                      <a:pt x="28" y="55"/>
                      <a:pt x="28" y="55"/>
                      <a:pt x="29" y="54"/>
                    </a:cubicBezTo>
                    <a:cubicBezTo>
                      <a:pt x="29" y="54"/>
                      <a:pt x="28" y="54"/>
                      <a:pt x="28" y="54"/>
                    </a:cubicBezTo>
                    <a:cubicBezTo>
                      <a:pt x="28" y="54"/>
                      <a:pt x="29" y="54"/>
                      <a:pt x="29" y="54"/>
                    </a:cubicBezTo>
                    <a:cubicBezTo>
                      <a:pt x="29" y="54"/>
                      <a:pt x="28" y="54"/>
                      <a:pt x="28" y="54"/>
                    </a:cubicBezTo>
                    <a:cubicBezTo>
                      <a:pt x="27" y="54"/>
                      <a:pt x="25" y="54"/>
                      <a:pt x="24" y="54"/>
                    </a:cubicBezTo>
                    <a:cubicBezTo>
                      <a:pt x="25" y="53"/>
                      <a:pt x="26" y="53"/>
                      <a:pt x="26" y="53"/>
                    </a:cubicBezTo>
                    <a:cubicBezTo>
                      <a:pt x="26" y="53"/>
                      <a:pt x="25" y="53"/>
                      <a:pt x="24" y="53"/>
                    </a:cubicBezTo>
                    <a:cubicBezTo>
                      <a:pt x="26" y="53"/>
                      <a:pt x="27" y="52"/>
                      <a:pt x="28" y="52"/>
                    </a:cubicBezTo>
                    <a:cubicBezTo>
                      <a:pt x="26" y="52"/>
                      <a:pt x="27" y="52"/>
                      <a:pt x="25" y="52"/>
                    </a:cubicBezTo>
                    <a:cubicBezTo>
                      <a:pt x="25" y="52"/>
                      <a:pt x="25" y="52"/>
                      <a:pt x="26" y="52"/>
                    </a:cubicBezTo>
                    <a:cubicBezTo>
                      <a:pt x="25" y="52"/>
                      <a:pt x="25" y="52"/>
                      <a:pt x="24" y="52"/>
                    </a:cubicBezTo>
                    <a:cubicBezTo>
                      <a:pt x="24" y="52"/>
                      <a:pt x="25" y="52"/>
                      <a:pt x="25" y="51"/>
                    </a:cubicBezTo>
                    <a:cubicBezTo>
                      <a:pt x="24" y="51"/>
                      <a:pt x="23" y="51"/>
                      <a:pt x="22" y="51"/>
                    </a:cubicBezTo>
                    <a:cubicBezTo>
                      <a:pt x="23" y="51"/>
                      <a:pt x="23" y="51"/>
                      <a:pt x="23" y="51"/>
                    </a:cubicBezTo>
                    <a:cubicBezTo>
                      <a:pt x="23" y="51"/>
                      <a:pt x="23" y="51"/>
                      <a:pt x="23" y="51"/>
                    </a:cubicBezTo>
                    <a:cubicBezTo>
                      <a:pt x="23" y="51"/>
                      <a:pt x="24" y="51"/>
                      <a:pt x="24" y="51"/>
                    </a:cubicBezTo>
                    <a:cubicBezTo>
                      <a:pt x="23" y="50"/>
                      <a:pt x="23" y="50"/>
                      <a:pt x="22" y="50"/>
                    </a:cubicBezTo>
                    <a:cubicBezTo>
                      <a:pt x="22" y="50"/>
                      <a:pt x="22" y="50"/>
                      <a:pt x="23" y="50"/>
                    </a:cubicBezTo>
                    <a:cubicBezTo>
                      <a:pt x="22" y="50"/>
                      <a:pt x="22" y="50"/>
                      <a:pt x="22" y="50"/>
                    </a:cubicBezTo>
                    <a:cubicBezTo>
                      <a:pt x="22" y="50"/>
                      <a:pt x="23" y="50"/>
                      <a:pt x="23" y="50"/>
                    </a:cubicBezTo>
                    <a:cubicBezTo>
                      <a:pt x="23" y="50"/>
                      <a:pt x="22" y="49"/>
                      <a:pt x="22" y="49"/>
                    </a:cubicBezTo>
                    <a:cubicBezTo>
                      <a:pt x="23" y="49"/>
                      <a:pt x="23" y="49"/>
                      <a:pt x="24" y="49"/>
                    </a:cubicBezTo>
                    <a:cubicBezTo>
                      <a:pt x="23" y="49"/>
                      <a:pt x="21" y="49"/>
                      <a:pt x="21" y="48"/>
                    </a:cubicBezTo>
                    <a:cubicBezTo>
                      <a:pt x="22" y="48"/>
                      <a:pt x="22" y="48"/>
                      <a:pt x="23" y="48"/>
                    </a:cubicBezTo>
                    <a:cubicBezTo>
                      <a:pt x="23" y="48"/>
                      <a:pt x="23" y="48"/>
                      <a:pt x="23" y="48"/>
                    </a:cubicBezTo>
                    <a:cubicBezTo>
                      <a:pt x="23" y="48"/>
                      <a:pt x="22" y="47"/>
                      <a:pt x="21" y="47"/>
                    </a:cubicBezTo>
                    <a:cubicBezTo>
                      <a:pt x="22" y="47"/>
                      <a:pt x="23" y="47"/>
                      <a:pt x="24" y="48"/>
                    </a:cubicBezTo>
                    <a:cubicBezTo>
                      <a:pt x="24" y="47"/>
                      <a:pt x="23" y="47"/>
                      <a:pt x="23" y="47"/>
                    </a:cubicBezTo>
                    <a:cubicBezTo>
                      <a:pt x="24" y="47"/>
                      <a:pt x="24" y="47"/>
                      <a:pt x="24" y="47"/>
                    </a:cubicBezTo>
                    <a:cubicBezTo>
                      <a:pt x="24" y="47"/>
                      <a:pt x="24" y="47"/>
                      <a:pt x="24" y="47"/>
                    </a:cubicBezTo>
                    <a:cubicBezTo>
                      <a:pt x="24" y="47"/>
                      <a:pt x="23" y="47"/>
                      <a:pt x="23" y="46"/>
                    </a:cubicBezTo>
                    <a:cubicBezTo>
                      <a:pt x="22" y="46"/>
                      <a:pt x="21" y="46"/>
                      <a:pt x="21" y="46"/>
                    </a:cubicBezTo>
                    <a:cubicBezTo>
                      <a:pt x="21" y="46"/>
                      <a:pt x="22" y="46"/>
                      <a:pt x="22" y="45"/>
                    </a:cubicBezTo>
                    <a:cubicBezTo>
                      <a:pt x="22" y="45"/>
                      <a:pt x="22" y="45"/>
                      <a:pt x="22" y="44"/>
                    </a:cubicBezTo>
                    <a:cubicBezTo>
                      <a:pt x="20" y="44"/>
                      <a:pt x="19" y="45"/>
                      <a:pt x="18" y="45"/>
                    </a:cubicBezTo>
                    <a:cubicBezTo>
                      <a:pt x="19" y="44"/>
                      <a:pt x="19" y="44"/>
                      <a:pt x="20" y="44"/>
                    </a:cubicBezTo>
                    <a:cubicBezTo>
                      <a:pt x="19" y="44"/>
                      <a:pt x="18" y="44"/>
                      <a:pt x="18" y="44"/>
                    </a:cubicBezTo>
                    <a:cubicBezTo>
                      <a:pt x="19" y="44"/>
                      <a:pt x="21" y="43"/>
                      <a:pt x="23" y="43"/>
                    </a:cubicBezTo>
                    <a:cubicBezTo>
                      <a:pt x="23" y="43"/>
                      <a:pt x="23" y="43"/>
                      <a:pt x="23" y="43"/>
                    </a:cubicBezTo>
                    <a:cubicBezTo>
                      <a:pt x="22" y="43"/>
                      <a:pt x="17" y="44"/>
                      <a:pt x="17" y="43"/>
                    </a:cubicBezTo>
                    <a:cubicBezTo>
                      <a:pt x="17" y="43"/>
                      <a:pt x="17" y="43"/>
                      <a:pt x="17" y="43"/>
                    </a:cubicBezTo>
                    <a:cubicBezTo>
                      <a:pt x="17" y="43"/>
                      <a:pt x="17" y="43"/>
                      <a:pt x="17" y="43"/>
                    </a:cubicBezTo>
                    <a:cubicBezTo>
                      <a:pt x="17" y="43"/>
                      <a:pt x="17" y="43"/>
                      <a:pt x="17" y="43"/>
                    </a:cubicBezTo>
                    <a:cubicBezTo>
                      <a:pt x="21" y="42"/>
                      <a:pt x="20" y="43"/>
                      <a:pt x="22" y="42"/>
                    </a:cubicBezTo>
                    <a:cubicBezTo>
                      <a:pt x="22" y="42"/>
                      <a:pt x="18" y="41"/>
                      <a:pt x="17" y="40"/>
                    </a:cubicBezTo>
                    <a:cubicBezTo>
                      <a:pt x="17" y="40"/>
                      <a:pt x="17" y="40"/>
                      <a:pt x="17" y="40"/>
                    </a:cubicBezTo>
                    <a:cubicBezTo>
                      <a:pt x="18" y="40"/>
                      <a:pt x="20" y="40"/>
                      <a:pt x="21" y="41"/>
                    </a:cubicBezTo>
                    <a:cubicBezTo>
                      <a:pt x="21" y="41"/>
                      <a:pt x="20" y="40"/>
                      <a:pt x="20" y="40"/>
                    </a:cubicBezTo>
                    <a:cubicBezTo>
                      <a:pt x="19" y="40"/>
                      <a:pt x="18" y="40"/>
                      <a:pt x="17" y="40"/>
                    </a:cubicBezTo>
                    <a:cubicBezTo>
                      <a:pt x="18" y="40"/>
                      <a:pt x="19" y="40"/>
                      <a:pt x="20" y="40"/>
                    </a:cubicBezTo>
                    <a:cubicBezTo>
                      <a:pt x="20" y="39"/>
                      <a:pt x="19" y="39"/>
                      <a:pt x="19" y="39"/>
                    </a:cubicBezTo>
                    <a:cubicBezTo>
                      <a:pt x="20" y="39"/>
                      <a:pt x="20" y="40"/>
                      <a:pt x="21" y="40"/>
                    </a:cubicBezTo>
                    <a:cubicBezTo>
                      <a:pt x="21" y="39"/>
                      <a:pt x="21" y="39"/>
                      <a:pt x="21" y="39"/>
                    </a:cubicBezTo>
                    <a:cubicBezTo>
                      <a:pt x="21" y="39"/>
                      <a:pt x="20" y="39"/>
                      <a:pt x="20" y="39"/>
                    </a:cubicBezTo>
                    <a:cubicBezTo>
                      <a:pt x="20" y="38"/>
                      <a:pt x="19" y="37"/>
                      <a:pt x="19" y="36"/>
                    </a:cubicBezTo>
                    <a:cubicBezTo>
                      <a:pt x="19" y="36"/>
                      <a:pt x="19" y="36"/>
                      <a:pt x="19" y="36"/>
                    </a:cubicBezTo>
                    <a:cubicBezTo>
                      <a:pt x="19" y="36"/>
                      <a:pt x="19" y="36"/>
                      <a:pt x="19" y="36"/>
                    </a:cubicBezTo>
                    <a:cubicBezTo>
                      <a:pt x="19" y="37"/>
                      <a:pt x="20" y="37"/>
                      <a:pt x="21" y="37"/>
                    </a:cubicBezTo>
                    <a:cubicBezTo>
                      <a:pt x="21" y="37"/>
                      <a:pt x="21" y="36"/>
                      <a:pt x="21" y="36"/>
                    </a:cubicBezTo>
                    <a:cubicBezTo>
                      <a:pt x="21" y="37"/>
                      <a:pt x="21" y="37"/>
                      <a:pt x="22" y="38"/>
                    </a:cubicBezTo>
                    <a:cubicBezTo>
                      <a:pt x="22" y="38"/>
                      <a:pt x="22" y="37"/>
                      <a:pt x="21" y="37"/>
                    </a:cubicBezTo>
                    <a:cubicBezTo>
                      <a:pt x="21" y="37"/>
                      <a:pt x="21" y="37"/>
                      <a:pt x="21" y="36"/>
                    </a:cubicBezTo>
                    <a:cubicBezTo>
                      <a:pt x="22" y="38"/>
                      <a:pt x="23" y="40"/>
                      <a:pt x="24" y="41"/>
                    </a:cubicBezTo>
                    <a:cubicBezTo>
                      <a:pt x="24" y="41"/>
                      <a:pt x="24" y="41"/>
                      <a:pt x="24" y="41"/>
                    </a:cubicBezTo>
                    <a:cubicBezTo>
                      <a:pt x="25" y="41"/>
                      <a:pt x="25" y="41"/>
                      <a:pt x="25" y="41"/>
                    </a:cubicBezTo>
                    <a:cubicBezTo>
                      <a:pt x="25" y="40"/>
                      <a:pt x="25" y="39"/>
                      <a:pt x="24" y="38"/>
                    </a:cubicBezTo>
                    <a:cubicBezTo>
                      <a:pt x="24" y="38"/>
                      <a:pt x="24" y="38"/>
                      <a:pt x="24" y="38"/>
                    </a:cubicBezTo>
                    <a:cubicBezTo>
                      <a:pt x="25" y="38"/>
                      <a:pt x="25" y="38"/>
                      <a:pt x="25" y="38"/>
                    </a:cubicBezTo>
                    <a:cubicBezTo>
                      <a:pt x="25" y="38"/>
                      <a:pt x="25" y="37"/>
                      <a:pt x="24" y="37"/>
                    </a:cubicBezTo>
                    <a:cubicBezTo>
                      <a:pt x="25" y="38"/>
                      <a:pt x="25" y="40"/>
                      <a:pt x="26" y="41"/>
                    </a:cubicBezTo>
                    <a:cubicBezTo>
                      <a:pt x="26" y="40"/>
                      <a:pt x="26" y="40"/>
                      <a:pt x="26" y="39"/>
                    </a:cubicBezTo>
                    <a:cubicBezTo>
                      <a:pt x="26" y="39"/>
                      <a:pt x="26" y="39"/>
                      <a:pt x="26" y="39"/>
                    </a:cubicBezTo>
                    <a:cubicBezTo>
                      <a:pt x="26" y="38"/>
                      <a:pt x="26" y="38"/>
                      <a:pt x="26" y="37"/>
                    </a:cubicBezTo>
                    <a:cubicBezTo>
                      <a:pt x="26" y="37"/>
                      <a:pt x="26" y="37"/>
                      <a:pt x="26" y="37"/>
                    </a:cubicBezTo>
                    <a:cubicBezTo>
                      <a:pt x="26" y="39"/>
                      <a:pt x="26" y="40"/>
                      <a:pt x="27" y="41"/>
                    </a:cubicBezTo>
                    <a:cubicBezTo>
                      <a:pt x="27" y="41"/>
                      <a:pt x="27" y="41"/>
                      <a:pt x="28" y="41"/>
                    </a:cubicBezTo>
                    <a:cubicBezTo>
                      <a:pt x="27" y="41"/>
                      <a:pt x="27" y="40"/>
                      <a:pt x="27" y="39"/>
                    </a:cubicBezTo>
                    <a:cubicBezTo>
                      <a:pt x="27" y="40"/>
                      <a:pt x="28" y="41"/>
                      <a:pt x="29" y="42"/>
                    </a:cubicBezTo>
                    <a:cubicBezTo>
                      <a:pt x="29" y="42"/>
                      <a:pt x="29" y="42"/>
                      <a:pt x="29" y="42"/>
                    </a:cubicBezTo>
                    <a:cubicBezTo>
                      <a:pt x="29" y="41"/>
                      <a:pt x="28" y="40"/>
                      <a:pt x="28" y="39"/>
                    </a:cubicBezTo>
                    <a:cubicBezTo>
                      <a:pt x="28" y="39"/>
                      <a:pt x="28" y="39"/>
                      <a:pt x="27" y="39"/>
                    </a:cubicBezTo>
                    <a:cubicBezTo>
                      <a:pt x="28" y="39"/>
                      <a:pt x="28" y="39"/>
                      <a:pt x="28" y="39"/>
                    </a:cubicBezTo>
                    <a:cubicBezTo>
                      <a:pt x="28" y="39"/>
                      <a:pt x="28" y="39"/>
                      <a:pt x="27" y="39"/>
                    </a:cubicBezTo>
                    <a:cubicBezTo>
                      <a:pt x="28" y="39"/>
                      <a:pt x="28" y="39"/>
                      <a:pt x="28" y="39"/>
                    </a:cubicBezTo>
                    <a:cubicBezTo>
                      <a:pt x="28" y="39"/>
                      <a:pt x="28" y="39"/>
                      <a:pt x="27" y="39"/>
                    </a:cubicBezTo>
                    <a:cubicBezTo>
                      <a:pt x="30" y="39"/>
                      <a:pt x="30" y="39"/>
                      <a:pt x="32" y="40"/>
                    </a:cubicBezTo>
                    <a:cubicBezTo>
                      <a:pt x="32" y="39"/>
                      <a:pt x="28" y="38"/>
                      <a:pt x="28" y="36"/>
                    </a:cubicBezTo>
                    <a:cubicBezTo>
                      <a:pt x="28" y="36"/>
                      <a:pt x="30" y="37"/>
                      <a:pt x="31" y="37"/>
                    </a:cubicBezTo>
                    <a:cubicBezTo>
                      <a:pt x="30" y="37"/>
                      <a:pt x="30" y="37"/>
                      <a:pt x="30" y="37"/>
                    </a:cubicBezTo>
                    <a:cubicBezTo>
                      <a:pt x="30" y="37"/>
                      <a:pt x="30" y="37"/>
                      <a:pt x="30" y="37"/>
                    </a:cubicBezTo>
                    <a:cubicBezTo>
                      <a:pt x="31" y="37"/>
                      <a:pt x="31" y="37"/>
                      <a:pt x="31" y="37"/>
                    </a:cubicBezTo>
                    <a:cubicBezTo>
                      <a:pt x="31" y="36"/>
                      <a:pt x="30" y="35"/>
                      <a:pt x="30" y="34"/>
                    </a:cubicBezTo>
                    <a:cubicBezTo>
                      <a:pt x="31" y="34"/>
                      <a:pt x="31" y="35"/>
                      <a:pt x="31" y="36"/>
                    </a:cubicBezTo>
                    <a:cubicBezTo>
                      <a:pt x="31" y="35"/>
                      <a:pt x="31" y="35"/>
                      <a:pt x="31" y="34"/>
                    </a:cubicBezTo>
                    <a:cubicBezTo>
                      <a:pt x="31" y="34"/>
                      <a:pt x="31" y="35"/>
                      <a:pt x="32" y="35"/>
                    </a:cubicBezTo>
                    <a:cubicBezTo>
                      <a:pt x="32" y="35"/>
                      <a:pt x="32" y="34"/>
                      <a:pt x="32" y="34"/>
                    </a:cubicBezTo>
                    <a:cubicBezTo>
                      <a:pt x="32" y="35"/>
                      <a:pt x="32" y="35"/>
                      <a:pt x="32" y="35"/>
                    </a:cubicBezTo>
                    <a:cubicBezTo>
                      <a:pt x="34" y="35"/>
                      <a:pt x="36" y="34"/>
                      <a:pt x="38" y="34"/>
                    </a:cubicBezTo>
                    <a:cubicBezTo>
                      <a:pt x="36" y="34"/>
                      <a:pt x="34" y="35"/>
                      <a:pt x="32" y="35"/>
                    </a:cubicBezTo>
                    <a:cubicBezTo>
                      <a:pt x="32" y="36"/>
                      <a:pt x="33" y="36"/>
                      <a:pt x="33" y="36"/>
                    </a:cubicBezTo>
                    <a:cubicBezTo>
                      <a:pt x="33" y="36"/>
                      <a:pt x="33" y="36"/>
                      <a:pt x="33" y="36"/>
                    </a:cubicBezTo>
                    <a:cubicBezTo>
                      <a:pt x="33" y="36"/>
                      <a:pt x="34" y="37"/>
                      <a:pt x="34" y="38"/>
                    </a:cubicBezTo>
                    <a:cubicBezTo>
                      <a:pt x="34" y="37"/>
                      <a:pt x="34" y="37"/>
                      <a:pt x="34" y="37"/>
                    </a:cubicBezTo>
                    <a:cubicBezTo>
                      <a:pt x="34" y="37"/>
                      <a:pt x="34" y="37"/>
                      <a:pt x="34" y="37"/>
                    </a:cubicBezTo>
                    <a:cubicBezTo>
                      <a:pt x="34" y="37"/>
                      <a:pt x="34" y="37"/>
                      <a:pt x="34" y="36"/>
                    </a:cubicBezTo>
                    <a:cubicBezTo>
                      <a:pt x="34" y="37"/>
                      <a:pt x="35" y="37"/>
                      <a:pt x="35" y="37"/>
                    </a:cubicBezTo>
                    <a:cubicBezTo>
                      <a:pt x="35" y="37"/>
                      <a:pt x="35" y="37"/>
                      <a:pt x="35" y="37"/>
                    </a:cubicBezTo>
                    <a:cubicBezTo>
                      <a:pt x="35" y="37"/>
                      <a:pt x="35" y="38"/>
                      <a:pt x="35" y="38"/>
                    </a:cubicBezTo>
                    <a:cubicBezTo>
                      <a:pt x="35" y="38"/>
                      <a:pt x="35" y="38"/>
                      <a:pt x="35" y="38"/>
                    </a:cubicBezTo>
                    <a:cubicBezTo>
                      <a:pt x="35" y="38"/>
                      <a:pt x="35" y="37"/>
                      <a:pt x="35" y="37"/>
                    </a:cubicBezTo>
                    <a:cubicBezTo>
                      <a:pt x="35" y="37"/>
                      <a:pt x="35" y="38"/>
                      <a:pt x="36" y="38"/>
                    </a:cubicBezTo>
                    <a:cubicBezTo>
                      <a:pt x="36" y="37"/>
                      <a:pt x="36" y="37"/>
                      <a:pt x="36" y="36"/>
                    </a:cubicBezTo>
                    <a:cubicBezTo>
                      <a:pt x="35" y="36"/>
                      <a:pt x="35" y="37"/>
                      <a:pt x="35" y="37"/>
                    </a:cubicBezTo>
                    <a:cubicBezTo>
                      <a:pt x="36" y="36"/>
                      <a:pt x="38" y="36"/>
                      <a:pt x="40" y="35"/>
                    </a:cubicBezTo>
                    <a:cubicBezTo>
                      <a:pt x="39" y="35"/>
                      <a:pt x="39" y="35"/>
                      <a:pt x="38" y="35"/>
                    </a:cubicBezTo>
                    <a:cubicBezTo>
                      <a:pt x="39" y="35"/>
                      <a:pt x="40" y="35"/>
                      <a:pt x="40" y="35"/>
                    </a:cubicBezTo>
                    <a:cubicBezTo>
                      <a:pt x="40" y="35"/>
                      <a:pt x="40" y="35"/>
                      <a:pt x="40" y="34"/>
                    </a:cubicBezTo>
                    <a:cubicBezTo>
                      <a:pt x="39" y="35"/>
                      <a:pt x="38" y="35"/>
                      <a:pt x="38" y="35"/>
                    </a:cubicBezTo>
                    <a:cubicBezTo>
                      <a:pt x="38" y="35"/>
                      <a:pt x="38" y="35"/>
                      <a:pt x="38" y="35"/>
                    </a:cubicBezTo>
                    <a:cubicBezTo>
                      <a:pt x="38" y="35"/>
                      <a:pt x="38" y="35"/>
                      <a:pt x="38" y="35"/>
                    </a:cubicBezTo>
                    <a:cubicBezTo>
                      <a:pt x="38" y="34"/>
                      <a:pt x="39" y="34"/>
                      <a:pt x="39" y="34"/>
                    </a:cubicBezTo>
                    <a:cubicBezTo>
                      <a:pt x="39" y="34"/>
                      <a:pt x="39" y="34"/>
                      <a:pt x="38" y="34"/>
                    </a:cubicBezTo>
                    <a:cubicBezTo>
                      <a:pt x="39" y="34"/>
                      <a:pt x="39" y="34"/>
                      <a:pt x="39" y="34"/>
                    </a:cubicBezTo>
                    <a:cubicBezTo>
                      <a:pt x="38" y="33"/>
                      <a:pt x="38" y="33"/>
                      <a:pt x="37" y="33"/>
                    </a:cubicBezTo>
                    <a:cubicBezTo>
                      <a:pt x="37" y="33"/>
                      <a:pt x="37" y="33"/>
                      <a:pt x="37" y="33"/>
                    </a:cubicBezTo>
                    <a:cubicBezTo>
                      <a:pt x="37" y="33"/>
                      <a:pt x="37" y="33"/>
                      <a:pt x="37" y="33"/>
                    </a:cubicBezTo>
                    <a:cubicBezTo>
                      <a:pt x="34" y="33"/>
                      <a:pt x="33" y="33"/>
                      <a:pt x="31" y="32"/>
                    </a:cubicBezTo>
                    <a:cubicBezTo>
                      <a:pt x="31" y="32"/>
                      <a:pt x="32" y="32"/>
                      <a:pt x="32" y="31"/>
                    </a:cubicBezTo>
                    <a:cubicBezTo>
                      <a:pt x="31" y="32"/>
                      <a:pt x="30" y="31"/>
                      <a:pt x="29" y="30"/>
                    </a:cubicBezTo>
                    <a:cubicBezTo>
                      <a:pt x="30" y="30"/>
                      <a:pt x="31" y="30"/>
                      <a:pt x="31" y="30"/>
                    </a:cubicBezTo>
                    <a:cubicBezTo>
                      <a:pt x="30" y="30"/>
                      <a:pt x="30" y="29"/>
                      <a:pt x="29" y="28"/>
                    </a:cubicBezTo>
                    <a:cubicBezTo>
                      <a:pt x="30" y="29"/>
                      <a:pt x="31" y="29"/>
                      <a:pt x="31" y="29"/>
                    </a:cubicBezTo>
                    <a:cubicBezTo>
                      <a:pt x="31" y="29"/>
                      <a:pt x="31" y="29"/>
                      <a:pt x="31" y="29"/>
                    </a:cubicBezTo>
                    <a:cubicBezTo>
                      <a:pt x="28" y="28"/>
                      <a:pt x="27" y="28"/>
                      <a:pt x="24" y="28"/>
                    </a:cubicBezTo>
                    <a:cubicBezTo>
                      <a:pt x="25" y="28"/>
                      <a:pt x="26" y="28"/>
                      <a:pt x="28" y="28"/>
                    </a:cubicBezTo>
                    <a:cubicBezTo>
                      <a:pt x="27" y="28"/>
                      <a:pt x="27" y="27"/>
                      <a:pt x="26" y="27"/>
                    </a:cubicBezTo>
                    <a:cubicBezTo>
                      <a:pt x="27" y="27"/>
                      <a:pt x="27" y="27"/>
                      <a:pt x="28" y="27"/>
                    </a:cubicBezTo>
                    <a:cubicBezTo>
                      <a:pt x="28" y="27"/>
                      <a:pt x="28" y="27"/>
                      <a:pt x="28" y="27"/>
                    </a:cubicBezTo>
                    <a:cubicBezTo>
                      <a:pt x="27" y="27"/>
                      <a:pt x="23" y="26"/>
                      <a:pt x="22" y="25"/>
                    </a:cubicBezTo>
                    <a:cubicBezTo>
                      <a:pt x="23" y="25"/>
                      <a:pt x="24" y="25"/>
                      <a:pt x="25" y="25"/>
                    </a:cubicBezTo>
                    <a:cubicBezTo>
                      <a:pt x="25" y="25"/>
                      <a:pt x="25" y="25"/>
                      <a:pt x="25" y="25"/>
                    </a:cubicBezTo>
                    <a:cubicBezTo>
                      <a:pt x="25" y="25"/>
                      <a:pt x="25" y="25"/>
                      <a:pt x="25" y="25"/>
                    </a:cubicBezTo>
                    <a:cubicBezTo>
                      <a:pt x="24" y="24"/>
                      <a:pt x="24" y="24"/>
                      <a:pt x="23" y="23"/>
                    </a:cubicBezTo>
                    <a:cubicBezTo>
                      <a:pt x="25" y="23"/>
                      <a:pt x="26" y="24"/>
                      <a:pt x="27" y="25"/>
                    </a:cubicBezTo>
                    <a:cubicBezTo>
                      <a:pt x="27" y="25"/>
                      <a:pt x="27" y="25"/>
                      <a:pt x="27" y="25"/>
                    </a:cubicBezTo>
                    <a:cubicBezTo>
                      <a:pt x="28" y="26"/>
                      <a:pt x="29" y="26"/>
                      <a:pt x="30" y="27"/>
                    </a:cubicBezTo>
                    <a:cubicBezTo>
                      <a:pt x="28" y="24"/>
                      <a:pt x="29" y="25"/>
                      <a:pt x="28" y="22"/>
                    </a:cubicBezTo>
                    <a:cubicBezTo>
                      <a:pt x="28" y="22"/>
                      <a:pt x="28" y="22"/>
                      <a:pt x="29" y="23"/>
                    </a:cubicBezTo>
                    <a:cubicBezTo>
                      <a:pt x="29" y="22"/>
                      <a:pt x="28" y="21"/>
                      <a:pt x="28" y="20"/>
                    </a:cubicBezTo>
                    <a:cubicBezTo>
                      <a:pt x="29" y="22"/>
                      <a:pt x="29" y="24"/>
                      <a:pt x="30" y="25"/>
                    </a:cubicBezTo>
                    <a:cubicBezTo>
                      <a:pt x="30" y="25"/>
                      <a:pt x="30" y="24"/>
                      <a:pt x="30" y="24"/>
                    </a:cubicBezTo>
                    <a:cubicBezTo>
                      <a:pt x="31" y="24"/>
                      <a:pt x="32" y="26"/>
                      <a:pt x="33" y="27"/>
                    </a:cubicBezTo>
                    <a:cubicBezTo>
                      <a:pt x="33" y="27"/>
                      <a:pt x="32" y="24"/>
                      <a:pt x="32" y="23"/>
                    </a:cubicBezTo>
                    <a:cubicBezTo>
                      <a:pt x="32" y="23"/>
                      <a:pt x="32" y="23"/>
                      <a:pt x="32" y="23"/>
                    </a:cubicBezTo>
                    <a:cubicBezTo>
                      <a:pt x="32" y="23"/>
                      <a:pt x="32" y="23"/>
                      <a:pt x="32" y="23"/>
                    </a:cubicBezTo>
                    <a:cubicBezTo>
                      <a:pt x="32" y="23"/>
                      <a:pt x="32" y="23"/>
                      <a:pt x="32" y="23"/>
                    </a:cubicBezTo>
                    <a:cubicBezTo>
                      <a:pt x="33" y="24"/>
                      <a:pt x="33" y="24"/>
                      <a:pt x="33" y="25"/>
                    </a:cubicBezTo>
                    <a:cubicBezTo>
                      <a:pt x="33" y="24"/>
                      <a:pt x="33" y="24"/>
                      <a:pt x="33" y="24"/>
                    </a:cubicBezTo>
                    <a:cubicBezTo>
                      <a:pt x="33" y="24"/>
                      <a:pt x="33" y="24"/>
                      <a:pt x="33" y="24"/>
                    </a:cubicBezTo>
                    <a:cubicBezTo>
                      <a:pt x="33" y="24"/>
                      <a:pt x="33" y="24"/>
                      <a:pt x="33" y="23"/>
                    </a:cubicBezTo>
                    <a:cubicBezTo>
                      <a:pt x="33" y="24"/>
                      <a:pt x="33" y="26"/>
                      <a:pt x="34" y="26"/>
                    </a:cubicBezTo>
                    <a:cubicBezTo>
                      <a:pt x="34" y="26"/>
                      <a:pt x="34" y="26"/>
                      <a:pt x="34" y="26"/>
                    </a:cubicBezTo>
                    <a:cubicBezTo>
                      <a:pt x="34" y="26"/>
                      <a:pt x="34" y="26"/>
                      <a:pt x="34" y="26"/>
                    </a:cubicBezTo>
                    <a:cubicBezTo>
                      <a:pt x="34" y="26"/>
                      <a:pt x="34" y="26"/>
                      <a:pt x="34" y="26"/>
                    </a:cubicBezTo>
                    <a:cubicBezTo>
                      <a:pt x="34" y="26"/>
                      <a:pt x="34" y="26"/>
                      <a:pt x="34" y="26"/>
                    </a:cubicBezTo>
                    <a:cubicBezTo>
                      <a:pt x="34" y="26"/>
                      <a:pt x="34" y="26"/>
                      <a:pt x="34" y="27"/>
                    </a:cubicBezTo>
                    <a:cubicBezTo>
                      <a:pt x="34" y="26"/>
                      <a:pt x="34" y="26"/>
                      <a:pt x="34" y="26"/>
                    </a:cubicBezTo>
                    <a:cubicBezTo>
                      <a:pt x="34" y="26"/>
                      <a:pt x="34" y="26"/>
                      <a:pt x="35" y="27"/>
                    </a:cubicBezTo>
                    <a:cubicBezTo>
                      <a:pt x="35" y="27"/>
                      <a:pt x="36" y="27"/>
                      <a:pt x="37" y="27"/>
                    </a:cubicBezTo>
                    <a:cubicBezTo>
                      <a:pt x="36" y="26"/>
                      <a:pt x="36" y="26"/>
                      <a:pt x="35" y="25"/>
                    </a:cubicBezTo>
                    <a:cubicBezTo>
                      <a:pt x="36" y="25"/>
                      <a:pt x="36" y="25"/>
                      <a:pt x="37" y="25"/>
                    </a:cubicBezTo>
                    <a:cubicBezTo>
                      <a:pt x="35" y="24"/>
                      <a:pt x="35" y="23"/>
                      <a:pt x="35" y="21"/>
                    </a:cubicBezTo>
                    <a:cubicBezTo>
                      <a:pt x="34" y="21"/>
                      <a:pt x="34" y="21"/>
                      <a:pt x="33" y="21"/>
                    </a:cubicBezTo>
                    <a:cubicBezTo>
                      <a:pt x="34" y="21"/>
                      <a:pt x="34" y="21"/>
                      <a:pt x="34" y="21"/>
                    </a:cubicBezTo>
                    <a:cubicBezTo>
                      <a:pt x="34" y="21"/>
                      <a:pt x="34" y="21"/>
                      <a:pt x="33" y="21"/>
                    </a:cubicBezTo>
                    <a:cubicBezTo>
                      <a:pt x="33" y="21"/>
                      <a:pt x="33" y="21"/>
                      <a:pt x="33" y="21"/>
                    </a:cubicBezTo>
                    <a:cubicBezTo>
                      <a:pt x="33" y="20"/>
                      <a:pt x="33" y="20"/>
                      <a:pt x="33" y="20"/>
                    </a:cubicBezTo>
                    <a:cubicBezTo>
                      <a:pt x="33" y="20"/>
                      <a:pt x="34" y="20"/>
                      <a:pt x="34" y="20"/>
                    </a:cubicBezTo>
                    <a:cubicBezTo>
                      <a:pt x="34" y="20"/>
                      <a:pt x="34" y="20"/>
                      <a:pt x="34" y="20"/>
                    </a:cubicBezTo>
                    <a:cubicBezTo>
                      <a:pt x="35" y="20"/>
                      <a:pt x="36" y="20"/>
                      <a:pt x="36" y="19"/>
                    </a:cubicBezTo>
                    <a:cubicBezTo>
                      <a:pt x="36" y="19"/>
                      <a:pt x="36" y="19"/>
                      <a:pt x="36" y="19"/>
                    </a:cubicBezTo>
                    <a:cubicBezTo>
                      <a:pt x="37" y="19"/>
                      <a:pt x="38" y="19"/>
                      <a:pt x="39" y="19"/>
                    </a:cubicBezTo>
                    <a:cubicBezTo>
                      <a:pt x="37" y="17"/>
                      <a:pt x="36" y="19"/>
                      <a:pt x="30" y="18"/>
                    </a:cubicBezTo>
                    <a:cubicBezTo>
                      <a:pt x="31" y="18"/>
                      <a:pt x="31" y="18"/>
                      <a:pt x="31" y="18"/>
                    </a:cubicBezTo>
                    <a:cubicBezTo>
                      <a:pt x="31" y="18"/>
                      <a:pt x="31" y="18"/>
                      <a:pt x="31" y="18"/>
                    </a:cubicBezTo>
                    <a:cubicBezTo>
                      <a:pt x="31" y="18"/>
                      <a:pt x="31" y="18"/>
                      <a:pt x="31" y="18"/>
                    </a:cubicBezTo>
                    <a:cubicBezTo>
                      <a:pt x="33" y="17"/>
                      <a:pt x="34" y="17"/>
                      <a:pt x="37" y="18"/>
                    </a:cubicBezTo>
                    <a:cubicBezTo>
                      <a:pt x="34" y="17"/>
                      <a:pt x="33" y="17"/>
                      <a:pt x="30" y="15"/>
                    </a:cubicBezTo>
                    <a:cubicBezTo>
                      <a:pt x="31" y="15"/>
                      <a:pt x="33" y="15"/>
                      <a:pt x="34" y="15"/>
                    </a:cubicBezTo>
                    <a:cubicBezTo>
                      <a:pt x="34" y="15"/>
                      <a:pt x="34" y="15"/>
                      <a:pt x="34" y="14"/>
                    </a:cubicBezTo>
                    <a:cubicBezTo>
                      <a:pt x="34" y="14"/>
                      <a:pt x="34" y="14"/>
                      <a:pt x="34" y="14"/>
                    </a:cubicBezTo>
                    <a:cubicBezTo>
                      <a:pt x="33" y="14"/>
                      <a:pt x="33" y="13"/>
                      <a:pt x="33" y="12"/>
                    </a:cubicBezTo>
                    <a:cubicBezTo>
                      <a:pt x="33" y="12"/>
                      <a:pt x="33" y="12"/>
                      <a:pt x="33" y="12"/>
                    </a:cubicBezTo>
                    <a:cubicBezTo>
                      <a:pt x="33" y="13"/>
                      <a:pt x="34" y="13"/>
                      <a:pt x="34" y="14"/>
                    </a:cubicBezTo>
                    <a:cubicBezTo>
                      <a:pt x="34" y="13"/>
                      <a:pt x="34" y="12"/>
                      <a:pt x="33" y="12"/>
                    </a:cubicBezTo>
                    <a:cubicBezTo>
                      <a:pt x="33" y="12"/>
                      <a:pt x="33" y="12"/>
                      <a:pt x="33" y="12"/>
                    </a:cubicBezTo>
                    <a:cubicBezTo>
                      <a:pt x="34" y="13"/>
                      <a:pt x="37" y="17"/>
                      <a:pt x="38" y="17"/>
                    </a:cubicBezTo>
                    <a:cubicBezTo>
                      <a:pt x="37" y="16"/>
                      <a:pt x="37" y="14"/>
                      <a:pt x="36" y="13"/>
                    </a:cubicBezTo>
                    <a:cubicBezTo>
                      <a:pt x="36" y="13"/>
                      <a:pt x="36" y="13"/>
                      <a:pt x="36" y="13"/>
                    </a:cubicBezTo>
                    <a:cubicBezTo>
                      <a:pt x="36" y="13"/>
                      <a:pt x="37" y="13"/>
                      <a:pt x="37" y="14"/>
                    </a:cubicBezTo>
                    <a:cubicBezTo>
                      <a:pt x="37" y="13"/>
                      <a:pt x="37" y="13"/>
                      <a:pt x="37" y="12"/>
                    </a:cubicBezTo>
                    <a:cubicBezTo>
                      <a:pt x="37" y="14"/>
                      <a:pt x="41" y="18"/>
                      <a:pt x="41" y="18"/>
                    </a:cubicBezTo>
                    <a:cubicBezTo>
                      <a:pt x="41" y="17"/>
                      <a:pt x="40" y="16"/>
                      <a:pt x="40" y="15"/>
                    </a:cubicBezTo>
                    <a:cubicBezTo>
                      <a:pt x="40" y="15"/>
                      <a:pt x="40" y="15"/>
                      <a:pt x="40" y="15"/>
                    </a:cubicBezTo>
                    <a:cubicBezTo>
                      <a:pt x="40" y="15"/>
                      <a:pt x="40" y="15"/>
                      <a:pt x="40" y="15"/>
                    </a:cubicBezTo>
                    <a:cubicBezTo>
                      <a:pt x="40" y="15"/>
                      <a:pt x="40" y="15"/>
                      <a:pt x="40" y="14"/>
                    </a:cubicBezTo>
                    <a:cubicBezTo>
                      <a:pt x="40" y="15"/>
                      <a:pt x="41" y="15"/>
                      <a:pt x="41" y="15"/>
                    </a:cubicBezTo>
                    <a:cubicBezTo>
                      <a:pt x="41" y="15"/>
                      <a:pt x="41" y="15"/>
                      <a:pt x="41" y="15"/>
                    </a:cubicBezTo>
                    <a:cubicBezTo>
                      <a:pt x="42" y="16"/>
                      <a:pt x="42" y="17"/>
                      <a:pt x="43" y="18"/>
                    </a:cubicBezTo>
                    <a:cubicBezTo>
                      <a:pt x="43" y="17"/>
                      <a:pt x="43" y="16"/>
                      <a:pt x="42" y="15"/>
                    </a:cubicBezTo>
                    <a:cubicBezTo>
                      <a:pt x="43" y="16"/>
                      <a:pt x="43" y="19"/>
                      <a:pt x="45" y="20"/>
                    </a:cubicBezTo>
                    <a:cubicBezTo>
                      <a:pt x="45" y="19"/>
                      <a:pt x="44" y="17"/>
                      <a:pt x="44" y="16"/>
                    </a:cubicBezTo>
                    <a:cubicBezTo>
                      <a:pt x="44" y="16"/>
                      <a:pt x="44" y="16"/>
                      <a:pt x="44" y="16"/>
                    </a:cubicBezTo>
                    <a:cubicBezTo>
                      <a:pt x="44" y="16"/>
                      <a:pt x="44" y="16"/>
                      <a:pt x="44" y="16"/>
                    </a:cubicBezTo>
                    <a:cubicBezTo>
                      <a:pt x="44" y="16"/>
                      <a:pt x="44" y="16"/>
                      <a:pt x="44" y="16"/>
                    </a:cubicBezTo>
                    <a:cubicBezTo>
                      <a:pt x="44" y="16"/>
                      <a:pt x="44" y="16"/>
                      <a:pt x="45" y="16"/>
                    </a:cubicBezTo>
                    <a:cubicBezTo>
                      <a:pt x="45" y="16"/>
                      <a:pt x="45" y="16"/>
                      <a:pt x="44" y="16"/>
                    </a:cubicBezTo>
                    <a:cubicBezTo>
                      <a:pt x="45" y="16"/>
                      <a:pt x="45" y="16"/>
                      <a:pt x="45" y="16"/>
                    </a:cubicBezTo>
                    <a:cubicBezTo>
                      <a:pt x="45" y="16"/>
                      <a:pt x="45" y="16"/>
                      <a:pt x="45" y="16"/>
                    </a:cubicBezTo>
                    <a:cubicBezTo>
                      <a:pt x="45" y="16"/>
                      <a:pt x="45" y="16"/>
                      <a:pt x="45" y="16"/>
                    </a:cubicBezTo>
                    <a:cubicBezTo>
                      <a:pt x="46" y="16"/>
                      <a:pt x="46" y="16"/>
                      <a:pt x="46" y="16"/>
                    </a:cubicBezTo>
                    <a:cubicBezTo>
                      <a:pt x="45" y="16"/>
                      <a:pt x="45" y="16"/>
                      <a:pt x="44" y="15"/>
                    </a:cubicBezTo>
                    <a:cubicBezTo>
                      <a:pt x="44" y="15"/>
                      <a:pt x="45" y="15"/>
                      <a:pt x="45" y="15"/>
                    </a:cubicBezTo>
                    <a:cubicBezTo>
                      <a:pt x="45" y="15"/>
                      <a:pt x="44" y="15"/>
                      <a:pt x="44" y="15"/>
                    </a:cubicBezTo>
                    <a:cubicBezTo>
                      <a:pt x="45" y="15"/>
                      <a:pt x="45" y="15"/>
                      <a:pt x="45" y="15"/>
                    </a:cubicBezTo>
                    <a:cubicBezTo>
                      <a:pt x="45" y="15"/>
                      <a:pt x="44" y="15"/>
                      <a:pt x="44" y="14"/>
                    </a:cubicBezTo>
                    <a:cubicBezTo>
                      <a:pt x="45" y="15"/>
                      <a:pt x="45" y="15"/>
                      <a:pt x="46" y="15"/>
                    </a:cubicBezTo>
                    <a:cubicBezTo>
                      <a:pt x="45" y="14"/>
                      <a:pt x="45" y="14"/>
                      <a:pt x="44" y="13"/>
                    </a:cubicBezTo>
                    <a:cubicBezTo>
                      <a:pt x="44" y="13"/>
                      <a:pt x="44" y="13"/>
                      <a:pt x="44" y="13"/>
                    </a:cubicBezTo>
                    <a:cubicBezTo>
                      <a:pt x="44" y="13"/>
                      <a:pt x="44" y="13"/>
                      <a:pt x="44" y="13"/>
                    </a:cubicBezTo>
                    <a:cubicBezTo>
                      <a:pt x="44" y="13"/>
                      <a:pt x="44" y="13"/>
                      <a:pt x="45" y="13"/>
                    </a:cubicBezTo>
                    <a:cubicBezTo>
                      <a:pt x="44" y="13"/>
                      <a:pt x="44" y="12"/>
                      <a:pt x="44" y="12"/>
                    </a:cubicBezTo>
                    <a:cubicBezTo>
                      <a:pt x="44" y="12"/>
                      <a:pt x="44" y="12"/>
                      <a:pt x="45" y="12"/>
                    </a:cubicBezTo>
                    <a:cubicBezTo>
                      <a:pt x="44" y="12"/>
                      <a:pt x="43" y="12"/>
                      <a:pt x="42" y="12"/>
                    </a:cubicBezTo>
                    <a:cubicBezTo>
                      <a:pt x="43" y="12"/>
                      <a:pt x="44" y="12"/>
                      <a:pt x="44" y="12"/>
                    </a:cubicBezTo>
                    <a:cubicBezTo>
                      <a:pt x="44" y="12"/>
                      <a:pt x="44" y="12"/>
                      <a:pt x="44" y="12"/>
                    </a:cubicBezTo>
                    <a:cubicBezTo>
                      <a:pt x="44" y="12"/>
                      <a:pt x="45" y="12"/>
                      <a:pt x="45" y="12"/>
                    </a:cubicBezTo>
                    <a:cubicBezTo>
                      <a:pt x="45" y="12"/>
                      <a:pt x="45" y="11"/>
                      <a:pt x="44" y="11"/>
                    </a:cubicBezTo>
                    <a:cubicBezTo>
                      <a:pt x="44" y="11"/>
                      <a:pt x="44" y="11"/>
                      <a:pt x="44" y="11"/>
                    </a:cubicBezTo>
                    <a:cubicBezTo>
                      <a:pt x="44" y="11"/>
                      <a:pt x="43" y="11"/>
                      <a:pt x="43" y="11"/>
                    </a:cubicBezTo>
                    <a:cubicBezTo>
                      <a:pt x="43" y="11"/>
                      <a:pt x="43" y="11"/>
                      <a:pt x="43" y="10"/>
                    </a:cubicBezTo>
                    <a:cubicBezTo>
                      <a:pt x="43" y="10"/>
                      <a:pt x="41" y="10"/>
                      <a:pt x="40" y="10"/>
                    </a:cubicBezTo>
                    <a:cubicBezTo>
                      <a:pt x="41" y="10"/>
                      <a:pt x="42" y="10"/>
                      <a:pt x="42" y="10"/>
                    </a:cubicBezTo>
                    <a:cubicBezTo>
                      <a:pt x="42" y="10"/>
                      <a:pt x="41" y="9"/>
                      <a:pt x="40" y="9"/>
                    </a:cubicBezTo>
                    <a:cubicBezTo>
                      <a:pt x="41" y="9"/>
                      <a:pt x="42" y="10"/>
                      <a:pt x="43" y="10"/>
                    </a:cubicBezTo>
                    <a:cubicBezTo>
                      <a:pt x="43" y="9"/>
                      <a:pt x="42" y="9"/>
                      <a:pt x="42" y="9"/>
                    </a:cubicBezTo>
                    <a:cubicBezTo>
                      <a:pt x="42" y="8"/>
                      <a:pt x="42" y="8"/>
                      <a:pt x="42" y="8"/>
                    </a:cubicBezTo>
                    <a:cubicBezTo>
                      <a:pt x="42" y="8"/>
                      <a:pt x="41" y="7"/>
                      <a:pt x="40" y="7"/>
                    </a:cubicBezTo>
                    <a:cubicBezTo>
                      <a:pt x="40" y="7"/>
                      <a:pt x="40" y="7"/>
                      <a:pt x="40" y="7"/>
                    </a:cubicBezTo>
                    <a:cubicBezTo>
                      <a:pt x="41" y="7"/>
                      <a:pt x="41" y="8"/>
                      <a:pt x="42" y="8"/>
                    </a:cubicBezTo>
                    <a:cubicBezTo>
                      <a:pt x="41" y="7"/>
                      <a:pt x="41" y="7"/>
                      <a:pt x="40" y="6"/>
                    </a:cubicBezTo>
                    <a:cubicBezTo>
                      <a:pt x="41" y="6"/>
                      <a:pt x="42" y="6"/>
                      <a:pt x="42" y="6"/>
                    </a:cubicBezTo>
                    <a:cubicBezTo>
                      <a:pt x="42" y="6"/>
                      <a:pt x="42" y="5"/>
                      <a:pt x="42" y="5"/>
                    </a:cubicBezTo>
                    <a:cubicBezTo>
                      <a:pt x="43" y="6"/>
                      <a:pt x="45" y="5"/>
                      <a:pt x="45" y="5"/>
                    </a:cubicBezTo>
                    <a:cubicBezTo>
                      <a:pt x="45" y="6"/>
                      <a:pt x="45" y="6"/>
                      <a:pt x="45" y="6"/>
                    </a:cubicBezTo>
                    <a:cubicBezTo>
                      <a:pt x="46" y="6"/>
                      <a:pt x="46" y="6"/>
                      <a:pt x="46" y="6"/>
                    </a:cubicBezTo>
                    <a:cubicBezTo>
                      <a:pt x="46" y="6"/>
                      <a:pt x="46" y="5"/>
                      <a:pt x="46" y="5"/>
                    </a:cubicBezTo>
                    <a:cubicBezTo>
                      <a:pt x="46" y="6"/>
                      <a:pt x="46" y="6"/>
                      <a:pt x="46" y="6"/>
                    </a:cubicBezTo>
                    <a:cubicBezTo>
                      <a:pt x="47" y="6"/>
                      <a:pt x="47" y="6"/>
                      <a:pt x="47" y="6"/>
                    </a:cubicBezTo>
                    <a:cubicBezTo>
                      <a:pt x="47" y="6"/>
                      <a:pt x="47" y="6"/>
                      <a:pt x="47" y="6"/>
                    </a:cubicBezTo>
                    <a:cubicBezTo>
                      <a:pt x="47" y="6"/>
                      <a:pt x="47" y="6"/>
                      <a:pt x="47" y="6"/>
                    </a:cubicBezTo>
                    <a:cubicBezTo>
                      <a:pt x="47" y="5"/>
                      <a:pt x="46" y="4"/>
                      <a:pt x="46" y="3"/>
                    </a:cubicBezTo>
                    <a:cubicBezTo>
                      <a:pt x="47" y="4"/>
                      <a:pt x="48" y="5"/>
                      <a:pt x="49" y="6"/>
                    </a:cubicBezTo>
                    <a:cubicBezTo>
                      <a:pt x="49" y="6"/>
                      <a:pt x="49" y="5"/>
                      <a:pt x="49" y="5"/>
                    </a:cubicBezTo>
                    <a:cubicBezTo>
                      <a:pt x="49" y="5"/>
                      <a:pt x="50" y="5"/>
                      <a:pt x="50" y="5"/>
                    </a:cubicBezTo>
                    <a:cubicBezTo>
                      <a:pt x="50" y="5"/>
                      <a:pt x="50" y="5"/>
                      <a:pt x="50" y="5"/>
                    </a:cubicBezTo>
                    <a:cubicBezTo>
                      <a:pt x="49" y="5"/>
                      <a:pt x="49" y="4"/>
                      <a:pt x="49" y="3"/>
                    </a:cubicBezTo>
                    <a:cubicBezTo>
                      <a:pt x="49" y="4"/>
                      <a:pt x="49" y="4"/>
                      <a:pt x="49" y="4"/>
                    </a:cubicBezTo>
                    <a:cubicBezTo>
                      <a:pt x="49" y="3"/>
                      <a:pt x="49" y="2"/>
                      <a:pt x="49" y="2"/>
                    </a:cubicBezTo>
                    <a:cubicBezTo>
                      <a:pt x="49" y="2"/>
                      <a:pt x="48" y="2"/>
                      <a:pt x="47" y="1"/>
                    </a:cubicBezTo>
                    <a:cubicBezTo>
                      <a:pt x="48" y="1"/>
                      <a:pt x="49" y="2"/>
                      <a:pt x="49" y="2"/>
                    </a:cubicBezTo>
                    <a:cubicBezTo>
                      <a:pt x="49" y="1"/>
                      <a:pt x="49" y="1"/>
                      <a:pt x="48" y="0"/>
                    </a:cubicBezTo>
                    <a:cubicBezTo>
                      <a:pt x="48" y="0"/>
                      <a:pt x="48" y="0"/>
                      <a:pt x="48" y="0"/>
                    </a:cubicBezTo>
                    <a:cubicBezTo>
                      <a:pt x="50" y="2"/>
                      <a:pt x="51" y="2"/>
                      <a:pt x="53" y="2"/>
                    </a:cubicBezTo>
                    <a:cubicBezTo>
                      <a:pt x="54" y="3"/>
                      <a:pt x="54" y="3"/>
                      <a:pt x="54" y="4"/>
                    </a:cubicBezTo>
                    <a:cubicBezTo>
                      <a:pt x="54" y="4"/>
                      <a:pt x="54" y="4"/>
                      <a:pt x="55" y="4"/>
                    </a:cubicBezTo>
                    <a:cubicBezTo>
                      <a:pt x="54" y="3"/>
                      <a:pt x="55" y="1"/>
                      <a:pt x="55" y="0"/>
                    </a:cubicBezTo>
                    <a:cubicBezTo>
                      <a:pt x="56" y="2"/>
                      <a:pt x="56" y="4"/>
                      <a:pt x="56" y="6"/>
                    </a:cubicBezTo>
                    <a:cubicBezTo>
                      <a:pt x="56" y="5"/>
                      <a:pt x="56" y="5"/>
                      <a:pt x="56" y="5"/>
                    </a:cubicBezTo>
                    <a:cubicBezTo>
                      <a:pt x="56" y="5"/>
                      <a:pt x="56" y="5"/>
                      <a:pt x="56" y="5"/>
                    </a:cubicBezTo>
                    <a:cubicBezTo>
                      <a:pt x="56" y="4"/>
                      <a:pt x="56" y="3"/>
                      <a:pt x="56" y="3"/>
                    </a:cubicBezTo>
                    <a:cubicBezTo>
                      <a:pt x="56" y="3"/>
                      <a:pt x="57" y="4"/>
                      <a:pt x="57" y="4"/>
                    </a:cubicBezTo>
                    <a:cubicBezTo>
                      <a:pt x="57" y="3"/>
                      <a:pt x="57" y="2"/>
                      <a:pt x="57" y="1"/>
                    </a:cubicBezTo>
                    <a:cubicBezTo>
                      <a:pt x="58" y="2"/>
                      <a:pt x="58" y="2"/>
                      <a:pt x="58" y="3"/>
                    </a:cubicBezTo>
                    <a:cubicBezTo>
                      <a:pt x="58" y="3"/>
                      <a:pt x="58" y="3"/>
                      <a:pt x="58" y="3"/>
                    </a:cubicBezTo>
                    <a:cubicBezTo>
                      <a:pt x="58" y="3"/>
                      <a:pt x="58" y="3"/>
                      <a:pt x="58" y="3"/>
                    </a:cubicBezTo>
                    <a:cubicBezTo>
                      <a:pt x="58" y="3"/>
                      <a:pt x="58" y="2"/>
                      <a:pt x="58" y="2"/>
                    </a:cubicBezTo>
                    <a:cubicBezTo>
                      <a:pt x="58" y="2"/>
                      <a:pt x="58" y="2"/>
                      <a:pt x="58" y="3"/>
                    </a:cubicBezTo>
                    <a:cubicBezTo>
                      <a:pt x="59" y="2"/>
                      <a:pt x="59" y="1"/>
                      <a:pt x="59" y="1"/>
                    </a:cubicBezTo>
                    <a:cubicBezTo>
                      <a:pt x="59" y="1"/>
                      <a:pt x="59" y="1"/>
                      <a:pt x="59" y="1"/>
                    </a:cubicBezTo>
                    <a:cubicBezTo>
                      <a:pt x="59" y="1"/>
                      <a:pt x="59" y="1"/>
                      <a:pt x="59" y="2"/>
                    </a:cubicBezTo>
                    <a:cubicBezTo>
                      <a:pt x="59" y="2"/>
                      <a:pt x="59" y="1"/>
                      <a:pt x="59" y="1"/>
                    </a:cubicBezTo>
                    <a:cubicBezTo>
                      <a:pt x="59" y="2"/>
                      <a:pt x="59" y="2"/>
                      <a:pt x="59" y="3"/>
                    </a:cubicBezTo>
                    <a:cubicBezTo>
                      <a:pt x="59" y="3"/>
                      <a:pt x="59" y="2"/>
                      <a:pt x="59" y="2"/>
                    </a:cubicBezTo>
                    <a:cubicBezTo>
                      <a:pt x="59" y="3"/>
                      <a:pt x="59" y="3"/>
                      <a:pt x="59" y="3"/>
                    </a:cubicBezTo>
                    <a:cubicBezTo>
                      <a:pt x="59" y="3"/>
                      <a:pt x="59" y="3"/>
                      <a:pt x="60" y="3"/>
                    </a:cubicBezTo>
                    <a:cubicBezTo>
                      <a:pt x="60" y="3"/>
                      <a:pt x="59" y="4"/>
                      <a:pt x="59" y="4"/>
                    </a:cubicBezTo>
                    <a:cubicBezTo>
                      <a:pt x="60" y="3"/>
                      <a:pt x="60" y="3"/>
                      <a:pt x="61" y="2"/>
                    </a:cubicBezTo>
                    <a:cubicBezTo>
                      <a:pt x="62" y="4"/>
                      <a:pt x="62" y="6"/>
                      <a:pt x="62" y="7"/>
                    </a:cubicBezTo>
                    <a:cubicBezTo>
                      <a:pt x="63" y="7"/>
                      <a:pt x="63" y="7"/>
                      <a:pt x="64" y="7"/>
                    </a:cubicBezTo>
                    <a:cubicBezTo>
                      <a:pt x="63" y="7"/>
                      <a:pt x="63" y="7"/>
                      <a:pt x="62" y="8"/>
                    </a:cubicBezTo>
                    <a:cubicBezTo>
                      <a:pt x="63" y="7"/>
                      <a:pt x="63" y="7"/>
                      <a:pt x="64" y="7"/>
                    </a:cubicBezTo>
                    <a:cubicBezTo>
                      <a:pt x="63" y="7"/>
                      <a:pt x="62" y="8"/>
                      <a:pt x="62" y="8"/>
                    </a:cubicBezTo>
                    <a:cubicBezTo>
                      <a:pt x="62" y="8"/>
                      <a:pt x="62" y="8"/>
                      <a:pt x="62" y="8"/>
                    </a:cubicBezTo>
                    <a:cubicBezTo>
                      <a:pt x="62" y="8"/>
                      <a:pt x="63" y="8"/>
                      <a:pt x="63" y="8"/>
                    </a:cubicBezTo>
                    <a:cubicBezTo>
                      <a:pt x="63" y="8"/>
                      <a:pt x="62" y="8"/>
                      <a:pt x="62" y="8"/>
                    </a:cubicBezTo>
                    <a:cubicBezTo>
                      <a:pt x="62" y="8"/>
                      <a:pt x="62" y="8"/>
                      <a:pt x="62" y="8"/>
                    </a:cubicBezTo>
                    <a:cubicBezTo>
                      <a:pt x="62" y="8"/>
                      <a:pt x="63" y="8"/>
                      <a:pt x="63" y="8"/>
                    </a:cubicBezTo>
                    <a:cubicBezTo>
                      <a:pt x="63" y="8"/>
                      <a:pt x="62" y="8"/>
                      <a:pt x="62" y="8"/>
                    </a:cubicBezTo>
                    <a:cubicBezTo>
                      <a:pt x="62" y="8"/>
                      <a:pt x="62" y="8"/>
                      <a:pt x="62" y="8"/>
                    </a:cubicBezTo>
                    <a:cubicBezTo>
                      <a:pt x="63" y="8"/>
                      <a:pt x="63" y="8"/>
                      <a:pt x="63" y="8"/>
                    </a:cubicBezTo>
                    <a:cubicBezTo>
                      <a:pt x="63" y="8"/>
                      <a:pt x="63" y="9"/>
                      <a:pt x="63" y="10"/>
                    </a:cubicBezTo>
                    <a:cubicBezTo>
                      <a:pt x="64" y="10"/>
                      <a:pt x="64" y="8"/>
                      <a:pt x="64" y="7"/>
                    </a:cubicBezTo>
                    <a:cubicBezTo>
                      <a:pt x="64" y="8"/>
                      <a:pt x="64" y="9"/>
                      <a:pt x="64" y="9"/>
                    </a:cubicBezTo>
                    <a:cubicBezTo>
                      <a:pt x="64" y="9"/>
                      <a:pt x="64" y="9"/>
                      <a:pt x="64" y="9"/>
                    </a:cubicBezTo>
                    <a:cubicBezTo>
                      <a:pt x="64" y="9"/>
                      <a:pt x="64" y="9"/>
                      <a:pt x="64" y="9"/>
                    </a:cubicBezTo>
                    <a:cubicBezTo>
                      <a:pt x="64" y="10"/>
                      <a:pt x="64" y="10"/>
                      <a:pt x="64" y="10"/>
                    </a:cubicBezTo>
                    <a:cubicBezTo>
                      <a:pt x="64" y="10"/>
                      <a:pt x="65" y="10"/>
                      <a:pt x="65" y="9"/>
                    </a:cubicBezTo>
                    <a:cubicBezTo>
                      <a:pt x="65" y="10"/>
                      <a:pt x="65" y="10"/>
                      <a:pt x="64" y="10"/>
                    </a:cubicBezTo>
                    <a:cubicBezTo>
                      <a:pt x="65" y="10"/>
                      <a:pt x="65" y="10"/>
                      <a:pt x="65" y="10"/>
                    </a:cubicBezTo>
                    <a:cubicBezTo>
                      <a:pt x="65" y="10"/>
                      <a:pt x="65" y="10"/>
                      <a:pt x="65" y="10"/>
                    </a:cubicBezTo>
                    <a:cubicBezTo>
                      <a:pt x="65" y="10"/>
                      <a:pt x="65" y="10"/>
                      <a:pt x="65" y="10"/>
                    </a:cubicBezTo>
                    <a:cubicBezTo>
                      <a:pt x="65" y="10"/>
                      <a:pt x="65" y="10"/>
                      <a:pt x="65" y="10"/>
                    </a:cubicBezTo>
                    <a:cubicBezTo>
                      <a:pt x="65" y="10"/>
                      <a:pt x="66" y="10"/>
                      <a:pt x="66" y="9"/>
                    </a:cubicBezTo>
                    <a:cubicBezTo>
                      <a:pt x="66" y="10"/>
                      <a:pt x="66" y="10"/>
                      <a:pt x="66" y="10"/>
                    </a:cubicBezTo>
                    <a:cubicBezTo>
                      <a:pt x="67" y="10"/>
                      <a:pt x="67" y="9"/>
                      <a:pt x="68" y="9"/>
                    </a:cubicBezTo>
                    <a:cubicBezTo>
                      <a:pt x="68" y="10"/>
                      <a:pt x="68" y="10"/>
                      <a:pt x="67" y="11"/>
                    </a:cubicBezTo>
                    <a:cubicBezTo>
                      <a:pt x="68" y="11"/>
                      <a:pt x="68" y="10"/>
                      <a:pt x="68" y="10"/>
                    </a:cubicBezTo>
                    <a:cubicBezTo>
                      <a:pt x="68" y="11"/>
                      <a:pt x="68" y="11"/>
                      <a:pt x="67" y="11"/>
                    </a:cubicBezTo>
                    <a:cubicBezTo>
                      <a:pt x="68" y="11"/>
                      <a:pt x="69" y="11"/>
                      <a:pt x="70" y="11"/>
                    </a:cubicBezTo>
                    <a:cubicBezTo>
                      <a:pt x="70" y="11"/>
                      <a:pt x="70" y="11"/>
                      <a:pt x="70" y="11"/>
                    </a:cubicBezTo>
                    <a:cubicBezTo>
                      <a:pt x="70" y="11"/>
                      <a:pt x="70" y="11"/>
                      <a:pt x="71" y="11"/>
                    </a:cubicBezTo>
                    <a:cubicBezTo>
                      <a:pt x="67" y="13"/>
                      <a:pt x="68" y="12"/>
                      <a:pt x="65" y="13"/>
                    </a:cubicBezTo>
                    <a:cubicBezTo>
                      <a:pt x="65" y="13"/>
                      <a:pt x="65" y="13"/>
                      <a:pt x="66" y="13"/>
                    </a:cubicBezTo>
                    <a:cubicBezTo>
                      <a:pt x="65" y="13"/>
                      <a:pt x="65" y="13"/>
                      <a:pt x="65" y="14"/>
                    </a:cubicBezTo>
                    <a:cubicBezTo>
                      <a:pt x="67" y="13"/>
                      <a:pt x="68" y="13"/>
                      <a:pt x="70" y="13"/>
                    </a:cubicBezTo>
                    <a:cubicBezTo>
                      <a:pt x="69" y="13"/>
                      <a:pt x="69" y="14"/>
                      <a:pt x="69" y="14"/>
                    </a:cubicBezTo>
                    <a:cubicBezTo>
                      <a:pt x="69" y="14"/>
                      <a:pt x="70" y="14"/>
                      <a:pt x="70" y="14"/>
                    </a:cubicBezTo>
                    <a:cubicBezTo>
                      <a:pt x="68" y="14"/>
                      <a:pt x="67" y="14"/>
                      <a:pt x="65" y="14"/>
                    </a:cubicBezTo>
                    <a:cubicBezTo>
                      <a:pt x="64" y="14"/>
                      <a:pt x="64" y="14"/>
                      <a:pt x="64" y="15"/>
                    </a:cubicBezTo>
                    <a:cubicBezTo>
                      <a:pt x="64" y="15"/>
                      <a:pt x="64" y="15"/>
                      <a:pt x="64" y="15"/>
                    </a:cubicBezTo>
                    <a:cubicBezTo>
                      <a:pt x="64" y="15"/>
                      <a:pt x="64" y="15"/>
                      <a:pt x="64" y="15"/>
                    </a:cubicBezTo>
                    <a:cubicBezTo>
                      <a:pt x="64" y="15"/>
                      <a:pt x="65" y="15"/>
                      <a:pt x="66" y="15"/>
                    </a:cubicBezTo>
                    <a:cubicBezTo>
                      <a:pt x="65" y="15"/>
                      <a:pt x="65" y="15"/>
                      <a:pt x="65" y="15"/>
                    </a:cubicBezTo>
                    <a:cubicBezTo>
                      <a:pt x="66" y="15"/>
                      <a:pt x="67" y="15"/>
                      <a:pt x="68" y="16"/>
                    </a:cubicBezTo>
                    <a:cubicBezTo>
                      <a:pt x="66" y="16"/>
                      <a:pt x="64" y="16"/>
                      <a:pt x="62" y="16"/>
                    </a:cubicBezTo>
                    <a:cubicBezTo>
                      <a:pt x="62" y="16"/>
                      <a:pt x="62" y="17"/>
                      <a:pt x="61" y="17"/>
                    </a:cubicBezTo>
                    <a:cubicBezTo>
                      <a:pt x="63" y="17"/>
                      <a:pt x="65" y="17"/>
                      <a:pt x="67" y="17"/>
                    </a:cubicBezTo>
                    <a:cubicBezTo>
                      <a:pt x="65" y="17"/>
                      <a:pt x="64" y="17"/>
                      <a:pt x="63" y="17"/>
                    </a:cubicBezTo>
                    <a:cubicBezTo>
                      <a:pt x="63" y="18"/>
                      <a:pt x="62" y="18"/>
                      <a:pt x="62" y="18"/>
                    </a:cubicBezTo>
                    <a:cubicBezTo>
                      <a:pt x="63" y="18"/>
                      <a:pt x="64" y="18"/>
                      <a:pt x="64" y="18"/>
                    </a:cubicBezTo>
                    <a:cubicBezTo>
                      <a:pt x="64" y="18"/>
                      <a:pt x="63" y="18"/>
                      <a:pt x="62" y="19"/>
                    </a:cubicBezTo>
                    <a:cubicBezTo>
                      <a:pt x="63" y="19"/>
                      <a:pt x="63" y="19"/>
                      <a:pt x="64" y="19"/>
                    </a:cubicBezTo>
                    <a:cubicBezTo>
                      <a:pt x="62" y="19"/>
                      <a:pt x="61" y="19"/>
                      <a:pt x="62" y="21"/>
                    </a:cubicBezTo>
                    <a:cubicBezTo>
                      <a:pt x="62" y="21"/>
                      <a:pt x="63" y="21"/>
                      <a:pt x="63" y="21"/>
                    </a:cubicBezTo>
                    <a:cubicBezTo>
                      <a:pt x="63" y="21"/>
                      <a:pt x="63" y="21"/>
                      <a:pt x="63" y="21"/>
                    </a:cubicBezTo>
                    <a:cubicBezTo>
                      <a:pt x="63" y="21"/>
                      <a:pt x="63" y="21"/>
                      <a:pt x="63" y="21"/>
                    </a:cubicBezTo>
                    <a:cubicBezTo>
                      <a:pt x="63" y="21"/>
                      <a:pt x="63" y="21"/>
                      <a:pt x="63" y="21"/>
                    </a:cubicBezTo>
                    <a:cubicBezTo>
                      <a:pt x="63" y="21"/>
                      <a:pt x="64" y="21"/>
                      <a:pt x="64" y="21"/>
                    </a:cubicBezTo>
                    <a:cubicBezTo>
                      <a:pt x="63" y="21"/>
                      <a:pt x="63" y="21"/>
                      <a:pt x="63" y="21"/>
                    </a:cubicBezTo>
                    <a:cubicBezTo>
                      <a:pt x="63" y="21"/>
                      <a:pt x="62" y="22"/>
                      <a:pt x="62" y="22"/>
                    </a:cubicBezTo>
                    <a:cubicBezTo>
                      <a:pt x="63" y="23"/>
                      <a:pt x="64" y="23"/>
                      <a:pt x="64" y="23"/>
                    </a:cubicBezTo>
                    <a:cubicBezTo>
                      <a:pt x="64" y="23"/>
                      <a:pt x="63" y="23"/>
                      <a:pt x="62" y="23"/>
                    </a:cubicBezTo>
                    <a:cubicBezTo>
                      <a:pt x="62" y="23"/>
                      <a:pt x="62" y="23"/>
                      <a:pt x="62" y="23"/>
                    </a:cubicBezTo>
                    <a:cubicBezTo>
                      <a:pt x="62" y="23"/>
                      <a:pt x="62" y="23"/>
                      <a:pt x="62" y="23"/>
                    </a:cubicBezTo>
                    <a:cubicBezTo>
                      <a:pt x="62" y="23"/>
                      <a:pt x="62" y="23"/>
                      <a:pt x="62" y="23"/>
                    </a:cubicBezTo>
                    <a:cubicBezTo>
                      <a:pt x="62" y="23"/>
                      <a:pt x="62" y="23"/>
                      <a:pt x="62" y="23"/>
                    </a:cubicBezTo>
                    <a:cubicBezTo>
                      <a:pt x="62" y="23"/>
                      <a:pt x="62" y="23"/>
                      <a:pt x="62" y="23"/>
                    </a:cubicBezTo>
                    <a:cubicBezTo>
                      <a:pt x="62" y="23"/>
                      <a:pt x="62" y="23"/>
                      <a:pt x="61" y="23"/>
                    </a:cubicBezTo>
                    <a:cubicBezTo>
                      <a:pt x="61" y="24"/>
                      <a:pt x="61" y="24"/>
                      <a:pt x="61" y="24"/>
                    </a:cubicBezTo>
                    <a:cubicBezTo>
                      <a:pt x="62" y="24"/>
                      <a:pt x="63" y="24"/>
                      <a:pt x="64" y="24"/>
                    </a:cubicBezTo>
                    <a:cubicBezTo>
                      <a:pt x="63" y="24"/>
                      <a:pt x="62" y="25"/>
                      <a:pt x="62" y="25"/>
                    </a:cubicBezTo>
                    <a:cubicBezTo>
                      <a:pt x="63" y="25"/>
                      <a:pt x="63" y="25"/>
                      <a:pt x="64" y="24"/>
                    </a:cubicBezTo>
                    <a:cubicBezTo>
                      <a:pt x="64" y="24"/>
                      <a:pt x="64" y="24"/>
                      <a:pt x="64" y="24"/>
                    </a:cubicBezTo>
                    <a:cubicBezTo>
                      <a:pt x="64" y="25"/>
                      <a:pt x="64" y="25"/>
                      <a:pt x="64" y="25"/>
                    </a:cubicBezTo>
                    <a:cubicBezTo>
                      <a:pt x="64" y="25"/>
                      <a:pt x="65" y="25"/>
                      <a:pt x="65" y="25"/>
                    </a:cubicBezTo>
                    <a:cubicBezTo>
                      <a:pt x="65" y="25"/>
                      <a:pt x="65" y="25"/>
                      <a:pt x="65" y="25"/>
                    </a:cubicBezTo>
                    <a:cubicBezTo>
                      <a:pt x="65" y="25"/>
                      <a:pt x="65" y="25"/>
                      <a:pt x="65" y="25"/>
                    </a:cubicBezTo>
                    <a:cubicBezTo>
                      <a:pt x="65" y="25"/>
                      <a:pt x="65" y="25"/>
                      <a:pt x="65" y="25"/>
                    </a:cubicBezTo>
                    <a:cubicBezTo>
                      <a:pt x="65" y="25"/>
                      <a:pt x="65" y="25"/>
                      <a:pt x="65" y="24"/>
                    </a:cubicBezTo>
                    <a:cubicBezTo>
                      <a:pt x="65" y="25"/>
                      <a:pt x="65" y="25"/>
                      <a:pt x="65" y="25"/>
                    </a:cubicBezTo>
                    <a:cubicBezTo>
                      <a:pt x="65" y="25"/>
                      <a:pt x="65" y="25"/>
                      <a:pt x="65" y="25"/>
                    </a:cubicBezTo>
                    <a:cubicBezTo>
                      <a:pt x="65" y="25"/>
                      <a:pt x="65" y="25"/>
                      <a:pt x="65" y="25"/>
                    </a:cubicBezTo>
                    <a:cubicBezTo>
                      <a:pt x="66" y="25"/>
                      <a:pt x="66" y="24"/>
                      <a:pt x="66" y="23"/>
                    </a:cubicBezTo>
                    <a:cubicBezTo>
                      <a:pt x="66" y="24"/>
                      <a:pt x="66" y="24"/>
                      <a:pt x="66" y="24"/>
                    </a:cubicBezTo>
                    <a:cubicBezTo>
                      <a:pt x="67" y="24"/>
                      <a:pt x="67" y="24"/>
                      <a:pt x="67" y="23"/>
                    </a:cubicBezTo>
                    <a:cubicBezTo>
                      <a:pt x="67" y="24"/>
                      <a:pt x="67" y="24"/>
                      <a:pt x="67" y="24"/>
                    </a:cubicBezTo>
                    <a:cubicBezTo>
                      <a:pt x="67" y="24"/>
                      <a:pt x="67" y="23"/>
                      <a:pt x="67" y="23"/>
                    </a:cubicBezTo>
                    <a:cubicBezTo>
                      <a:pt x="67" y="24"/>
                      <a:pt x="67" y="24"/>
                      <a:pt x="67" y="24"/>
                    </a:cubicBezTo>
                    <a:cubicBezTo>
                      <a:pt x="67" y="24"/>
                      <a:pt x="68" y="23"/>
                      <a:pt x="68" y="23"/>
                    </a:cubicBezTo>
                    <a:cubicBezTo>
                      <a:pt x="68" y="23"/>
                      <a:pt x="68" y="22"/>
                      <a:pt x="68" y="22"/>
                    </a:cubicBezTo>
                    <a:cubicBezTo>
                      <a:pt x="68" y="22"/>
                      <a:pt x="69" y="22"/>
                      <a:pt x="69" y="22"/>
                    </a:cubicBezTo>
                    <a:cubicBezTo>
                      <a:pt x="69" y="22"/>
                      <a:pt x="69" y="22"/>
                      <a:pt x="69" y="22"/>
                    </a:cubicBezTo>
                    <a:cubicBezTo>
                      <a:pt x="69" y="22"/>
                      <a:pt x="69" y="22"/>
                      <a:pt x="69" y="22"/>
                    </a:cubicBezTo>
                    <a:cubicBezTo>
                      <a:pt x="69" y="22"/>
                      <a:pt x="69" y="23"/>
                      <a:pt x="69" y="23"/>
                    </a:cubicBezTo>
                    <a:cubicBezTo>
                      <a:pt x="69" y="23"/>
                      <a:pt x="69" y="23"/>
                      <a:pt x="69" y="23"/>
                    </a:cubicBezTo>
                    <a:cubicBezTo>
                      <a:pt x="69" y="22"/>
                      <a:pt x="70" y="22"/>
                      <a:pt x="70" y="21"/>
                    </a:cubicBezTo>
                    <a:cubicBezTo>
                      <a:pt x="70" y="22"/>
                      <a:pt x="70" y="24"/>
                      <a:pt x="69" y="25"/>
                    </a:cubicBezTo>
                    <a:cubicBezTo>
                      <a:pt x="69" y="25"/>
                      <a:pt x="69" y="25"/>
                      <a:pt x="69" y="25"/>
                    </a:cubicBezTo>
                    <a:cubicBezTo>
                      <a:pt x="69" y="25"/>
                      <a:pt x="69" y="26"/>
                      <a:pt x="69" y="27"/>
                    </a:cubicBezTo>
                    <a:cubicBezTo>
                      <a:pt x="69" y="26"/>
                      <a:pt x="70" y="26"/>
                      <a:pt x="70" y="25"/>
                    </a:cubicBezTo>
                    <a:cubicBezTo>
                      <a:pt x="70" y="25"/>
                      <a:pt x="70" y="25"/>
                      <a:pt x="71" y="25"/>
                    </a:cubicBezTo>
                    <a:cubicBezTo>
                      <a:pt x="71" y="25"/>
                      <a:pt x="71" y="24"/>
                      <a:pt x="71" y="24"/>
                    </a:cubicBezTo>
                    <a:cubicBezTo>
                      <a:pt x="71" y="24"/>
                      <a:pt x="71" y="24"/>
                      <a:pt x="70" y="25"/>
                    </a:cubicBezTo>
                    <a:cubicBezTo>
                      <a:pt x="70" y="24"/>
                      <a:pt x="71" y="23"/>
                      <a:pt x="71" y="22"/>
                    </a:cubicBezTo>
                    <a:cubicBezTo>
                      <a:pt x="71" y="22"/>
                      <a:pt x="71" y="22"/>
                      <a:pt x="71" y="22"/>
                    </a:cubicBezTo>
                    <a:cubicBezTo>
                      <a:pt x="71" y="21"/>
                      <a:pt x="71" y="21"/>
                      <a:pt x="72" y="20"/>
                    </a:cubicBezTo>
                    <a:cubicBezTo>
                      <a:pt x="72" y="21"/>
                      <a:pt x="72" y="22"/>
                      <a:pt x="71" y="23"/>
                    </a:cubicBezTo>
                    <a:cubicBezTo>
                      <a:pt x="72" y="22"/>
                      <a:pt x="72" y="21"/>
                      <a:pt x="72" y="20"/>
                    </a:cubicBezTo>
                    <a:cubicBezTo>
                      <a:pt x="72" y="20"/>
                      <a:pt x="72" y="21"/>
                      <a:pt x="72" y="21"/>
                    </a:cubicBezTo>
                    <a:cubicBezTo>
                      <a:pt x="73" y="21"/>
                      <a:pt x="73" y="21"/>
                      <a:pt x="73" y="20"/>
                    </a:cubicBezTo>
                    <a:cubicBezTo>
                      <a:pt x="73" y="20"/>
                      <a:pt x="73" y="20"/>
                      <a:pt x="73" y="21"/>
                    </a:cubicBezTo>
                    <a:cubicBezTo>
                      <a:pt x="73" y="20"/>
                      <a:pt x="73" y="20"/>
                      <a:pt x="73" y="19"/>
                    </a:cubicBezTo>
                    <a:cubicBezTo>
                      <a:pt x="73" y="20"/>
                      <a:pt x="73" y="20"/>
                      <a:pt x="73" y="21"/>
                    </a:cubicBezTo>
                    <a:cubicBezTo>
                      <a:pt x="74" y="20"/>
                      <a:pt x="74" y="19"/>
                      <a:pt x="75" y="18"/>
                    </a:cubicBezTo>
                    <a:cubicBezTo>
                      <a:pt x="75" y="18"/>
                      <a:pt x="75" y="19"/>
                      <a:pt x="75" y="20"/>
                    </a:cubicBezTo>
                    <a:cubicBezTo>
                      <a:pt x="75" y="20"/>
                      <a:pt x="75" y="20"/>
                      <a:pt x="75" y="20"/>
                    </a:cubicBezTo>
                    <a:cubicBezTo>
                      <a:pt x="75" y="19"/>
                      <a:pt x="75" y="19"/>
                      <a:pt x="75" y="19"/>
                    </a:cubicBezTo>
                    <a:cubicBezTo>
                      <a:pt x="75" y="19"/>
                      <a:pt x="75" y="19"/>
                      <a:pt x="75" y="19"/>
                    </a:cubicBezTo>
                    <a:cubicBezTo>
                      <a:pt x="76" y="18"/>
                      <a:pt x="76" y="17"/>
                      <a:pt x="76" y="16"/>
                    </a:cubicBezTo>
                    <a:cubicBezTo>
                      <a:pt x="76" y="17"/>
                      <a:pt x="76" y="19"/>
                      <a:pt x="76" y="20"/>
                    </a:cubicBezTo>
                    <a:cubicBezTo>
                      <a:pt x="77" y="19"/>
                      <a:pt x="78" y="18"/>
                      <a:pt x="79" y="17"/>
                    </a:cubicBezTo>
                    <a:cubicBezTo>
                      <a:pt x="79" y="17"/>
                      <a:pt x="79" y="18"/>
                      <a:pt x="78" y="19"/>
                    </a:cubicBezTo>
                    <a:cubicBezTo>
                      <a:pt x="79" y="18"/>
                      <a:pt x="80" y="18"/>
                      <a:pt x="80" y="18"/>
                    </a:cubicBezTo>
                    <a:cubicBezTo>
                      <a:pt x="80" y="18"/>
                      <a:pt x="80" y="19"/>
                      <a:pt x="79" y="19"/>
                    </a:cubicBezTo>
                    <a:cubicBezTo>
                      <a:pt x="79" y="19"/>
                      <a:pt x="80" y="19"/>
                      <a:pt x="80" y="19"/>
                    </a:cubicBezTo>
                    <a:cubicBezTo>
                      <a:pt x="80" y="19"/>
                      <a:pt x="80" y="19"/>
                      <a:pt x="80" y="19"/>
                    </a:cubicBezTo>
                    <a:cubicBezTo>
                      <a:pt x="81" y="19"/>
                      <a:pt x="82" y="19"/>
                      <a:pt x="83" y="18"/>
                    </a:cubicBezTo>
                    <a:cubicBezTo>
                      <a:pt x="82" y="19"/>
                      <a:pt x="82" y="19"/>
                      <a:pt x="81" y="20"/>
                    </a:cubicBezTo>
                    <a:cubicBezTo>
                      <a:pt x="81" y="20"/>
                      <a:pt x="82" y="19"/>
                      <a:pt x="82" y="19"/>
                    </a:cubicBezTo>
                    <a:cubicBezTo>
                      <a:pt x="82" y="19"/>
                      <a:pt x="82" y="20"/>
                      <a:pt x="82" y="20"/>
                    </a:cubicBezTo>
                    <a:cubicBezTo>
                      <a:pt x="82" y="20"/>
                      <a:pt x="82" y="20"/>
                      <a:pt x="82" y="20"/>
                    </a:cubicBezTo>
                    <a:cubicBezTo>
                      <a:pt x="81" y="20"/>
                      <a:pt x="80" y="21"/>
                      <a:pt x="79" y="21"/>
                    </a:cubicBezTo>
                    <a:cubicBezTo>
                      <a:pt x="80" y="21"/>
                      <a:pt x="81" y="21"/>
                      <a:pt x="82" y="21"/>
                    </a:cubicBezTo>
                    <a:cubicBezTo>
                      <a:pt x="81" y="21"/>
                      <a:pt x="80" y="22"/>
                      <a:pt x="80" y="22"/>
                    </a:cubicBezTo>
                    <a:cubicBezTo>
                      <a:pt x="81" y="22"/>
                      <a:pt x="81" y="22"/>
                      <a:pt x="82" y="22"/>
                    </a:cubicBezTo>
                    <a:cubicBezTo>
                      <a:pt x="81" y="22"/>
                      <a:pt x="80" y="22"/>
                      <a:pt x="79" y="22"/>
                    </a:cubicBezTo>
                    <a:cubicBezTo>
                      <a:pt x="80" y="22"/>
                      <a:pt x="81" y="22"/>
                      <a:pt x="82" y="22"/>
                    </a:cubicBezTo>
                    <a:cubicBezTo>
                      <a:pt x="81" y="22"/>
                      <a:pt x="80" y="22"/>
                      <a:pt x="80" y="23"/>
                    </a:cubicBezTo>
                    <a:cubicBezTo>
                      <a:pt x="80" y="23"/>
                      <a:pt x="81" y="23"/>
                      <a:pt x="82" y="23"/>
                    </a:cubicBezTo>
                    <a:cubicBezTo>
                      <a:pt x="81" y="23"/>
                      <a:pt x="80" y="23"/>
                      <a:pt x="79" y="24"/>
                    </a:cubicBezTo>
                    <a:cubicBezTo>
                      <a:pt x="79" y="24"/>
                      <a:pt x="80" y="24"/>
                      <a:pt x="80" y="24"/>
                    </a:cubicBezTo>
                    <a:cubicBezTo>
                      <a:pt x="79" y="24"/>
                      <a:pt x="75" y="23"/>
                      <a:pt x="74" y="25"/>
                    </a:cubicBezTo>
                    <a:cubicBezTo>
                      <a:pt x="76" y="25"/>
                      <a:pt x="78" y="25"/>
                      <a:pt x="80" y="25"/>
                    </a:cubicBezTo>
                    <a:cubicBezTo>
                      <a:pt x="78" y="25"/>
                      <a:pt x="74" y="24"/>
                      <a:pt x="73" y="25"/>
                    </a:cubicBezTo>
                    <a:cubicBezTo>
                      <a:pt x="73" y="25"/>
                      <a:pt x="73" y="25"/>
                      <a:pt x="74" y="25"/>
                    </a:cubicBezTo>
                    <a:cubicBezTo>
                      <a:pt x="74" y="25"/>
                      <a:pt x="74" y="25"/>
                      <a:pt x="74" y="26"/>
                    </a:cubicBezTo>
                    <a:cubicBezTo>
                      <a:pt x="75" y="25"/>
                      <a:pt x="76" y="25"/>
                      <a:pt x="78" y="25"/>
                    </a:cubicBezTo>
                    <a:cubicBezTo>
                      <a:pt x="78" y="25"/>
                      <a:pt x="78" y="25"/>
                      <a:pt x="77" y="26"/>
                    </a:cubicBezTo>
                    <a:cubicBezTo>
                      <a:pt x="78" y="26"/>
                      <a:pt x="79" y="26"/>
                      <a:pt x="79" y="26"/>
                    </a:cubicBezTo>
                    <a:cubicBezTo>
                      <a:pt x="79" y="26"/>
                      <a:pt x="78" y="26"/>
                      <a:pt x="77" y="26"/>
                    </a:cubicBezTo>
                    <a:cubicBezTo>
                      <a:pt x="77" y="26"/>
                      <a:pt x="77" y="26"/>
                      <a:pt x="77" y="26"/>
                    </a:cubicBezTo>
                    <a:cubicBezTo>
                      <a:pt x="77" y="26"/>
                      <a:pt x="77" y="27"/>
                      <a:pt x="76" y="27"/>
                    </a:cubicBezTo>
                    <a:cubicBezTo>
                      <a:pt x="77" y="27"/>
                      <a:pt x="78" y="27"/>
                      <a:pt x="79" y="28"/>
                    </a:cubicBezTo>
                    <a:cubicBezTo>
                      <a:pt x="78" y="28"/>
                      <a:pt x="77" y="27"/>
                      <a:pt x="77" y="27"/>
                    </a:cubicBezTo>
                    <a:cubicBezTo>
                      <a:pt x="77" y="27"/>
                      <a:pt x="77" y="27"/>
                      <a:pt x="77" y="27"/>
                    </a:cubicBezTo>
                    <a:cubicBezTo>
                      <a:pt x="77" y="28"/>
                      <a:pt x="77" y="28"/>
                      <a:pt x="77" y="28"/>
                    </a:cubicBezTo>
                    <a:cubicBezTo>
                      <a:pt x="76" y="28"/>
                      <a:pt x="75" y="28"/>
                      <a:pt x="74" y="28"/>
                    </a:cubicBezTo>
                    <a:cubicBezTo>
                      <a:pt x="75" y="28"/>
                      <a:pt x="76" y="28"/>
                      <a:pt x="76" y="28"/>
                    </a:cubicBezTo>
                    <a:cubicBezTo>
                      <a:pt x="75" y="28"/>
                      <a:pt x="74" y="28"/>
                      <a:pt x="73" y="28"/>
                    </a:cubicBezTo>
                    <a:cubicBezTo>
                      <a:pt x="74" y="29"/>
                      <a:pt x="75" y="29"/>
                      <a:pt x="76" y="29"/>
                    </a:cubicBezTo>
                    <a:cubicBezTo>
                      <a:pt x="74" y="29"/>
                      <a:pt x="72" y="29"/>
                      <a:pt x="71" y="29"/>
                    </a:cubicBezTo>
                    <a:cubicBezTo>
                      <a:pt x="71" y="29"/>
                      <a:pt x="71" y="29"/>
                      <a:pt x="71" y="29"/>
                    </a:cubicBezTo>
                    <a:cubicBezTo>
                      <a:pt x="71" y="29"/>
                      <a:pt x="73" y="29"/>
                      <a:pt x="74" y="30"/>
                    </a:cubicBezTo>
                    <a:cubicBezTo>
                      <a:pt x="73" y="30"/>
                      <a:pt x="73" y="30"/>
                      <a:pt x="73" y="30"/>
                    </a:cubicBezTo>
                    <a:cubicBezTo>
                      <a:pt x="73" y="30"/>
                      <a:pt x="74" y="30"/>
                      <a:pt x="74" y="30"/>
                    </a:cubicBezTo>
                    <a:cubicBezTo>
                      <a:pt x="73" y="30"/>
                      <a:pt x="73" y="30"/>
                      <a:pt x="72" y="30"/>
                    </a:cubicBezTo>
                    <a:cubicBezTo>
                      <a:pt x="73" y="30"/>
                      <a:pt x="74" y="30"/>
                      <a:pt x="74" y="30"/>
                    </a:cubicBezTo>
                    <a:cubicBezTo>
                      <a:pt x="73" y="30"/>
                      <a:pt x="72" y="30"/>
                      <a:pt x="71" y="30"/>
                    </a:cubicBezTo>
                    <a:cubicBezTo>
                      <a:pt x="72" y="30"/>
                      <a:pt x="72" y="30"/>
                      <a:pt x="72" y="31"/>
                    </a:cubicBezTo>
                    <a:cubicBezTo>
                      <a:pt x="71" y="31"/>
                      <a:pt x="69" y="29"/>
                      <a:pt x="67" y="30"/>
                    </a:cubicBezTo>
                    <a:cubicBezTo>
                      <a:pt x="67" y="30"/>
                      <a:pt x="68" y="30"/>
                      <a:pt x="68" y="31"/>
                    </a:cubicBezTo>
                    <a:cubicBezTo>
                      <a:pt x="68" y="31"/>
                      <a:pt x="67" y="31"/>
                      <a:pt x="67" y="31"/>
                    </a:cubicBezTo>
                    <a:cubicBezTo>
                      <a:pt x="68" y="31"/>
                      <a:pt x="68" y="31"/>
                      <a:pt x="69" y="31"/>
                    </a:cubicBezTo>
                    <a:cubicBezTo>
                      <a:pt x="69" y="31"/>
                      <a:pt x="69" y="31"/>
                      <a:pt x="69" y="31"/>
                    </a:cubicBezTo>
                    <a:cubicBezTo>
                      <a:pt x="70" y="32"/>
                      <a:pt x="70" y="32"/>
                      <a:pt x="71" y="32"/>
                    </a:cubicBezTo>
                    <a:cubicBezTo>
                      <a:pt x="70" y="32"/>
                      <a:pt x="68" y="31"/>
                      <a:pt x="67" y="32"/>
                    </a:cubicBezTo>
                    <a:cubicBezTo>
                      <a:pt x="68" y="32"/>
                      <a:pt x="69" y="32"/>
                      <a:pt x="70" y="33"/>
                    </a:cubicBezTo>
                    <a:cubicBezTo>
                      <a:pt x="69" y="33"/>
                      <a:pt x="68" y="33"/>
                      <a:pt x="66" y="33"/>
                    </a:cubicBezTo>
                    <a:cubicBezTo>
                      <a:pt x="67" y="33"/>
                      <a:pt x="67" y="33"/>
                      <a:pt x="67" y="33"/>
                    </a:cubicBezTo>
                    <a:cubicBezTo>
                      <a:pt x="67" y="33"/>
                      <a:pt x="66" y="33"/>
                      <a:pt x="66" y="33"/>
                    </a:cubicBezTo>
                    <a:cubicBezTo>
                      <a:pt x="67" y="33"/>
                      <a:pt x="68" y="34"/>
                      <a:pt x="69" y="34"/>
                    </a:cubicBezTo>
                    <a:cubicBezTo>
                      <a:pt x="68" y="34"/>
                      <a:pt x="68" y="34"/>
                      <a:pt x="68" y="34"/>
                    </a:cubicBezTo>
                    <a:cubicBezTo>
                      <a:pt x="68" y="34"/>
                      <a:pt x="68" y="34"/>
                      <a:pt x="68" y="34"/>
                    </a:cubicBezTo>
                    <a:cubicBezTo>
                      <a:pt x="63" y="34"/>
                      <a:pt x="61" y="32"/>
                      <a:pt x="60" y="34"/>
                    </a:cubicBezTo>
                    <a:cubicBezTo>
                      <a:pt x="62" y="34"/>
                      <a:pt x="64" y="35"/>
                      <a:pt x="66" y="35"/>
                    </a:cubicBezTo>
                    <a:cubicBezTo>
                      <a:pt x="65" y="36"/>
                      <a:pt x="64" y="35"/>
                      <a:pt x="63" y="36"/>
                    </a:cubicBezTo>
                    <a:cubicBezTo>
                      <a:pt x="63" y="36"/>
                      <a:pt x="64" y="36"/>
                      <a:pt x="65" y="36"/>
                    </a:cubicBezTo>
                    <a:cubicBezTo>
                      <a:pt x="64" y="36"/>
                      <a:pt x="62" y="36"/>
                      <a:pt x="61" y="36"/>
                    </a:cubicBezTo>
                    <a:cubicBezTo>
                      <a:pt x="62" y="36"/>
                      <a:pt x="63" y="37"/>
                      <a:pt x="64" y="37"/>
                    </a:cubicBezTo>
                    <a:cubicBezTo>
                      <a:pt x="62" y="37"/>
                      <a:pt x="60" y="36"/>
                      <a:pt x="59" y="37"/>
                    </a:cubicBezTo>
                    <a:cubicBezTo>
                      <a:pt x="59" y="37"/>
                      <a:pt x="59" y="37"/>
                      <a:pt x="59" y="37"/>
                    </a:cubicBezTo>
                    <a:cubicBezTo>
                      <a:pt x="59" y="37"/>
                      <a:pt x="58" y="37"/>
                      <a:pt x="58" y="37"/>
                    </a:cubicBezTo>
                    <a:cubicBezTo>
                      <a:pt x="58" y="37"/>
                      <a:pt x="58" y="37"/>
                      <a:pt x="58" y="37"/>
                    </a:cubicBezTo>
                    <a:cubicBezTo>
                      <a:pt x="59" y="37"/>
                      <a:pt x="61" y="37"/>
                      <a:pt x="62" y="38"/>
                    </a:cubicBezTo>
                    <a:cubicBezTo>
                      <a:pt x="61" y="38"/>
                      <a:pt x="59" y="38"/>
                      <a:pt x="58" y="38"/>
                    </a:cubicBezTo>
                    <a:cubicBezTo>
                      <a:pt x="58" y="38"/>
                      <a:pt x="58" y="39"/>
                      <a:pt x="58" y="40"/>
                    </a:cubicBezTo>
                    <a:cubicBezTo>
                      <a:pt x="58" y="40"/>
                      <a:pt x="58" y="40"/>
                      <a:pt x="59" y="39"/>
                    </a:cubicBezTo>
                    <a:cubicBezTo>
                      <a:pt x="58" y="40"/>
                      <a:pt x="58" y="40"/>
                      <a:pt x="58" y="40"/>
                    </a:cubicBezTo>
                    <a:cubicBezTo>
                      <a:pt x="58" y="40"/>
                      <a:pt x="59" y="40"/>
                      <a:pt x="59" y="40"/>
                    </a:cubicBezTo>
                    <a:cubicBezTo>
                      <a:pt x="59" y="40"/>
                      <a:pt x="59" y="40"/>
                      <a:pt x="58" y="41"/>
                    </a:cubicBezTo>
                    <a:cubicBezTo>
                      <a:pt x="59" y="40"/>
                      <a:pt x="59" y="40"/>
                      <a:pt x="59" y="40"/>
                    </a:cubicBezTo>
                    <a:cubicBezTo>
                      <a:pt x="59" y="40"/>
                      <a:pt x="59" y="40"/>
                      <a:pt x="59" y="40"/>
                    </a:cubicBezTo>
                    <a:cubicBezTo>
                      <a:pt x="59" y="40"/>
                      <a:pt x="59" y="40"/>
                      <a:pt x="59" y="40"/>
                    </a:cubicBezTo>
                    <a:cubicBezTo>
                      <a:pt x="59" y="40"/>
                      <a:pt x="59" y="40"/>
                      <a:pt x="59" y="40"/>
                    </a:cubicBezTo>
                    <a:cubicBezTo>
                      <a:pt x="60" y="40"/>
                      <a:pt x="60" y="40"/>
                      <a:pt x="60" y="40"/>
                    </a:cubicBezTo>
                    <a:cubicBezTo>
                      <a:pt x="60" y="39"/>
                      <a:pt x="60" y="39"/>
                      <a:pt x="60" y="38"/>
                    </a:cubicBezTo>
                    <a:cubicBezTo>
                      <a:pt x="60" y="39"/>
                      <a:pt x="60" y="39"/>
                      <a:pt x="60" y="40"/>
                    </a:cubicBezTo>
                    <a:cubicBezTo>
                      <a:pt x="60" y="40"/>
                      <a:pt x="60" y="40"/>
                      <a:pt x="61" y="40"/>
                    </a:cubicBezTo>
                    <a:cubicBezTo>
                      <a:pt x="60" y="40"/>
                      <a:pt x="60" y="40"/>
                      <a:pt x="60" y="40"/>
                    </a:cubicBezTo>
                    <a:cubicBezTo>
                      <a:pt x="60" y="41"/>
                      <a:pt x="60" y="41"/>
                      <a:pt x="60" y="41"/>
                    </a:cubicBezTo>
                    <a:cubicBezTo>
                      <a:pt x="60" y="41"/>
                      <a:pt x="61" y="41"/>
                      <a:pt x="61" y="41"/>
                    </a:cubicBezTo>
                    <a:cubicBezTo>
                      <a:pt x="61" y="40"/>
                      <a:pt x="61" y="40"/>
                      <a:pt x="61" y="39"/>
                    </a:cubicBezTo>
                    <a:cubicBezTo>
                      <a:pt x="61" y="39"/>
                      <a:pt x="62" y="40"/>
                      <a:pt x="62" y="40"/>
                    </a:cubicBezTo>
                    <a:cubicBezTo>
                      <a:pt x="63" y="40"/>
                      <a:pt x="63" y="40"/>
                      <a:pt x="63" y="39"/>
                    </a:cubicBezTo>
                    <a:cubicBezTo>
                      <a:pt x="63" y="40"/>
                      <a:pt x="63" y="40"/>
                      <a:pt x="63" y="40"/>
                    </a:cubicBezTo>
                    <a:cubicBezTo>
                      <a:pt x="63" y="40"/>
                      <a:pt x="63" y="40"/>
                      <a:pt x="63" y="40"/>
                    </a:cubicBezTo>
                    <a:cubicBezTo>
                      <a:pt x="63" y="39"/>
                      <a:pt x="63" y="39"/>
                      <a:pt x="63" y="39"/>
                    </a:cubicBezTo>
                    <a:cubicBezTo>
                      <a:pt x="64" y="39"/>
                      <a:pt x="64" y="39"/>
                      <a:pt x="64" y="39"/>
                    </a:cubicBezTo>
                    <a:cubicBezTo>
                      <a:pt x="64" y="39"/>
                      <a:pt x="64" y="38"/>
                      <a:pt x="64" y="38"/>
                    </a:cubicBezTo>
                    <a:cubicBezTo>
                      <a:pt x="65" y="38"/>
                      <a:pt x="65" y="38"/>
                      <a:pt x="65" y="38"/>
                    </a:cubicBezTo>
                    <a:cubicBezTo>
                      <a:pt x="65" y="38"/>
                      <a:pt x="65" y="39"/>
                      <a:pt x="65" y="39"/>
                    </a:cubicBezTo>
                    <a:cubicBezTo>
                      <a:pt x="65" y="39"/>
                      <a:pt x="65" y="39"/>
                      <a:pt x="65" y="39"/>
                    </a:cubicBezTo>
                    <a:cubicBezTo>
                      <a:pt x="65" y="39"/>
                      <a:pt x="65" y="39"/>
                      <a:pt x="65" y="39"/>
                    </a:cubicBezTo>
                    <a:cubicBezTo>
                      <a:pt x="65" y="39"/>
                      <a:pt x="66" y="39"/>
                      <a:pt x="66" y="39"/>
                    </a:cubicBezTo>
                    <a:cubicBezTo>
                      <a:pt x="66" y="39"/>
                      <a:pt x="66" y="38"/>
                      <a:pt x="66" y="38"/>
                    </a:cubicBezTo>
                    <a:cubicBezTo>
                      <a:pt x="67" y="38"/>
                      <a:pt x="67" y="38"/>
                      <a:pt x="67" y="39"/>
                    </a:cubicBezTo>
                    <a:cubicBezTo>
                      <a:pt x="67" y="39"/>
                      <a:pt x="67" y="39"/>
                      <a:pt x="67" y="39"/>
                    </a:cubicBezTo>
                    <a:cubicBezTo>
                      <a:pt x="67" y="38"/>
                      <a:pt x="68" y="38"/>
                      <a:pt x="68" y="38"/>
                    </a:cubicBezTo>
                    <a:cubicBezTo>
                      <a:pt x="68" y="38"/>
                      <a:pt x="68" y="38"/>
                      <a:pt x="68" y="39"/>
                    </a:cubicBezTo>
                    <a:cubicBezTo>
                      <a:pt x="68" y="38"/>
                      <a:pt x="69" y="38"/>
                      <a:pt x="69" y="38"/>
                    </a:cubicBezTo>
                    <a:cubicBezTo>
                      <a:pt x="69" y="37"/>
                      <a:pt x="70" y="37"/>
                      <a:pt x="70" y="36"/>
                    </a:cubicBezTo>
                    <a:cubicBezTo>
                      <a:pt x="70" y="36"/>
                      <a:pt x="70" y="36"/>
                      <a:pt x="70" y="36"/>
                    </a:cubicBezTo>
                    <a:cubicBezTo>
                      <a:pt x="70" y="36"/>
                      <a:pt x="70" y="37"/>
                      <a:pt x="70" y="38"/>
                    </a:cubicBezTo>
                    <a:cubicBezTo>
                      <a:pt x="71" y="37"/>
                      <a:pt x="70" y="35"/>
                      <a:pt x="70" y="34"/>
                    </a:cubicBezTo>
                    <a:cubicBezTo>
                      <a:pt x="71" y="35"/>
                      <a:pt x="72" y="35"/>
                      <a:pt x="73" y="36"/>
                    </a:cubicBezTo>
                    <a:cubicBezTo>
                      <a:pt x="73" y="36"/>
                      <a:pt x="73" y="36"/>
                      <a:pt x="73" y="36"/>
                    </a:cubicBezTo>
                    <a:cubicBezTo>
                      <a:pt x="73" y="36"/>
                      <a:pt x="73" y="36"/>
                      <a:pt x="73" y="36"/>
                    </a:cubicBezTo>
                    <a:cubicBezTo>
                      <a:pt x="73" y="36"/>
                      <a:pt x="73" y="36"/>
                      <a:pt x="73" y="36"/>
                    </a:cubicBezTo>
                    <a:cubicBezTo>
                      <a:pt x="73" y="36"/>
                      <a:pt x="73" y="36"/>
                      <a:pt x="74" y="36"/>
                    </a:cubicBezTo>
                    <a:cubicBezTo>
                      <a:pt x="73" y="36"/>
                      <a:pt x="73" y="37"/>
                      <a:pt x="73" y="37"/>
                    </a:cubicBezTo>
                    <a:cubicBezTo>
                      <a:pt x="74" y="37"/>
                      <a:pt x="76" y="37"/>
                      <a:pt x="77" y="36"/>
                    </a:cubicBezTo>
                    <a:cubicBezTo>
                      <a:pt x="77" y="36"/>
                      <a:pt x="77" y="36"/>
                      <a:pt x="77" y="36"/>
                    </a:cubicBezTo>
                    <a:cubicBezTo>
                      <a:pt x="77" y="36"/>
                      <a:pt x="77" y="36"/>
                      <a:pt x="77" y="36"/>
                    </a:cubicBezTo>
                    <a:cubicBezTo>
                      <a:pt x="77" y="36"/>
                      <a:pt x="77" y="36"/>
                      <a:pt x="77" y="36"/>
                    </a:cubicBezTo>
                    <a:cubicBezTo>
                      <a:pt x="76" y="34"/>
                      <a:pt x="76" y="33"/>
                      <a:pt x="75" y="32"/>
                    </a:cubicBezTo>
                    <a:cubicBezTo>
                      <a:pt x="75" y="32"/>
                      <a:pt x="75" y="32"/>
                      <a:pt x="75" y="32"/>
                    </a:cubicBezTo>
                    <a:cubicBezTo>
                      <a:pt x="76" y="33"/>
                      <a:pt x="77" y="34"/>
                      <a:pt x="78" y="35"/>
                    </a:cubicBezTo>
                    <a:cubicBezTo>
                      <a:pt x="78" y="35"/>
                      <a:pt x="78" y="35"/>
                      <a:pt x="78" y="35"/>
                    </a:cubicBezTo>
                    <a:cubicBezTo>
                      <a:pt x="78" y="35"/>
                      <a:pt x="78" y="35"/>
                      <a:pt x="78" y="34"/>
                    </a:cubicBezTo>
                    <a:cubicBezTo>
                      <a:pt x="78" y="34"/>
                      <a:pt x="78" y="34"/>
                      <a:pt x="78" y="34"/>
                    </a:cubicBezTo>
                    <a:cubicBezTo>
                      <a:pt x="78" y="34"/>
                      <a:pt x="78" y="34"/>
                      <a:pt x="78" y="34"/>
                    </a:cubicBezTo>
                    <a:cubicBezTo>
                      <a:pt x="79" y="34"/>
                      <a:pt x="79" y="33"/>
                      <a:pt x="80" y="32"/>
                    </a:cubicBezTo>
                    <a:cubicBezTo>
                      <a:pt x="79" y="32"/>
                      <a:pt x="79" y="33"/>
                      <a:pt x="79" y="33"/>
                    </a:cubicBezTo>
                    <a:cubicBezTo>
                      <a:pt x="80" y="32"/>
                      <a:pt x="81" y="31"/>
                      <a:pt x="82" y="29"/>
                    </a:cubicBezTo>
                    <a:cubicBezTo>
                      <a:pt x="81" y="31"/>
                      <a:pt x="80" y="33"/>
                      <a:pt x="79" y="34"/>
                    </a:cubicBezTo>
                    <a:cubicBezTo>
                      <a:pt x="79" y="34"/>
                      <a:pt x="79" y="34"/>
                      <a:pt x="79" y="34"/>
                    </a:cubicBezTo>
                    <a:cubicBezTo>
                      <a:pt x="79" y="34"/>
                      <a:pt x="79" y="34"/>
                      <a:pt x="79" y="34"/>
                    </a:cubicBezTo>
                    <a:cubicBezTo>
                      <a:pt x="80" y="35"/>
                      <a:pt x="81" y="35"/>
                      <a:pt x="83" y="35"/>
                    </a:cubicBezTo>
                    <a:cubicBezTo>
                      <a:pt x="82" y="35"/>
                      <a:pt x="82" y="35"/>
                      <a:pt x="81" y="35"/>
                    </a:cubicBezTo>
                    <a:cubicBezTo>
                      <a:pt x="81" y="35"/>
                      <a:pt x="81" y="35"/>
                      <a:pt x="81" y="35"/>
                    </a:cubicBezTo>
                    <a:cubicBezTo>
                      <a:pt x="80" y="35"/>
                      <a:pt x="80" y="36"/>
                      <a:pt x="80" y="36"/>
                    </a:cubicBezTo>
                    <a:cubicBezTo>
                      <a:pt x="79" y="36"/>
                      <a:pt x="78" y="36"/>
                      <a:pt x="78" y="37"/>
                    </a:cubicBezTo>
                    <a:cubicBezTo>
                      <a:pt x="78" y="37"/>
                      <a:pt x="78" y="37"/>
                      <a:pt x="78" y="37"/>
                    </a:cubicBezTo>
                    <a:cubicBezTo>
                      <a:pt x="78" y="37"/>
                      <a:pt x="79" y="37"/>
                      <a:pt x="79" y="36"/>
                    </a:cubicBezTo>
                    <a:cubicBezTo>
                      <a:pt x="79" y="37"/>
                      <a:pt x="79" y="37"/>
                      <a:pt x="78" y="37"/>
                    </a:cubicBezTo>
                    <a:cubicBezTo>
                      <a:pt x="79" y="37"/>
                      <a:pt x="79" y="37"/>
                      <a:pt x="79" y="36"/>
                    </a:cubicBezTo>
                    <a:cubicBezTo>
                      <a:pt x="79" y="37"/>
                      <a:pt x="79" y="37"/>
                      <a:pt x="79" y="38"/>
                    </a:cubicBezTo>
                    <a:cubicBezTo>
                      <a:pt x="79" y="38"/>
                      <a:pt x="79" y="38"/>
                      <a:pt x="79" y="38"/>
                    </a:cubicBezTo>
                    <a:cubicBezTo>
                      <a:pt x="79" y="38"/>
                      <a:pt x="79" y="37"/>
                      <a:pt x="79" y="37"/>
                    </a:cubicBezTo>
                    <a:cubicBezTo>
                      <a:pt x="79" y="37"/>
                      <a:pt x="79" y="38"/>
                      <a:pt x="79" y="38"/>
                    </a:cubicBezTo>
                    <a:cubicBezTo>
                      <a:pt x="79" y="38"/>
                      <a:pt x="80" y="37"/>
                      <a:pt x="80" y="37"/>
                    </a:cubicBezTo>
                    <a:cubicBezTo>
                      <a:pt x="80" y="38"/>
                      <a:pt x="79" y="38"/>
                      <a:pt x="79" y="38"/>
                    </a:cubicBezTo>
                    <a:cubicBezTo>
                      <a:pt x="79" y="38"/>
                      <a:pt x="80" y="38"/>
                      <a:pt x="80" y="38"/>
                    </a:cubicBezTo>
                    <a:cubicBezTo>
                      <a:pt x="80" y="38"/>
                      <a:pt x="80" y="38"/>
                      <a:pt x="80" y="38"/>
                    </a:cubicBezTo>
                    <a:cubicBezTo>
                      <a:pt x="80" y="38"/>
                      <a:pt x="80" y="38"/>
                      <a:pt x="80" y="38"/>
                    </a:cubicBezTo>
                    <a:cubicBezTo>
                      <a:pt x="80" y="38"/>
                      <a:pt x="80" y="39"/>
                      <a:pt x="80" y="39"/>
                    </a:cubicBezTo>
                    <a:cubicBezTo>
                      <a:pt x="80" y="39"/>
                      <a:pt x="80" y="39"/>
                      <a:pt x="80" y="39"/>
                    </a:cubicBezTo>
                    <a:cubicBezTo>
                      <a:pt x="80" y="39"/>
                      <a:pt x="80" y="39"/>
                      <a:pt x="80" y="39"/>
                    </a:cubicBezTo>
                    <a:cubicBezTo>
                      <a:pt x="80" y="39"/>
                      <a:pt x="80" y="39"/>
                      <a:pt x="80" y="39"/>
                    </a:cubicBezTo>
                    <a:cubicBezTo>
                      <a:pt x="80" y="39"/>
                      <a:pt x="80" y="39"/>
                      <a:pt x="80" y="39"/>
                    </a:cubicBezTo>
                    <a:cubicBezTo>
                      <a:pt x="80" y="39"/>
                      <a:pt x="80" y="39"/>
                      <a:pt x="80" y="39"/>
                    </a:cubicBezTo>
                    <a:cubicBezTo>
                      <a:pt x="81" y="39"/>
                      <a:pt x="81" y="40"/>
                      <a:pt x="81" y="40"/>
                    </a:cubicBezTo>
                    <a:cubicBezTo>
                      <a:pt x="81" y="40"/>
                      <a:pt x="80" y="39"/>
                      <a:pt x="80" y="39"/>
                    </a:cubicBezTo>
                    <a:cubicBezTo>
                      <a:pt x="80" y="40"/>
                      <a:pt x="79" y="41"/>
                      <a:pt x="79" y="41"/>
                    </a:cubicBezTo>
                    <a:cubicBezTo>
                      <a:pt x="79" y="41"/>
                      <a:pt x="79" y="41"/>
                      <a:pt x="79" y="41"/>
                    </a:cubicBezTo>
                    <a:cubicBezTo>
                      <a:pt x="79" y="41"/>
                      <a:pt x="79" y="41"/>
                      <a:pt x="79" y="41"/>
                    </a:cubicBezTo>
                    <a:cubicBezTo>
                      <a:pt x="81" y="41"/>
                      <a:pt x="81" y="40"/>
                      <a:pt x="83" y="39"/>
                    </a:cubicBezTo>
                    <a:cubicBezTo>
                      <a:pt x="82" y="39"/>
                      <a:pt x="82" y="40"/>
                      <a:pt x="81" y="40"/>
                    </a:cubicBezTo>
                    <a:cubicBezTo>
                      <a:pt x="82" y="40"/>
                      <a:pt x="83" y="39"/>
                      <a:pt x="84" y="38"/>
                    </a:cubicBezTo>
                    <a:cubicBezTo>
                      <a:pt x="84" y="39"/>
                      <a:pt x="83" y="39"/>
                      <a:pt x="83" y="39"/>
                    </a:cubicBezTo>
                    <a:cubicBezTo>
                      <a:pt x="84" y="39"/>
                      <a:pt x="84" y="38"/>
                      <a:pt x="84" y="38"/>
                    </a:cubicBezTo>
                    <a:cubicBezTo>
                      <a:pt x="83" y="39"/>
                      <a:pt x="83" y="40"/>
                      <a:pt x="82" y="40"/>
                    </a:cubicBezTo>
                    <a:cubicBezTo>
                      <a:pt x="82" y="40"/>
                      <a:pt x="83" y="40"/>
                      <a:pt x="83" y="40"/>
                    </a:cubicBezTo>
                    <a:cubicBezTo>
                      <a:pt x="83" y="40"/>
                      <a:pt x="84" y="39"/>
                      <a:pt x="85" y="38"/>
                    </a:cubicBezTo>
                    <a:cubicBezTo>
                      <a:pt x="84" y="39"/>
                      <a:pt x="83" y="40"/>
                      <a:pt x="83" y="40"/>
                    </a:cubicBezTo>
                    <a:cubicBezTo>
                      <a:pt x="85" y="40"/>
                      <a:pt x="86" y="39"/>
                      <a:pt x="87" y="38"/>
                    </a:cubicBezTo>
                    <a:cubicBezTo>
                      <a:pt x="87" y="39"/>
                      <a:pt x="86" y="40"/>
                      <a:pt x="86" y="40"/>
                    </a:cubicBezTo>
                    <a:cubicBezTo>
                      <a:pt x="86" y="40"/>
                      <a:pt x="87" y="39"/>
                      <a:pt x="88" y="39"/>
                    </a:cubicBezTo>
                    <a:cubicBezTo>
                      <a:pt x="88" y="39"/>
                      <a:pt x="87" y="40"/>
                      <a:pt x="87" y="40"/>
                    </a:cubicBezTo>
                    <a:cubicBezTo>
                      <a:pt x="87" y="40"/>
                      <a:pt x="87" y="40"/>
                      <a:pt x="87" y="40"/>
                    </a:cubicBezTo>
                    <a:cubicBezTo>
                      <a:pt x="87" y="40"/>
                      <a:pt x="87" y="41"/>
                      <a:pt x="86" y="41"/>
                    </a:cubicBezTo>
                    <a:cubicBezTo>
                      <a:pt x="87" y="41"/>
                      <a:pt x="89" y="38"/>
                      <a:pt x="90" y="37"/>
                    </a:cubicBezTo>
                    <a:cubicBezTo>
                      <a:pt x="90" y="37"/>
                      <a:pt x="90" y="37"/>
                      <a:pt x="90" y="37"/>
                    </a:cubicBezTo>
                    <a:cubicBezTo>
                      <a:pt x="89" y="38"/>
                      <a:pt x="88" y="40"/>
                      <a:pt x="87" y="41"/>
                    </a:cubicBezTo>
                    <a:cubicBezTo>
                      <a:pt x="87" y="41"/>
                      <a:pt x="87" y="41"/>
                      <a:pt x="87" y="41"/>
                    </a:cubicBezTo>
                    <a:cubicBezTo>
                      <a:pt x="87" y="41"/>
                      <a:pt x="86" y="41"/>
                      <a:pt x="86" y="42"/>
                    </a:cubicBezTo>
                    <a:cubicBezTo>
                      <a:pt x="86" y="42"/>
                      <a:pt x="86" y="42"/>
                      <a:pt x="86" y="42"/>
                    </a:cubicBezTo>
                    <a:cubicBezTo>
                      <a:pt x="86" y="42"/>
                      <a:pt x="86" y="42"/>
                      <a:pt x="86" y="42"/>
                    </a:cubicBezTo>
                    <a:cubicBezTo>
                      <a:pt x="88" y="42"/>
                      <a:pt x="91" y="39"/>
                      <a:pt x="93" y="37"/>
                    </a:cubicBezTo>
                    <a:cubicBezTo>
                      <a:pt x="91" y="39"/>
                      <a:pt x="90" y="40"/>
                      <a:pt x="88" y="41"/>
                    </a:cubicBezTo>
                    <a:cubicBezTo>
                      <a:pt x="88" y="41"/>
                      <a:pt x="89" y="40"/>
                      <a:pt x="90" y="40"/>
                    </a:cubicBezTo>
                    <a:cubicBezTo>
                      <a:pt x="89" y="40"/>
                      <a:pt x="88" y="41"/>
                      <a:pt x="87" y="42"/>
                    </a:cubicBezTo>
                    <a:cubicBezTo>
                      <a:pt x="90" y="41"/>
                      <a:pt x="91" y="41"/>
                      <a:pt x="94" y="39"/>
                    </a:cubicBezTo>
                    <a:cubicBezTo>
                      <a:pt x="93" y="40"/>
                      <a:pt x="93" y="41"/>
                      <a:pt x="92" y="42"/>
                    </a:cubicBezTo>
                    <a:cubicBezTo>
                      <a:pt x="93" y="42"/>
                      <a:pt x="94" y="42"/>
                      <a:pt x="94" y="42"/>
                    </a:cubicBezTo>
                    <a:cubicBezTo>
                      <a:pt x="94" y="42"/>
                      <a:pt x="93" y="42"/>
                      <a:pt x="92" y="42"/>
                    </a:cubicBezTo>
                    <a:cubicBezTo>
                      <a:pt x="92" y="43"/>
                      <a:pt x="91" y="43"/>
                      <a:pt x="90" y="44"/>
                    </a:cubicBezTo>
                    <a:cubicBezTo>
                      <a:pt x="90" y="44"/>
                      <a:pt x="91" y="44"/>
                      <a:pt x="91" y="44"/>
                    </a:cubicBezTo>
                    <a:cubicBezTo>
                      <a:pt x="91" y="43"/>
                      <a:pt x="94" y="43"/>
                      <a:pt x="95" y="43"/>
                    </a:cubicBezTo>
                    <a:cubicBezTo>
                      <a:pt x="95" y="43"/>
                      <a:pt x="94" y="43"/>
                      <a:pt x="94" y="43"/>
                    </a:cubicBezTo>
                    <a:cubicBezTo>
                      <a:pt x="95" y="43"/>
                      <a:pt x="95" y="43"/>
                      <a:pt x="96" y="43"/>
                    </a:cubicBezTo>
                    <a:cubicBezTo>
                      <a:pt x="95" y="43"/>
                      <a:pt x="95" y="43"/>
                      <a:pt x="94" y="44"/>
                    </a:cubicBezTo>
                    <a:cubicBezTo>
                      <a:pt x="95" y="44"/>
                      <a:pt x="95" y="44"/>
                      <a:pt x="95" y="44"/>
                    </a:cubicBezTo>
                    <a:cubicBezTo>
                      <a:pt x="94" y="44"/>
                      <a:pt x="92" y="44"/>
                      <a:pt x="91" y="45"/>
                    </a:cubicBezTo>
                    <a:cubicBezTo>
                      <a:pt x="91" y="45"/>
                      <a:pt x="91" y="45"/>
                      <a:pt x="91" y="45"/>
                    </a:cubicBezTo>
                    <a:cubicBezTo>
                      <a:pt x="91" y="46"/>
                      <a:pt x="88" y="47"/>
                      <a:pt x="87" y="46"/>
                    </a:cubicBezTo>
                    <a:cubicBezTo>
                      <a:pt x="87" y="47"/>
                      <a:pt x="88" y="47"/>
                      <a:pt x="89" y="48"/>
                    </a:cubicBezTo>
                    <a:cubicBezTo>
                      <a:pt x="89" y="48"/>
                      <a:pt x="90" y="47"/>
                      <a:pt x="90" y="47"/>
                    </a:cubicBezTo>
                    <a:cubicBezTo>
                      <a:pt x="90" y="47"/>
                      <a:pt x="90" y="48"/>
                      <a:pt x="90" y="48"/>
                    </a:cubicBezTo>
                    <a:cubicBezTo>
                      <a:pt x="90" y="48"/>
                      <a:pt x="90" y="48"/>
                      <a:pt x="91" y="48"/>
                    </a:cubicBezTo>
                    <a:cubicBezTo>
                      <a:pt x="91" y="48"/>
                      <a:pt x="92" y="46"/>
                      <a:pt x="93" y="45"/>
                    </a:cubicBezTo>
                    <a:cubicBezTo>
                      <a:pt x="93" y="46"/>
                      <a:pt x="92" y="46"/>
                      <a:pt x="92" y="47"/>
                    </a:cubicBezTo>
                    <a:cubicBezTo>
                      <a:pt x="93" y="47"/>
                      <a:pt x="93" y="46"/>
                      <a:pt x="93" y="45"/>
                    </a:cubicBezTo>
                    <a:cubicBezTo>
                      <a:pt x="94" y="45"/>
                      <a:pt x="94" y="45"/>
                      <a:pt x="94" y="45"/>
                    </a:cubicBezTo>
                    <a:cubicBezTo>
                      <a:pt x="93" y="46"/>
                      <a:pt x="93" y="46"/>
                      <a:pt x="93" y="47"/>
                    </a:cubicBezTo>
                    <a:cubicBezTo>
                      <a:pt x="93" y="47"/>
                      <a:pt x="93" y="47"/>
                      <a:pt x="93" y="47"/>
                    </a:cubicBezTo>
                    <a:cubicBezTo>
                      <a:pt x="93" y="47"/>
                      <a:pt x="93" y="47"/>
                      <a:pt x="92" y="48"/>
                    </a:cubicBezTo>
                    <a:cubicBezTo>
                      <a:pt x="93" y="47"/>
                      <a:pt x="93" y="47"/>
                      <a:pt x="94" y="47"/>
                    </a:cubicBezTo>
                    <a:cubicBezTo>
                      <a:pt x="93" y="48"/>
                      <a:pt x="93" y="49"/>
                      <a:pt x="92" y="49"/>
                    </a:cubicBezTo>
                    <a:cubicBezTo>
                      <a:pt x="93" y="49"/>
                      <a:pt x="93" y="49"/>
                      <a:pt x="94" y="49"/>
                    </a:cubicBezTo>
                    <a:cubicBezTo>
                      <a:pt x="93" y="49"/>
                      <a:pt x="93" y="50"/>
                      <a:pt x="93" y="50"/>
                    </a:cubicBezTo>
                    <a:cubicBezTo>
                      <a:pt x="93" y="50"/>
                      <a:pt x="93" y="50"/>
                      <a:pt x="94" y="50"/>
                    </a:cubicBezTo>
                    <a:cubicBezTo>
                      <a:pt x="94" y="50"/>
                      <a:pt x="93" y="50"/>
                      <a:pt x="93" y="51"/>
                    </a:cubicBezTo>
                    <a:cubicBezTo>
                      <a:pt x="94" y="51"/>
                      <a:pt x="94" y="51"/>
                      <a:pt x="95" y="51"/>
                    </a:cubicBezTo>
                    <a:cubicBezTo>
                      <a:pt x="95" y="50"/>
                      <a:pt x="95" y="50"/>
                      <a:pt x="95" y="49"/>
                    </a:cubicBezTo>
                    <a:cubicBezTo>
                      <a:pt x="95" y="50"/>
                      <a:pt x="95" y="50"/>
                      <a:pt x="95" y="51"/>
                    </a:cubicBezTo>
                    <a:cubicBezTo>
                      <a:pt x="95" y="51"/>
                      <a:pt x="95" y="51"/>
                      <a:pt x="95" y="51"/>
                    </a:cubicBezTo>
                    <a:cubicBezTo>
                      <a:pt x="95" y="51"/>
                      <a:pt x="95" y="51"/>
                      <a:pt x="95" y="51"/>
                    </a:cubicBezTo>
                    <a:cubicBezTo>
                      <a:pt x="95" y="51"/>
                      <a:pt x="95" y="51"/>
                      <a:pt x="95" y="51"/>
                    </a:cubicBezTo>
                    <a:cubicBezTo>
                      <a:pt x="95" y="51"/>
                      <a:pt x="95" y="51"/>
                      <a:pt x="96" y="51"/>
                    </a:cubicBezTo>
                    <a:cubicBezTo>
                      <a:pt x="95" y="51"/>
                      <a:pt x="95" y="51"/>
                      <a:pt x="94" y="51"/>
                    </a:cubicBezTo>
                    <a:cubicBezTo>
                      <a:pt x="94" y="51"/>
                      <a:pt x="94" y="52"/>
                      <a:pt x="94" y="52"/>
                    </a:cubicBezTo>
                    <a:cubicBezTo>
                      <a:pt x="94" y="52"/>
                      <a:pt x="94" y="52"/>
                      <a:pt x="95" y="52"/>
                    </a:cubicBezTo>
                    <a:cubicBezTo>
                      <a:pt x="94" y="52"/>
                      <a:pt x="94" y="52"/>
                      <a:pt x="94" y="52"/>
                    </a:cubicBezTo>
                    <a:cubicBezTo>
                      <a:pt x="94" y="52"/>
                      <a:pt x="94" y="53"/>
                      <a:pt x="94" y="53"/>
                    </a:cubicBezTo>
                    <a:cubicBezTo>
                      <a:pt x="94" y="53"/>
                      <a:pt x="94" y="53"/>
                      <a:pt x="94" y="53"/>
                    </a:cubicBezTo>
                    <a:cubicBezTo>
                      <a:pt x="94" y="53"/>
                      <a:pt x="94" y="53"/>
                      <a:pt x="94" y="53"/>
                    </a:cubicBezTo>
                    <a:cubicBezTo>
                      <a:pt x="94" y="53"/>
                      <a:pt x="94" y="53"/>
                      <a:pt x="93" y="53"/>
                    </a:cubicBezTo>
                    <a:cubicBezTo>
                      <a:pt x="94" y="53"/>
                      <a:pt x="94" y="53"/>
                      <a:pt x="94" y="53"/>
                    </a:cubicBezTo>
                    <a:cubicBezTo>
                      <a:pt x="95" y="53"/>
                      <a:pt x="95" y="53"/>
                      <a:pt x="95" y="52"/>
                    </a:cubicBezTo>
                    <a:cubicBezTo>
                      <a:pt x="95" y="52"/>
                      <a:pt x="95" y="52"/>
                      <a:pt x="95" y="53"/>
                    </a:cubicBezTo>
                    <a:cubicBezTo>
                      <a:pt x="95" y="53"/>
                      <a:pt x="95" y="53"/>
                      <a:pt x="95" y="53"/>
                    </a:cubicBezTo>
                    <a:cubicBezTo>
                      <a:pt x="95" y="53"/>
                      <a:pt x="95" y="53"/>
                      <a:pt x="95" y="53"/>
                    </a:cubicBezTo>
                    <a:cubicBezTo>
                      <a:pt x="94" y="53"/>
                      <a:pt x="94" y="54"/>
                      <a:pt x="94" y="54"/>
                    </a:cubicBezTo>
                    <a:cubicBezTo>
                      <a:pt x="95" y="54"/>
                      <a:pt x="96" y="53"/>
                      <a:pt x="97" y="52"/>
                    </a:cubicBezTo>
                    <a:cubicBezTo>
                      <a:pt x="96" y="53"/>
                      <a:pt x="96" y="53"/>
                      <a:pt x="96" y="53"/>
                    </a:cubicBezTo>
                    <a:cubicBezTo>
                      <a:pt x="98" y="53"/>
                      <a:pt x="99" y="53"/>
                      <a:pt x="100" y="52"/>
                    </a:cubicBezTo>
                    <a:cubicBezTo>
                      <a:pt x="100" y="52"/>
                      <a:pt x="100" y="52"/>
                      <a:pt x="100" y="52"/>
                    </a:cubicBezTo>
                    <a:cubicBezTo>
                      <a:pt x="100" y="52"/>
                      <a:pt x="100" y="52"/>
                      <a:pt x="100" y="52"/>
                    </a:cubicBezTo>
                    <a:cubicBezTo>
                      <a:pt x="100" y="52"/>
                      <a:pt x="101" y="51"/>
                      <a:pt x="102" y="50"/>
                    </a:cubicBezTo>
                    <a:cubicBezTo>
                      <a:pt x="101" y="51"/>
                      <a:pt x="101" y="51"/>
                      <a:pt x="101" y="51"/>
                    </a:cubicBezTo>
                    <a:cubicBezTo>
                      <a:pt x="101" y="51"/>
                      <a:pt x="102" y="50"/>
                      <a:pt x="102" y="50"/>
                    </a:cubicBezTo>
                    <a:cubicBezTo>
                      <a:pt x="102" y="51"/>
                      <a:pt x="101" y="51"/>
                      <a:pt x="101" y="52"/>
                    </a:cubicBezTo>
                    <a:cubicBezTo>
                      <a:pt x="102" y="52"/>
                      <a:pt x="103" y="52"/>
                      <a:pt x="104" y="52"/>
                    </a:cubicBezTo>
                    <a:cubicBezTo>
                      <a:pt x="104" y="52"/>
                      <a:pt x="103" y="53"/>
                      <a:pt x="102" y="53"/>
                    </a:cubicBezTo>
                    <a:cubicBezTo>
                      <a:pt x="103" y="53"/>
                      <a:pt x="104" y="53"/>
                      <a:pt x="105" y="52"/>
                    </a:cubicBezTo>
                    <a:cubicBezTo>
                      <a:pt x="101" y="56"/>
                      <a:pt x="101" y="55"/>
                      <a:pt x="100" y="56"/>
                    </a:cubicBezTo>
                    <a:cubicBezTo>
                      <a:pt x="101" y="55"/>
                      <a:pt x="103" y="55"/>
                      <a:pt x="105" y="55"/>
                    </a:cubicBezTo>
                    <a:cubicBezTo>
                      <a:pt x="103" y="56"/>
                      <a:pt x="101" y="57"/>
                      <a:pt x="99" y="57"/>
                    </a:cubicBezTo>
                    <a:cubicBezTo>
                      <a:pt x="98" y="57"/>
                      <a:pt x="97" y="57"/>
                      <a:pt x="97" y="58"/>
                    </a:cubicBezTo>
                    <a:cubicBezTo>
                      <a:pt x="99" y="58"/>
                      <a:pt x="101" y="57"/>
                      <a:pt x="103" y="57"/>
                    </a:cubicBezTo>
                    <a:cubicBezTo>
                      <a:pt x="103" y="57"/>
                      <a:pt x="103" y="57"/>
                      <a:pt x="103" y="57"/>
                    </a:cubicBezTo>
                    <a:cubicBezTo>
                      <a:pt x="103" y="57"/>
                      <a:pt x="103" y="57"/>
                      <a:pt x="103" y="57"/>
                    </a:cubicBezTo>
                    <a:cubicBezTo>
                      <a:pt x="102" y="58"/>
                      <a:pt x="101" y="58"/>
                      <a:pt x="100" y="58"/>
                    </a:cubicBezTo>
                    <a:cubicBezTo>
                      <a:pt x="100" y="58"/>
                      <a:pt x="101" y="58"/>
                      <a:pt x="101" y="58"/>
                    </a:cubicBezTo>
                    <a:cubicBezTo>
                      <a:pt x="100" y="58"/>
                      <a:pt x="100" y="58"/>
                      <a:pt x="99" y="59"/>
                    </a:cubicBezTo>
                    <a:cubicBezTo>
                      <a:pt x="100" y="59"/>
                      <a:pt x="101" y="59"/>
                      <a:pt x="102" y="60"/>
                    </a:cubicBezTo>
                    <a:cubicBezTo>
                      <a:pt x="101" y="60"/>
                      <a:pt x="99" y="59"/>
                      <a:pt x="98" y="60"/>
                    </a:cubicBezTo>
                    <a:cubicBezTo>
                      <a:pt x="98" y="60"/>
                      <a:pt x="99" y="60"/>
                      <a:pt x="99" y="60"/>
                    </a:cubicBezTo>
                    <a:cubicBezTo>
                      <a:pt x="99" y="60"/>
                      <a:pt x="98" y="60"/>
                      <a:pt x="98" y="60"/>
                    </a:cubicBezTo>
                    <a:cubicBezTo>
                      <a:pt x="98" y="60"/>
                      <a:pt x="99" y="60"/>
                      <a:pt x="100" y="60"/>
                    </a:cubicBezTo>
                    <a:cubicBezTo>
                      <a:pt x="99" y="60"/>
                      <a:pt x="99" y="60"/>
                      <a:pt x="98" y="60"/>
                    </a:cubicBezTo>
                    <a:cubicBezTo>
                      <a:pt x="99" y="60"/>
                      <a:pt x="99" y="60"/>
                      <a:pt x="99" y="60"/>
                    </a:cubicBezTo>
                    <a:cubicBezTo>
                      <a:pt x="99" y="60"/>
                      <a:pt x="99" y="60"/>
                      <a:pt x="99" y="60"/>
                    </a:cubicBezTo>
                    <a:cubicBezTo>
                      <a:pt x="99" y="60"/>
                      <a:pt x="99" y="60"/>
                      <a:pt x="99" y="60"/>
                    </a:cubicBezTo>
                    <a:cubicBezTo>
                      <a:pt x="99" y="60"/>
                      <a:pt x="99" y="60"/>
                      <a:pt x="99" y="60"/>
                    </a:cubicBezTo>
                    <a:cubicBezTo>
                      <a:pt x="99" y="60"/>
                      <a:pt x="99" y="60"/>
                      <a:pt x="99" y="60"/>
                    </a:cubicBezTo>
                    <a:cubicBezTo>
                      <a:pt x="100" y="61"/>
                      <a:pt x="101" y="61"/>
                      <a:pt x="101" y="61"/>
                    </a:cubicBezTo>
                    <a:cubicBezTo>
                      <a:pt x="101" y="61"/>
                      <a:pt x="100" y="61"/>
                      <a:pt x="100" y="62"/>
                    </a:cubicBezTo>
                    <a:cubicBezTo>
                      <a:pt x="101" y="63"/>
                      <a:pt x="101" y="64"/>
                      <a:pt x="102" y="65"/>
                    </a:cubicBezTo>
                    <a:cubicBezTo>
                      <a:pt x="101" y="65"/>
                      <a:pt x="100" y="65"/>
                      <a:pt x="100" y="65"/>
                    </a:cubicBezTo>
                    <a:cubicBezTo>
                      <a:pt x="100" y="65"/>
                      <a:pt x="100" y="66"/>
                      <a:pt x="100" y="66"/>
                    </a:cubicBezTo>
                    <a:cubicBezTo>
                      <a:pt x="100" y="66"/>
                      <a:pt x="100" y="66"/>
                      <a:pt x="100" y="66"/>
                    </a:cubicBezTo>
                    <a:cubicBezTo>
                      <a:pt x="99" y="66"/>
                      <a:pt x="98" y="65"/>
                      <a:pt x="97" y="65"/>
                    </a:cubicBezTo>
                    <a:cubicBezTo>
                      <a:pt x="97" y="65"/>
                      <a:pt x="97" y="65"/>
                      <a:pt x="97" y="65"/>
                    </a:cubicBezTo>
                    <a:cubicBezTo>
                      <a:pt x="97" y="65"/>
                      <a:pt x="97" y="65"/>
                      <a:pt x="97" y="65"/>
                    </a:cubicBezTo>
                    <a:cubicBezTo>
                      <a:pt x="97" y="65"/>
                      <a:pt x="97" y="65"/>
                      <a:pt x="97" y="65"/>
                    </a:cubicBezTo>
                    <a:cubicBezTo>
                      <a:pt x="96" y="65"/>
                      <a:pt x="95" y="64"/>
                      <a:pt x="94" y="64"/>
                    </a:cubicBezTo>
                    <a:cubicBezTo>
                      <a:pt x="94" y="64"/>
                      <a:pt x="94" y="64"/>
                      <a:pt x="94" y="64"/>
                    </a:cubicBezTo>
                    <a:cubicBezTo>
                      <a:pt x="94" y="64"/>
                      <a:pt x="93" y="64"/>
                      <a:pt x="93" y="64"/>
                    </a:cubicBezTo>
                    <a:cubicBezTo>
                      <a:pt x="92" y="64"/>
                      <a:pt x="91" y="64"/>
                      <a:pt x="90" y="64"/>
                    </a:cubicBezTo>
                    <a:cubicBezTo>
                      <a:pt x="91" y="64"/>
                      <a:pt x="91" y="64"/>
                      <a:pt x="91" y="64"/>
                    </a:cubicBezTo>
                    <a:cubicBezTo>
                      <a:pt x="91" y="64"/>
                      <a:pt x="91" y="64"/>
                      <a:pt x="91" y="64"/>
                    </a:cubicBezTo>
                    <a:cubicBezTo>
                      <a:pt x="91" y="64"/>
                      <a:pt x="92" y="64"/>
                      <a:pt x="93" y="64"/>
                    </a:cubicBezTo>
                    <a:cubicBezTo>
                      <a:pt x="92" y="65"/>
                      <a:pt x="90" y="65"/>
                      <a:pt x="89" y="66"/>
                    </a:cubicBezTo>
                    <a:cubicBezTo>
                      <a:pt x="90" y="66"/>
                      <a:pt x="90" y="66"/>
                      <a:pt x="91" y="66"/>
                    </a:cubicBezTo>
                    <a:cubicBezTo>
                      <a:pt x="91" y="66"/>
                      <a:pt x="91" y="66"/>
                      <a:pt x="91" y="66"/>
                    </a:cubicBezTo>
                    <a:cubicBezTo>
                      <a:pt x="92" y="66"/>
                      <a:pt x="92" y="67"/>
                      <a:pt x="93" y="67"/>
                    </a:cubicBezTo>
                    <a:cubicBezTo>
                      <a:pt x="92" y="67"/>
                      <a:pt x="91" y="67"/>
                      <a:pt x="91" y="67"/>
                    </a:cubicBezTo>
                    <a:cubicBezTo>
                      <a:pt x="91" y="67"/>
                      <a:pt x="91" y="67"/>
                      <a:pt x="91" y="67"/>
                    </a:cubicBezTo>
                    <a:cubicBezTo>
                      <a:pt x="91" y="67"/>
                      <a:pt x="90" y="67"/>
                      <a:pt x="90" y="67"/>
                    </a:cubicBezTo>
                    <a:cubicBezTo>
                      <a:pt x="91" y="67"/>
                      <a:pt x="92" y="68"/>
                      <a:pt x="92" y="68"/>
                    </a:cubicBezTo>
                    <a:cubicBezTo>
                      <a:pt x="92" y="68"/>
                      <a:pt x="92" y="68"/>
                      <a:pt x="92" y="68"/>
                    </a:cubicBezTo>
                    <a:cubicBezTo>
                      <a:pt x="91" y="68"/>
                      <a:pt x="88" y="66"/>
                      <a:pt x="86" y="67"/>
                    </a:cubicBezTo>
                    <a:cubicBezTo>
                      <a:pt x="86" y="67"/>
                      <a:pt x="86" y="67"/>
                      <a:pt x="87" y="67"/>
                    </a:cubicBezTo>
                    <a:cubicBezTo>
                      <a:pt x="87" y="67"/>
                      <a:pt x="87" y="67"/>
                      <a:pt x="87" y="67"/>
                    </a:cubicBezTo>
                    <a:cubicBezTo>
                      <a:pt x="86" y="67"/>
                      <a:pt x="86" y="67"/>
                      <a:pt x="86" y="67"/>
                    </a:cubicBezTo>
                    <a:cubicBezTo>
                      <a:pt x="86" y="67"/>
                      <a:pt x="86" y="67"/>
                      <a:pt x="86" y="67"/>
                    </a:cubicBezTo>
                    <a:cubicBezTo>
                      <a:pt x="86" y="67"/>
                      <a:pt x="86" y="67"/>
                      <a:pt x="86" y="67"/>
                    </a:cubicBezTo>
                    <a:cubicBezTo>
                      <a:pt x="86" y="67"/>
                      <a:pt x="86" y="67"/>
                      <a:pt x="86" y="67"/>
                    </a:cubicBezTo>
                    <a:cubicBezTo>
                      <a:pt x="87" y="68"/>
                      <a:pt x="87" y="68"/>
                      <a:pt x="88" y="68"/>
                    </a:cubicBezTo>
                    <a:cubicBezTo>
                      <a:pt x="88" y="68"/>
                      <a:pt x="88" y="68"/>
                      <a:pt x="88" y="68"/>
                    </a:cubicBezTo>
                    <a:cubicBezTo>
                      <a:pt x="88" y="68"/>
                      <a:pt x="88" y="68"/>
                      <a:pt x="88" y="68"/>
                    </a:cubicBezTo>
                    <a:cubicBezTo>
                      <a:pt x="88" y="68"/>
                      <a:pt x="89" y="69"/>
                      <a:pt x="90" y="69"/>
                    </a:cubicBezTo>
                    <a:cubicBezTo>
                      <a:pt x="87" y="68"/>
                      <a:pt x="84" y="68"/>
                      <a:pt x="82" y="69"/>
                    </a:cubicBezTo>
                    <a:cubicBezTo>
                      <a:pt x="84" y="69"/>
                      <a:pt x="85" y="70"/>
                      <a:pt x="86" y="71"/>
                    </a:cubicBezTo>
                    <a:cubicBezTo>
                      <a:pt x="85" y="71"/>
                      <a:pt x="84" y="70"/>
                      <a:pt x="82" y="70"/>
                    </a:cubicBezTo>
                    <a:cubicBezTo>
                      <a:pt x="83" y="71"/>
                      <a:pt x="83" y="71"/>
                      <a:pt x="84" y="71"/>
                    </a:cubicBezTo>
                    <a:cubicBezTo>
                      <a:pt x="82" y="71"/>
                      <a:pt x="81" y="71"/>
                      <a:pt x="79" y="70"/>
                    </a:cubicBezTo>
                    <a:cubicBezTo>
                      <a:pt x="80" y="71"/>
                      <a:pt x="82" y="71"/>
                      <a:pt x="83" y="72"/>
                    </a:cubicBezTo>
                    <a:cubicBezTo>
                      <a:pt x="80" y="72"/>
                      <a:pt x="79" y="69"/>
                      <a:pt x="76" y="70"/>
                    </a:cubicBezTo>
                    <a:cubicBezTo>
                      <a:pt x="78" y="71"/>
                      <a:pt x="79" y="72"/>
                      <a:pt x="80" y="73"/>
                    </a:cubicBezTo>
                    <a:cubicBezTo>
                      <a:pt x="79" y="73"/>
                      <a:pt x="78" y="72"/>
                      <a:pt x="77" y="72"/>
                    </a:cubicBezTo>
                    <a:cubicBezTo>
                      <a:pt x="78" y="72"/>
                      <a:pt x="78" y="72"/>
                      <a:pt x="79" y="73"/>
                    </a:cubicBezTo>
                    <a:cubicBezTo>
                      <a:pt x="78" y="73"/>
                      <a:pt x="77" y="72"/>
                      <a:pt x="77" y="72"/>
                    </a:cubicBezTo>
                    <a:cubicBezTo>
                      <a:pt x="77" y="73"/>
                      <a:pt x="78" y="73"/>
                      <a:pt x="78" y="74"/>
                    </a:cubicBezTo>
                    <a:cubicBezTo>
                      <a:pt x="78" y="74"/>
                      <a:pt x="78" y="74"/>
                      <a:pt x="78" y="74"/>
                    </a:cubicBezTo>
                    <a:cubicBezTo>
                      <a:pt x="78" y="74"/>
                      <a:pt x="77" y="72"/>
                      <a:pt x="76" y="72"/>
                    </a:cubicBezTo>
                    <a:cubicBezTo>
                      <a:pt x="76" y="72"/>
                      <a:pt x="76" y="73"/>
                      <a:pt x="76" y="73"/>
                    </a:cubicBezTo>
                    <a:cubicBezTo>
                      <a:pt x="76" y="73"/>
                      <a:pt x="76" y="73"/>
                      <a:pt x="76" y="73"/>
                    </a:cubicBezTo>
                    <a:cubicBezTo>
                      <a:pt x="76" y="72"/>
                      <a:pt x="75" y="72"/>
                      <a:pt x="74" y="71"/>
                    </a:cubicBezTo>
                    <a:cubicBezTo>
                      <a:pt x="75" y="72"/>
                      <a:pt x="75" y="73"/>
                      <a:pt x="76" y="73"/>
                    </a:cubicBezTo>
                    <a:cubicBezTo>
                      <a:pt x="76" y="73"/>
                      <a:pt x="76" y="73"/>
                      <a:pt x="75" y="73"/>
                    </a:cubicBezTo>
                    <a:cubicBezTo>
                      <a:pt x="76" y="73"/>
                      <a:pt x="76" y="73"/>
                      <a:pt x="76" y="74"/>
                    </a:cubicBezTo>
                    <a:cubicBezTo>
                      <a:pt x="76" y="74"/>
                      <a:pt x="76" y="74"/>
                      <a:pt x="76" y="74"/>
                    </a:cubicBezTo>
                    <a:cubicBezTo>
                      <a:pt x="76" y="74"/>
                      <a:pt x="75" y="73"/>
                      <a:pt x="75" y="73"/>
                    </a:cubicBezTo>
                    <a:cubicBezTo>
                      <a:pt x="76" y="73"/>
                      <a:pt x="76" y="74"/>
                      <a:pt x="77" y="75"/>
                    </a:cubicBezTo>
                    <a:cubicBezTo>
                      <a:pt x="77" y="75"/>
                      <a:pt x="77" y="75"/>
                      <a:pt x="77" y="75"/>
                    </a:cubicBezTo>
                    <a:cubicBezTo>
                      <a:pt x="76" y="74"/>
                      <a:pt x="75" y="73"/>
                      <a:pt x="73" y="73"/>
                    </a:cubicBezTo>
                    <a:cubicBezTo>
                      <a:pt x="74" y="73"/>
                      <a:pt x="75" y="74"/>
                      <a:pt x="76" y="75"/>
                    </a:cubicBezTo>
                    <a:cubicBezTo>
                      <a:pt x="75" y="75"/>
                      <a:pt x="75" y="75"/>
                      <a:pt x="75" y="75"/>
                    </a:cubicBezTo>
                    <a:cubicBezTo>
                      <a:pt x="74" y="74"/>
                      <a:pt x="72" y="73"/>
                      <a:pt x="71" y="72"/>
                    </a:cubicBezTo>
                    <a:cubicBezTo>
                      <a:pt x="71" y="72"/>
                      <a:pt x="71" y="72"/>
                      <a:pt x="70" y="72"/>
                    </a:cubicBezTo>
                    <a:cubicBezTo>
                      <a:pt x="71" y="73"/>
                      <a:pt x="72" y="74"/>
                      <a:pt x="73" y="74"/>
                    </a:cubicBezTo>
                    <a:cubicBezTo>
                      <a:pt x="73" y="74"/>
                      <a:pt x="73" y="74"/>
                      <a:pt x="72" y="74"/>
                    </a:cubicBezTo>
                    <a:cubicBezTo>
                      <a:pt x="73" y="75"/>
                      <a:pt x="73" y="75"/>
                      <a:pt x="73" y="75"/>
                    </a:cubicBezTo>
                    <a:cubicBezTo>
                      <a:pt x="73" y="75"/>
                      <a:pt x="72" y="75"/>
                      <a:pt x="72" y="74"/>
                    </a:cubicBezTo>
                    <a:cubicBezTo>
                      <a:pt x="72" y="75"/>
                      <a:pt x="72" y="75"/>
                      <a:pt x="73" y="75"/>
                    </a:cubicBezTo>
                    <a:cubicBezTo>
                      <a:pt x="72" y="75"/>
                      <a:pt x="72" y="75"/>
                      <a:pt x="72" y="75"/>
                    </a:cubicBezTo>
                    <a:cubicBezTo>
                      <a:pt x="72" y="75"/>
                      <a:pt x="72" y="75"/>
                      <a:pt x="72" y="75"/>
                    </a:cubicBezTo>
                    <a:cubicBezTo>
                      <a:pt x="72" y="75"/>
                      <a:pt x="72" y="75"/>
                      <a:pt x="72" y="75"/>
                    </a:cubicBezTo>
                    <a:cubicBezTo>
                      <a:pt x="72" y="75"/>
                      <a:pt x="72" y="75"/>
                      <a:pt x="72" y="75"/>
                    </a:cubicBezTo>
                    <a:cubicBezTo>
                      <a:pt x="71" y="74"/>
                      <a:pt x="69" y="72"/>
                      <a:pt x="67" y="73"/>
                    </a:cubicBezTo>
                    <a:cubicBezTo>
                      <a:pt x="68" y="74"/>
                      <a:pt x="69" y="75"/>
                      <a:pt x="70" y="76"/>
                    </a:cubicBezTo>
                    <a:cubicBezTo>
                      <a:pt x="68" y="75"/>
                      <a:pt x="67" y="71"/>
                      <a:pt x="64" y="72"/>
                    </a:cubicBezTo>
                    <a:cubicBezTo>
                      <a:pt x="64" y="72"/>
                      <a:pt x="65" y="72"/>
                      <a:pt x="65" y="72"/>
                    </a:cubicBezTo>
                    <a:cubicBezTo>
                      <a:pt x="65" y="72"/>
                      <a:pt x="65" y="72"/>
                      <a:pt x="64" y="72"/>
                    </a:cubicBezTo>
                    <a:cubicBezTo>
                      <a:pt x="66" y="73"/>
                      <a:pt x="67" y="74"/>
                      <a:pt x="69" y="76"/>
                    </a:cubicBezTo>
                    <a:cubicBezTo>
                      <a:pt x="69" y="76"/>
                      <a:pt x="69" y="76"/>
                      <a:pt x="69" y="76"/>
                    </a:cubicBezTo>
                    <a:cubicBezTo>
                      <a:pt x="68" y="76"/>
                      <a:pt x="67" y="75"/>
                      <a:pt x="67" y="75"/>
                    </a:cubicBezTo>
                    <a:cubicBezTo>
                      <a:pt x="67" y="75"/>
                      <a:pt x="67" y="75"/>
                      <a:pt x="67" y="75"/>
                    </a:cubicBezTo>
                    <a:cubicBezTo>
                      <a:pt x="66" y="74"/>
                      <a:pt x="62" y="73"/>
                      <a:pt x="60" y="73"/>
                    </a:cubicBezTo>
                    <a:cubicBezTo>
                      <a:pt x="60" y="73"/>
                      <a:pt x="61" y="73"/>
                      <a:pt x="61" y="73"/>
                    </a:cubicBezTo>
                    <a:cubicBezTo>
                      <a:pt x="61" y="73"/>
                      <a:pt x="61" y="73"/>
                      <a:pt x="61" y="73"/>
                    </a:cubicBezTo>
                    <a:cubicBezTo>
                      <a:pt x="61" y="74"/>
                      <a:pt x="61" y="74"/>
                      <a:pt x="61" y="74"/>
                    </a:cubicBezTo>
                    <a:cubicBezTo>
                      <a:pt x="61" y="74"/>
                      <a:pt x="61" y="74"/>
                      <a:pt x="61" y="74"/>
                    </a:cubicBezTo>
                    <a:cubicBezTo>
                      <a:pt x="62" y="74"/>
                      <a:pt x="63" y="75"/>
                      <a:pt x="63" y="76"/>
                    </a:cubicBezTo>
                    <a:cubicBezTo>
                      <a:pt x="62" y="75"/>
                      <a:pt x="62" y="75"/>
                      <a:pt x="61" y="75"/>
                    </a:cubicBezTo>
                    <a:cubicBezTo>
                      <a:pt x="61" y="75"/>
                      <a:pt x="62" y="76"/>
                      <a:pt x="62" y="76"/>
                    </a:cubicBezTo>
                    <a:cubicBezTo>
                      <a:pt x="62" y="76"/>
                      <a:pt x="61" y="76"/>
                      <a:pt x="61" y="75"/>
                    </a:cubicBezTo>
                    <a:cubicBezTo>
                      <a:pt x="61" y="75"/>
                      <a:pt x="61" y="75"/>
                      <a:pt x="61" y="76"/>
                    </a:cubicBezTo>
                    <a:cubicBezTo>
                      <a:pt x="60" y="75"/>
                      <a:pt x="59" y="75"/>
                      <a:pt x="57" y="74"/>
                    </a:cubicBezTo>
                    <a:cubicBezTo>
                      <a:pt x="58" y="75"/>
                      <a:pt x="58" y="75"/>
                      <a:pt x="59" y="76"/>
                    </a:cubicBezTo>
                    <a:cubicBezTo>
                      <a:pt x="58" y="76"/>
                      <a:pt x="57" y="75"/>
                      <a:pt x="56" y="74"/>
                    </a:cubicBezTo>
                    <a:cubicBezTo>
                      <a:pt x="56" y="75"/>
                      <a:pt x="53" y="84"/>
                      <a:pt x="54" y="98"/>
                    </a:cubicBezTo>
                    <a:cubicBezTo>
                      <a:pt x="55" y="108"/>
                      <a:pt x="61" y="119"/>
                      <a:pt x="61" y="128"/>
                    </a:cubicBezTo>
                    <a:cubicBezTo>
                      <a:pt x="61" y="141"/>
                      <a:pt x="59" y="151"/>
                      <a:pt x="58" y="151"/>
                    </a:cubicBezTo>
                    <a:cubicBezTo>
                      <a:pt x="56" y="151"/>
                      <a:pt x="51" y="151"/>
                      <a:pt x="49" y="151"/>
                    </a:cubicBezTo>
                    <a:cubicBezTo>
                      <a:pt x="49" y="151"/>
                      <a:pt x="49" y="151"/>
                      <a:pt x="49" y="151"/>
                    </a:cubicBezTo>
                    <a:close/>
                    <a:moveTo>
                      <a:pt x="48" y="6"/>
                    </a:moveTo>
                    <a:cubicBezTo>
                      <a:pt x="47" y="6"/>
                      <a:pt x="47" y="6"/>
                      <a:pt x="47" y="6"/>
                    </a:cubicBezTo>
                    <a:cubicBezTo>
                      <a:pt x="47" y="6"/>
                      <a:pt x="47" y="6"/>
                      <a:pt x="47" y="6"/>
                    </a:cubicBezTo>
                    <a:cubicBezTo>
                      <a:pt x="47" y="6"/>
                      <a:pt x="48" y="6"/>
                      <a:pt x="48" y="6"/>
                    </a:cubicBezTo>
                    <a:cubicBezTo>
                      <a:pt x="48" y="6"/>
                      <a:pt x="48" y="6"/>
                      <a:pt x="48" y="6"/>
                    </a:cubicBezTo>
                    <a:close/>
                    <a:moveTo>
                      <a:pt x="48" y="6"/>
                    </a:moveTo>
                    <a:cubicBezTo>
                      <a:pt x="48" y="6"/>
                      <a:pt x="48" y="6"/>
                      <a:pt x="48" y="6"/>
                    </a:cubicBezTo>
                    <a:cubicBezTo>
                      <a:pt x="48" y="6"/>
                      <a:pt x="48" y="6"/>
                      <a:pt x="48" y="6"/>
                    </a:cubicBezTo>
                    <a:cubicBezTo>
                      <a:pt x="48" y="6"/>
                      <a:pt x="48" y="6"/>
                      <a:pt x="48" y="6"/>
                    </a:cubicBezTo>
                    <a:cubicBezTo>
                      <a:pt x="48" y="6"/>
                      <a:pt x="48" y="6"/>
                      <a:pt x="48" y="6"/>
                    </a:cubicBezTo>
                    <a:close/>
                    <a:moveTo>
                      <a:pt x="53" y="6"/>
                    </a:moveTo>
                    <a:cubicBezTo>
                      <a:pt x="53" y="6"/>
                      <a:pt x="53" y="6"/>
                      <a:pt x="53" y="6"/>
                    </a:cubicBezTo>
                    <a:cubicBezTo>
                      <a:pt x="53" y="6"/>
                      <a:pt x="53" y="6"/>
                      <a:pt x="53" y="7"/>
                    </a:cubicBezTo>
                    <a:cubicBezTo>
                      <a:pt x="53" y="7"/>
                      <a:pt x="53" y="6"/>
                      <a:pt x="53" y="6"/>
                    </a:cubicBezTo>
                    <a:cubicBezTo>
                      <a:pt x="53" y="6"/>
                      <a:pt x="53" y="6"/>
                      <a:pt x="53" y="6"/>
                    </a:cubicBezTo>
                    <a:close/>
                    <a:moveTo>
                      <a:pt x="45" y="6"/>
                    </a:moveTo>
                    <a:cubicBezTo>
                      <a:pt x="45" y="6"/>
                      <a:pt x="45" y="6"/>
                      <a:pt x="45" y="6"/>
                    </a:cubicBezTo>
                    <a:cubicBezTo>
                      <a:pt x="45" y="6"/>
                      <a:pt x="45" y="6"/>
                      <a:pt x="45" y="7"/>
                    </a:cubicBezTo>
                    <a:cubicBezTo>
                      <a:pt x="45" y="6"/>
                      <a:pt x="45" y="6"/>
                      <a:pt x="45" y="6"/>
                    </a:cubicBezTo>
                    <a:cubicBezTo>
                      <a:pt x="45" y="6"/>
                      <a:pt x="45" y="6"/>
                      <a:pt x="45" y="6"/>
                    </a:cubicBezTo>
                    <a:close/>
                    <a:moveTo>
                      <a:pt x="53" y="7"/>
                    </a:moveTo>
                    <a:cubicBezTo>
                      <a:pt x="53" y="7"/>
                      <a:pt x="53" y="7"/>
                      <a:pt x="53" y="7"/>
                    </a:cubicBezTo>
                    <a:cubicBezTo>
                      <a:pt x="53" y="7"/>
                      <a:pt x="53" y="7"/>
                      <a:pt x="53" y="7"/>
                    </a:cubicBezTo>
                    <a:cubicBezTo>
                      <a:pt x="53" y="7"/>
                      <a:pt x="53" y="7"/>
                      <a:pt x="53" y="7"/>
                    </a:cubicBezTo>
                    <a:cubicBezTo>
                      <a:pt x="53" y="7"/>
                      <a:pt x="53" y="7"/>
                      <a:pt x="53" y="7"/>
                    </a:cubicBezTo>
                    <a:close/>
                    <a:moveTo>
                      <a:pt x="54" y="7"/>
                    </a:moveTo>
                    <a:cubicBezTo>
                      <a:pt x="54" y="7"/>
                      <a:pt x="54" y="7"/>
                      <a:pt x="54" y="7"/>
                    </a:cubicBezTo>
                    <a:cubicBezTo>
                      <a:pt x="54" y="7"/>
                      <a:pt x="54" y="7"/>
                      <a:pt x="54" y="7"/>
                    </a:cubicBezTo>
                    <a:cubicBezTo>
                      <a:pt x="54" y="7"/>
                      <a:pt x="54" y="7"/>
                      <a:pt x="54" y="7"/>
                    </a:cubicBezTo>
                    <a:cubicBezTo>
                      <a:pt x="54" y="7"/>
                      <a:pt x="54" y="7"/>
                      <a:pt x="54" y="7"/>
                    </a:cubicBezTo>
                    <a:close/>
                    <a:moveTo>
                      <a:pt x="62" y="7"/>
                    </a:moveTo>
                    <a:cubicBezTo>
                      <a:pt x="62" y="7"/>
                      <a:pt x="61" y="7"/>
                      <a:pt x="61" y="7"/>
                    </a:cubicBezTo>
                    <a:cubicBezTo>
                      <a:pt x="61" y="7"/>
                      <a:pt x="61" y="7"/>
                      <a:pt x="61" y="7"/>
                    </a:cubicBezTo>
                    <a:cubicBezTo>
                      <a:pt x="62" y="7"/>
                      <a:pt x="62" y="7"/>
                      <a:pt x="62" y="7"/>
                    </a:cubicBezTo>
                    <a:cubicBezTo>
                      <a:pt x="62" y="7"/>
                      <a:pt x="62" y="7"/>
                      <a:pt x="62" y="7"/>
                    </a:cubicBezTo>
                    <a:close/>
                    <a:moveTo>
                      <a:pt x="53" y="8"/>
                    </a:moveTo>
                    <a:cubicBezTo>
                      <a:pt x="53" y="8"/>
                      <a:pt x="54" y="7"/>
                      <a:pt x="54" y="7"/>
                    </a:cubicBezTo>
                    <a:cubicBezTo>
                      <a:pt x="54" y="8"/>
                      <a:pt x="54" y="8"/>
                      <a:pt x="54" y="9"/>
                    </a:cubicBezTo>
                    <a:cubicBezTo>
                      <a:pt x="54" y="9"/>
                      <a:pt x="54" y="9"/>
                      <a:pt x="54" y="8"/>
                    </a:cubicBezTo>
                    <a:cubicBezTo>
                      <a:pt x="54" y="8"/>
                      <a:pt x="54" y="8"/>
                      <a:pt x="54" y="8"/>
                    </a:cubicBezTo>
                    <a:cubicBezTo>
                      <a:pt x="54" y="8"/>
                      <a:pt x="54" y="8"/>
                      <a:pt x="53" y="8"/>
                    </a:cubicBezTo>
                    <a:cubicBezTo>
                      <a:pt x="53" y="8"/>
                      <a:pt x="53" y="8"/>
                      <a:pt x="53" y="8"/>
                    </a:cubicBezTo>
                    <a:cubicBezTo>
                      <a:pt x="53" y="8"/>
                      <a:pt x="53" y="8"/>
                      <a:pt x="53" y="8"/>
                    </a:cubicBezTo>
                    <a:close/>
                    <a:moveTo>
                      <a:pt x="54" y="8"/>
                    </a:moveTo>
                    <a:cubicBezTo>
                      <a:pt x="54" y="8"/>
                      <a:pt x="54" y="8"/>
                      <a:pt x="54" y="7"/>
                    </a:cubicBezTo>
                    <a:cubicBezTo>
                      <a:pt x="54" y="8"/>
                      <a:pt x="54" y="8"/>
                      <a:pt x="54" y="8"/>
                    </a:cubicBezTo>
                    <a:cubicBezTo>
                      <a:pt x="54" y="8"/>
                      <a:pt x="54" y="8"/>
                      <a:pt x="54" y="8"/>
                    </a:cubicBezTo>
                    <a:cubicBezTo>
                      <a:pt x="54" y="8"/>
                      <a:pt x="54" y="8"/>
                      <a:pt x="54" y="8"/>
                    </a:cubicBezTo>
                    <a:cubicBezTo>
                      <a:pt x="54" y="8"/>
                      <a:pt x="54" y="8"/>
                      <a:pt x="54" y="8"/>
                    </a:cubicBezTo>
                    <a:close/>
                    <a:moveTo>
                      <a:pt x="62" y="9"/>
                    </a:moveTo>
                    <a:cubicBezTo>
                      <a:pt x="62" y="9"/>
                      <a:pt x="62" y="8"/>
                      <a:pt x="62" y="8"/>
                    </a:cubicBezTo>
                    <a:cubicBezTo>
                      <a:pt x="62" y="8"/>
                      <a:pt x="62" y="9"/>
                      <a:pt x="62" y="9"/>
                    </a:cubicBezTo>
                    <a:cubicBezTo>
                      <a:pt x="62" y="9"/>
                      <a:pt x="62" y="9"/>
                      <a:pt x="62" y="9"/>
                    </a:cubicBezTo>
                    <a:cubicBezTo>
                      <a:pt x="62" y="9"/>
                      <a:pt x="62" y="9"/>
                      <a:pt x="62" y="9"/>
                    </a:cubicBezTo>
                    <a:close/>
                    <a:moveTo>
                      <a:pt x="52" y="9"/>
                    </a:moveTo>
                    <a:cubicBezTo>
                      <a:pt x="52" y="9"/>
                      <a:pt x="52" y="9"/>
                      <a:pt x="52" y="10"/>
                    </a:cubicBezTo>
                    <a:cubicBezTo>
                      <a:pt x="52" y="10"/>
                      <a:pt x="52" y="10"/>
                      <a:pt x="52" y="10"/>
                    </a:cubicBezTo>
                    <a:cubicBezTo>
                      <a:pt x="52" y="10"/>
                      <a:pt x="52" y="10"/>
                      <a:pt x="52" y="10"/>
                    </a:cubicBezTo>
                    <a:cubicBezTo>
                      <a:pt x="52" y="10"/>
                      <a:pt x="52" y="10"/>
                      <a:pt x="52" y="10"/>
                    </a:cubicBezTo>
                    <a:cubicBezTo>
                      <a:pt x="52" y="9"/>
                      <a:pt x="52" y="9"/>
                      <a:pt x="52" y="9"/>
                    </a:cubicBezTo>
                    <a:cubicBezTo>
                      <a:pt x="52" y="9"/>
                      <a:pt x="52" y="9"/>
                      <a:pt x="52" y="9"/>
                    </a:cubicBezTo>
                    <a:cubicBezTo>
                      <a:pt x="52" y="9"/>
                      <a:pt x="52" y="9"/>
                      <a:pt x="52" y="9"/>
                    </a:cubicBezTo>
                    <a:cubicBezTo>
                      <a:pt x="52" y="9"/>
                      <a:pt x="52" y="9"/>
                      <a:pt x="52" y="9"/>
                    </a:cubicBezTo>
                    <a:close/>
                    <a:moveTo>
                      <a:pt x="53" y="10"/>
                    </a:moveTo>
                    <a:cubicBezTo>
                      <a:pt x="53" y="9"/>
                      <a:pt x="53" y="9"/>
                      <a:pt x="53" y="9"/>
                    </a:cubicBezTo>
                    <a:cubicBezTo>
                      <a:pt x="53" y="9"/>
                      <a:pt x="53" y="9"/>
                      <a:pt x="53" y="10"/>
                    </a:cubicBezTo>
                    <a:cubicBezTo>
                      <a:pt x="53" y="10"/>
                      <a:pt x="53" y="10"/>
                      <a:pt x="53" y="10"/>
                    </a:cubicBezTo>
                    <a:cubicBezTo>
                      <a:pt x="53" y="10"/>
                      <a:pt x="53" y="10"/>
                      <a:pt x="53" y="10"/>
                    </a:cubicBezTo>
                    <a:close/>
                    <a:moveTo>
                      <a:pt x="53" y="10"/>
                    </a:moveTo>
                    <a:cubicBezTo>
                      <a:pt x="53" y="10"/>
                      <a:pt x="53" y="10"/>
                      <a:pt x="53" y="10"/>
                    </a:cubicBezTo>
                    <a:cubicBezTo>
                      <a:pt x="54" y="10"/>
                      <a:pt x="54" y="10"/>
                      <a:pt x="54" y="10"/>
                    </a:cubicBezTo>
                    <a:cubicBezTo>
                      <a:pt x="54" y="10"/>
                      <a:pt x="54" y="10"/>
                      <a:pt x="54" y="10"/>
                    </a:cubicBezTo>
                    <a:cubicBezTo>
                      <a:pt x="54" y="10"/>
                      <a:pt x="54" y="10"/>
                      <a:pt x="54" y="10"/>
                    </a:cubicBezTo>
                    <a:cubicBezTo>
                      <a:pt x="54" y="10"/>
                      <a:pt x="54" y="10"/>
                      <a:pt x="54" y="10"/>
                    </a:cubicBezTo>
                    <a:cubicBezTo>
                      <a:pt x="54" y="10"/>
                      <a:pt x="54" y="10"/>
                      <a:pt x="54" y="10"/>
                    </a:cubicBezTo>
                    <a:cubicBezTo>
                      <a:pt x="53" y="10"/>
                      <a:pt x="53" y="10"/>
                      <a:pt x="53" y="10"/>
                    </a:cubicBezTo>
                    <a:cubicBezTo>
                      <a:pt x="53" y="10"/>
                      <a:pt x="53" y="10"/>
                      <a:pt x="53" y="10"/>
                    </a:cubicBezTo>
                    <a:close/>
                    <a:moveTo>
                      <a:pt x="61" y="10"/>
                    </a:moveTo>
                    <a:cubicBezTo>
                      <a:pt x="61" y="10"/>
                      <a:pt x="61" y="10"/>
                      <a:pt x="61" y="10"/>
                    </a:cubicBezTo>
                    <a:cubicBezTo>
                      <a:pt x="61" y="10"/>
                      <a:pt x="61" y="10"/>
                      <a:pt x="61" y="11"/>
                    </a:cubicBezTo>
                    <a:cubicBezTo>
                      <a:pt x="61" y="11"/>
                      <a:pt x="61" y="11"/>
                      <a:pt x="61" y="11"/>
                    </a:cubicBezTo>
                    <a:cubicBezTo>
                      <a:pt x="61" y="11"/>
                      <a:pt x="61" y="11"/>
                      <a:pt x="61" y="11"/>
                    </a:cubicBezTo>
                    <a:cubicBezTo>
                      <a:pt x="61" y="11"/>
                      <a:pt x="61" y="10"/>
                      <a:pt x="61" y="10"/>
                    </a:cubicBezTo>
                    <a:cubicBezTo>
                      <a:pt x="61" y="10"/>
                      <a:pt x="61" y="10"/>
                      <a:pt x="61" y="10"/>
                    </a:cubicBezTo>
                    <a:close/>
                    <a:moveTo>
                      <a:pt x="60" y="10"/>
                    </a:moveTo>
                    <a:cubicBezTo>
                      <a:pt x="60" y="10"/>
                      <a:pt x="60" y="10"/>
                      <a:pt x="60" y="10"/>
                    </a:cubicBezTo>
                    <a:cubicBezTo>
                      <a:pt x="60" y="10"/>
                      <a:pt x="60" y="10"/>
                      <a:pt x="60" y="10"/>
                    </a:cubicBezTo>
                    <a:cubicBezTo>
                      <a:pt x="60" y="10"/>
                      <a:pt x="60" y="10"/>
                      <a:pt x="60" y="10"/>
                    </a:cubicBezTo>
                    <a:cubicBezTo>
                      <a:pt x="60" y="10"/>
                      <a:pt x="60" y="10"/>
                      <a:pt x="60" y="10"/>
                    </a:cubicBezTo>
                    <a:close/>
                    <a:moveTo>
                      <a:pt x="52" y="10"/>
                    </a:moveTo>
                    <a:cubicBezTo>
                      <a:pt x="52" y="10"/>
                      <a:pt x="52" y="10"/>
                      <a:pt x="52" y="10"/>
                    </a:cubicBezTo>
                    <a:cubicBezTo>
                      <a:pt x="52" y="10"/>
                      <a:pt x="52" y="10"/>
                      <a:pt x="52" y="10"/>
                    </a:cubicBezTo>
                    <a:cubicBezTo>
                      <a:pt x="52" y="10"/>
                      <a:pt x="52" y="10"/>
                      <a:pt x="52" y="10"/>
                    </a:cubicBezTo>
                    <a:cubicBezTo>
                      <a:pt x="52" y="10"/>
                      <a:pt x="52" y="10"/>
                      <a:pt x="52" y="10"/>
                    </a:cubicBezTo>
                    <a:close/>
                    <a:moveTo>
                      <a:pt x="54" y="10"/>
                    </a:moveTo>
                    <a:cubicBezTo>
                      <a:pt x="54" y="10"/>
                      <a:pt x="54" y="10"/>
                      <a:pt x="54" y="10"/>
                    </a:cubicBezTo>
                    <a:cubicBezTo>
                      <a:pt x="54" y="10"/>
                      <a:pt x="54" y="10"/>
                      <a:pt x="54" y="10"/>
                    </a:cubicBezTo>
                    <a:cubicBezTo>
                      <a:pt x="54" y="10"/>
                      <a:pt x="54" y="10"/>
                      <a:pt x="54" y="10"/>
                    </a:cubicBezTo>
                    <a:cubicBezTo>
                      <a:pt x="54" y="10"/>
                      <a:pt x="54" y="10"/>
                      <a:pt x="54" y="10"/>
                    </a:cubicBezTo>
                    <a:close/>
                    <a:moveTo>
                      <a:pt x="63" y="10"/>
                    </a:moveTo>
                    <a:cubicBezTo>
                      <a:pt x="63" y="10"/>
                      <a:pt x="63" y="10"/>
                      <a:pt x="63" y="10"/>
                    </a:cubicBezTo>
                    <a:cubicBezTo>
                      <a:pt x="63" y="10"/>
                      <a:pt x="63" y="10"/>
                      <a:pt x="63" y="10"/>
                    </a:cubicBezTo>
                    <a:cubicBezTo>
                      <a:pt x="63" y="10"/>
                      <a:pt x="63" y="10"/>
                      <a:pt x="63" y="10"/>
                    </a:cubicBezTo>
                    <a:cubicBezTo>
                      <a:pt x="63" y="10"/>
                      <a:pt x="63" y="10"/>
                      <a:pt x="63" y="10"/>
                    </a:cubicBezTo>
                    <a:close/>
                    <a:moveTo>
                      <a:pt x="63" y="10"/>
                    </a:moveTo>
                    <a:cubicBezTo>
                      <a:pt x="63" y="10"/>
                      <a:pt x="63" y="10"/>
                      <a:pt x="62" y="10"/>
                    </a:cubicBezTo>
                    <a:cubicBezTo>
                      <a:pt x="63" y="10"/>
                      <a:pt x="63" y="10"/>
                      <a:pt x="63" y="10"/>
                    </a:cubicBezTo>
                    <a:cubicBezTo>
                      <a:pt x="63" y="10"/>
                      <a:pt x="63" y="10"/>
                      <a:pt x="63" y="10"/>
                    </a:cubicBezTo>
                    <a:close/>
                    <a:moveTo>
                      <a:pt x="53" y="10"/>
                    </a:moveTo>
                    <a:cubicBezTo>
                      <a:pt x="53" y="10"/>
                      <a:pt x="53" y="10"/>
                      <a:pt x="53" y="10"/>
                    </a:cubicBezTo>
                    <a:cubicBezTo>
                      <a:pt x="53" y="10"/>
                      <a:pt x="53" y="10"/>
                      <a:pt x="52" y="10"/>
                    </a:cubicBezTo>
                    <a:cubicBezTo>
                      <a:pt x="53" y="10"/>
                      <a:pt x="53" y="10"/>
                      <a:pt x="53" y="10"/>
                    </a:cubicBezTo>
                    <a:cubicBezTo>
                      <a:pt x="53" y="10"/>
                      <a:pt x="53" y="10"/>
                      <a:pt x="53" y="10"/>
                    </a:cubicBezTo>
                    <a:cubicBezTo>
                      <a:pt x="53" y="10"/>
                      <a:pt x="53" y="10"/>
                      <a:pt x="53" y="10"/>
                    </a:cubicBezTo>
                    <a:cubicBezTo>
                      <a:pt x="53" y="10"/>
                      <a:pt x="53" y="10"/>
                      <a:pt x="53" y="10"/>
                    </a:cubicBezTo>
                    <a:cubicBezTo>
                      <a:pt x="53" y="10"/>
                      <a:pt x="53" y="10"/>
                      <a:pt x="53" y="10"/>
                    </a:cubicBezTo>
                    <a:cubicBezTo>
                      <a:pt x="53" y="10"/>
                      <a:pt x="53" y="10"/>
                      <a:pt x="53" y="10"/>
                    </a:cubicBezTo>
                    <a:close/>
                    <a:moveTo>
                      <a:pt x="53" y="11"/>
                    </a:moveTo>
                    <a:cubicBezTo>
                      <a:pt x="53" y="11"/>
                      <a:pt x="53" y="11"/>
                      <a:pt x="53" y="11"/>
                    </a:cubicBezTo>
                    <a:cubicBezTo>
                      <a:pt x="53" y="11"/>
                      <a:pt x="53" y="11"/>
                      <a:pt x="53" y="11"/>
                    </a:cubicBezTo>
                    <a:cubicBezTo>
                      <a:pt x="53" y="11"/>
                      <a:pt x="53" y="11"/>
                      <a:pt x="53" y="11"/>
                    </a:cubicBezTo>
                    <a:cubicBezTo>
                      <a:pt x="53" y="11"/>
                      <a:pt x="53" y="11"/>
                      <a:pt x="53" y="11"/>
                    </a:cubicBezTo>
                    <a:cubicBezTo>
                      <a:pt x="53" y="11"/>
                      <a:pt x="53" y="11"/>
                      <a:pt x="53" y="11"/>
                    </a:cubicBezTo>
                    <a:close/>
                    <a:moveTo>
                      <a:pt x="61" y="11"/>
                    </a:moveTo>
                    <a:cubicBezTo>
                      <a:pt x="61" y="11"/>
                      <a:pt x="61" y="11"/>
                      <a:pt x="61" y="11"/>
                    </a:cubicBezTo>
                    <a:cubicBezTo>
                      <a:pt x="61" y="11"/>
                      <a:pt x="61" y="11"/>
                      <a:pt x="61" y="11"/>
                    </a:cubicBezTo>
                    <a:cubicBezTo>
                      <a:pt x="61" y="11"/>
                      <a:pt x="61" y="11"/>
                      <a:pt x="61" y="11"/>
                    </a:cubicBezTo>
                    <a:cubicBezTo>
                      <a:pt x="61" y="11"/>
                      <a:pt x="61" y="11"/>
                      <a:pt x="61" y="11"/>
                    </a:cubicBezTo>
                    <a:close/>
                    <a:moveTo>
                      <a:pt x="45" y="11"/>
                    </a:moveTo>
                    <a:cubicBezTo>
                      <a:pt x="45" y="11"/>
                      <a:pt x="45" y="11"/>
                      <a:pt x="44" y="11"/>
                    </a:cubicBezTo>
                    <a:cubicBezTo>
                      <a:pt x="45" y="11"/>
                      <a:pt x="45" y="11"/>
                      <a:pt x="46" y="11"/>
                    </a:cubicBezTo>
                    <a:cubicBezTo>
                      <a:pt x="46" y="11"/>
                      <a:pt x="46" y="11"/>
                      <a:pt x="46" y="11"/>
                    </a:cubicBezTo>
                    <a:cubicBezTo>
                      <a:pt x="45" y="11"/>
                      <a:pt x="45" y="11"/>
                      <a:pt x="45" y="11"/>
                    </a:cubicBezTo>
                    <a:cubicBezTo>
                      <a:pt x="45" y="11"/>
                      <a:pt x="45" y="11"/>
                      <a:pt x="45" y="11"/>
                    </a:cubicBezTo>
                    <a:close/>
                    <a:moveTo>
                      <a:pt x="59" y="11"/>
                    </a:moveTo>
                    <a:cubicBezTo>
                      <a:pt x="59" y="11"/>
                      <a:pt x="59" y="11"/>
                      <a:pt x="59" y="11"/>
                    </a:cubicBezTo>
                    <a:cubicBezTo>
                      <a:pt x="60" y="11"/>
                      <a:pt x="60" y="11"/>
                      <a:pt x="60" y="11"/>
                    </a:cubicBezTo>
                    <a:cubicBezTo>
                      <a:pt x="60" y="11"/>
                      <a:pt x="59" y="11"/>
                      <a:pt x="59" y="11"/>
                    </a:cubicBezTo>
                    <a:cubicBezTo>
                      <a:pt x="59" y="11"/>
                      <a:pt x="59" y="11"/>
                      <a:pt x="59" y="11"/>
                    </a:cubicBezTo>
                    <a:close/>
                    <a:moveTo>
                      <a:pt x="53" y="11"/>
                    </a:moveTo>
                    <a:cubicBezTo>
                      <a:pt x="53" y="11"/>
                      <a:pt x="53" y="11"/>
                      <a:pt x="53" y="11"/>
                    </a:cubicBezTo>
                    <a:cubicBezTo>
                      <a:pt x="53" y="11"/>
                      <a:pt x="53" y="11"/>
                      <a:pt x="53" y="11"/>
                    </a:cubicBezTo>
                    <a:cubicBezTo>
                      <a:pt x="53" y="11"/>
                      <a:pt x="53" y="11"/>
                      <a:pt x="53" y="11"/>
                    </a:cubicBezTo>
                    <a:cubicBezTo>
                      <a:pt x="53" y="11"/>
                      <a:pt x="53" y="11"/>
                      <a:pt x="53" y="11"/>
                    </a:cubicBezTo>
                    <a:cubicBezTo>
                      <a:pt x="53" y="11"/>
                      <a:pt x="53" y="11"/>
                      <a:pt x="53" y="11"/>
                    </a:cubicBezTo>
                    <a:close/>
                    <a:moveTo>
                      <a:pt x="60" y="11"/>
                    </a:moveTo>
                    <a:cubicBezTo>
                      <a:pt x="59" y="11"/>
                      <a:pt x="59" y="11"/>
                      <a:pt x="59" y="11"/>
                    </a:cubicBezTo>
                    <a:cubicBezTo>
                      <a:pt x="59" y="11"/>
                      <a:pt x="59" y="12"/>
                      <a:pt x="59" y="12"/>
                    </a:cubicBezTo>
                    <a:cubicBezTo>
                      <a:pt x="59" y="12"/>
                      <a:pt x="59" y="11"/>
                      <a:pt x="59" y="11"/>
                    </a:cubicBezTo>
                    <a:cubicBezTo>
                      <a:pt x="59" y="11"/>
                      <a:pt x="60" y="11"/>
                      <a:pt x="60" y="11"/>
                    </a:cubicBezTo>
                    <a:cubicBezTo>
                      <a:pt x="59" y="11"/>
                      <a:pt x="59" y="12"/>
                      <a:pt x="59" y="12"/>
                    </a:cubicBezTo>
                    <a:cubicBezTo>
                      <a:pt x="59" y="12"/>
                      <a:pt x="60" y="11"/>
                      <a:pt x="60" y="11"/>
                    </a:cubicBezTo>
                    <a:cubicBezTo>
                      <a:pt x="60" y="11"/>
                      <a:pt x="60" y="11"/>
                      <a:pt x="60" y="11"/>
                    </a:cubicBezTo>
                    <a:cubicBezTo>
                      <a:pt x="60" y="11"/>
                      <a:pt x="60" y="11"/>
                      <a:pt x="60" y="11"/>
                    </a:cubicBezTo>
                    <a:close/>
                    <a:moveTo>
                      <a:pt x="53" y="11"/>
                    </a:moveTo>
                    <a:cubicBezTo>
                      <a:pt x="53" y="11"/>
                      <a:pt x="53" y="11"/>
                      <a:pt x="53" y="11"/>
                    </a:cubicBezTo>
                    <a:cubicBezTo>
                      <a:pt x="53" y="11"/>
                      <a:pt x="53" y="11"/>
                      <a:pt x="53" y="11"/>
                    </a:cubicBezTo>
                    <a:cubicBezTo>
                      <a:pt x="53" y="11"/>
                      <a:pt x="53" y="11"/>
                      <a:pt x="53" y="11"/>
                    </a:cubicBezTo>
                    <a:cubicBezTo>
                      <a:pt x="53" y="11"/>
                      <a:pt x="53" y="11"/>
                      <a:pt x="53" y="11"/>
                    </a:cubicBezTo>
                    <a:close/>
                    <a:moveTo>
                      <a:pt x="62" y="14"/>
                    </a:moveTo>
                    <a:cubicBezTo>
                      <a:pt x="62" y="13"/>
                      <a:pt x="62" y="13"/>
                      <a:pt x="62" y="13"/>
                    </a:cubicBezTo>
                    <a:cubicBezTo>
                      <a:pt x="62" y="13"/>
                      <a:pt x="62" y="13"/>
                      <a:pt x="62" y="13"/>
                    </a:cubicBezTo>
                    <a:cubicBezTo>
                      <a:pt x="62" y="13"/>
                      <a:pt x="62" y="14"/>
                      <a:pt x="62" y="14"/>
                    </a:cubicBezTo>
                    <a:cubicBezTo>
                      <a:pt x="62" y="14"/>
                      <a:pt x="62" y="14"/>
                      <a:pt x="62" y="14"/>
                    </a:cubicBezTo>
                    <a:cubicBezTo>
                      <a:pt x="62" y="14"/>
                      <a:pt x="62" y="14"/>
                      <a:pt x="62" y="14"/>
                    </a:cubicBezTo>
                    <a:cubicBezTo>
                      <a:pt x="62" y="14"/>
                      <a:pt x="62" y="14"/>
                      <a:pt x="62" y="14"/>
                    </a:cubicBezTo>
                    <a:close/>
                    <a:moveTo>
                      <a:pt x="61" y="14"/>
                    </a:moveTo>
                    <a:cubicBezTo>
                      <a:pt x="61" y="14"/>
                      <a:pt x="61" y="14"/>
                      <a:pt x="61" y="14"/>
                    </a:cubicBezTo>
                    <a:cubicBezTo>
                      <a:pt x="61" y="14"/>
                      <a:pt x="61" y="14"/>
                      <a:pt x="61" y="14"/>
                    </a:cubicBezTo>
                    <a:cubicBezTo>
                      <a:pt x="61" y="14"/>
                      <a:pt x="61" y="14"/>
                      <a:pt x="61" y="14"/>
                    </a:cubicBezTo>
                    <a:cubicBezTo>
                      <a:pt x="61" y="14"/>
                      <a:pt x="61" y="14"/>
                      <a:pt x="61" y="14"/>
                    </a:cubicBezTo>
                    <a:close/>
                    <a:moveTo>
                      <a:pt x="62" y="14"/>
                    </a:moveTo>
                    <a:cubicBezTo>
                      <a:pt x="62" y="14"/>
                      <a:pt x="62" y="14"/>
                      <a:pt x="62" y="14"/>
                    </a:cubicBezTo>
                    <a:cubicBezTo>
                      <a:pt x="62" y="14"/>
                      <a:pt x="62" y="14"/>
                      <a:pt x="62" y="14"/>
                    </a:cubicBezTo>
                    <a:cubicBezTo>
                      <a:pt x="62" y="14"/>
                      <a:pt x="62" y="14"/>
                      <a:pt x="62" y="14"/>
                    </a:cubicBezTo>
                    <a:cubicBezTo>
                      <a:pt x="62" y="14"/>
                      <a:pt x="62" y="14"/>
                      <a:pt x="62" y="14"/>
                    </a:cubicBezTo>
                    <a:close/>
                    <a:moveTo>
                      <a:pt x="49" y="14"/>
                    </a:moveTo>
                    <a:cubicBezTo>
                      <a:pt x="49" y="14"/>
                      <a:pt x="49" y="14"/>
                      <a:pt x="49" y="14"/>
                    </a:cubicBezTo>
                    <a:cubicBezTo>
                      <a:pt x="49" y="14"/>
                      <a:pt x="49" y="14"/>
                      <a:pt x="49" y="14"/>
                    </a:cubicBezTo>
                    <a:cubicBezTo>
                      <a:pt x="49" y="14"/>
                      <a:pt x="49" y="14"/>
                      <a:pt x="49" y="14"/>
                    </a:cubicBezTo>
                    <a:cubicBezTo>
                      <a:pt x="49" y="14"/>
                      <a:pt x="49" y="14"/>
                      <a:pt x="49" y="14"/>
                    </a:cubicBezTo>
                    <a:close/>
                    <a:moveTo>
                      <a:pt x="60" y="15"/>
                    </a:moveTo>
                    <a:cubicBezTo>
                      <a:pt x="61" y="15"/>
                      <a:pt x="61" y="15"/>
                      <a:pt x="61" y="15"/>
                    </a:cubicBezTo>
                    <a:cubicBezTo>
                      <a:pt x="61" y="15"/>
                      <a:pt x="61" y="15"/>
                      <a:pt x="61" y="15"/>
                    </a:cubicBezTo>
                    <a:cubicBezTo>
                      <a:pt x="61" y="15"/>
                      <a:pt x="61" y="15"/>
                      <a:pt x="61" y="15"/>
                    </a:cubicBezTo>
                    <a:cubicBezTo>
                      <a:pt x="61" y="15"/>
                      <a:pt x="60" y="15"/>
                      <a:pt x="60" y="15"/>
                    </a:cubicBezTo>
                    <a:cubicBezTo>
                      <a:pt x="60" y="15"/>
                      <a:pt x="60" y="15"/>
                      <a:pt x="60" y="15"/>
                    </a:cubicBezTo>
                    <a:cubicBezTo>
                      <a:pt x="60" y="15"/>
                      <a:pt x="60" y="15"/>
                      <a:pt x="60" y="15"/>
                    </a:cubicBezTo>
                    <a:close/>
                    <a:moveTo>
                      <a:pt x="48" y="16"/>
                    </a:moveTo>
                    <a:cubicBezTo>
                      <a:pt x="48" y="16"/>
                      <a:pt x="48" y="16"/>
                      <a:pt x="48" y="16"/>
                    </a:cubicBezTo>
                    <a:cubicBezTo>
                      <a:pt x="48" y="16"/>
                      <a:pt x="48" y="16"/>
                      <a:pt x="48" y="16"/>
                    </a:cubicBezTo>
                    <a:cubicBezTo>
                      <a:pt x="48" y="16"/>
                      <a:pt x="48" y="16"/>
                      <a:pt x="48" y="16"/>
                    </a:cubicBezTo>
                    <a:cubicBezTo>
                      <a:pt x="48" y="16"/>
                      <a:pt x="48" y="16"/>
                      <a:pt x="48" y="16"/>
                    </a:cubicBezTo>
                    <a:close/>
                    <a:moveTo>
                      <a:pt x="52" y="16"/>
                    </a:moveTo>
                    <a:cubicBezTo>
                      <a:pt x="52" y="16"/>
                      <a:pt x="52" y="16"/>
                      <a:pt x="52" y="16"/>
                    </a:cubicBezTo>
                    <a:cubicBezTo>
                      <a:pt x="52" y="16"/>
                      <a:pt x="52" y="16"/>
                      <a:pt x="52" y="16"/>
                    </a:cubicBezTo>
                    <a:cubicBezTo>
                      <a:pt x="52" y="16"/>
                      <a:pt x="52" y="16"/>
                      <a:pt x="52" y="16"/>
                    </a:cubicBezTo>
                    <a:cubicBezTo>
                      <a:pt x="52" y="16"/>
                      <a:pt x="52" y="16"/>
                      <a:pt x="52" y="16"/>
                    </a:cubicBezTo>
                    <a:close/>
                    <a:moveTo>
                      <a:pt x="51" y="16"/>
                    </a:moveTo>
                    <a:cubicBezTo>
                      <a:pt x="51" y="16"/>
                      <a:pt x="51" y="16"/>
                      <a:pt x="52" y="16"/>
                    </a:cubicBezTo>
                    <a:cubicBezTo>
                      <a:pt x="51" y="16"/>
                      <a:pt x="51" y="16"/>
                      <a:pt x="51" y="16"/>
                    </a:cubicBezTo>
                    <a:cubicBezTo>
                      <a:pt x="51" y="16"/>
                      <a:pt x="51" y="16"/>
                      <a:pt x="51" y="16"/>
                    </a:cubicBezTo>
                    <a:cubicBezTo>
                      <a:pt x="51" y="16"/>
                      <a:pt x="51" y="16"/>
                      <a:pt x="51" y="16"/>
                    </a:cubicBezTo>
                    <a:close/>
                    <a:moveTo>
                      <a:pt x="52" y="16"/>
                    </a:moveTo>
                    <a:cubicBezTo>
                      <a:pt x="51" y="16"/>
                      <a:pt x="51" y="16"/>
                      <a:pt x="51" y="16"/>
                    </a:cubicBezTo>
                    <a:cubicBezTo>
                      <a:pt x="51" y="16"/>
                      <a:pt x="51" y="17"/>
                      <a:pt x="51" y="17"/>
                    </a:cubicBezTo>
                    <a:cubicBezTo>
                      <a:pt x="51" y="17"/>
                      <a:pt x="51" y="17"/>
                      <a:pt x="52" y="16"/>
                    </a:cubicBezTo>
                    <a:cubicBezTo>
                      <a:pt x="52" y="16"/>
                      <a:pt x="52" y="16"/>
                      <a:pt x="52" y="16"/>
                    </a:cubicBezTo>
                    <a:close/>
                    <a:moveTo>
                      <a:pt x="39" y="17"/>
                    </a:moveTo>
                    <a:cubicBezTo>
                      <a:pt x="38" y="16"/>
                      <a:pt x="38" y="16"/>
                      <a:pt x="38" y="16"/>
                    </a:cubicBezTo>
                    <a:cubicBezTo>
                      <a:pt x="39" y="17"/>
                      <a:pt x="39" y="17"/>
                      <a:pt x="39" y="18"/>
                    </a:cubicBezTo>
                    <a:cubicBezTo>
                      <a:pt x="39" y="18"/>
                      <a:pt x="39" y="17"/>
                      <a:pt x="39" y="17"/>
                    </a:cubicBezTo>
                    <a:cubicBezTo>
                      <a:pt x="39" y="17"/>
                      <a:pt x="39" y="17"/>
                      <a:pt x="39" y="17"/>
                    </a:cubicBezTo>
                    <a:close/>
                    <a:moveTo>
                      <a:pt x="45" y="17"/>
                    </a:moveTo>
                    <a:cubicBezTo>
                      <a:pt x="45" y="17"/>
                      <a:pt x="45" y="17"/>
                      <a:pt x="44" y="16"/>
                    </a:cubicBezTo>
                    <a:cubicBezTo>
                      <a:pt x="44" y="18"/>
                      <a:pt x="45" y="19"/>
                      <a:pt x="45" y="20"/>
                    </a:cubicBezTo>
                    <a:cubicBezTo>
                      <a:pt x="45" y="20"/>
                      <a:pt x="45" y="20"/>
                      <a:pt x="46" y="20"/>
                    </a:cubicBezTo>
                    <a:cubicBezTo>
                      <a:pt x="46" y="20"/>
                      <a:pt x="46" y="20"/>
                      <a:pt x="46" y="20"/>
                    </a:cubicBezTo>
                    <a:cubicBezTo>
                      <a:pt x="46" y="20"/>
                      <a:pt x="46" y="20"/>
                      <a:pt x="46" y="20"/>
                    </a:cubicBezTo>
                    <a:cubicBezTo>
                      <a:pt x="46" y="20"/>
                      <a:pt x="46" y="20"/>
                      <a:pt x="46" y="20"/>
                    </a:cubicBezTo>
                    <a:cubicBezTo>
                      <a:pt x="45" y="19"/>
                      <a:pt x="45" y="18"/>
                      <a:pt x="45" y="17"/>
                    </a:cubicBezTo>
                    <a:cubicBezTo>
                      <a:pt x="45" y="17"/>
                      <a:pt x="45" y="17"/>
                      <a:pt x="45" y="17"/>
                    </a:cubicBezTo>
                    <a:cubicBezTo>
                      <a:pt x="45" y="17"/>
                      <a:pt x="45" y="17"/>
                      <a:pt x="45" y="17"/>
                    </a:cubicBezTo>
                    <a:cubicBezTo>
                      <a:pt x="45" y="17"/>
                      <a:pt x="45" y="17"/>
                      <a:pt x="45" y="17"/>
                    </a:cubicBezTo>
                    <a:close/>
                    <a:moveTo>
                      <a:pt x="61" y="17"/>
                    </a:moveTo>
                    <a:cubicBezTo>
                      <a:pt x="61" y="17"/>
                      <a:pt x="61" y="17"/>
                      <a:pt x="61" y="17"/>
                    </a:cubicBezTo>
                    <a:cubicBezTo>
                      <a:pt x="61" y="17"/>
                      <a:pt x="62" y="17"/>
                      <a:pt x="62" y="17"/>
                    </a:cubicBezTo>
                    <a:cubicBezTo>
                      <a:pt x="62" y="17"/>
                      <a:pt x="61" y="17"/>
                      <a:pt x="61" y="17"/>
                    </a:cubicBezTo>
                    <a:cubicBezTo>
                      <a:pt x="61" y="17"/>
                      <a:pt x="61" y="17"/>
                      <a:pt x="61" y="17"/>
                    </a:cubicBezTo>
                    <a:close/>
                    <a:moveTo>
                      <a:pt x="62" y="17"/>
                    </a:moveTo>
                    <a:cubicBezTo>
                      <a:pt x="62" y="17"/>
                      <a:pt x="62" y="17"/>
                      <a:pt x="62" y="17"/>
                    </a:cubicBezTo>
                    <a:cubicBezTo>
                      <a:pt x="62" y="17"/>
                      <a:pt x="62" y="17"/>
                      <a:pt x="62" y="17"/>
                    </a:cubicBezTo>
                    <a:cubicBezTo>
                      <a:pt x="62" y="17"/>
                      <a:pt x="62" y="17"/>
                      <a:pt x="62" y="17"/>
                    </a:cubicBezTo>
                    <a:close/>
                    <a:moveTo>
                      <a:pt x="46" y="17"/>
                    </a:move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lose/>
                    <a:moveTo>
                      <a:pt x="61" y="17"/>
                    </a:moveTo>
                    <a:cubicBezTo>
                      <a:pt x="61" y="17"/>
                      <a:pt x="61" y="17"/>
                      <a:pt x="61" y="17"/>
                    </a:cubicBezTo>
                    <a:cubicBezTo>
                      <a:pt x="61" y="18"/>
                      <a:pt x="61" y="18"/>
                      <a:pt x="61" y="18"/>
                    </a:cubicBezTo>
                    <a:cubicBezTo>
                      <a:pt x="61" y="18"/>
                      <a:pt x="62" y="18"/>
                      <a:pt x="62" y="17"/>
                    </a:cubicBezTo>
                    <a:cubicBezTo>
                      <a:pt x="62" y="17"/>
                      <a:pt x="62" y="17"/>
                      <a:pt x="61" y="17"/>
                    </a:cubicBezTo>
                    <a:cubicBezTo>
                      <a:pt x="61" y="17"/>
                      <a:pt x="61" y="17"/>
                      <a:pt x="61" y="17"/>
                    </a:cubicBezTo>
                    <a:close/>
                    <a:moveTo>
                      <a:pt x="62" y="17"/>
                    </a:moveTo>
                    <a:cubicBezTo>
                      <a:pt x="62" y="17"/>
                      <a:pt x="62" y="17"/>
                      <a:pt x="62" y="17"/>
                    </a:cubicBezTo>
                    <a:cubicBezTo>
                      <a:pt x="62" y="17"/>
                      <a:pt x="62" y="17"/>
                      <a:pt x="62" y="17"/>
                    </a:cubicBezTo>
                    <a:cubicBezTo>
                      <a:pt x="62" y="17"/>
                      <a:pt x="62" y="17"/>
                      <a:pt x="62" y="17"/>
                    </a:cubicBezTo>
                    <a:cubicBezTo>
                      <a:pt x="62" y="17"/>
                      <a:pt x="62" y="17"/>
                      <a:pt x="62" y="17"/>
                    </a:cubicBezTo>
                    <a:close/>
                    <a:moveTo>
                      <a:pt x="46" y="18"/>
                    </a:moveTo>
                    <a:cubicBezTo>
                      <a:pt x="46" y="18"/>
                      <a:pt x="46" y="17"/>
                      <a:pt x="46" y="17"/>
                    </a:cubicBezTo>
                    <a:cubicBezTo>
                      <a:pt x="46" y="18"/>
                      <a:pt x="46" y="18"/>
                      <a:pt x="46" y="18"/>
                    </a:cubicBezTo>
                    <a:cubicBezTo>
                      <a:pt x="46" y="18"/>
                      <a:pt x="46" y="18"/>
                      <a:pt x="46" y="18"/>
                    </a:cubicBezTo>
                    <a:cubicBezTo>
                      <a:pt x="46" y="18"/>
                      <a:pt x="46" y="18"/>
                      <a:pt x="46" y="18"/>
                    </a:cubicBezTo>
                    <a:cubicBezTo>
                      <a:pt x="46" y="18"/>
                      <a:pt x="46" y="18"/>
                      <a:pt x="46" y="18"/>
                    </a:cubicBezTo>
                    <a:close/>
                    <a:moveTo>
                      <a:pt x="47" y="18"/>
                    </a:moveTo>
                    <a:cubicBezTo>
                      <a:pt x="47" y="18"/>
                      <a:pt x="46" y="18"/>
                      <a:pt x="46" y="18"/>
                    </a:cubicBezTo>
                    <a:cubicBezTo>
                      <a:pt x="46" y="18"/>
                      <a:pt x="47" y="18"/>
                      <a:pt x="47" y="18"/>
                    </a:cubicBezTo>
                    <a:cubicBezTo>
                      <a:pt x="47" y="18"/>
                      <a:pt x="47" y="18"/>
                      <a:pt x="47" y="18"/>
                    </a:cubicBezTo>
                    <a:cubicBezTo>
                      <a:pt x="47" y="18"/>
                      <a:pt x="47" y="18"/>
                      <a:pt x="47" y="18"/>
                    </a:cubicBezTo>
                    <a:close/>
                    <a:moveTo>
                      <a:pt x="50" y="18"/>
                    </a:moveTo>
                    <a:cubicBezTo>
                      <a:pt x="50" y="18"/>
                      <a:pt x="50" y="18"/>
                      <a:pt x="50" y="18"/>
                    </a:cubicBezTo>
                    <a:cubicBezTo>
                      <a:pt x="50" y="18"/>
                      <a:pt x="50" y="18"/>
                      <a:pt x="50" y="18"/>
                    </a:cubicBezTo>
                    <a:cubicBezTo>
                      <a:pt x="50" y="18"/>
                      <a:pt x="50" y="18"/>
                      <a:pt x="50" y="18"/>
                    </a:cubicBezTo>
                    <a:cubicBezTo>
                      <a:pt x="50" y="18"/>
                      <a:pt x="50" y="18"/>
                      <a:pt x="50" y="18"/>
                    </a:cubicBezTo>
                    <a:close/>
                    <a:moveTo>
                      <a:pt x="46" y="18"/>
                    </a:moveTo>
                    <a:cubicBezTo>
                      <a:pt x="46" y="18"/>
                      <a:pt x="47" y="18"/>
                      <a:pt x="47" y="18"/>
                    </a:cubicBezTo>
                    <a:cubicBezTo>
                      <a:pt x="47" y="18"/>
                      <a:pt x="47" y="18"/>
                      <a:pt x="47" y="18"/>
                    </a:cubicBezTo>
                    <a:cubicBezTo>
                      <a:pt x="47" y="18"/>
                      <a:pt x="46" y="18"/>
                      <a:pt x="46" y="18"/>
                    </a:cubicBezTo>
                    <a:cubicBezTo>
                      <a:pt x="46" y="18"/>
                      <a:pt x="46" y="18"/>
                      <a:pt x="46" y="18"/>
                    </a:cubicBezTo>
                    <a:close/>
                    <a:moveTo>
                      <a:pt x="47" y="18"/>
                    </a:moveTo>
                    <a:cubicBezTo>
                      <a:pt x="47" y="18"/>
                      <a:pt x="47" y="18"/>
                      <a:pt x="47" y="18"/>
                    </a:cubicBezTo>
                    <a:cubicBezTo>
                      <a:pt x="47" y="19"/>
                      <a:pt x="47" y="19"/>
                      <a:pt x="47" y="19"/>
                    </a:cubicBezTo>
                    <a:cubicBezTo>
                      <a:pt x="47" y="19"/>
                      <a:pt x="47" y="19"/>
                      <a:pt x="47" y="18"/>
                    </a:cubicBezTo>
                    <a:cubicBezTo>
                      <a:pt x="47" y="18"/>
                      <a:pt x="47" y="18"/>
                      <a:pt x="47" y="18"/>
                    </a:cubicBezTo>
                    <a:close/>
                    <a:moveTo>
                      <a:pt x="50" y="19"/>
                    </a:moveTo>
                    <a:cubicBezTo>
                      <a:pt x="50" y="19"/>
                      <a:pt x="50" y="18"/>
                      <a:pt x="49" y="18"/>
                    </a:cubicBezTo>
                    <a:cubicBezTo>
                      <a:pt x="50" y="19"/>
                      <a:pt x="50" y="19"/>
                      <a:pt x="50" y="19"/>
                    </a:cubicBezTo>
                    <a:cubicBezTo>
                      <a:pt x="50" y="19"/>
                      <a:pt x="50" y="19"/>
                      <a:pt x="50" y="19"/>
                    </a:cubicBezTo>
                    <a:cubicBezTo>
                      <a:pt x="50" y="19"/>
                      <a:pt x="50" y="19"/>
                      <a:pt x="50" y="19"/>
                    </a:cubicBezTo>
                    <a:cubicBezTo>
                      <a:pt x="50" y="19"/>
                      <a:pt x="50" y="19"/>
                      <a:pt x="50" y="19"/>
                    </a:cubicBezTo>
                    <a:close/>
                    <a:moveTo>
                      <a:pt x="42" y="19"/>
                    </a:moveTo>
                    <a:cubicBezTo>
                      <a:pt x="42" y="19"/>
                      <a:pt x="41" y="18"/>
                      <a:pt x="41" y="18"/>
                    </a:cubicBezTo>
                    <a:cubicBezTo>
                      <a:pt x="41" y="18"/>
                      <a:pt x="42" y="20"/>
                      <a:pt x="42" y="20"/>
                    </a:cubicBezTo>
                    <a:cubicBezTo>
                      <a:pt x="42" y="20"/>
                      <a:pt x="42" y="20"/>
                      <a:pt x="42" y="20"/>
                    </a:cubicBezTo>
                    <a:cubicBezTo>
                      <a:pt x="42" y="20"/>
                      <a:pt x="43" y="21"/>
                      <a:pt x="44" y="21"/>
                    </a:cubicBezTo>
                    <a:cubicBezTo>
                      <a:pt x="44" y="21"/>
                      <a:pt x="44" y="21"/>
                      <a:pt x="44" y="21"/>
                    </a:cubicBezTo>
                    <a:cubicBezTo>
                      <a:pt x="43" y="20"/>
                      <a:pt x="43" y="20"/>
                      <a:pt x="43" y="20"/>
                    </a:cubicBezTo>
                    <a:cubicBezTo>
                      <a:pt x="43" y="20"/>
                      <a:pt x="43" y="20"/>
                      <a:pt x="43" y="20"/>
                    </a:cubicBezTo>
                    <a:cubicBezTo>
                      <a:pt x="43" y="20"/>
                      <a:pt x="42" y="19"/>
                      <a:pt x="42" y="19"/>
                    </a:cubicBezTo>
                    <a:cubicBezTo>
                      <a:pt x="42" y="19"/>
                      <a:pt x="42" y="19"/>
                      <a:pt x="42" y="19"/>
                    </a:cubicBezTo>
                    <a:close/>
                    <a:moveTo>
                      <a:pt x="46" y="19"/>
                    </a:moveTo>
                    <a:cubicBezTo>
                      <a:pt x="46" y="19"/>
                      <a:pt x="46" y="19"/>
                      <a:pt x="46" y="19"/>
                    </a:cubicBezTo>
                    <a:cubicBezTo>
                      <a:pt x="46" y="19"/>
                      <a:pt x="46" y="20"/>
                      <a:pt x="46" y="20"/>
                    </a:cubicBezTo>
                    <a:cubicBezTo>
                      <a:pt x="46" y="20"/>
                      <a:pt x="46" y="20"/>
                      <a:pt x="46" y="20"/>
                    </a:cubicBezTo>
                    <a:cubicBezTo>
                      <a:pt x="46" y="20"/>
                      <a:pt x="46" y="19"/>
                      <a:pt x="46" y="19"/>
                    </a:cubicBezTo>
                    <a:cubicBezTo>
                      <a:pt x="46" y="19"/>
                      <a:pt x="46" y="19"/>
                      <a:pt x="46" y="19"/>
                    </a:cubicBezTo>
                    <a:cubicBezTo>
                      <a:pt x="46" y="19"/>
                      <a:pt x="46" y="19"/>
                      <a:pt x="46" y="19"/>
                    </a:cubicBezTo>
                    <a:cubicBezTo>
                      <a:pt x="46" y="19"/>
                      <a:pt x="46" y="19"/>
                      <a:pt x="46" y="19"/>
                    </a:cubicBezTo>
                    <a:cubicBezTo>
                      <a:pt x="46" y="19"/>
                      <a:pt x="46" y="19"/>
                      <a:pt x="46" y="19"/>
                    </a:cubicBezTo>
                    <a:close/>
                    <a:moveTo>
                      <a:pt x="50" y="19"/>
                    </a:moveTo>
                    <a:cubicBezTo>
                      <a:pt x="50" y="19"/>
                      <a:pt x="50" y="19"/>
                      <a:pt x="50" y="19"/>
                    </a:cubicBezTo>
                    <a:cubicBezTo>
                      <a:pt x="51" y="19"/>
                      <a:pt x="51" y="20"/>
                      <a:pt x="51" y="20"/>
                    </a:cubicBezTo>
                    <a:cubicBezTo>
                      <a:pt x="50" y="20"/>
                      <a:pt x="50" y="19"/>
                      <a:pt x="50" y="19"/>
                    </a:cubicBezTo>
                    <a:cubicBezTo>
                      <a:pt x="50" y="19"/>
                      <a:pt x="50" y="19"/>
                      <a:pt x="50" y="19"/>
                    </a:cubicBezTo>
                    <a:close/>
                    <a:moveTo>
                      <a:pt x="48" y="19"/>
                    </a:moveTo>
                    <a:cubicBezTo>
                      <a:pt x="47" y="19"/>
                      <a:pt x="47" y="19"/>
                      <a:pt x="47" y="19"/>
                    </a:cubicBezTo>
                    <a:cubicBezTo>
                      <a:pt x="47" y="19"/>
                      <a:pt x="47" y="19"/>
                      <a:pt x="47" y="20"/>
                    </a:cubicBezTo>
                    <a:cubicBezTo>
                      <a:pt x="47" y="20"/>
                      <a:pt x="47" y="20"/>
                      <a:pt x="48" y="20"/>
                    </a:cubicBezTo>
                    <a:cubicBezTo>
                      <a:pt x="48" y="20"/>
                      <a:pt x="47" y="20"/>
                      <a:pt x="47" y="20"/>
                    </a:cubicBezTo>
                    <a:cubicBezTo>
                      <a:pt x="47" y="20"/>
                      <a:pt x="48" y="20"/>
                      <a:pt x="48" y="20"/>
                    </a:cubicBezTo>
                    <a:cubicBezTo>
                      <a:pt x="48" y="20"/>
                      <a:pt x="48" y="20"/>
                      <a:pt x="48" y="20"/>
                    </a:cubicBezTo>
                    <a:cubicBezTo>
                      <a:pt x="48" y="20"/>
                      <a:pt x="48" y="20"/>
                      <a:pt x="48" y="20"/>
                    </a:cubicBezTo>
                    <a:cubicBezTo>
                      <a:pt x="48" y="20"/>
                      <a:pt x="48" y="20"/>
                      <a:pt x="48" y="20"/>
                    </a:cubicBezTo>
                    <a:cubicBezTo>
                      <a:pt x="48" y="20"/>
                      <a:pt x="48" y="20"/>
                      <a:pt x="48" y="19"/>
                    </a:cubicBezTo>
                    <a:cubicBezTo>
                      <a:pt x="48" y="19"/>
                      <a:pt x="48" y="19"/>
                      <a:pt x="48" y="19"/>
                    </a:cubicBezTo>
                    <a:cubicBezTo>
                      <a:pt x="48" y="19"/>
                      <a:pt x="48" y="19"/>
                      <a:pt x="48" y="19"/>
                    </a:cubicBezTo>
                    <a:cubicBezTo>
                      <a:pt x="48" y="19"/>
                      <a:pt x="48" y="19"/>
                      <a:pt x="48" y="19"/>
                    </a:cubicBezTo>
                    <a:close/>
                    <a:moveTo>
                      <a:pt x="39" y="20"/>
                    </a:moveTo>
                    <a:cubicBezTo>
                      <a:pt x="39" y="19"/>
                      <a:pt x="39" y="19"/>
                      <a:pt x="39" y="20"/>
                    </a:cubicBezTo>
                    <a:cubicBezTo>
                      <a:pt x="39" y="20"/>
                      <a:pt x="39" y="20"/>
                      <a:pt x="39" y="20"/>
                    </a:cubicBezTo>
                    <a:cubicBezTo>
                      <a:pt x="39" y="20"/>
                      <a:pt x="39" y="20"/>
                      <a:pt x="39" y="20"/>
                    </a:cubicBezTo>
                    <a:cubicBezTo>
                      <a:pt x="39" y="20"/>
                      <a:pt x="39" y="20"/>
                      <a:pt x="39" y="20"/>
                    </a:cubicBezTo>
                    <a:close/>
                    <a:moveTo>
                      <a:pt x="40" y="20"/>
                    </a:moveTo>
                    <a:cubicBezTo>
                      <a:pt x="40" y="20"/>
                      <a:pt x="40" y="20"/>
                      <a:pt x="40" y="20"/>
                    </a:cubicBezTo>
                    <a:cubicBezTo>
                      <a:pt x="40" y="20"/>
                      <a:pt x="40" y="20"/>
                      <a:pt x="40" y="20"/>
                    </a:cubicBezTo>
                    <a:cubicBezTo>
                      <a:pt x="40" y="20"/>
                      <a:pt x="40" y="20"/>
                      <a:pt x="40" y="20"/>
                    </a:cubicBezTo>
                    <a:cubicBezTo>
                      <a:pt x="40" y="20"/>
                      <a:pt x="40" y="20"/>
                      <a:pt x="40" y="20"/>
                    </a:cubicBezTo>
                    <a:cubicBezTo>
                      <a:pt x="40" y="20"/>
                      <a:pt x="40" y="20"/>
                      <a:pt x="40" y="20"/>
                    </a:cubicBezTo>
                    <a:close/>
                    <a:moveTo>
                      <a:pt x="82" y="20"/>
                    </a:moveTo>
                    <a:cubicBezTo>
                      <a:pt x="82" y="20"/>
                      <a:pt x="82" y="20"/>
                      <a:pt x="82" y="20"/>
                    </a:cubicBezTo>
                    <a:cubicBezTo>
                      <a:pt x="82" y="20"/>
                      <a:pt x="82" y="20"/>
                      <a:pt x="82" y="20"/>
                    </a:cubicBezTo>
                    <a:cubicBezTo>
                      <a:pt x="82" y="20"/>
                      <a:pt x="82" y="20"/>
                      <a:pt x="82" y="20"/>
                    </a:cubicBezTo>
                    <a:cubicBezTo>
                      <a:pt x="82" y="20"/>
                      <a:pt x="82" y="20"/>
                      <a:pt x="82" y="20"/>
                    </a:cubicBezTo>
                    <a:close/>
                    <a:moveTo>
                      <a:pt x="41" y="20"/>
                    </a:moveTo>
                    <a:cubicBezTo>
                      <a:pt x="40" y="20"/>
                      <a:pt x="40" y="20"/>
                      <a:pt x="40" y="20"/>
                    </a:cubicBezTo>
                    <a:cubicBezTo>
                      <a:pt x="40" y="20"/>
                      <a:pt x="40" y="20"/>
                      <a:pt x="40" y="20"/>
                    </a:cubicBezTo>
                    <a:cubicBezTo>
                      <a:pt x="40" y="20"/>
                      <a:pt x="41" y="20"/>
                      <a:pt x="41" y="20"/>
                    </a:cubicBezTo>
                    <a:cubicBezTo>
                      <a:pt x="41" y="20"/>
                      <a:pt x="41" y="20"/>
                      <a:pt x="41" y="20"/>
                    </a:cubicBezTo>
                    <a:cubicBezTo>
                      <a:pt x="41" y="20"/>
                      <a:pt x="41" y="20"/>
                      <a:pt x="41" y="20"/>
                    </a:cubicBezTo>
                    <a:cubicBezTo>
                      <a:pt x="41" y="20"/>
                      <a:pt x="41" y="20"/>
                      <a:pt x="41" y="20"/>
                    </a:cubicBezTo>
                    <a:close/>
                    <a:moveTo>
                      <a:pt x="40" y="20"/>
                    </a:moveTo>
                    <a:cubicBezTo>
                      <a:pt x="40" y="20"/>
                      <a:pt x="40" y="20"/>
                      <a:pt x="40" y="20"/>
                    </a:cubicBezTo>
                    <a:cubicBezTo>
                      <a:pt x="40" y="20"/>
                      <a:pt x="40" y="20"/>
                      <a:pt x="40" y="20"/>
                    </a:cubicBezTo>
                    <a:cubicBezTo>
                      <a:pt x="40" y="20"/>
                      <a:pt x="40" y="20"/>
                      <a:pt x="40" y="20"/>
                    </a:cubicBezTo>
                    <a:cubicBezTo>
                      <a:pt x="40" y="20"/>
                      <a:pt x="40" y="20"/>
                      <a:pt x="40" y="20"/>
                    </a:cubicBezTo>
                    <a:close/>
                    <a:moveTo>
                      <a:pt x="46" y="20"/>
                    </a:moveTo>
                    <a:cubicBezTo>
                      <a:pt x="46" y="20"/>
                      <a:pt x="46" y="20"/>
                      <a:pt x="46" y="20"/>
                    </a:cubicBezTo>
                    <a:cubicBezTo>
                      <a:pt x="46" y="20"/>
                      <a:pt x="46" y="20"/>
                      <a:pt x="47" y="20"/>
                    </a:cubicBezTo>
                    <a:cubicBezTo>
                      <a:pt x="46" y="20"/>
                      <a:pt x="46" y="20"/>
                      <a:pt x="46" y="20"/>
                    </a:cubicBezTo>
                    <a:cubicBezTo>
                      <a:pt x="46" y="20"/>
                      <a:pt x="46" y="20"/>
                      <a:pt x="46" y="20"/>
                    </a:cubicBezTo>
                    <a:close/>
                    <a:moveTo>
                      <a:pt x="39" y="20"/>
                    </a:moveTo>
                    <a:cubicBezTo>
                      <a:pt x="39" y="20"/>
                      <a:pt x="39" y="20"/>
                      <a:pt x="39" y="20"/>
                    </a:cubicBezTo>
                    <a:cubicBezTo>
                      <a:pt x="39" y="20"/>
                      <a:pt x="39" y="20"/>
                      <a:pt x="39" y="20"/>
                    </a:cubicBezTo>
                    <a:cubicBezTo>
                      <a:pt x="39" y="20"/>
                      <a:pt x="39" y="20"/>
                      <a:pt x="39" y="20"/>
                    </a:cubicBezTo>
                    <a:cubicBezTo>
                      <a:pt x="39" y="20"/>
                      <a:pt x="39" y="20"/>
                      <a:pt x="39" y="20"/>
                    </a:cubicBezTo>
                    <a:close/>
                    <a:moveTo>
                      <a:pt x="49" y="20"/>
                    </a:moveTo>
                    <a:cubicBezTo>
                      <a:pt x="49" y="20"/>
                      <a:pt x="49" y="20"/>
                      <a:pt x="49" y="20"/>
                    </a:cubicBezTo>
                    <a:cubicBezTo>
                      <a:pt x="49" y="20"/>
                      <a:pt x="49" y="21"/>
                      <a:pt x="49" y="21"/>
                    </a:cubicBezTo>
                    <a:cubicBezTo>
                      <a:pt x="49" y="21"/>
                      <a:pt x="49" y="21"/>
                      <a:pt x="49" y="21"/>
                    </a:cubicBezTo>
                    <a:cubicBezTo>
                      <a:pt x="49" y="21"/>
                      <a:pt x="49" y="20"/>
                      <a:pt x="49" y="20"/>
                    </a:cubicBezTo>
                    <a:cubicBezTo>
                      <a:pt x="49" y="20"/>
                      <a:pt x="49" y="20"/>
                      <a:pt x="49" y="20"/>
                    </a:cubicBezTo>
                    <a:close/>
                    <a:moveTo>
                      <a:pt x="41" y="20"/>
                    </a:moveTo>
                    <a:cubicBezTo>
                      <a:pt x="41" y="20"/>
                      <a:pt x="41" y="20"/>
                      <a:pt x="41" y="20"/>
                    </a:cubicBezTo>
                    <a:cubicBezTo>
                      <a:pt x="41" y="20"/>
                      <a:pt x="41" y="20"/>
                      <a:pt x="41" y="20"/>
                    </a:cubicBezTo>
                    <a:cubicBezTo>
                      <a:pt x="41" y="20"/>
                      <a:pt x="41" y="20"/>
                      <a:pt x="41" y="20"/>
                    </a:cubicBezTo>
                    <a:cubicBezTo>
                      <a:pt x="41" y="20"/>
                      <a:pt x="41" y="20"/>
                      <a:pt x="41" y="20"/>
                    </a:cubicBezTo>
                    <a:close/>
                    <a:moveTo>
                      <a:pt x="46" y="20"/>
                    </a:moveTo>
                    <a:cubicBezTo>
                      <a:pt x="46" y="20"/>
                      <a:pt x="46" y="20"/>
                      <a:pt x="46" y="20"/>
                    </a:cubicBezTo>
                    <a:cubicBezTo>
                      <a:pt x="46" y="20"/>
                      <a:pt x="46" y="20"/>
                      <a:pt x="46" y="20"/>
                    </a:cubicBezTo>
                    <a:cubicBezTo>
                      <a:pt x="46" y="20"/>
                      <a:pt x="46" y="20"/>
                      <a:pt x="46" y="20"/>
                    </a:cubicBezTo>
                    <a:cubicBezTo>
                      <a:pt x="46" y="20"/>
                      <a:pt x="46" y="20"/>
                      <a:pt x="46" y="20"/>
                    </a:cubicBezTo>
                    <a:close/>
                    <a:moveTo>
                      <a:pt x="47" y="21"/>
                    </a:moveTo>
                    <a:cubicBezTo>
                      <a:pt x="46" y="21"/>
                      <a:pt x="46" y="20"/>
                      <a:pt x="46" y="20"/>
                    </a:cubicBezTo>
                    <a:cubicBezTo>
                      <a:pt x="46" y="21"/>
                      <a:pt x="46" y="21"/>
                      <a:pt x="46" y="21"/>
                    </a:cubicBezTo>
                    <a:cubicBezTo>
                      <a:pt x="46" y="21"/>
                      <a:pt x="46" y="21"/>
                      <a:pt x="47" y="21"/>
                    </a:cubicBezTo>
                    <a:cubicBezTo>
                      <a:pt x="47" y="21"/>
                      <a:pt x="47" y="21"/>
                      <a:pt x="47" y="21"/>
                    </a:cubicBezTo>
                    <a:cubicBezTo>
                      <a:pt x="47" y="21"/>
                      <a:pt x="47" y="21"/>
                      <a:pt x="47" y="21"/>
                    </a:cubicBezTo>
                    <a:close/>
                    <a:moveTo>
                      <a:pt x="44" y="21"/>
                    </a:moveTo>
                    <a:cubicBezTo>
                      <a:pt x="44" y="21"/>
                      <a:pt x="44" y="21"/>
                      <a:pt x="44" y="21"/>
                    </a:cubicBezTo>
                    <a:cubicBezTo>
                      <a:pt x="44" y="21"/>
                      <a:pt x="44" y="21"/>
                      <a:pt x="44" y="21"/>
                    </a:cubicBezTo>
                    <a:cubicBezTo>
                      <a:pt x="44" y="21"/>
                      <a:pt x="44" y="21"/>
                      <a:pt x="44" y="21"/>
                    </a:cubicBezTo>
                    <a:cubicBezTo>
                      <a:pt x="44" y="21"/>
                      <a:pt x="44" y="21"/>
                      <a:pt x="44" y="21"/>
                    </a:cubicBezTo>
                    <a:close/>
                    <a:moveTo>
                      <a:pt x="50" y="21"/>
                    </a:moveTo>
                    <a:cubicBezTo>
                      <a:pt x="50" y="21"/>
                      <a:pt x="50" y="21"/>
                      <a:pt x="50" y="21"/>
                    </a:cubicBezTo>
                    <a:cubicBezTo>
                      <a:pt x="50" y="21"/>
                      <a:pt x="50" y="21"/>
                      <a:pt x="50" y="21"/>
                    </a:cubicBezTo>
                    <a:cubicBezTo>
                      <a:pt x="50" y="21"/>
                      <a:pt x="50" y="21"/>
                      <a:pt x="50" y="21"/>
                    </a:cubicBezTo>
                    <a:cubicBezTo>
                      <a:pt x="50" y="21"/>
                      <a:pt x="50" y="21"/>
                      <a:pt x="50" y="21"/>
                    </a:cubicBezTo>
                    <a:cubicBezTo>
                      <a:pt x="50" y="21"/>
                      <a:pt x="50" y="21"/>
                      <a:pt x="50" y="21"/>
                    </a:cubicBezTo>
                    <a:close/>
                    <a:moveTo>
                      <a:pt x="47" y="21"/>
                    </a:moveTo>
                    <a:cubicBezTo>
                      <a:pt x="47" y="21"/>
                      <a:pt x="47" y="21"/>
                      <a:pt x="47" y="21"/>
                    </a:cubicBezTo>
                    <a:cubicBezTo>
                      <a:pt x="47" y="21"/>
                      <a:pt x="47" y="21"/>
                      <a:pt x="47" y="21"/>
                    </a:cubicBezTo>
                    <a:cubicBezTo>
                      <a:pt x="47" y="21"/>
                      <a:pt x="47" y="21"/>
                      <a:pt x="48" y="21"/>
                    </a:cubicBezTo>
                    <a:cubicBezTo>
                      <a:pt x="48" y="21"/>
                      <a:pt x="47" y="21"/>
                      <a:pt x="47" y="21"/>
                    </a:cubicBezTo>
                    <a:cubicBezTo>
                      <a:pt x="47" y="21"/>
                      <a:pt x="47" y="21"/>
                      <a:pt x="47" y="21"/>
                    </a:cubicBezTo>
                    <a:close/>
                    <a:moveTo>
                      <a:pt x="38" y="21"/>
                    </a:moveTo>
                    <a:cubicBezTo>
                      <a:pt x="39" y="21"/>
                      <a:pt x="39" y="21"/>
                      <a:pt x="40" y="21"/>
                    </a:cubicBezTo>
                    <a:cubicBezTo>
                      <a:pt x="40" y="22"/>
                      <a:pt x="40" y="22"/>
                      <a:pt x="40" y="22"/>
                    </a:cubicBezTo>
                    <a:cubicBezTo>
                      <a:pt x="40" y="22"/>
                      <a:pt x="39" y="22"/>
                      <a:pt x="39" y="22"/>
                    </a:cubicBezTo>
                    <a:cubicBezTo>
                      <a:pt x="39" y="22"/>
                      <a:pt x="39" y="22"/>
                      <a:pt x="39" y="22"/>
                    </a:cubicBezTo>
                    <a:cubicBezTo>
                      <a:pt x="39" y="22"/>
                      <a:pt x="39" y="22"/>
                      <a:pt x="39" y="22"/>
                    </a:cubicBezTo>
                    <a:cubicBezTo>
                      <a:pt x="39" y="22"/>
                      <a:pt x="39" y="22"/>
                      <a:pt x="39" y="22"/>
                    </a:cubicBezTo>
                    <a:cubicBezTo>
                      <a:pt x="39" y="22"/>
                      <a:pt x="39" y="21"/>
                      <a:pt x="38" y="21"/>
                    </a:cubicBezTo>
                    <a:cubicBezTo>
                      <a:pt x="38" y="21"/>
                      <a:pt x="38" y="21"/>
                      <a:pt x="38" y="21"/>
                    </a:cubicBezTo>
                    <a:cubicBezTo>
                      <a:pt x="38" y="21"/>
                      <a:pt x="38" y="21"/>
                      <a:pt x="38" y="21"/>
                    </a:cubicBezTo>
                    <a:close/>
                    <a:moveTo>
                      <a:pt x="50" y="21"/>
                    </a:moveTo>
                    <a:cubicBezTo>
                      <a:pt x="50" y="21"/>
                      <a:pt x="50" y="21"/>
                      <a:pt x="50" y="21"/>
                    </a:cubicBezTo>
                    <a:cubicBezTo>
                      <a:pt x="50" y="21"/>
                      <a:pt x="50" y="21"/>
                      <a:pt x="50" y="21"/>
                    </a:cubicBezTo>
                    <a:cubicBezTo>
                      <a:pt x="50" y="21"/>
                      <a:pt x="50" y="21"/>
                      <a:pt x="50" y="21"/>
                    </a:cubicBezTo>
                    <a:cubicBezTo>
                      <a:pt x="50" y="21"/>
                      <a:pt x="50" y="21"/>
                      <a:pt x="50" y="21"/>
                    </a:cubicBezTo>
                    <a:close/>
                    <a:moveTo>
                      <a:pt x="35" y="21"/>
                    </a:moveTo>
                    <a:cubicBezTo>
                      <a:pt x="36" y="21"/>
                      <a:pt x="36" y="21"/>
                      <a:pt x="37" y="21"/>
                    </a:cubicBezTo>
                    <a:cubicBezTo>
                      <a:pt x="37" y="21"/>
                      <a:pt x="37" y="21"/>
                      <a:pt x="37" y="22"/>
                    </a:cubicBezTo>
                    <a:cubicBezTo>
                      <a:pt x="37" y="22"/>
                      <a:pt x="37" y="22"/>
                      <a:pt x="37" y="22"/>
                    </a:cubicBezTo>
                    <a:cubicBezTo>
                      <a:pt x="37" y="22"/>
                      <a:pt x="37" y="22"/>
                      <a:pt x="37" y="22"/>
                    </a:cubicBezTo>
                    <a:cubicBezTo>
                      <a:pt x="37" y="22"/>
                      <a:pt x="36" y="22"/>
                      <a:pt x="36" y="22"/>
                    </a:cubicBezTo>
                    <a:cubicBezTo>
                      <a:pt x="35" y="22"/>
                      <a:pt x="35" y="22"/>
                      <a:pt x="35" y="21"/>
                    </a:cubicBezTo>
                    <a:cubicBezTo>
                      <a:pt x="35" y="21"/>
                      <a:pt x="35" y="21"/>
                      <a:pt x="35" y="21"/>
                    </a:cubicBezTo>
                    <a:close/>
                    <a:moveTo>
                      <a:pt x="60" y="21"/>
                    </a:moveTo>
                    <a:cubicBezTo>
                      <a:pt x="60" y="21"/>
                      <a:pt x="60" y="21"/>
                      <a:pt x="60" y="21"/>
                    </a:cubicBezTo>
                    <a:cubicBezTo>
                      <a:pt x="60" y="22"/>
                      <a:pt x="60" y="22"/>
                      <a:pt x="60" y="22"/>
                    </a:cubicBezTo>
                    <a:cubicBezTo>
                      <a:pt x="60" y="22"/>
                      <a:pt x="60" y="22"/>
                      <a:pt x="60" y="22"/>
                    </a:cubicBezTo>
                    <a:cubicBezTo>
                      <a:pt x="60" y="22"/>
                      <a:pt x="60" y="22"/>
                      <a:pt x="60" y="22"/>
                    </a:cubicBezTo>
                    <a:cubicBezTo>
                      <a:pt x="60" y="22"/>
                      <a:pt x="60" y="22"/>
                      <a:pt x="60" y="21"/>
                    </a:cubicBezTo>
                    <a:cubicBezTo>
                      <a:pt x="60" y="21"/>
                      <a:pt x="60" y="21"/>
                      <a:pt x="60" y="21"/>
                    </a:cubicBezTo>
                    <a:close/>
                    <a:moveTo>
                      <a:pt x="50" y="22"/>
                    </a:moveTo>
                    <a:cubicBezTo>
                      <a:pt x="50" y="22"/>
                      <a:pt x="50" y="22"/>
                      <a:pt x="51" y="22"/>
                    </a:cubicBezTo>
                    <a:cubicBezTo>
                      <a:pt x="51" y="22"/>
                      <a:pt x="51" y="22"/>
                      <a:pt x="51" y="22"/>
                    </a:cubicBezTo>
                    <a:cubicBezTo>
                      <a:pt x="51" y="22"/>
                      <a:pt x="51" y="22"/>
                      <a:pt x="51" y="22"/>
                    </a:cubicBezTo>
                    <a:cubicBezTo>
                      <a:pt x="51" y="22"/>
                      <a:pt x="50" y="22"/>
                      <a:pt x="50" y="22"/>
                    </a:cubicBezTo>
                    <a:cubicBezTo>
                      <a:pt x="50" y="22"/>
                      <a:pt x="50" y="22"/>
                      <a:pt x="50" y="22"/>
                    </a:cubicBezTo>
                    <a:close/>
                    <a:moveTo>
                      <a:pt x="38" y="22"/>
                    </a:moveTo>
                    <a:cubicBezTo>
                      <a:pt x="38" y="22"/>
                      <a:pt x="38" y="22"/>
                      <a:pt x="37" y="22"/>
                    </a:cubicBezTo>
                    <a:cubicBezTo>
                      <a:pt x="37" y="22"/>
                      <a:pt x="37" y="22"/>
                      <a:pt x="37" y="22"/>
                    </a:cubicBezTo>
                    <a:cubicBezTo>
                      <a:pt x="38" y="22"/>
                      <a:pt x="38" y="22"/>
                      <a:pt x="38" y="22"/>
                    </a:cubicBezTo>
                    <a:cubicBezTo>
                      <a:pt x="38" y="22"/>
                      <a:pt x="38" y="22"/>
                      <a:pt x="38" y="22"/>
                    </a:cubicBezTo>
                    <a:cubicBezTo>
                      <a:pt x="38" y="22"/>
                      <a:pt x="38" y="22"/>
                      <a:pt x="38" y="22"/>
                    </a:cubicBezTo>
                    <a:close/>
                    <a:moveTo>
                      <a:pt x="38" y="22"/>
                    </a:moveTo>
                    <a:cubicBezTo>
                      <a:pt x="38" y="22"/>
                      <a:pt x="39" y="22"/>
                      <a:pt x="39" y="22"/>
                    </a:cubicBezTo>
                    <a:cubicBezTo>
                      <a:pt x="39" y="22"/>
                      <a:pt x="38" y="22"/>
                      <a:pt x="38" y="22"/>
                    </a:cubicBezTo>
                    <a:cubicBezTo>
                      <a:pt x="38" y="22"/>
                      <a:pt x="38" y="22"/>
                      <a:pt x="38" y="22"/>
                    </a:cubicBezTo>
                    <a:close/>
                    <a:moveTo>
                      <a:pt x="48" y="22"/>
                    </a:moveTo>
                    <a:cubicBezTo>
                      <a:pt x="48" y="22"/>
                      <a:pt x="48" y="22"/>
                      <a:pt x="48" y="22"/>
                    </a:cubicBezTo>
                    <a:cubicBezTo>
                      <a:pt x="48" y="22"/>
                      <a:pt x="48" y="22"/>
                      <a:pt x="49" y="22"/>
                    </a:cubicBezTo>
                    <a:cubicBezTo>
                      <a:pt x="48" y="22"/>
                      <a:pt x="48" y="22"/>
                      <a:pt x="48" y="22"/>
                    </a:cubicBezTo>
                    <a:cubicBezTo>
                      <a:pt x="48" y="22"/>
                      <a:pt x="48" y="22"/>
                      <a:pt x="48" y="22"/>
                    </a:cubicBezTo>
                    <a:close/>
                    <a:moveTo>
                      <a:pt x="38" y="22"/>
                    </a:moveTo>
                    <a:cubicBezTo>
                      <a:pt x="38" y="22"/>
                      <a:pt x="38" y="22"/>
                      <a:pt x="38" y="22"/>
                    </a:cubicBezTo>
                    <a:cubicBezTo>
                      <a:pt x="38" y="22"/>
                      <a:pt x="38" y="22"/>
                      <a:pt x="39" y="23"/>
                    </a:cubicBezTo>
                    <a:cubicBezTo>
                      <a:pt x="38" y="23"/>
                      <a:pt x="38" y="22"/>
                      <a:pt x="38" y="22"/>
                    </a:cubicBezTo>
                    <a:cubicBezTo>
                      <a:pt x="38" y="22"/>
                      <a:pt x="38" y="22"/>
                      <a:pt x="38" y="22"/>
                    </a:cubicBezTo>
                    <a:cubicBezTo>
                      <a:pt x="38" y="22"/>
                      <a:pt x="38" y="22"/>
                      <a:pt x="38" y="22"/>
                    </a:cubicBezTo>
                    <a:close/>
                    <a:moveTo>
                      <a:pt x="43" y="22"/>
                    </a:moveTo>
                    <a:cubicBezTo>
                      <a:pt x="43" y="22"/>
                      <a:pt x="43" y="22"/>
                      <a:pt x="43" y="22"/>
                    </a:cubicBezTo>
                    <a:cubicBezTo>
                      <a:pt x="43" y="23"/>
                      <a:pt x="43" y="23"/>
                      <a:pt x="43" y="23"/>
                    </a:cubicBezTo>
                    <a:cubicBezTo>
                      <a:pt x="43" y="23"/>
                      <a:pt x="43" y="23"/>
                      <a:pt x="43" y="23"/>
                    </a:cubicBezTo>
                    <a:cubicBezTo>
                      <a:pt x="43" y="23"/>
                      <a:pt x="43" y="23"/>
                      <a:pt x="43" y="22"/>
                    </a:cubicBezTo>
                    <a:cubicBezTo>
                      <a:pt x="43" y="22"/>
                      <a:pt x="43" y="22"/>
                      <a:pt x="43" y="22"/>
                    </a:cubicBezTo>
                    <a:cubicBezTo>
                      <a:pt x="43" y="22"/>
                      <a:pt x="43" y="22"/>
                      <a:pt x="43" y="22"/>
                    </a:cubicBezTo>
                    <a:close/>
                    <a:moveTo>
                      <a:pt x="78" y="22"/>
                    </a:moveTo>
                    <a:cubicBezTo>
                      <a:pt x="79" y="22"/>
                      <a:pt x="79" y="22"/>
                      <a:pt x="80" y="22"/>
                    </a:cubicBezTo>
                    <a:cubicBezTo>
                      <a:pt x="79" y="23"/>
                      <a:pt x="78" y="23"/>
                      <a:pt x="77" y="23"/>
                    </a:cubicBezTo>
                    <a:cubicBezTo>
                      <a:pt x="77" y="23"/>
                      <a:pt x="77" y="23"/>
                      <a:pt x="77" y="23"/>
                    </a:cubicBezTo>
                    <a:cubicBezTo>
                      <a:pt x="78" y="23"/>
                      <a:pt x="78" y="23"/>
                      <a:pt x="78" y="22"/>
                    </a:cubicBezTo>
                    <a:cubicBezTo>
                      <a:pt x="78" y="22"/>
                      <a:pt x="78" y="22"/>
                      <a:pt x="78" y="22"/>
                    </a:cubicBezTo>
                    <a:close/>
                    <a:moveTo>
                      <a:pt x="60" y="22"/>
                    </a:moveTo>
                    <a:cubicBezTo>
                      <a:pt x="60" y="22"/>
                      <a:pt x="60" y="22"/>
                      <a:pt x="60" y="22"/>
                    </a:cubicBezTo>
                    <a:cubicBezTo>
                      <a:pt x="60" y="23"/>
                      <a:pt x="60" y="23"/>
                      <a:pt x="59" y="23"/>
                    </a:cubicBezTo>
                    <a:cubicBezTo>
                      <a:pt x="60" y="23"/>
                      <a:pt x="60" y="23"/>
                      <a:pt x="60" y="23"/>
                    </a:cubicBezTo>
                    <a:cubicBezTo>
                      <a:pt x="60" y="23"/>
                      <a:pt x="60" y="23"/>
                      <a:pt x="60" y="23"/>
                    </a:cubicBezTo>
                    <a:cubicBezTo>
                      <a:pt x="60" y="23"/>
                      <a:pt x="60" y="22"/>
                      <a:pt x="60" y="22"/>
                    </a:cubicBezTo>
                    <a:cubicBezTo>
                      <a:pt x="60" y="22"/>
                      <a:pt x="60" y="22"/>
                      <a:pt x="60" y="22"/>
                    </a:cubicBezTo>
                    <a:close/>
                    <a:moveTo>
                      <a:pt x="36" y="23"/>
                    </a:moveTo>
                    <a:cubicBezTo>
                      <a:pt x="36" y="23"/>
                      <a:pt x="37" y="23"/>
                      <a:pt x="37" y="22"/>
                    </a:cubicBezTo>
                    <a:cubicBezTo>
                      <a:pt x="37" y="23"/>
                      <a:pt x="37" y="23"/>
                      <a:pt x="37" y="23"/>
                    </a:cubicBezTo>
                    <a:cubicBezTo>
                      <a:pt x="37" y="23"/>
                      <a:pt x="37" y="23"/>
                      <a:pt x="37" y="23"/>
                    </a:cubicBezTo>
                    <a:cubicBezTo>
                      <a:pt x="37" y="23"/>
                      <a:pt x="37" y="23"/>
                      <a:pt x="37" y="23"/>
                    </a:cubicBezTo>
                    <a:cubicBezTo>
                      <a:pt x="37" y="23"/>
                      <a:pt x="37" y="23"/>
                      <a:pt x="37" y="23"/>
                    </a:cubicBezTo>
                    <a:cubicBezTo>
                      <a:pt x="37" y="23"/>
                      <a:pt x="37" y="23"/>
                      <a:pt x="37" y="23"/>
                    </a:cubicBezTo>
                    <a:cubicBezTo>
                      <a:pt x="37" y="23"/>
                      <a:pt x="37" y="24"/>
                      <a:pt x="37" y="24"/>
                    </a:cubicBezTo>
                    <a:cubicBezTo>
                      <a:pt x="37" y="24"/>
                      <a:pt x="37" y="24"/>
                      <a:pt x="37" y="24"/>
                    </a:cubicBezTo>
                    <a:cubicBezTo>
                      <a:pt x="37" y="24"/>
                      <a:pt x="37" y="24"/>
                      <a:pt x="37" y="24"/>
                    </a:cubicBezTo>
                    <a:cubicBezTo>
                      <a:pt x="37" y="24"/>
                      <a:pt x="38" y="25"/>
                      <a:pt x="38" y="25"/>
                    </a:cubicBezTo>
                    <a:cubicBezTo>
                      <a:pt x="37" y="25"/>
                      <a:pt x="37" y="23"/>
                      <a:pt x="36" y="23"/>
                    </a:cubicBezTo>
                    <a:cubicBezTo>
                      <a:pt x="36" y="23"/>
                      <a:pt x="36" y="23"/>
                      <a:pt x="36" y="23"/>
                    </a:cubicBezTo>
                    <a:close/>
                    <a:moveTo>
                      <a:pt x="38" y="23"/>
                    </a:moveTo>
                    <a:cubicBezTo>
                      <a:pt x="38" y="23"/>
                      <a:pt x="38" y="23"/>
                      <a:pt x="38" y="23"/>
                    </a:cubicBezTo>
                    <a:cubicBezTo>
                      <a:pt x="38" y="23"/>
                      <a:pt x="38" y="23"/>
                      <a:pt x="38" y="23"/>
                    </a:cubicBezTo>
                    <a:cubicBezTo>
                      <a:pt x="38" y="23"/>
                      <a:pt x="38" y="23"/>
                      <a:pt x="38" y="23"/>
                    </a:cubicBezTo>
                    <a:cubicBezTo>
                      <a:pt x="38" y="23"/>
                      <a:pt x="38" y="23"/>
                      <a:pt x="38" y="23"/>
                    </a:cubicBezTo>
                    <a:close/>
                    <a:moveTo>
                      <a:pt x="49" y="23"/>
                    </a:moveTo>
                    <a:cubicBezTo>
                      <a:pt x="49" y="23"/>
                      <a:pt x="48" y="23"/>
                      <a:pt x="48" y="23"/>
                    </a:cubicBezTo>
                    <a:cubicBezTo>
                      <a:pt x="48" y="23"/>
                      <a:pt x="48" y="23"/>
                      <a:pt x="48" y="23"/>
                    </a:cubicBezTo>
                    <a:cubicBezTo>
                      <a:pt x="49" y="23"/>
                      <a:pt x="49" y="23"/>
                      <a:pt x="49" y="23"/>
                    </a:cubicBezTo>
                    <a:cubicBezTo>
                      <a:pt x="49" y="23"/>
                      <a:pt x="49" y="23"/>
                      <a:pt x="49" y="23"/>
                    </a:cubicBezTo>
                    <a:cubicBezTo>
                      <a:pt x="49" y="23"/>
                      <a:pt x="49" y="23"/>
                      <a:pt x="49" y="23"/>
                    </a:cubicBezTo>
                    <a:close/>
                    <a:moveTo>
                      <a:pt x="38" y="23"/>
                    </a:moveTo>
                    <a:cubicBezTo>
                      <a:pt x="38" y="23"/>
                      <a:pt x="38" y="23"/>
                      <a:pt x="38" y="23"/>
                    </a:cubicBezTo>
                    <a:cubicBezTo>
                      <a:pt x="38" y="23"/>
                      <a:pt x="38" y="23"/>
                      <a:pt x="38" y="23"/>
                    </a:cubicBezTo>
                    <a:cubicBezTo>
                      <a:pt x="38" y="23"/>
                      <a:pt x="38" y="23"/>
                      <a:pt x="38" y="23"/>
                    </a:cubicBezTo>
                    <a:cubicBezTo>
                      <a:pt x="38" y="23"/>
                      <a:pt x="38" y="23"/>
                      <a:pt x="38" y="23"/>
                    </a:cubicBezTo>
                    <a:cubicBezTo>
                      <a:pt x="38" y="23"/>
                      <a:pt x="38" y="23"/>
                      <a:pt x="38" y="23"/>
                    </a:cubicBezTo>
                    <a:close/>
                    <a:moveTo>
                      <a:pt x="69" y="23"/>
                    </a:moveTo>
                    <a:cubicBezTo>
                      <a:pt x="69" y="23"/>
                      <a:pt x="69" y="23"/>
                      <a:pt x="68" y="23"/>
                    </a:cubicBezTo>
                    <a:cubicBezTo>
                      <a:pt x="68" y="24"/>
                      <a:pt x="68" y="24"/>
                      <a:pt x="68" y="25"/>
                    </a:cubicBezTo>
                    <a:cubicBezTo>
                      <a:pt x="68" y="25"/>
                      <a:pt x="68" y="24"/>
                      <a:pt x="68" y="24"/>
                    </a:cubicBezTo>
                    <a:cubicBezTo>
                      <a:pt x="69" y="24"/>
                      <a:pt x="69" y="24"/>
                      <a:pt x="69" y="24"/>
                    </a:cubicBezTo>
                    <a:cubicBezTo>
                      <a:pt x="68" y="25"/>
                      <a:pt x="68" y="26"/>
                      <a:pt x="68" y="26"/>
                    </a:cubicBezTo>
                    <a:cubicBezTo>
                      <a:pt x="68" y="27"/>
                      <a:pt x="68" y="27"/>
                      <a:pt x="68" y="27"/>
                    </a:cubicBezTo>
                    <a:cubicBezTo>
                      <a:pt x="68" y="27"/>
                      <a:pt x="68" y="27"/>
                      <a:pt x="68" y="27"/>
                    </a:cubicBezTo>
                    <a:cubicBezTo>
                      <a:pt x="69" y="27"/>
                      <a:pt x="69" y="24"/>
                      <a:pt x="69" y="23"/>
                    </a:cubicBezTo>
                    <a:cubicBezTo>
                      <a:pt x="69" y="23"/>
                      <a:pt x="69" y="23"/>
                      <a:pt x="69" y="23"/>
                    </a:cubicBezTo>
                    <a:close/>
                    <a:moveTo>
                      <a:pt x="38" y="23"/>
                    </a:moveTo>
                    <a:cubicBezTo>
                      <a:pt x="38" y="23"/>
                      <a:pt x="38" y="23"/>
                      <a:pt x="38" y="23"/>
                    </a:cubicBezTo>
                    <a:cubicBezTo>
                      <a:pt x="38" y="23"/>
                      <a:pt x="38" y="23"/>
                      <a:pt x="38" y="24"/>
                    </a:cubicBezTo>
                    <a:cubicBezTo>
                      <a:pt x="38" y="24"/>
                      <a:pt x="38" y="24"/>
                      <a:pt x="39" y="24"/>
                    </a:cubicBezTo>
                    <a:cubicBezTo>
                      <a:pt x="39" y="24"/>
                      <a:pt x="39" y="23"/>
                      <a:pt x="39" y="23"/>
                    </a:cubicBezTo>
                    <a:cubicBezTo>
                      <a:pt x="39" y="23"/>
                      <a:pt x="38" y="23"/>
                      <a:pt x="38" y="23"/>
                    </a:cubicBezTo>
                    <a:cubicBezTo>
                      <a:pt x="38" y="23"/>
                      <a:pt x="38" y="23"/>
                      <a:pt x="38" y="23"/>
                    </a:cubicBezTo>
                    <a:close/>
                    <a:moveTo>
                      <a:pt x="74" y="24"/>
                    </a:moveTo>
                    <a:cubicBezTo>
                      <a:pt x="74" y="23"/>
                      <a:pt x="74" y="23"/>
                      <a:pt x="74" y="23"/>
                    </a:cubicBezTo>
                    <a:cubicBezTo>
                      <a:pt x="74" y="23"/>
                      <a:pt x="74" y="23"/>
                      <a:pt x="74" y="24"/>
                    </a:cubicBezTo>
                    <a:cubicBezTo>
                      <a:pt x="74" y="24"/>
                      <a:pt x="74" y="24"/>
                      <a:pt x="74" y="24"/>
                    </a:cubicBezTo>
                    <a:cubicBezTo>
                      <a:pt x="74" y="24"/>
                      <a:pt x="74" y="24"/>
                      <a:pt x="74" y="24"/>
                    </a:cubicBezTo>
                    <a:close/>
                    <a:moveTo>
                      <a:pt x="46" y="24"/>
                    </a:moveTo>
                    <a:cubicBezTo>
                      <a:pt x="46" y="24"/>
                      <a:pt x="47" y="24"/>
                      <a:pt x="47" y="24"/>
                    </a:cubicBezTo>
                    <a:cubicBezTo>
                      <a:pt x="47" y="24"/>
                      <a:pt x="46" y="24"/>
                      <a:pt x="46" y="24"/>
                    </a:cubicBezTo>
                    <a:cubicBezTo>
                      <a:pt x="46" y="24"/>
                      <a:pt x="46" y="24"/>
                      <a:pt x="46" y="24"/>
                    </a:cubicBezTo>
                    <a:cubicBezTo>
                      <a:pt x="46" y="24"/>
                      <a:pt x="46" y="24"/>
                      <a:pt x="46" y="24"/>
                    </a:cubicBezTo>
                    <a:close/>
                    <a:moveTo>
                      <a:pt x="47" y="24"/>
                    </a:moveTo>
                    <a:cubicBezTo>
                      <a:pt x="47" y="24"/>
                      <a:pt x="47" y="25"/>
                      <a:pt x="47" y="25"/>
                    </a:cubicBezTo>
                    <a:cubicBezTo>
                      <a:pt x="47" y="25"/>
                      <a:pt x="48" y="25"/>
                      <a:pt x="48" y="25"/>
                    </a:cubicBezTo>
                    <a:cubicBezTo>
                      <a:pt x="48" y="24"/>
                      <a:pt x="48" y="24"/>
                      <a:pt x="47" y="24"/>
                    </a:cubicBezTo>
                    <a:cubicBezTo>
                      <a:pt x="47" y="24"/>
                      <a:pt x="47" y="24"/>
                      <a:pt x="47" y="24"/>
                    </a:cubicBezTo>
                    <a:close/>
                    <a:moveTo>
                      <a:pt x="46" y="24"/>
                    </a:moveTo>
                    <a:cubicBezTo>
                      <a:pt x="46" y="24"/>
                      <a:pt x="46" y="24"/>
                      <a:pt x="46" y="24"/>
                    </a:cubicBezTo>
                    <a:cubicBezTo>
                      <a:pt x="46" y="24"/>
                      <a:pt x="46" y="24"/>
                      <a:pt x="46" y="24"/>
                    </a:cubicBezTo>
                    <a:cubicBezTo>
                      <a:pt x="46" y="24"/>
                      <a:pt x="46" y="24"/>
                      <a:pt x="46" y="24"/>
                    </a:cubicBezTo>
                    <a:cubicBezTo>
                      <a:pt x="46" y="24"/>
                      <a:pt x="46" y="24"/>
                      <a:pt x="46" y="24"/>
                    </a:cubicBezTo>
                    <a:close/>
                    <a:moveTo>
                      <a:pt x="72" y="24"/>
                    </a:moveTo>
                    <a:cubicBezTo>
                      <a:pt x="72" y="24"/>
                      <a:pt x="72" y="24"/>
                      <a:pt x="72" y="24"/>
                    </a:cubicBezTo>
                    <a:cubicBezTo>
                      <a:pt x="72" y="24"/>
                      <a:pt x="71" y="25"/>
                      <a:pt x="71" y="25"/>
                    </a:cubicBezTo>
                    <a:cubicBezTo>
                      <a:pt x="71" y="25"/>
                      <a:pt x="71" y="25"/>
                      <a:pt x="71" y="25"/>
                    </a:cubicBezTo>
                    <a:cubicBezTo>
                      <a:pt x="71" y="25"/>
                      <a:pt x="71" y="25"/>
                      <a:pt x="71" y="25"/>
                    </a:cubicBezTo>
                    <a:cubicBezTo>
                      <a:pt x="71" y="25"/>
                      <a:pt x="71" y="25"/>
                      <a:pt x="71" y="25"/>
                    </a:cubicBezTo>
                    <a:cubicBezTo>
                      <a:pt x="71" y="25"/>
                      <a:pt x="72" y="25"/>
                      <a:pt x="72" y="24"/>
                    </a:cubicBezTo>
                    <a:cubicBezTo>
                      <a:pt x="72" y="24"/>
                      <a:pt x="72" y="24"/>
                      <a:pt x="72" y="24"/>
                    </a:cubicBezTo>
                    <a:close/>
                    <a:moveTo>
                      <a:pt x="67" y="25"/>
                    </a:moveTo>
                    <a:cubicBezTo>
                      <a:pt x="67" y="24"/>
                      <a:pt x="68" y="24"/>
                      <a:pt x="68" y="23"/>
                    </a:cubicBezTo>
                    <a:cubicBezTo>
                      <a:pt x="68" y="23"/>
                      <a:pt x="68" y="23"/>
                      <a:pt x="68" y="23"/>
                    </a:cubicBezTo>
                    <a:cubicBezTo>
                      <a:pt x="68" y="24"/>
                      <a:pt x="67" y="25"/>
                      <a:pt x="67" y="26"/>
                    </a:cubicBezTo>
                    <a:cubicBezTo>
                      <a:pt x="67" y="25"/>
                      <a:pt x="67" y="25"/>
                      <a:pt x="67" y="25"/>
                    </a:cubicBezTo>
                    <a:cubicBezTo>
                      <a:pt x="67" y="25"/>
                      <a:pt x="67" y="25"/>
                      <a:pt x="67" y="25"/>
                    </a:cubicBezTo>
                    <a:close/>
                    <a:moveTo>
                      <a:pt x="28" y="25"/>
                    </a:moveTo>
                    <a:cubicBezTo>
                      <a:pt x="26" y="23"/>
                      <a:pt x="25" y="22"/>
                      <a:pt x="24" y="19"/>
                    </a:cubicBezTo>
                    <a:cubicBezTo>
                      <a:pt x="26" y="20"/>
                      <a:pt x="27" y="23"/>
                      <a:pt x="28" y="25"/>
                    </a:cubicBezTo>
                    <a:cubicBezTo>
                      <a:pt x="28" y="25"/>
                      <a:pt x="28" y="25"/>
                      <a:pt x="28" y="25"/>
                    </a:cubicBezTo>
                    <a:close/>
                    <a:moveTo>
                      <a:pt x="48" y="25"/>
                    </a:moveTo>
                    <a:cubicBezTo>
                      <a:pt x="48" y="25"/>
                      <a:pt x="48" y="25"/>
                      <a:pt x="48" y="25"/>
                    </a:cubicBezTo>
                    <a:cubicBezTo>
                      <a:pt x="48" y="25"/>
                      <a:pt x="48" y="25"/>
                      <a:pt x="47" y="25"/>
                    </a:cubicBezTo>
                    <a:cubicBezTo>
                      <a:pt x="48" y="25"/>
                      <a:pt x="48" y="25"/>
                      <a:pt x="48" y="25"/>
                    </a:cubicBezTo>
                    <a:cubicBezTo>
                      <a:pt x="48" y="25"/>
                      <a:pt x="48" y="25"/>
                      <a:pt x="48" y="25"/>
                    </a:cubicBezTo>
                    <a:close/>
                    <a:moveTo>
                      <a:pt x="28" y="25"/>
                    </a:moveTo>
                    <a:cubicBezTo>
                      <a:pt x="27" y="23"/>
                      <a:pt x="27" y="21"/>
                      <a:pt x="26" y="20"/>
                    </a:cubicBezTo>
                    <a:cubicBezTo>
                      <a:pt x="27" y="21"/>
                      <a:pt x="28" y="23"/>
                      <a:pt x="28" y="25"/>
                    </a:cubicBezTo>
                    <a:cubicBezTo>
                      <a:pt x="28" y="25"/>
                      <a:pt x="28" y="25"/>
                      <a:pt x="28" y="25"/>
                    </a:cubicBezTo>
                    <a:close/>
                    <a:moveTo>
                      <a:pt x="66" y="25"/>
                    </a:moveTo>
                    <a:cubicBezTo>
                      <a:pt x="66" y="25"/>
                      <a:pt x="66" y="25"/>
                      <a:pt x="66" y="25"/>
                    </a:cubicBezTo>
                    <a:cubicBezTo>
                      <a:pt x="66" y="25"/>
                      <a:pt x="66" y="25"/>
                      <a:pt x="66" y="25"/>
                    </a:cubicBezTo>
                    <a:cubicBezTo>
                      <a:pt x="66" y="25"/>
                      <a:pt x="66" y="25"/>
                      <a:pt x="66" y="25"/>
                    </a:cubicBezTo>
                    <a:cubicBezTo>
                      <a:pt x="66" y="25"/>
                      <a:pt x="66" y="25"/>
                      <a:pt x="66" y="25"/>
                    </a:cubicBezTo>
                    <a:close/>
                    <a:moveTo>
                      <a:pt x="41" y="25"/>
                    </a:moveTo>
                    <a:cubicBezTo>
                      <a:pt x="40" y="25"/>
                      <a:pt x="40" y="25"/>
                      <a:pt x="40" y="25"/>
                    </a:cubicBezTo>
                    <a:cubicBezTo>
                      <a:pt x="40" y="25"/>
                      <a:pt x="40" y="26"/>
                      <a:pt x="40" y="26"/>
                    </a:cubicBezTo>
                    <a:cubicBezTo>
                      <a:pt x="41" y="25"/>
                      <a:pt x="41" y="25"/>
                      <a:pt x="41" y="25"/>
                    </a:cubicBezTo>
                    <a:cubicBezTo>
                      <a:pt x="41" y="25"/>
                      <a:pt x="41" y="25"/>
                      <a:pt x="41" y="25"/>
                    </a:cubicBezTo>
                    <a:close/>
                    <a:moveTo>
                      <a:pt x="41" y="26"/>
                    </a:moveTo>
                    <a:cubicBezTo>
                      <a:pt x="41" y="26"/>
                      <a:pt x="41" y="25"/>
                      <a:pt x="41" y="25"/>
                    </a:cubicBezTo>
                    <a:cubicBezTo>
                      <a:pt x="41" y="26"/>
                      <a:pt x="41" y="26"/>
                      <a:pt x="41" y="26"/>
                    </a:cubicBezTo>
                    <a:cubicBezTo>
                      <a:pt x="41" y="26"/>
                      <a:pt x="41" y="26"/>
                      <a:pt x="41" y="26"/>
                    </a:cubicBezTo>
                    <a:cubicBezTo>
                      <a:pt x="41" y="26"/>
                      <a:pt x="41" y="26"/>
                      <a:pt x="41" y="26"/>
                    </a:cubicBezTo>
                    <a:cubicBezTo>
                      <a:pt x="41" y="26"/>
                      <a:pt x="41" y="26"/>
                      <a:pt x="41" y="26"/>
                    </a:cubicBezTo>
                    <a:cubicBezTo>
                      <a:pt x="41" y="26"/>
                      <a:pt x="41" y="26"/>
                      <a:pt x="41" y="26"/>
                    </a:cubicBezTo>
                    <a:close/>
                    <a:moveTo>
                      <a:pt x="41" y="26"/>
                    </a:moveTo>
                    <a:cubicBezTo>
                      <a:pt x="41" y="26"/>
                      <a:pt x="41" y="26"/>
                      <a:pt x="41" y="26"/>
                    </a:cubicBezTo>
                    <a:cubicBezTo>
                      <a:pt x="41" y="26"/>
                      <a:pt x="41" y="26"/>
                      <a:pt x="41" y="26"/>
                    </a:cubicBezTo>
                    <a:cubicBezTo>
                      <a:pt x="41" y="26"/>
                      <a:pt x="42" y="26"/>
                      <a:pt x="42" y="26"/>
                    </a:cubicBezTo>
                    <a:cubicBezTo>
                      <a:pt x="42" y="26"/>
                      <a:pt x="41" y="26"/>
                      <a:pt x="41" y="26"/>
                    </a:cubicBezTo>
                    <a:cubicBezTo>
                      <a:pt x="41" y="26"/>
                      <a:pt x="41" y="26"/>
                      <a:pt x="41" y="26"/>
                    </a:cubicBezTo>
                    <a:close/>
                    <a:moveTo>
                      <a:pt x="42" y="26"/>
                    </a:moveTo>
                    <a:cubicBezTo>
                      <a:pt x="42" y="26"/>
                      <a:pt x="42" y="26"/>
                      <a:pt x="42" y="26"/>
                    </a:cubicBezTo>
                    <a:cubicBezTo>
                      <a:pt x="42" y="26"/>
                      <a:pt x="42" y="26"/>
                      <a:pt x="43" y="26"/>
                    </a:cubicBezTo>
                    <a:cubicBezTo>
                      <a:pt x="43" y="26"/>
                      <a:pt x="43" y="26"/>
                      <a:pt x="42" y="26"/>
                    </a:cubicBezTo>
                    <a:cubicBezTo>
                      <a:pt x="42" y="26"/>
                      <a:pt x="42" y="26"/>
                      <a:pt x="42" y="26"/>
                    </a:cubicBezTo>
                    <a:close/>
                    <a:moveTo>
                      <a:pt x="65" y="26"/>
                    </a:moveTo>
                    <a:cubicBezTo>
                      <a:pt x="65" y="26"/>
                      <a:pt x="65" y="26"/>
                      <a:pt x="66" y="26"/>
                    </a:cubicBezTo>
                    <a:cubicBezTo>
                      <a:pt x="66" y="26"/>
                      <a:pt x="65" y="26"/>
                      <a:pt x="65" y="26"/>
                    </a:cubicBezTo>
                    <a:cubicBezTo>
                      <a:pt x="65" y="26"/>
                      <a:pt x="65" y="26"/>
                      <a:pt x="65" y="26"/>
                    </a:cubicBezTo>
                    <a:cubicBezTo>
                      <a:pt x="65" y="26"/>
                      <a:pt x="65" y="26"/>
                      <a:pt x="65" y="26"/>
                    </a:cubicBezTo>
                    <a:cubicBezTo>
                      <a:pt x="65" y="26"/>
                      <a:pt x="65" y="26"/>
                      <a:pt x="65" y="26"/>
                    </a:cubicBezTo>
                    <a:close/>
                    <a:moveTo>
                      <a:pt x="38" y="26"/>
                    </a:moveTo>
                    <a:cubicBezTo>
                      <a:pt x="38" y="26"/>
                      <a:pt x="38" y="26"/>
                      <a:pt x="38" y="25"/>
                    </a:cubicBezTo>
                    <a:cubicBezTo>
                      <a:pt x="38" y="26"/>
                      <a:pt x="39" y="26"/>
                      <a:pt x="39" y="26"/>
                    </a:cubicBezTo>
                    <a:cubicBezTo>
                      <a:pt x="39" y="26"/>
                      <a:pt x="38" y="26"/>
                      <a:pt x="38" y="26"/>
                    </a:cubicBezTo>
                    <a:cubicBezTo>
                      <a:pt x="38" y="26"/>
                      <a:pt x="38" y="26"/>
                      <a:pt x="38" y="26"/>
                    </a:cubicBezTo>
                    <a:close/>
                    <a:moveTo>
                      <a:pt x="43" y="26"/>
                    </a:moveTo>
                    <a:cubicBezTo>
                      <a:pt x="43" y="26"/>
                      <a:pt x="43" y="26"/>
                      <a:pt x="43" y="26"/>
                    </a:cubicBezTo>
                    <a:cubicBezTo>
                      <a:pt x="43" y="26"/>
                      <a:pt x="43" y="26"/>
                      <a:pt x="43" y="26"/>
                    </a:cubicBezTo>
                    <a:cubicBezTo>
                      <a:pt x="43" y="26"/>
                      <a:pt x="43" y="26"/>
                      <a:pt x="43" y="26"/>
                    </a:cubicBezTo>
                    <a:cubicBezTo>
                      <a:pt x="43" y="26"/>
                      <a:pt x="43" y="26"/>
                      <a:pt x="43" y="26"/>
                    </a:cubicBezTo>
                    <a:cubicBezTo>
                      <a:pt x="43" y="26"/>
                      <a:pt x="43" y="26"/>
                      <a:pt x="43" y="26"/>
                    </a:cubicBezTo>
                    <a:close/>
                    <a:moveTo>
                      <a:pt x="44" y="27"/>
                    </a:moveTo>
                    <a:cubicBezTo>
                      <a:pt x="44" y="27"/>
                      <a:pt x="43" y="27"/>
                      <a:pt x="43" y="26"/>
                    </a:cubicBezTo>
                    <a:cubicBezTo>
                      <a:pt x="43" y="27"/>
                      <a:pt x="44" y="27"/>
                      <a:pt x="44" y="27"/>
                    </a:cubicBezTo>
                    <a:cubicBezTo>
                      <a:pt x="44" y="27"/>
                      <a:pt x="44" y="27"/>
                      <a:pt x="44" y="27"/>
                    </a:cubicBezTo>
                    <a:cubicBezTo>
                      <a:pt x="44" y="27"/>
                      <a:pt x="44" y="27"/>
                      <a:pt x="44" y="28"/>
                    </a:cubicBezTo>
                    <a:cubicBezTo>
                      <a:pt x="44" y="28"/>
                      <a:pt x="44" y="28"/>
                      <a:pt x="44" y="28"/>
                    </a:cubicBezTo>
                    <a:cubicBezTo>
                      <a:pt x="45" y="28"/>
                      <a:pt x="45" y="28"/>
                      <a:pt x="45" y="28"/>
                    </a:cubicBezTo>
                    <a:cubicBezTo>
                      <a:pt x="45" y="28"/>
                      <a:pt x="45" y="28"/>
                      <a:pt x="45" y="28"/>
                    </a:cubicBezTo>
                    <a:cubicBezTo>
                      <a:pt x="45" y="27"/>
                      <a:pt x="44" y="27"/>
                      <a:pt x="44" y="27"/>
                    </a:cubicBezTo>
                    <a:cubicBezTo>
                      <a:pt x="44" y="27"/>
                      <a:pt x="44" y="27"/>
                      <a:pt x="44" y="27"/>
                    </a:cubicBezTo>
                    <a:close/>
                    <a:moveTo>
                      <a:pt x="39" y="27"/>
                    </a:moveTo>
                    <a:cubicBezTo>
                      <a:pt x="39" y="27"/>
                      <a:pt x="39" y="27"/>
                      <a:pt x="39" y="27"/>
                    </a:cubicBezTo>
                    <a:cubicBezTo>
                      <a:pt x="39" y="27"/>
                      <a:pt x="39" y="28"/>
                      <a:pt x="39" y="28"/>
                    </a:cubicBezTo>
                    <a:cubicBezTo>
                      <a:pt x="39" y="28"/>
                      <a:pt x="39" y="28"/>
                      <a:pt x="39" y="28"/>
                    </a:cubicBezTo>
                    <a:cubicBezTo>
                      <a:pt x="39" y="28"/>
                      <a:pt x="39" y="27"/>
                      <a:pt x="39" y="27"/>
                    </a:cubicBezTo>
                    <a:cubicBezTo>
                      <a:pt x="39" y="27"/>
                      <a:pt x="39" y="27"/>
                      <a:pt x="39" y="27"/>
                    </a:cubicBezTo>
                    <a:close/>
                    <a:moveTo>
                      <a:pt x="35" y="28"/>
                    </a:moveTo>
                    <a:cubicBezTo>
                      <a:pt x="35" y="27"/>
                      <a:pt x="34" y="27"/>
                      <a:pt x="34" y="27"/>
                    </a:cubicBezTo>
                    <a:cubicBezTo>
                      <a:pt x="34" y="27"/>
                      <a:pt x="35" y="28"/>
                      <a:pt x="35" y="28"/>
                    </a:cubicBezTo>
                    <a:cubicBezTo>
                      <a:pt x="35" y="28"/>
                      <a:pt x="35" y="28"/>
                      <a:pt x="35" y="28"/>
                    </a:cubicBezTo>
                    <a:cubicBezTo>
                      <a:pt x="35" y="28"/>
                      <a:pt x="35" y="28"/>
                      <a:pt x="35" y="28"/>
                    </a:cubicBezTo>
                    <a:close/>
                    <a:moveTo>
                      <a:pt x="39" y="28"/>
                    </a:moveTo>
                    <a:cubicBezTo>
                      <a:pt x="39" y="28"/>
                      <a:pt x="39" y="28"/>
                      <a:pt x="39" y="28"/>
                    </a:cubicBezTo>
                    <a:cubicBezTo>
                      <a:pt x="39" y="28"/>
                      <a:pt x="39" y="28"/>
                      <a:pt x="39" y="28"/>
                    </a:cubicBezTo>
                    <a:cubicBezTo>
                      <a:pt x="39" y="28"/>
                      <a:pt x="39" y="28"/>
                      <a:pt x="39" y="28"/>
                    </a:cubicBezTo>
                    <a:cubicBezTo>
                      <a:pt x="39" y="28"/>
                      <a:pt x="39" y="29"/>
                      <a:pt x="39" y="29"/>
                    </a:cubicBezTo>
                    <a:cubicBezTo>
                      <a:pt x="39" y="29"/>
                      <a:pt x="39" y="29"/>
                      <a:pt x="39" y="29"/>
                    </a:cubicBezTo>
                    <a:cubicBezTo>
                      <a:pt x="39" y="29"/>
                      <a:pt x="39" y="28"/>
                      <a:pt x="39" y="28"/>
                    </a:cubicBezTo>
                    <a:cubicBezTo>
                      <a:pt x="39" y="28"/>
                      <a:pt x="39" y="28"/>
                      <a:pt x="39" y="28"/>
                    </a:cubicBezTo>
                    <a:cubicBezTo>
                      <a:pt x="39" y="28"/>
                      <a:pt x="39" y="28"/>
                      <a:pt x="39" y="28"/>
                    </a:cubicBezTo>
                    <a:cubicBezTo>
                      <a:pt x="39" y="28"/>
                      <a:pt x="39" y="28"/>
                      <a:pt x="39" y="28"/>
                    </a:cubicBezTo>
                    <a:close/>
                    <a:moveTo>
                      <a:pt x="35" y="28"/>
                    </a:moveTo>
                    <a:cubicBezTo>
                      <a:pt x="35" y="28"/>
                      <a:pt x="35" y="28"/>
                      <a:pt x="35" y="28"/>
                    </a:cubicBezTo>
                    <a:cubicBezTo>
                      <a:pt x="35" y="28"/>
                      <a:pt x="35" y="28"/>
                      <a:pt x="35" y="28"/>
                    </a:cubicBezTo>
                    <a:cubicBezTo>
                      <a:pt x="35" y="28"/>
                      <a:pt x="35" y="28"/>
                      <a:pt x="35" y="28"/>
                    </a:cubicBezTo>
                    <a:cubicBezTo>
                      <a:pt x="35" y="28"/>
                      <a:pt x="35" y="28"/>
                      <a:pt x="35" y="28"/>
                    </a:cubicBezTo>
                    <a:close/>
                    <a:moveTo>
                      <a:pt x="31" y="28"/>
                    </a:moveTo>
                    <a:cubicBezTo>
                      <a:pt x="31" y="28"/>
                      <a:pt x="30" y="28"/>
                      <a:pt x="30" y="28"/>
                    </a:cubicBezTo>
                    <a:cubicBezTo>
                      <a:pt x="30" y="28"/>
                      <a:pt x="31" y="28"/>
                      <a:pt x="31" y="28"/>
                    </a:cubicBezTo>
                    <a:cubicBezTo>
                      <a:pt x="31" y="28"/>
                      <a:pt x="31" y="28"/>
                      <a:pt x="31" y="28"/>
                    </a:cubicBezTo>
                    <a:cubicBezTo>
                      <a:pt x="31" y="28"/>
                      <a:pt x="31" y="28"/>
                      <a:pt x="31" y="28"/>
                    </a:cubicBezTo>
                    <a:close/>
                    <a:moveTo>
                      <a:pt x="42" y="28"/>
                    </a:moveTo>
                    <a:cubicBezTo>
                      <a:pt x="42" y="28"/>
                      <a:pt x="42" y="28"/>
                      <a:pt x="43" y="28"/>
                    </a:cubicBezTo>
                    <a:cubicBezTo>
                      <a:pt x="43" y="28"/>
                      <a:pt x="42" y="28"/>
                      <a:pt x="42" y="29"/>
                    </a:cubicBezTo>
                    <a:cubicBezTo>
                      <a:pt x="42" y="28"/>
                      <a:pt x="42" y="28"/>
                      <a:pt x="42" y="28"/>
                    </a:cubicBezTo>
                    <a:cubicBezTo>
                      <a:pt x="42" y="28"/>
                      <a:pt x="42" y="28"/>
                      <a:pt x="42" y="28"/>
                    </a:cubicBezTo>
                    <a:close/>
                    <a:moveTo>
                      <a:pt x="70" y="28"/>
                    </a:moveTo>
                    <a:cubicBezTo>
                      <a:pt x="70" y="28"/>
                      <a:pt x="71" y="28"/>
                      <a:pt x="71" y="28"/>
                    </a:cubicBezTo>
                    <a:cubicBezTo>
                      <a:pt x="71" y="28"/>
                      <a:pt x="72" y="28"/>
                      <a:pt x="72" y="28"/>
                    </a:cubicBezTo>
                    <a:cubicBezTo>
                      <a:pt x="71" y="28"/>
                      <a:pt x="71" y="28"/>
                      <a:pt x="70" y="28"/>
                    </a:cubicBezTo>
                    <a:cubicBezTo>
                      <a:pt x="70" y="28"/>
                      <a:pt x="70" y="28"/>
                      <a:pt x="70" y="28"/>
                    </a:cubicBezTo>
                    <a:close/>
                    <a:moveTo>
                      <a:pt x="44" y="28"/>
                    </a:moveTo>
                    <a:cubicBezTo>
                      <a:pt x="44" y="28"/>
                      <a:pt x="44" y="28"/>
                      <a:pt x="43" y="28"/>
                    </a:cubicBezTo>
                    <a:cubicBezTo>
                      <a:pt x="43" y="28"/>
                      <a:pt x="43" y="29"/>
                      <a:pt x="43" y="29"/>
                    </a:cubicBezTo>
                    <a:cubicBezTo>
                      <a:pt x="44" y="29"/>
                      <a:pt x="44" y="29"/>
                      <a:pt x="44" y="29"/>
                    </a:cubicBezTo>
                    <a:cubicBezTo>
                      <a:pt x="44" y="29"/>
                      <a:pt x="44" y="28"/>
                      <a:pt x="44" y="28"/>
                    </a:cubicBezTo>
                    <a:cubicBezTo>
                      <a:pt x="44" y="28"/>
                      <a:pt x="44" y="28"/>
                      <a:pt x="44" y="28"/>
                    </a:cubicBezTo>
                    <a:close/>
                    <a:moveTo>
                      <a:pt x="37" y="28"/>
                    </a:moveTo>
                    <a:cubicBezTo>
                      <a:pt x="37" y="28"/>
                      <a:pt x="36" y="28"/>
                      <a:pt x="36" y="28"/>
                    </a:cubicBezTo>
                    <a:cubicBezTo>
                      <a:pt x="36" y="28"/>
                      <a:pt x="37" y="28"/>
                      <a:pt x="37" y="29"/>
                    </a:cubicBezTo>
                    <a:cubicBezTo>
                      <a:pt x="37" y="28"/>
                      <a:pt x="37" y="28"/>
                      <a:pt x="37" y="28"/>
                    </a:cubicBezTo>
                    <a:cubicBezTo>
                      <a:pt x="37" y="28"/>
                      <a:pt x="37" y="28"/>
                      <a:pt x="37" y="28"/>
                    </a:cubicBezTo>
                    <a:close/>
                    <a:moveTo>
                      <a:pt x="44" y="28"/>
                    </a:moveTo>
                    <a:cubicBezTo>
                      <a:pt x="44" y="28"/>
                      <a:pt x="44" y="28"/>
                      <a:pt x="44" y="28"/>
                    </a:cubicBezTo>
                    <a:cubicBezTo>
                      <a:pt x="44" y="29"/>
                      <a:pt x="44" y="29"/>
                      <a:pt x="44" y="29"/>
                    </a:cubicBezTo>
                    <a:cubicBezTo>
                      <a:pt x="44" y="29"/>
                      <a:pt x="45" y="29"/>
                      <a:pt x="45" y="29"/>
                    </a:cubicBezTo>
                    <a:cubicBezTo>
                      <a:pt x="45" y="29"/>
                      <a:pt x="45" y="29"/>
                      <a:pt x="45" y="29"/>
                    </a:cubicBezTo>
                    <a:cubicBezTo>
                      <a:pt x="45" y="29"/>
                      <a:pt x="45" y="29"/>
                      <a:pt x="45" y="29"/>
                    </a:cubicBezTo>
                    <a:cubicBezTo>
                      <a:pt x="45" y="29"/>
                      <a:pt x="45" y="29"/>
                      <a:pt x="45" y="29"/>
                    </a:cubicBezTo>
                    <a:cubicBezTo>
                      <a:pt x="45" y="28"/>
                      <a:pt x="45" y="28"/>
                      <a:pt x="44" y="28"/>
                    </a:cubicBezTo>
                    <a:cubicBezTo>
                      <a:pt x="44" y="28"/>
                      <a:pt x="44" y="28"/>
                      <a:pt x="44" y="28"/>
                    </a:cubicBezTo>
                    <a:cubicBezTo>
                      <a:pt x="44" y="28"/>
                      <a:pt x="44" y="28"/>
                      <a:pt x="44" y="28"/>
                    </a:cubicBezTo>
                    <a:close/>
                    <a:moveTo>
                      <a:pt x="70" y="28"/>
                    </a:moveTo>
                    <a:cubicBezTo>
                      <a:pt x="70" y="28"/>
                      <a:pt x="70" y="28"/>
                      <a:pt x="70" y="28"/>
                    </a:cubicBezTo>
                    <a:cubicBezTo>
                      <a:pt x="70" y="28"/>
                      <a:pt x="70" y="28"/>
                      <a:pt x="70" y="28"/>
                    </a:cubicBezTo>
                    <a:cubicBezTo>
                      <a:pt x="70" y="28"/>
                      <a:pt x="70" y="28"/>
                      <a:pt x="70" y="28"/>
                    </a:cubicBezTo>
                    <a:cubicBezTo>
                      <a:pt x="70" y="28"/>
                      <a:pt x="70" y="28"/>
                      <a:pt x="70" y="28"/>
                    </a:cubicBezTo>
                    <a:close/>
                    <a:moveTo>
                      <a:pt x="65" y="29"/>
                    </a:moveTo>
                    <a:cubicBezTo>
                      <a:pt x="65" y="28"/>
                      <a:pt x="65" y="28"/>
                      <a:pt x="65" y="28"/>
                    </a:cubicBezTo>
                    <a:cubicBezTo>
                      <a:pt x="65" y="29"/>
                      <a:pt x="65" y="29"/>
                      <a:pt x="64" y="29"/>
                    </a:cubicBezTo>
                    <a:cubicBezTo>
                      <a:pt x="64" y="29"/>
                      <a:pt x="65" y="29"/>
                      <a:pt x="65" y="29"/>
                    </a:cubicBezTo>
                    <a:cubicBezTo>
                      <a:pt x="65" y="29"/>
                      <a:pt x="65" y="29"/>
                      <a:pt x="65" y="29"/>
                    </a:cubicBezTo>
                    <a:cubicBezTo>
                      <a:pt x="65" y="29"/>
                      <a:pt x="65" y="29"/>
                      <a:pt x="65" y="29"/>
                    </a:cubicBezTo>
                    <a:close/>
                    <a:moveTo>
                      <a:pt x="36" y="29"/>
                    </a:moveTo>
                    <a:cubicBezTo>
                      <a:pt x="36" y="29"/>
                      <a:pt x="36" y="28"/>
                      <a:pt x="35" y="28"/>
                    </a:cubicBezTo>
                    <a:cubicBezTo>
                      <a:pt x="35" y="29"/>
                      <a:pt x="35" y="29"/>
                      <a:pt x="36" y="29"/>
                    </a:cubicBezTo>
                    <a:cubicBezTo>
                      <a:pt x="36" y="29"/>
                      <a:pt x="36" y="29"/>
                      <a:pt x="36" y="29"/>
                    </a:cubicBezTo>
                    <a:cubicBezTo>
                      <a:pt x="36" y="29"/>
                      <a:pt x="36" y="29"/>
                      <a:pt x="36" y="29"/>
                    </a:cubicBezTo>
                    <a:cubicBezTo>
                      <a:pt x="36" y="29"/>
                      <a:pt x="36" y="29"/>
                      <a:pt x="36" y="29"/>
                    </a:cubicBezTo>
                    <a:cubicBezTo>
                      <a:pt x="36" y="29"/>
                      <a:pt x="36" y="29"/>
                      <a:pt x="37" y="29"/>
                    </a:cubicBezTo>
                    <a:cubicBezTo>
                      <a:pt x="36" y="29"/>
                      <a:pt x="36" y="29"/>
                      <a:pt x="36" y="29"/>
                    </a:cubicBezTo>
                    <a:cubicBezTo>
                      <a:pt x="36" y="29"/>
                      <a:pt x="36" y="29"/>
                      <a:pt x="36" y="29"/>
                    </a:cubicBezTo>
                    <a:close/>
                    <a:moveTo>
                      <a:pt x="46" y="29"/>
                    </a:moveTo>
                    <a:cubicBezTo>
                      <a:pt x="46" y="29"/>
                      <a:pt x="45" y="29"/>
                      <a:pt x="45" y="29"/>
                    </a:cubicBezTo>
                    <a:cubicBezTo>
                      <a:pt x="45" y="29"/>
                      <a:pt x="45" y="29"/>
                      <a:pt x="45" y="29"/>
                    </a:cubicBezTo>
                    <a:cubicBezTo>
                      <a:pt x="45"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lose/>
                    <a:moveTo>
                      <a:pt x="33" y="29"/>
                    </a:moveTo>
                    <a:cubicBezTo>
                      <a:pt x="33" y="28"/>
                      <a:pt x="33" y="28"/>
                      <a:pt x="33" y="28"/>
                    </a:cubicBezTo>
                    <a:cubicBezTo>
                      <a:pt x="33" y="28"/>
                      <a:pt x="33" y="29"/>
                      <a:pt x="34" y="30"/>
                    </a:cubicBezTo>
                    <a:cubicBezTo>
                      <a:pt x="34" y="30"/>
                      <a:pt x="34" y="30"/>
                      <a:pt x="34" y="30"/>
                    </a:cubicBezTo>
                    <a:cubicBezTo>
                      <a:pt x="34" y="29"/>
                      <a:pt x="34" y="29"/>
                      <a:pt x="34" y="29"/>
                    </a:cubicBezTo>
                    <a:cubicBezTo>
                      <a:pt x="34" y="29"/>
                      <a:pt x="34" y="29"/>
                      <a:pt x="34" y="30"/>
                    </a:cubicBezTo>
                    <a:cubicBezTo>
                      <a:pt x="33" y="30"/>
                      <a:pt x="33" y="29"/>
                      <a:pt x="33" y="29"/>
                    </a:cubicBezTo>
                    <a:cubicBezTo>
                      <a:pt x="33" y="29"/>
                      <a:pt x="33" y="29"/>
                      <a:pt x="33" y="29"/>
                    </a:cubicBezTo>
                    <a:close/>
                    <a:moveTo>
                      <a:pt x="39" y="29"/>
                    </a:moveTo>
                    <a:cubicBezTo>
                      <a:pt x="39" y="29"/>
                      <a:pt x="40" y="29"/>
                      <a:pt x="40" y="29"/>
                    </a:cubicBezTo>
                    <a:cubicBezTo>
                      <a:pt x="40" y="29"/>
                      <a:pt x="40" y="29"/>
                      <a:pt x="40" y="29"/>
                    </a:cubicBezTo>
                    <a:cubicBezTo>
                      <a:pt x="40" y="29"/>
                      <a:pt x="40" y="29"/>
                      <a:pt x="39" y="29"/>
                    </a:cubicBezTo>
                    <a:cubicBezTo>
                      <a:pt x="39" y="29"/>
                      <a:pt x="39" y="29"/>
                      <a:pt x="39" y="29"/>
                    </a:cubicBezTo>
                    <a:close/>
                    <a:moveTo>
                      <a:pt x="70" y="29"/>
                    </a:moveTo>
                    <a:cubicBezTo>
                      <a:pt x="70" y="29"/>
                      <a:pt x="70" y="29"/>
                      <a:pt x="70" y="29"/>
                    </a:cubicBezTo>
                    <a:cubicBezTo>
                      <a:pt x="70" y="29"/>
                      <a:pt x="71" y="29"/>
                      <a:pt x="71" y="29"/>
                    </a:cubicBezTo>
                    <a:cubicBezTo>
                      <a:pt x="70" y="29"/>
                      <a:pt x="70" y="29"/>
                      <a:pt x="70" y="29"/>
                    </a:cubicBezTo>
                    <a:cubicBezTo>
                      <a:pt x="70" y="29"/>
                      <a:pt x="70" y="29"/>
                      <a:pt x="70" y="29"/>
                    </a:cubicBezTo>
                    <a:close/>
                    <a:moveTo>
                      <a:pt x="40" y="29"/>
                    </a:moveTo>
                    <a:cubicBezTo>
                      <a:pt x="40" y="29"/>
                      <a:pt x="40" y="29"/>
                      <a:pt x="40" y="29"/>
                    </a:cubicBezTo>
                    <a:cubicBezTo>
                      <a:pt x="40" y="29"/>
                      <a:pt x="40" y="29"/>
                      <a:pt x="40" y="30"/>
                    </a:cubicBezTo>
                    <a:cubicBezTo>
                      <a:pt x="40" y="30"/>
                      <a:pt x="40" y="30"/>
                      <a:pt x="40" y="30"/>
                    </a:cubicBezTo>
                    <a:cubicBezTo>
                      <a:pt x="40" y="29"/>
                      <a:pt x="40" y="29"/>
                      <a:pt x="40" y="29"/>
                    </a:cubicBezTo>
                    <a:cubicBezTo>
                      <a:pt x="40" y="29"/>
                      <a:pt x="40" y="29"/>
                      <a:pt x="40" y="29"/>
                    </a:cubicBezTo>
                    <a:close/>
                    <a:moveTo>
                      <a:pt x="46" y="29"/>
                    </a:moveTo>
                    <a:cubicBezTo>
                      <a:pt x="46" y="29"/>
                      <a:pt x="46" y="29"/>
                      <a:pt x="46" y="29"/>
                    </a:cubicBezTo>
                    <a:cubicBezTo>
                      <a:pt x="46" y="29"/>
                      <a:pt x="46" y="29"/>
                      <a:pt x="46" y="29"/>
                    </a:cubicBezTo>
                    <a:cubicBezTo>
                      <a:pt x="46" y="29"/>
                      <a:pt x="46" y="29"/>
                      <a:pt x="46" y="29"/>
                    </a:cubicBezTo>
                    <a:cubicBezTo>
                      <a:pt x="46" y="29"/>
                      <a:pt x="47" y="30"/>
                      <a:pt x="47" y="30"/>
                    </a:cubicBezTo>
                    <a:cubicBezTo>
                      <a:pt x="47" y="30"/>
                      <a:pt x="46" y="30"/>
                      <a:pt x="46" y="30"/>
                    </a:cubicBezTo>
                    <a:cubicBezTo>
                      <a:pt x="46" y="30"/>
                      <a:pt x="46" y="30"/>
                      <a:pt x="46" y="30"/>
                    </a:cubicBezTo>
                    <a:cubicBezTo>
                      <a:pt x="46" y="30"/>
                      <a:pt x="46" y="29"/>
                      <a:pt x="46" y="29"/>
                    </a:cubicBezTo>
                    <a:cubicBezTo>
                      <a:pt x="46" y="29"/>
                      <a:pt x="46" y="29"/>
                      <a:pt x="46" y="29"/>
                    </a:cubicBezTo>
                    <a:cubicBezTo>
                      <a:pt x="46" y="29"/>
                      <a:pt x="46" y="29"/>
                      <a:pt x="46" y="29"/>
                    </a:cubicBezTo>
                    <a:cubicBezTo>
                      <a:pt x="46" y="29"/>
                      <a:pt x="46" y="29"/>
                      <a:pt x="46" y="29"/>
                    </a:cubicBezTo>
                    <a:cubicBezTo>
                      <a:pt x="46" y="29"/>
                      <a:pt x="46" y="29"/>
                      <a:pt x="46" y="29"/>
                    </a:cubicBezTo>
                    <a:close/>
                    <a:moveTo>
                      <a:pt x="61" y="30"/>
                    </a:moveTo>
                    <a:cubicBezTo>
                      <a:pt x="61" y="30"/>
                      <a:pt x="62" y="29"/>
                      <a:pt x="62" y="29"/>
                    </a:cubicBezTo>
                    <a:cubicBezTo>
                      <a:pt x="62" y="30"/>
                      <a:pt x="62" y="30"/>
                      <a:pt x="62" y="30"/>
                    </a:cubicBezTo>
                    <a:cubicBezTo>
                      <a:pt x="61" y="30"/>
                      <a:pt x="61" y="30"/>
                      <a:pt x="61" y="30"/>
                    </a:cubicBezTo>
                    <a:cubicBezTo>
                      <a:pt x="61" y="30"/>
                      <a:pt x="61" y="30"/>
                      <a:pt x="61" y="30"/>
                    </a:cubicBezTo>
                    <a:cubicBezTo>
                      <a:pt x="61" y="30"/>
                      <a:pt x="61" y="30"/>
                      <a:pt x="61" y="30"/>
                    </a:cubicBezTo>
                    <a:cubicBezTo>
                      <a:pt x="61" y="30"/>
                      <a:pt x="61" y="30"/>
                      <a:pt x="61" y="30"/>
                    </a:cubicBezTo>
                    <a:close/>
                    <a:moveTo>
                      <a:pt x="41" y="30"/>
                    </a:moveTo>
                    <a:cubicBezTo>
                      <a:pt x="41" y="30"/>
                      <a:pt x="41" y="30"/>
                      <a:pt x="41" y="30"/>
                    </a:cubicBezTo>
                    <a:cubicBezTo>
                      <a:pt x="41" y="30"/>
                      <a:pt x="41" y="30"/>
                      <a:pt x="41" y="30"/>
                    </a:cubicBezTo>
                    <a:cubicBezTo>
                      <a:pt x="41" y="30"/>
                      <a:pt x="41" y="30"/>
                      <a:pt x="41" y="30"/>
                    </a:cubicBezTo>
                    <a:cubicBezTo>
                      <a:pt x="41" y="30"/>
                      <a:pt x="41" y="30"/>
                      <a:pt x="41" y="30"/>
                    </a:cubicBezTo>
                    <a:cubicBezTo>
                      <a:pt x="41" y="30"/>
                      <a:pt x="41" y="30"/>
                      <a:pt x="41" y="30"/>
                    </a:cubicBezTo>
                    <a:close/>
                    <a:moveTo>
                      <a:pt x="60" y="30"/>
                    </a:moveTo>
                    <a:cubicBezTo>
                      <a:pt x="60" y="30"/>
                      <a:pt x="60" y="30"/>
                      <a:pt x="60" y="30"/>
                    </a:cubicBezTo>
                    <a:cubicBezTo>
                      <a:pt x="60" y="30"/>
                      <a:pt x="60" y="30"/>
                      <a:pt x="60" y="30"/>
                    </a:cubicBezTo>
                    <a:cubicBezTo>
                      <a:pt x="60" y="30"/>
                      <a:pt x="60" y="30"/>
                      <a:pt x="60" y="30"/>
                    </a:cubicBezTo>
                    <a:cubicBezTo>
                      <a:pt x="60" y="30"/>
                      <a:pt x="60" y="30"/>
                      <a:pt x="60" y="30"/>
                    </a:cubicBezTo>
                    <a:close/>
                    <a:moveTo>
                      <a:pt x="62" y="30"/>
                    </a:moveTo>
                    <a:cubicBezTo>
                      <a:pt x="61" y="30"/>
                      <a:pt x="61" y="30"/>
                      <a:pt x="61" y="30"/>
                    </a:cubicBezTo>
                    <a:cubicBezTo>
                      <a:pt x="61" y="30"/>
                      <a:pt x="61" y="31"/>
                      <a:pt x="61" y="31"/>
                    </a:cubicBezTo>
                    <a:cubicBezTo>
                      <a:pt x="61" y="31"/>
                      <a:pt x="61" y="31"/>
                      <a:pt x="61" y="31"/>
                    </a:cubicBezTo>
                    <a:cubicBezTo>
                      <a:pt x="61" y="31"/>
                      <a:pt x="61" y="31"/>
                      <a:pt x="61" y="31"/>
                    </a:cubicBezTo>
                    <a:cubicBezTo>
                      <a:pt x="61" y="31"/>
                      <a:pt x="62" y="30"/>
                      <a:pt x="62" y="30"/>
                    </a:cubicBezTo>
                    <a:cubicBezTo>
                      <a:pt x="62" y="30"/>
                      <a:pt x="62" y="30"/>
                      <a:pt x="62" y="30"/>
                    </a:cubicBezTo>
                    <a:close/>
                    <a:moveTo>
                      <a:pt x="34" y="30"/>
                    </a:moveTo>
                    <a:cubicBezTo>
                      <a:pt x="34" y="30"/>
                      <a:pt x="34" y="30"/>
                      <a:pt x="34" y="30"/>
                    </a:cubicBezTo>
                    <a:cubicBezTo>
                      <a:pt x="34" y="30"/>
                      <a:pt x="34" y="30"/>
                      <a:pt x="34" y="30"/>
                    </a:cubicBezTo>
                    <a:cubicBezTo>
                      <a:pt x="34" y="30"/>
                      <a:pt x="34" y="30"/>
                      <a:pt x="34" y="30"/>
                    </a:cubicBezTo>
                    <a:cubicBezTo>
                      <a:pt x="34" y="30"/>
                      <a:pt x="34" y="30"/>
                      <a:pt x="34" y="30"/>
                    </a:cubicBezTo>
                    <a:close/>
                    <a:moveTo>
                      <a:pt x="35" y="30"/>
                    </a:moveTo>
                    <a:cubicBezTo>
                      <a:pt x="35" y="30"/>
                      <a:pt x="35" y="30"/>
                      <a:pt x="35" y="30"/>
                    </a:cubicBezTo>
                    <a:cubicBezTo>
                      <a:pt x="35" y="30"/>
                      <a:pt x="35" y="30"/>
                      <a:pt x="35" y="30"/>
                    </a:cubicBezTo>
                    <a:cubicBezTo>
                      <a:pt x="35" y="31"/>
                      <a:pt x="35" y="31"/>
                      <a:pt x="35" y="31"/>
                    </a:cubicBezTo>
                    <a:cubicBezTo>
                      <a:pt x="35" y="31"/>
                      <a:pt x="35" y="31"/>
                      <a:pt x="35" y="30"/>
                    </a:cubicBezTo>
                    <a:cubicBezTo>
                      <a:pt x="35" y="30"/>
                      <a:pt x="35" y="30"/>
                      <a:pt x="35" y="30"/>
                    </a:cubicBezTo>
                    <a:close/>
                    <a:moveTo>
                      <a:pt x="60" y="30"/>
                    </a:moveTo>
                    <a:cubicBezTo>
                      <a:pt x="60" y="30"/>
                      <a:pt x="60" y="30"/>
                      <a:pt x="60" y="30"/>
                    </a:cubicBezTo>
                    <a:cubicBezTo>
                      <a:pt x="60" y="30"/>
                      <a:pt x="60" y="30"/>
                      <a:pt x="60" y="30"/>
                    </a:cubicBezTo>
                    <a:cubicBezTo>
                      <a:pt x="60" y="30"/>
                      <a:pt x="60" y="30"/>
                      <a:pt x="60" y="30"/>
                    </a:cubicBezTo>
                    <a:cubicBezTo>
                      <a:pt x="60" y="30"/>
                      <a:pt x="60" y="30"/>
                      <a:pt x="60" y="30"/>
                    </a:cubicBezTo>
                    <a:close/>
                    <a:moveTo>
                      <a:pt x="60" y="30"/>
                    </a:moveTo>
                    <a:cubicBezTo>
                      <a:pt x="60" y="30"/>
                      <a:pt x="60" y="30"/>
                      <a:pt x="60" y="30"/>
                    </a:cubicBezTo>
                    <a:cubicBezTo>
                      <a:pt x="60" y="31"/>
                      <a:pt x="60" y="31"/>
                      <a:pt x="60" y="31"/>
                    </a:cubicBezTo>
                    <a:cubicBezTo>
                      <a:pt x="60" y="31"/>
                      <a:pt x="60" y="31"/>
                      <a:pt x="60" y="31"/>
                    </a:cubicBezTo>
                    <a:cubicBezTo>
                      <a:pt x="60" y="31"/>
                      <a:pt x="60" y="31"/>
                      <a:pt x="60" y="31"/>
                    </a:cubicBezTo>
                    <a:cubicBezTo>
                      <a:pt x="60" y="31"/>
                      <a:pt x="60" y="31"/>
                      <a:pt x="60" y="30"/>
                    </a:cubicBezTo>
                    <a:cubicBezTo>
                      <a:pt x="60" y="30"/>
                      <a:pt x="60" y="30"/>
                      <a:pt x="60" y="30"/>
                    </a:cubicBezTo>
                    <a:close/>
                    <a:moveTo>
                      <a:pt x="35" y="30"/>
                    </a:moveTo>
                    <a:cubicBezTo>
                      <a:pt x="36" y="31"/>
                      <a:pt x="36" y="31"/>
                      <a:pt x="36" y="32"/>
                    </a:cubicBezTo>
                    <a:cubicBezTo>
                      <a:pt x="36" y="31"/>
                      <a:pt x="36" y="31"/>
                      <a:pt x="35" y="30"/>
                    </a:cubicBezTo>
                    <a:cubicBezTo>
                      <a:pt x="35" y="30"/>
                      <a:pt x="35" y="30"/>
                      <a:pt x="35" y="30"/>
                    </a:cubicBezTo>
                    <a:close/>
                    <a:moveTo>
                      <a:pt x="59" y="31"/>
                    </a:moveTo>
                    <a:cubicBezTo>
                      <a:pt x="59" y="31"/>
                      <a:pt x="59" y="31"/>
                      <a:pt x="59" y="31"/>
                    </a:cubicBezTo>
                    <a:cubicBezTo>
                      <a:pt x="59" y="31"/>
                      <a:pt x="59" y="31"/>
                      <a:pt x="59" y="31"/>
                    </a:cubicBezTo>
                    <a:cubicBezTo>
                      <a:pt x="59" y="31"/>
                      <a:pt x="59" y="31"/>
                      <a:pt x="59" y="31"/>
                    </a:cubicBezTo>
                    <a:cubicBezTo>
                      <a:pt x="59" y="31"/>
                      <a:pt x="59" y="31"/>
                      <a:pt x="59" y="31"/>
                    </a:cubicBezTo>
                    <a:close/>
                    <a:moveTo>
                      <a:pt x="59" y="31"/>
                    </a:moveTo>
                    <a:cubicBezTo>
                      <a:pt x="59" y="31"/>
                      <a:pt x="59" y="31"/>
                      <a:pt x="59" y="31"/>
                    </a:cubicBezTo>
                    <a:cubicBezTo>
                      <a:pt x="59" y="31"/>
                      <a:pt x="59" y="31"/>
                      <a:pt x="59" y="31"/>
                    </a:cubicBezTo>
                    <a:cubicBezTo>
                      <a:pt x="59" y="31"/>
                      <a:pt x="59" y="31"/>
                      <a:pt x="59" y="31"/>
                    </a:cubicBezTo>
                    <a:cubicBezTo>
                      <a:pt x="59" y="31"/>
                      <a:pt x="59" y="31"/>
                      <a:pt x="59" y="31"/>
                    </a:cubicBezTo>
                    <a:close/>
                    <a:moveTo>
                      <a:pt x="34" y="31"/>
                    </a:moveTo>
                    <a:cubicBezTo>
                      <a:pt x="34" y="31"/>
                      <a:pt x="34" y="31"/>
                      <a:pt x="34" y="31"/>
                    </a:cubicBezTo>
                    <a:cubicBezTo>
                      <a:pt x="34" y="31"/>
                      <a:pt x="34" y="31"/>
                      <a:pt x="35" y="31"/>
                    </a:cubicBezTo>
                    <a:cubicBezTo>
                      <a:pt x="35" y="31"/>
                      <a:pt x="34" y="31"/>
                      <a:pt x="34" y="31"/>
                    </a:cubicBezTo>
                    <a:cubicBezTo>
                      <a:pt x="35" y="32"/>
                      <a:pt x="36" y="32"/>
                      <a:pt x="37" y="32"/>
                    </a:cubicBezTo>
                    <a:cubicBezTo>
                      <a:pt x="36" y="32"/>
                      <a:pt x="35" y="31"/>
                      <a:pt x="34" y="31"/>
                    </a:cubicBezTo>
                    <a:cubicBezTo>
                      <a:pt x="34" y="31"/>
                      <a:pt x="34" y="31"/>
                      <a:pt x="34" y="31"/>
                    </a:cubicBezTo>
                    <a:cubicBezTo>
                      <a:pt x="34" y="31"/>
                      <a:pt x="34" y="31"/>
                      <a:pt x="34" y="31"/>
                    </a:cubicBezTo>
                    <a:cubicBezTo>
                      <a:pt x="34" y="31"/>
                      <a:pt x="34" y="31"/>
                      <a:pt x="34" y="31"/>
                    </a:cubicBezTo>
                    <a:close/>
                    <a:moveTo>
                      <a:pt x="37" y="31"/>
                    </a:moveTo>
                    <a:cubicBezTo>
                      <a:pt x="37" y="31"/>
                      <a:pt x="36" y="31"/>
                      <a:pt x="36" y="31"/>
                    </a:cubicBezTo>
                    <a:cubicBezTo>
                      <a:pt x="37" y="32"/>
                      <a:pt x="37" y="32"/>
                      <a:pt x="38" y="32"/>
                    </a:cubicBezTo>
                    <a:cubicBezTo>
                      <a:pt x="38" y="32"/>
                      <a:pt x="38" y="32"/>
                      <a:pt x="38" y="32"/>
                    </a:cubicBezTo>
                    <a:cubicBezTo>
                      <a:pt x="37" y="32"/>
                      <a:pt x="37" y="32"/>
                      <a:pt x="37" y="31"/>
                    </a:cubicBezTo>
                    <a:cubicBezTo>
                      <a:pt x="37" y="31"/>
                      <a:pt x="37" y="31"/>
                      <a:pt x="37" y="31"/>
                    </a:cubicBezTo>
                    <a:close/>
                    <a:moveTo>
                      <a:pt x="44" y="31"/>
                    </a:moveTo>
                    <a:cubicBezTo>
                      <a:pt x="44" y="31"/>
                      <a:pt x="44" y="31"/>
                      <a:pt x="44" y="31"/>
                    </a:cubicBezTo>
                    <a:cubicBezTo>
                      <a:pt x="44" y="31"/>
                      <a:pt x="44" y="31"/>
                      <a:pt x="44" y="31"/>
                    </a:cubicBezTo>
                    <a:cubicBezTo>
                      <a:pt x="44" y="31"/>
                      <a:pt x="44" y="31"/>
                      <a:pt x="44" y="31"/>
                    </a:cubicBezTo>
                    <a:cubicBezTo>
                      <a:pt x="44" y="31"/>
                      <a:pt x="44" y="32"/>
                      <a:pt x="43" y="32"/>
                    </a:cubicBezTo>
                    <a:cubicBezTo>
                      <a:pt x="44" y="32"/>
                      <a:pt x="44" y="32"/>
                      <a:pt x="44" y="31"/>
                    </a:cubicBezTo>
                    <a:cubicBezTo>
                      <a:pt x="44" y="32"/>
                      <a:pt x="44" y="32"/>
                      <a:pt x="44" y="32"/>
                    </a:cubicBezTo>
                    <a:cubicBezTo>
                      <a:pt x="43" y="32"/>
                      <a:pt x="43" y="31"/>
                      <a:pt x="44" y="31"/>
                    </a:cubicBezTo>
                    <a:cubicBezTo>
                      <a:pt x="44" y="31"/>
                      <a:pt x="44" y="31"/>
                      <a:pt x="44" y="31"/>
                    </a:cubicBezTo>
                    <a:close/>
                    <a:moveTo>
                      <a:pt x="66" y="31"/>
                    </a:moveTo>
                    <a:cubicBezTo>
                      <a:pt x="66" y="31"/>
                      <a:pt x="66" y="31"/>
                      <a:pt x="66" y="31"/>
                    </a:cubicBezTo>
                    <a:cubicBezTo>
                      <a:pt x="66" y="31"/>
                      <a:pt x="66" y="31"/>
                      <a:pt x="66" y="31"/>
                    </a:cubicBezTo>
                    <a:cubicBezTo>
                      <a:pt x="66" y="31"/>
                      <a:pt x="66" y="31"/>
                      <a:pt x="66" y="31"/>
                    </a:cubicBezTo>
                    <a:cubicBezTo>
                      <a:pt x="66" y="31"/>
                      <a:pt x="66" y="31"/>
                      <a:pt x="66" y="31"/>
                    </a:cubicBezTo>
                    <a:close/>
                    <a:moveTo>
                      <a:pt x="65" y="31"/>
                    </a:moveTo>
                    <a:cubicBezTo>
                      <a:pt x="65" y="31"/>
                      <a:pt x="64" y="31"/>
                      <a:pt x="63" y="32"/>
                    </a:cubicBezTo>
                    <a:cubicBezTo>
                      <a:pt x="64" y="32"/>
                      <a:pt x="65" y="31"/>
                      <a:pt x="65" y="31"/>
                    </a:cubicBezTo>
                    <a:cubicBezTo>
                      <a:pt x="65" y="31"/>
                      <a:pt x="65" y="31"/>
                      <a:pt x="65" y="31"/>
                    </a:cubicBezTo>
                    <a:close/>
                    <a:moveTo>
                      <a:pt x="60" y="31"/>
                    </a:moveTo>
                    <a:cubicBezTo>
                      <a:pt x="60" y="31"/>
                      <a:pt x="60" y="31"/>
                      <a:pt x="60" y="31"/>
                    </a:cubicBezTo>
                    <a:cubicBezTo>
                      <a:pt x="60" y="31"/>
                      <a:pt x="60" y="31"/>
                      <a:pt x="60" y="31"/>
                    </a:cubicBezTo>
                    <a:cubicBezTo>
                      <a:pt x="60" y="31"/>
                      <a:pt x="60" y="31"/>
                      <a:pt x="60" y="31"/>
                    </a:cubicBezTo>
                    <a:cubicBezTo>
                      <a:pt x="60" y="31"/>
                      <a:pt x="60" y="31"/>
                      <a:pt x="60" y="31"/>
                    </a:cubicBezTo>
                    <a:cubicBezTo>
                      <a:pt x="60" y="31"/>
                      <a:pt x="60" y="31"/>
                      <a:pt x="60" y="31"/>
                    </a:cubicBezTo>
                    <a:close/>
                    <a:moveTo>
                      <a:pt x="38" y="31"/>
                    </a:moveTo>
                    <a:cubicBezTo>
                      <a:pt x="38" y="31"/>
                      <a:pt x="38" y="31"/>
                      <a:pt x="38" y="31"/>
                    </a:cubicBezTo>
                    <a:cubicBezTo>
                      <a:pt x="38" y="31"/>
                      <a:pt x="38" y="31"/>
                      <a:pt x="38" y="31"/>
                    </a:cubicBezTo>
                    <a:cubicBezTo>
                      <a:pt x="38" y="31"/>
                      <a:pt x="39" y="31"/>
                      <a:pt x="39" y="31"/>
                    </a:cubicBezTo>
                    <a:cubicBezTo>
                      <a:pt x="39" y="31"/>
                      <a:pt x="38" y="31"/>
                      <a:pt x="38" y="31"/>
                    </a:cubicBezTo>
                    <a:cubicBezTo>
                      <a:pt x="38" y="31"/>
                      <a:pt x="38" y="31"/>
                      <a:pt x="38" y="31"/>
                    </a:cubicBezTo>
                    <a:close/>
                    <a:moveTo>
                      <a:pt x="45" y="31"/>
                    </a:moveTo>
                    <a:cubicBezTo>
                      <a:pt x="45" y="31"/>
                      <a:pt x="45" y="31"/>
                      <a:pt x="45" y="31"/>
                    </a:cubicBezTo>
                    <a:cubicBezTo>
                      <a:pt x="45" y="31"/>
                      <a:pt x="45" y="31"/>
                      <a:pt x="45" y="31"/>
                    </a:cubicBezTo>
                    <a:cubicBezTo>
                      <a:pt x="45" y="31"/>
                      <a:pt x="45" y="31"/>
                      <a:pt x="45" y="31"/>
                    </a:cubicBezTo>
                    <a:cubicBezTo>
                      <a:pt x="45" y="31"/>
                      <a:pt x="45" y="31"/>
                      <a:pt x="45" y="31"/>
                    </a:cubicBezTo>
                    <a:close/>
                    <a:moveTo>
                      <a:pt x="61" y="31"/>
                    </a:moveTo>
                    <a:cubicBezTo>
                      <a:pt x="61" y="31"/>
                      <a:pt x="61" y="31"/>
                      <a:pt x="61" y="31"/>
                    </a:cubicBezTo>
                    <a:cubicBezTo>
                      <a:pt x="61" y="31"/>
                      <a:pt x="61" y="31"/>
                      <a:pt x="61" y="31"/>
                    </a:cubicBezTo>
                    <a:cubicBezTo>
                      <a:pt x="61" y="31"/>
                      <a:pt x="61" y="31"/>
                      <a:pt x="61" y="31"/>
                    </a:cubicBezTo>
                    <a:cubicBezTo>
                      <a:pt x="61" y="31"/>
                      <a:pt x="61" y="31"/>
                      <a:pt x="61" y="31"/>
                    </a:cubicBezTo>
                    <a:close/>
                    <a:moveTo>
                      <a:pt x="39" y="32"/>
                    </a:moveTo>
                    <a:cubicBezTo>
                      <a:pt x="39" y="32"/>
                      <a:pt x="39" y="32"/>
                      <a:pt x="39" y="32"/>
                    </a:cubicBezTo>
                    <a:cubicBezTo>
                      <a:pt x="39" y="32"/>
                      <a:pt x="39" y="32"/>
                      <a:pt x="39" y="32"/>
                    </a:cubicBezTo>
                    <a:cubicBezTo>
                      <a:pt x="39" y="32"/>
                      <a:pt x="39" y="32"/>
                      <a:pt x="39" y="32"/>
                    </a:cubicBezTo>
                    <a:cubicBezTo>
                      <a:pt x="39" y="32"/>
                      <a:pt x="39" y="32"/>
                      <a:pt x="39" y="32"/>
                    </a:cubicBezTo>
                    <a:cubicBezTo>
                      <a:pt x="39" y="32"/>
                      <a:pt x="39" y="32"/>
                      <a:pt x="39" y="32"/>
                    </a:cubicBezTo>
                    <a:close/>
                    <a:moveTo>
                      <a:pt x="60" y="32"/>
                    </a:moveTo>
                    <a:cubicBezTo>
                      <a:pt x="60" y="32"/>
                      <a:pt x="60" y="32"/>
                      <a:pt x="60" y="32"/>
                    </a:cubicBezTo>
                    <a:cubicBezTo>
                      <a:pt x="60" y="32"/>
                      <a:pt x="59" y="32"/>
                      <a:pt x="59" y="32"/>
                    </a:cubicBezTo>
                    <a:cubicBezTo>
                      <a:pt x="60" y="32"/>
                      <a:pt x="60" y="32"/>
                      <a:pt x="60" y="32"/>
                    </a:cubicBezTo>
                    <a:cubicBezTo>
                      <a:pt x="60" y="32"/>
                      <a:pt x="60" y="32"/>
                      <a:pt x="60" y="32"/>
                    </a:cubicBezTo>
                    <a:close/>
                    <a:moveTo>
                      <a:pt x="66" y="32"/>
                    </a:moveTo>
                    <a:cubicBezTo>
                      <a:pt x="66" y="32"/>
                      <a:pt x="66" y="32"/>
                      <a:pt x="66" y="32"/>
                    </a:cubicBezTo>
                    <a:cubicBezTo>
                      <a:pt x="66" y="32"/>
                      <a:pt x="66" y="32"/>
                      <a:pt x="67" y="32"/>
                    </a:cubicBezTo>
                    <a:cubicBezTo>
                      <a:pt x="67" y="32"/>
                      <a:pt x="66" y="32"/>
                      <a:pt x="66" y="32"/>
                    </a:cubicBezTo>
                    <a:cubicBezTo>
                      <a:pt x="66" y="32"/>
                      <a:pt x="66" y="32"/>
                      <a:pt x="66" y="32"/>
                    </a:cubicBezTo>
                    <a:close/>
                    <a:moveTo>
                      <a:pt x="39" y="32"/>
                    </a:moveTo>
                    <a:cubicBezTo>
                      <a:pt x="39" y="32"/>
                      <a:pt x="39" y="32"/>
                      <a:pt x="39" y="32"/>
                    </a:cubicBezTo>
                    <a:cubicBezTo>
                      <a:pt x="39" y="33"/>
                      <a:pt x="40" y="33"/>
                      <a:pt x="40" y="33"/>
                    </a:cubicBezTo>
                    <a:cubicBezTo>
                      <a:pt x="40" y="33"/>
                      <a:pt x="40" y="33"/>
                      <a:pt x="39" y="33"/>
                    </a:cubicBezTo>
                    <a:cubicBezTo>
                      <a:pt x="39" y="33"/>
                      <a:pt x="39" y="33"/>
                      <a:pt x="39" y="32"/>
                    </a:cubicBezTo>
                    <a:cubicBezTo>
                      <a:pt x="39" y="32"/>
                      <a:pt x="39" y="32"/>
                      <a:pt x="39" y="32"/>
                    </a:cubicBezTo>
                    <a:close/>
                    <a:moveTo>
                      <a:pt x="38" y="33"/>
                    </a:moveTo>
                    <a:cubicBezTo>
                      <a:pt x="38" y="33"/>
                      <a:pt x="38" y="33"/>
                      <a:pt x="38" y="33"/>
                    </a:cubicBezTo>
                    <a:cubicBezTo>
                      <a:pt x="38" y="33"/>
                      <a:pt x="38" y="33"/>
                      <a:pt x="38" y="33"/>
                    </a:cubicBezTo>
                    <a:cubicBezTo>
                      <a:pt x="38" y="33"/>
                      <a:pt x="38" y="33"/>
                      <a:pt x="38" y="33"/>
                    </a:cubicBezTo>
                    <a:cubicBezTo>
                      <a:pt x="38" y="33"/>
                      <a:pt x="38" y="33"/>
                      <a:pt x="38" y="33"/>
                    </a:cubicBezTo>
                    <a:close/>
                    <a:moveTo>
                      <a:pt x="44" y="33"/>
                    </a:moveTo>
                    <a:cubicBezTo>
                      <a:pt x="44" y="33"/>
                      <a:pt x="44" y="33"/>
                      <a:pt x="44" y="33"/>
                    </a:cubicBezTo>
                    <a:cubicBezTo>
                      <a:pt x="44" y="33"/>
                      <a:pt x="44" y="33"/>
                      <a:pt x="44" y="33"/>
                    </a:cubicBezTo>
                    <a:cubicBezTo>
                      <a:pt x="44" y="33"/>
                      <a:pt x="44" y="33"/>
                      <a:pt x="44" y="33"/>
                    </a:cubicBezTo>
                    <a:cubicBezTo>
                      <a:pt x="44" y="33"/>
                      <a:pt x="44" y="33"/>
                      <a:pt x="44" y="33"/>
                    </a:cubicBezTo>
                    <a:close/>
                    <a:moveTo>
                      <a:pt x="45" y="33"/>
                    </a:moveTo>
                    <a:cubicBezTo>
                      <a:pt x="45" y="33"/>
                      <a:pt x="44" y="33"/>
                      <a:pt x="44" y="33"/>
                    </a:cubicBezTo>
                    <a:cubicBezTo>
                      <a:pt x="44" y="33"/>
                      <a:pt x="45" y="33"/>
                      <a:pt x="45" y="33"/>
                    </a:cubicBezTo>
                    <a:cubicBezTo>
                      <a:pt x="45" y="33"/>
                      <a:pt x="45" y="33"/>
                      <a:pt x="45" y="33"/>
                    </a:cubicBezTo>
                    <a:close/>
                    <a:moveTo>
                      <a:pt x="40" y="33"/>
                    </a:moveTo>
                    <a:cubicBezTo>
                      <a:pt x="40" y="33"/>
                      <a:pt x="40" y="33"/>
                      <a:pt x="40" y="33"/>
                    </a:cubicBezTo>
                    <a:cubicBezTo>
                      <a:pt x="40" y="33"/>
                      <a:pt x="40" y="33"/>
                      <a:pt x="40" y="33"/>
                    </a:cubicBezTo>
                    <a:cubicBezTo>
                      <a:pt x="40" y="33"/>
                      <a:pt x="40" y="33"/>
                      <a:pt x="40" y="33"/>
                    </a:cubicBezTo>
                    <a:cubicBezTo>
                      <a:pt x="40" y="33"/>
                      <a:pt x="40" y="33"/>
                      <a:pt x="40" y="33"/>
                    </a:cubicBezTo>
                    <a:close/>
                    <a:moveTo>
                      <a:pt x="40" y="33"/>
                    </a:moveTo>
                    <a:cubicBezTo>
                      <a:pt x="40" y="33"/>
                      <a:pt x="40" y="33"/>
                      <a:pt x="41" y="33"/>
                    </a:cubicBezTo>
                    <a:cubicBezTo>
                      <a:pt x="41" y="33"/>
                      <a:pt x="41" y="33"/>
                      <a:pt x="41" y="34"/>
                    </a:cubicBezTo>
                    <a:cubicBezTo>
                      <a:pt x="41" y="34"/>
                      <a:pt x="41" y="34"/>
                      <a:pt x="40" y="34"/>
                    </a:cubicBezTo>
                    <a:cubicBezTo>
                      <a:pt x="40" y="34"/>
                      <a:pt x="40" y="33"/>
                      <a:pt x="40" y="33"/>
                    </a:cubicBezTo>
                    <a:cubicBezTo>
                      <a:pt x="40" y="33"/>
                      <a:pt x="40" y="33"/>
                      <a:pt x="40" y="33"/>
                    </a:cubicBezTo>
                    <a:close/>
                    <a:moveTo>
                      <a:pt x="40" y="34"/>
                    </a:moveTo>
                    <a:cubicBezTo>
                      <a:pt x="40" y="34"/>
                      <a:pt x="40" y="33"/>
                      <a:pt x="40" y="33"/>
                    </a:cubicBezTo>
                    <a:cubicBezTo>
                      <a:pt x="40" y="33"/>
                      <a:pt x="40" y="34"/>
                      <a:pt x="40" y="34"/>
                    </a:cubicBezTo>
                    <a:cubicBezTo>
                      <a:pt x="40" y="34"/>
                      <a:pt x="40" y="34"/>
                      <a:pt x="40" y="34"/>
                    </a:cubicBezTo>
                    <a:cubicBezTo>
                      <a:pt x="40" y="34"/>
                      <a:pt x="40" y="34"/>
                      <a:pt x="40" y="34"/>
                    </a:cubicBezTo>
                    <a:cubicBezTo>
                      <a:pt x="40" y="34"/>
                      <a:pt x="40" y="34"/>
                      <a:pt x="40" y="34"/>
                    </a:cubicBezTo>
                    <a:close/>
                    <a:moveTo>
                      <a:pt x="46" y="34"/>
                    </a:moveTo>
                    <a:cubicBezTo>
                      <a:pt x="46" y="34"/>
                      <a:pt x="46" y="34"/>
                      <a:pt x="46" y="34"/>
                    </a:cubicBezTo>
                    <a:cubicBezTo>
                      <a:pt x="46" y="34"/>
                      <a:pt x="46" y="34"/>
                      <a:pt x="46" y="35"/>
                    </a:cubicBezTo>
                    <a:cubicBezTo>
                      <a:pt x="46" y="34"/>
                      <a:pt x="46" y="34"/>
                      <a:pt x="46" y="34"/>
                    </a:cubicBezTo>
                    <a:cubicBezTo>
                      <a:pt x="46" y="34"/>
                      <a:pt x="46" y="34"/>
                      <a:pt x="46" y="34"/>
                    </a:cubicBezTo>
                    <a:close/>
                    <a:moveTo>
                      <a:pt x="41" y="34"/>
                    </a:moveTo>
                    <a:cubicBezTo>
                      <a:pt x="41" y="34"/>
                      <a:pt x="41" y="34"/>
                      <a:pt x="41" y="34"/>
                    </a:cubicBezTo>
                    <a:cubicBezTo>
                      <a:pt x="41" y="34"/>
                      <a:pt x="42" y="34"/>
                      <a:pt x="42" y="35"/>
                    </a:cubicBezTo>
                    <a:cubicBezTo>
                      <a:pt x="42" y="35"/>
                      <a:pt x="41" y="34"/>
                      <a:pt x="41" y="34"/>
                    </a:cubicBezTo>
                    <a:cubicBezTo>
                      <a:pt x="41" y="34"/>
                      <a:pt x="41" y="34"/>
                      <a:pt x="41" y="34"/>
                    </a:cubicBezTo>
                    <a:close/>
                    <a:moveTo>
                      <a:pt x="35" y="34"/>
                    </a:moveTo>
                    <a:cubicBezTo>
                      <a:pt x="34" y="34"/>
                      <a:pt x="33" y="34"/>
                      <a:pt x="32" y="34"/>
                    </a:cubicBezTo>
                    <a:cubicBezTo>
                      <a:pt x="34" y="34"/>
                      <a:pt x="36" y="33"/>
                      <a:pt x="38" y="33"/>
                    </a:cubicBezTo>
                    <a:cubicBezTo>
                      <a:pt x="37" y="34"/>
                      <a:pt x="36" y="34"/>
                      <a:pt x="35" y="34"/>
                    </a:cubicBezTo>
                    <a:cubicBezTo>
                      <a:pt x="35" y="34"/>
                      <a:pt x="35" y="34"/>
                      <a:pt x="35" y="34"/>
                    </a:cubicBezTo>
                    <a:close/>
                    <a:moveTo>
                      <a:pt x="43" y="34"/>
                    </a:moveTo>
                    <a:cubicBezTo>
                      <a:pt x="43" y="34"/>
                      <a:pt x="43" y="34"/>
                      <a:pt x="43" y="34"/>
                    </a:cubicBezTo>
                    <a:cubicBezTo>
                      <a:pt x="43" y="34"/>
                      <a:pt x="43" y="35"/>
                      <a:pt x="43" y="35"/>
                    </a:cubicBezTo>
                    <a:cubicBezTo>
                      <a:pt x="43" y="35"/>
                      <a:pt x="43" y="35"/>
                      <a:pt x="43" y="35"/>
                    </a:cubicBezTo>
                    <a:cubicBezTo>
                      <a:pt x="43" y="35"/>
                      <a:pt x="43" y="35"/>
                      <a:pt x="43" y="34"/>
                    </a:cubicBezTo>
                    <a:cubicBezTo>
                      <a:pt x="43" y="34"/>
                      <a:pt x="43" y="34"/>
                      <a:pt x="43" y="34"/>
                    </a:cubicBezTo>
                    <a:close/>
                    <a:moveTo>
                      <a:pt x="44" y="34"/>
                    </a:moveTo>
                    <a:cubicBezTo>
                      <a:pt x="44" y="34"/>
                      <a:pt x="44" y="34"/>
                      <a:pt x="44" y="34"/>
                    </a:cubicBezTo>
                    <a:cubicBezTo>
                      <a:pt x="44" y="34"/>
                      <a:pt x="44" y="35"/>
                      <a:pt x="44" y="35"/>
                    </a:cubicBezTo>
                    <a:cubicBezTo>
                      <a:pt x="44" y="35"/>
                      <a:pt x="44" y="35"/>
                      <a:pt x="44" y="35"/>
                    </a:cubicBezTo>
                    <a:cubicBezTo>
                      <a:pt x="44" y="35"/>
                      <a:pt x="44" y="35"/>
                      <a:pt x="44" y="35"/>
                    </a:cubicBezTo>
                    <a:cubicBezTo>
                      <a:pt x="44" y="35"/>
                      <a:pt x="44" y="34"/>
                      <a:pt x="44" y="34"/>
                    </a:cubicBezTo>
                    <a:cubicBezTo>
                      <a:pt x="44" y="34"/>
                      <a:pt x="44" y="34"/>
                      <a:pt x="44" y="34"/>
                    </a:cubicBezTo>
                    <a:cubicBezTo>
                      <a:pt x="44" y="34"/>
                      <a:pt x="44" y="34"/>
                      <a:pt x="44" y="34"/>
                    </a:cubicBezTo>
                    <a:close/>
                    <a:moveTo>
                      <a:pt x="60" y="35"/>
                    </a:moveTo>
                    <a:cubicBezTo>
                      <a:pt x="60" y="35"/>
                      <a:pt x="60" y="35"/>
                      <a:pt x="60" y="35"/>
                    </a:cubicBezTo>
                    <a:cubicBezTo>
                      <a:pt x="59" y="35"/>
                      <a:pt x="59" y="35"/>
                      <a:pt x="59" y="35"/>
                    </a:cubicBezTo>
                    <a:cubicBezTo>
                      <a:pt x="60" y="35"/>
                      <a:pt x="61" y="35"/>
                      <a:pt x="62" y="35"/>
                    </a:cubicBezTo>
                    <a:cubicBezTo>
                      <a:pt x="61" y="35"/>
                      <a:pt x="61" y="35"/>
                      <a:pt x="60" y="34"/>
                    </a:cubicBezTo>
                    <a:cubicBezTo>
                      <a:pt x="60" y="34"/>
                      <a:pt x="60" y="35"/>
                      <a:pt x="60" y="35"/>
                    </a:cubicBezTo>
                    <a:cubicBezTo>
                      <a:pt x="60" y="35"/>
                      <a:pt x="60" y="35"/>
                      <a:pt x="60" y="35"/>
                    </a:cubicBezTo>
                    <a:close/>
                    <a:moveTo>
                      <a:pt x="79" y="35"/>
                    </a:moveTo>
                    <a:cubicBezTo>
                      <a:pt x="78" y="35"/>
                      <a:pt x="78" y="35"/>
                      <a:pt x="78" y="35"/>
                    </a:cubicBezTo>
                    <a:cubicBezTo>
                      <a:pt x="78" y="35"/>
                      <a:pt x="78" y="36"/>
                      <a:pt x="77" y="36"/>
                    </a:cubicBezTo>
                    <a:cubicBezTo>
                      <a:pt x="78" y="36"/>
                      <a:pt x="79" y="36"/>
                      <a:pt x="79" y="35"/>
                    </a:cubicBezTo>
                    <a:cubicBezTo>
                      <a:pt x="79" y="35"/>
                      <a:pt x="79" y="35"/>
                      <a:pt x="79" y="35"/>
                    </a:cubicBezTo>
                    <a:cubicBezTo>
                      <a:pt x="79" y="35"/>
                      <a:pt x="79" y="35"/>
                      <a:pt x="79" y="35"/>
                    </a:cubicBezTo>
                    <a:close/>
                    <a:moveTo>
                      <a:pt x="47" y="35"/>
                    </a:moveTo>
                    <a:cubicBezTo>
                      <a:pt x="47" y="35"/>
                      <a:pt x="47" y="35"/>
                      <a:pt x="47" y="35"/>
                    </a:cubicBezTo>
                    <a:cubicBezTo>
                      <a:pt x="47" y="35"/>
                      <a:pt x="47" y="35"/>
                      <a:pt x="47" y="35"/>
                    </a:cubicBezTo>
                    <a:cubicBezTo>
                      <a:pt x="47" y="35"/>
                      <a:pt x="47" y="35"/>
                      <a:pt x="47" y="35"/>
                    </a:cubicBezTo>
                    <a:cubicBezTo>
                      <a:pt x="47" y="35"/>
                      <a:pt x="47" y="35"/>
                      <a:pt x="47" y="35"/>
                    </a:cubicBezTo>
                    <a:cubicBezTo>
                      <a:pt x="47" y="35"/>
                      <a:pt x="47" y="35"/>
                      <a:pt x="47" y="35"/>
                    </a:cubicBezTo>
                    <a:close/>
                    <a:moveTo>
                      <a:pt x="80" y="35"/>
                    </a:moveTo>
                    <a:cubicBezTo>
                      <a:pt x="80" y="35"/>
                      <a:pt x="81" y="35"/>
                      <a:pt x="81" y="35"/>
                    </a:cubicBezTo>
                    <a:cubicBezTo>
                      <a:pt x="81" y="35"/>
                      <a:pt x="80" y="35"/>
                      <a:pt x="80" y="35"/>
                    </a:cubicBezTo>
                    <a:cubicBezTo>
                      <a:pt x="80" y="35"/>
                      <a:pt x="80" y="35"/>
                      <a:pt x="80" y="35"/>
                    </a:cubicBezTo>
                    <a:cubicBezTo>
                      <a:pt x="80" y="35"/>
                      <a:pt x="80" y="35"/>
                      <a:pt x="80" y="35"/>
                    </a:cubicBezTo>
                    <a:close/>
                    <a:moveTo>
                      <a:pt x="44" y="35"/>
                    </a:moveTo>
                    <a:cubicBezTo>
                      <a:pt x="45" y="35"/>
                      <a:pt x="46" y="35"/>
                      <a:pt x="46" y="36"/>
                    </a:cubicBezTo>
                    <a:cubicBezTo>
                      <a:pt x="46" y="36"/>
                      <a:pt x="46" y="36"/>
                      <a:pt x="46" y="36"/>
                    </a:cubicBezTo>
                    <a:cubicBezTo>
                      <a:pt x="46" y="36"/>
                      <a:pt x="46" y="36"/>
                      <a:pt x="46" y="36"/>
                    </a:cubicBezTo>
                    <a:cubicBezTo>
                      <a:pt x="45" y="36"/>
                      <a:pt x="45" y="36"/>
                      <a:pt x="45" y="35"/>
                    </a:cubicBezTo>
                    <a:cubicBezTo>
                      <a:pt x="45" y="35"/>
                      <a:pt x="45" y="35"/>
                      <a:pt x="45" y="35"/>
                    </a:cubicBezTo>
                    <a:cubicBezTo>
                      <a:pt x="45" y="35"/>
                      <a:pt x="44" y="35"/>
                      <a:pt x="44" y="35"/>
                    </a:cubicBezTo>
                    <a:cubicBezTo>
                      <a:pt x="44" y="35"/>
                      <a:pt x="44" y="35"/>
                      <a:pt x="44" y="35"/>
                    </a:cubicBezTo>
                    <a:close/>
                    <a:moveTo>
                      <a:pt x="48" y="35"/>
                    </a:moveTo>
                    <a:cubicBezTo>
                      <a:pt x="48" y="35"/>
                      <a:pt x="48" y="35"/>
                      <a:pt x="48" y="35"/>
                    </a:cubicBezTo>
                    <a:cubicBezTo>
                      <a:pt x="48" y="35"/>
                      <a:pt x="48" y="35"/>
                      <a:pt x="48" y="35"/>
                    </a:cubicBezTo>
                    <a:cubicBezTo>
                      <a:pt x="48" y="35"/>
                      <a:pt x="48" y="35"/>
                      <a:pt x="48" y="35"/>
                    </a:cubicBezTo>
                    <a:cubicBezTo>
                      <a:pt x="48" y="35"/>
                      <a:pt x="48" y="35"/>
                      <a:pt x="48" y="35"/>
                    </a:cubicBezTo>
                    <a:close/>
                    <a:moveTo>
                      <a:pt x="48" y="36"/>
                    </a:moveTo>
                    <a:cubicBezTo>
                      <a:pt x="48" y="36"/>
                      <a:pt x="48" y="36"/>
                      <a:pt x="48" y="35"/>
                    </a:cubicBezTo>
                    <a:cubicBezTo>
                      <a:pt x="48" y="35"/>
                      <a:pt x="48" y="36"/>
                      <a:pt x="48" y="36"/>
                    </a:cubicBezTo>
                    <a:cubicBezTo>
                      <a:pt x="48" y="36"/>
                      <a:pt x="48" y="36"/>
                      <a:pt x="48" y="36"/>
                    </a:cubicBezTo>
                    <a:cubicBezTo>
                      <a:pt x="48" y="36"/>
                      <a:pt x="48" y="36"/>
                      <a:pt x="48" y="36"/>
                    </a:cubicBezTo>
                    <a:cubicBezTo>
                      <a:pt x="48" y="36"/>
                      <a:pt x="48" y="36"/>
                      <a:pt x="48" y="36"/>
                    </a:cubicBezTo>
                    <a:close/>
                    <a:moveTo>
                      <a:pt x="82" y="35"/>
                    </a:moveTo>
                    <a:cubicBezTo>
                      <a:pt x="83" y="35"/>
                      <a:pt x="84" y="36"/>
                      <a:pt x="86" y="36"/>
                    </a:cubicBezTo>
                    <a:cubicBezTo>
                      <a:pt x="83" y="36"/>
                      <a:pt x="83" y="37"/>
                      <a:pt x="80" y="36"/>
                    </a:cubicBezTo>
                    <a:cubicBezTo>
                      <a:pt x="81" y="35"/>
                      <a:pt x="81" y="35"/>
                      <a:pt x="82" y="35"/>
                    </a:cubicBezTo>
                    <a:cubicBezTo>
                      <a:pt x="82" y="35"/>
                      <a:pt x="82" y="35"/>
                      <a:pt x="82" y="35"/>
                    </a:cubicBezTo>
                    <a:close/>
                    <a:moveTo>
                      <a:pt x="37" y="37"/>
                    </a:moveTo>
                    <a:cubicBezTo>
                      <a:pt x="38" y="37"/>
                      <a:pt x="39" y="37"/>
                      <a:pt x="40" y="37"/>
                    </a:cubicBezTo>
                    <a:cubicBezTo>
                      <a:pt x="39" y="38"/>
                      <a:pt x="39" y="38"/>
                      <a:pt x="39" y="38"/>
                    </a:cubicBezTo>
                    <a:cubicBezTo>
                      <a:pt x="39" y="38"/>
                      <a:pt x="38" y="38"/>
                      <a:pt x="38" y="38"/>
                    </a:cubicBezTo>
                    <a:cubicBezTo>
                      <a:pt x="38" y="38"/>
                      <a:pt x="38" y="38"/>
                      <a:pt x="38" y="39"/>
                    </a:cubicBezTo>
                    <a:cubicBezTo>
                      <a:pt x="37" y="39"/>
                      <a:pt x="37" y="39"/>
                      <a:pt x="37" y="39"/>
                    </a:cubicBezTo>
                    <a:cubicBezTo>
                      <a:pt x="37" y="38"/>
                      <a:pt x="37" y="38"/>
                      <a:pt x="37" y="37"/>
                    </a:cubicBezTo>
                    <a:cubicBezTo>
                      <a:pt x="37" y="38"/>
                      <a:pt x="37" y="38"/>
                      <a:pt x="37" y="39"/>
                    </a:cubicBezTo>
                    <a:cubicBezTo>
                      <a:pt x="36" y="38"/>
                      <a:pt x="36" y="37"/>
                      <a:pt x="36" y="36"/>
                    </a:cubicBezTo>
                    <a:cubicBezTo>
                      <a:pt x="37" y="36"/>
                      <a:pt x="40" y="36"/>
                      <a:pt x="40" y="37"/>
                    </a:cubicBezTo>
                    <a:cubicBezTo>
                      <a:pt x="39" y="37"/>
                      <a:pt x="38" y="37"/>
                      <a:pt x="37" y="37"/>
                    </a:cubicBezTo>
                    <a:cubicBezTo>
                      <a:pt x="37" y="37"/>
                      <a:pt x="37" y="37"/>
                      <a:pt x="37" y="37"/>
                    </a:cubicBezTo>
                    <a:close/>
                    <a:moveTo>
                      <a:pt x="47" y="37"/>
                    </a:moveTo>
                    <a:cubicBezTo>
                      <a:pt x="46" y="37"/>
                      <a:pt x="46" y="37"/>
                      <a:pt x="46" y="37"/>
                    </a:cubicBezTo>
                    <a:cubicBezTo>
                      <a:pt x="46" y="37"/>
                      <a:pt x="46" y="37"/>
                      <a:pt x="46" y="37"/>
                    </a:cubicBezTo>
                    <a:cubicBezTo>
                      <a:pt x="46" y="37"/>
                      <a:pt x="46" y="37"/>
                      <a:pt x="47" y="37"/>
                    </a:cubicBezTo>
                    <a:cubicBezTo>
                      <a:pt x="47" y="37"/>
                      <a:pt x="47" y="37"/>
                      <a:pt x="47" y="37"/>
                    </a:cubicBezTo>
                    <a:close/>
                    <a:moveTo>
                      <a:pt x="77" y="37"/>
                    </a:moveTo>
                    <a:cubicBezTo>
                      <a:pt x="76" y="37"/>
                      <a:pt x="76" y="37"/>
                      <a:pt x="76" y="37"/>
                    </a:cubicBezTo>
                    <a:cubicBezTo>
                      <a:pt x="76" y="38"/>
                      <a:pt x="76" y="38"/>
                      <a:pt x="76" y="38"/>
                    </a:cubicBezTo>
                    <a:cubicBezTo>
                      <a:pt x="76" y="38"/>
                      <a:pt x="76" y="38"/>
                      <a:pt x="76" y="38"/>
                    </a:cubicBezTo>
                    <a:cubicBezTo>
                      <a:pt x="75" y="39"/>
                      <a:pt x="75" y="40"/>
                      <a:pt x="75" y="40"/>
                    </a:cubicBezTo>
                    <a:cubicBezTo>
                      <a:pt x="76" y="40"/>
                      <a:pt x="76" y="39"/>
                      <a:pt x="76" y="39"/>
                    </a:cubicBezTo>
                    <a:cubicBezTo>
                      <a:pt x="76" y="39"/>
                      <a:pt x="76" y="39"/>
                      <a:pt x="76" y="39"/>
                    </a:cubicBezTo>
                    <a:cubicBezTo>
                      <a:pt x="76" y="39"/>
                      <a:pt x="76" y="39"/>
                      <a:pt x="76" y="39"/>
                    </a:cubicBezTo>
                    <a:cubicBezTo>
                      <a:pt x="76" y="40"/>
                      <a:pt x="76" y="40"/>
                      <a:pt x="76" y="40"/>
                    </a:cubicBezTo>
                    <a:cubicBezTo>
                      <a:pt x="77" y="40"/>
                      <a:pt x="77" y="39"/>
                      <a:pt x="77" y="39"/>
                    </a:cubicBezTo>
                    <a:cubicBezTo>
                      <a:pt x="77" y="38"/>
                      <a:pt x="77" y="38"/>
                      <a:pt x="76" y="38"/>
                    </a:cubicBezTo>
                    <a:cubicBezTo>
                      <a:pt x="77" y="38"/>
                      <a:pt x="77" y="38"/>
                      <a:pt x="77" y="39"/>
                    </a:cubicBezTo>
                    <a:cubicBezTo>
                      <a:pt x="77" y="39"/>
                      <a:pt x="77" y="39"/>
                      <a:pt x="77" y="39"/>
                    </a:cubicBezTo>
                    <a:cubicBezTo>
                      <a:pt x="78" y="38"/>
                      <a:pt x="78" y="38"/>
                      <a:pt x="78" y="38"/>
                    </a:cubicBezTo>
                    <a:cubicBezTo>
                      <a:pt x="78" y="38"/>
                      <a:pt x="78" y="38"/>
                      <a:pt x="78" y="38"/>
                    </a:cubicBezTo>
                    <a:cubicBezTo>
                      <a:pt x="78" y="38"/>
                      <a:pt x="78" y="38"/>
                      <a:pt x="78" y="38"/>
                    </a:cubicBezTo>
                    <a:cubicBezTo>
                      <a:pt x="77" y="38"/>
                      <a:pt x="77" y="37"/>
                      <a:pt x="77" y="37"/>
                    </a:cubicBezTo>
                    <a:cubicBezTo>
                      <a:pt x="77" y="37"/>
                      <a:pt x="77" y="37"/>
                      <a:pt x="77" y="37"/>
                    </a:cubicBezTo>
                    <a:close/>
                    <a:moveTo>
                      <a:pt x="47" y="37"/>
                    </a:moveTo>
                    <a:cubicBezTo>
                      <a:pt x="47" y="37"/>
                      <a:pt x="47" y="37"/>
                      <a:pt x="46" y="37"/>
                    </a:cubicBezTo>
                    <a:cubicBezTo>
                      <a:pt x="47" y="37"/>
                      <a:pt x="47" y="37"/>
                      <a:pt x="47" y="37"/>
                    </a:cubicBezTo>
                    <a:cubicBezTo>
                      <a:pt x="47" y="37"/>
                      <a:pt x="47" y="37"/>
                      <a:pt x="47" y="37"/>
                    </a:cubicBezTo>
                    <a:cubicBezTo>
                      <a:pt x="47" y="37"/>
                      <a:pt x="47" y="37"/>
                      <a:pt x="47" y="37"/>
                    </a:cubicBezTo>
                    <a:close/>
                    <a:moveTo>
                      <a:pt x="76" y="37"/>
                    </a:moveTo>
                    <a:cubicBezTo>
                      <a:pt x="76" y="37"/>
                      <a:pt x="76" y="37"/>
                      <a:pt x="76" y="37"/>
                    </a:cubicBezTo>
                    <a:cubicBezTo>
                      <a:pt x="75" y="37"/>
                      <a:pt x="75" y="38"/>
                      <a:pt x="75" y="38"/>
                    </a:cubicBezTo>
                    <a:cubicBezTo>
                      <a:pt x="75" y="38"/>
                      <a:pt x="75" y="38"/>
                      <a:pt x="75" y="38"/>
                    </a:cubicBezTo>
                    <a:cubicBezTo>
                      <a:pt x="75" y="38"/>
                      <a:pt x="75" y="39"/>
                      <a:pt x="75" y="39"/>
                    </a:cubicBezTo>
                    <a:cubicBezTo>
                      <a:pt x="75" y="39"/>
                      <a:pt x="75" y="39"/>
                      <a:pt x="75" y="39"/>
                    </a:cubicBezTo>
                    <a:cubicBezTo>
                      <a:pt x="75" y="39"/>
                      <a:pt x="75" y="38"/>
                      <a:pt x="76" y="37"/>
                    </a:cubicBezTo>
                    <a:cubicBezTo>
                      <a:pt x="76" y="37"/>
                      <a:pt x="76" y="37"/>
                      <a:pt x="76" y="37"/>
                    </a:cubicBezTo>
                    <a:close/>
                    <a:moveTo>
                      <a:pt x="42" y="37"/>
                    </a:moveTo>
                    <a:cubicBezTo>
                      <a:pt x="41" y="37"/>
                      <a:pt x="41" y="37"/>
                      <a:pt x="41" y="37"/>
                    </a:cubicBezTo>
                    <a:cubicBezTo>
                      <a:pt x="41" y="38"/>
                      <a:pt x="41" y="38"/>
                      <a:pt x="41" y="38"/>
                    </a:cubicBezTo>
                    <a:cubicBezTo>
                      <a:pt x="41" y="38"/>
                      <a:pt x="42" y="38"/>
                      <a:pt x="42" y="38"/>
                    </a:cubicBezTo>
                    <a:cubicBezTo>
                      <a:pt x="42" y="37"/>
                      <a:pt x="42" y="37"/>
                      <a:pt x="42" y="37"/>
                    </a:cubicBezTo>
                    <a:cubicBezTo>
                      <a:pt x="42" y="37"/>
                      <a:pt x="42" y="37"/>
                      <a:pt x="42" y="37"/>
                    </a:cubicBezTo>
                    <a:close/>
                    <a:moveTo>
                      <a:pt x="47" y="38"/>
                    </a:moveTo>
                    <a:cubicBezTo>
                      <a:pt x="47" y="38"/>
                      <a:pt x="47" y="37"/>
                      <a:pt x="47" y="37"/>
                    </a:cubicBezTo>
                    <a:cubicBezTo>
                      <a:pt x="47" y="38"/>
                      <a:pt x="47" y="38"/>
                      <a:pt x="48" y="38"/>
                    </a:cubicBezTo>
                    <a:cubicBezTo>
                      <a:pt x="47" y="38"/>
                      <a:pt x="47" y="38"/>
                      <a:pt x="47" y="38"/>
                    </a:cubicBezTo>
                    <a:cubicBezTo>
                      <a:pt x="47" y="38"/>
                      <a:pt x="47" y="38"/>
                      <a:pt x="47" y="38"/>
                    </a:cubicBezTo>
                    <a:cubicBezTo>
                      <a:pt x="47" y="38"/>
                      <a:pt x="47" y="38"/>
                      <a:pt x="47" y="38"/>
                    </a:cubicBezTo>
                    <a:close/>
                    <a:moveTo>
                      <a:pt x="43" y="38"/>
                    </a:moveTo>
                    <a:cubicBezTo>
                      <a:pt x="44" y="38"/>
                      <a:pt x="44" y="38"/>
                      <a:pt x="45" y="38"/>
                    </a:cubicBezTo>
                    <a:cubicBezTo>
                      <a:pt x="44" y="38"/>
                      <a:pt x="43" y="38"/>
                      <a:pt x="42" y="38"/>
                    </a:cubicBezTo>
                    <a:cubicBezTo>
                      <a:pt x="43" y="38"/>
                      <a:pt x="43" y="38"/>
                      <a:pt x="43" y="38"/>
                    </a:cubicBezTo>
                    <a:cubicBezTo>
                      <a:pt x="42" y="39"/>
                      <a:pt x="42" y="39"/>
                      <a:pt x="41" y="39"/>
                    </a:cubicBezTo>
                    <a:cubicBezTo>
                      <a:pt x="41" y="39"/>
                      <a:pt x="41" y="38"/>
                      <a:pt x="41" y="38"/>
                    </a:cubicBezTo>
                    <a:cubicBezTo>
                      <a:pt x="41" y="38"/>
                      <a:pt x="42" y="38"/>
                      <a:pt x="42" y="38"/>
                    </a:cubicBezTo>
                    <a:cubicBezTo>
                      <a:pt x="42" y="38"/>
                      <a:pt x="42" y="38"/>
                      <a:pt x="42" y="38"/>
                    </a:cubicBezTo>
                    <a:cubicBezTo>
                      <a:pt x="42" y="38"/>
                      <a:pt x="43" y="38"/>
                      <a:pt x="43" y="38"/>
                    </a:cubicBezTo>
                    <a:cubicBezTo>
                      <a:pt x="43" y="38"/>
                      <a:pt x="43" y="38"/>
                      <a:pt x="43" y="38"/>
                    </a:cubicBezTo>
                    <a:close/>
                    <a:moveTo>
                      <a:pt x="23" y="38"/>
                    </a:moveTo>
                    <a:cubicBezTo>
                      <a:pt x="23" y="37"/>
                      <a:pt x="23" y="37"/>
                      <a:pt x="23" y="36"/>
                    </a:cubicBezTo>
                    <a:cubicBezTo>
                      <a:pt x="23" y="36"/>
                      <a:pt x="23" y="36"/>
                      <a:pt x="23" y="36"/>
                    </a:cubicBezTo>
                    <a:cubicBezTo>
                      <a:pt x="23" y="36"/>
                      <a:pt x="23" y="37"/>
                      <a:pt x="23" y="37"/>
                    </a:cubicBezTo>
                    <a:cubicBezTo>
                      <a:pt x="23" y="37"/>
                      <a:pt x="23" y="36"/>
                      <a:pt x="23" y="36"/>
                    </a:cubicBezTo>
                    <a:cubicBezTo>
                      <a:pt x="23" y="36"/>
                      <a:pt x="23" y="36"/>
                      <a:pt x="23" y="36"/>
                    </a:cubicBezTo>
                    <a:cubicBezTo>
                      <a:pt x="24" y="37"/>
                      <a:pt x="25" y="39"/>
                      <a:pt x="25" y="41"/>
                    </a:cubicBezTo>
                    <a:cubicBezTo>
                      <a:pt x="24" y="40"/>
                      <a:pt x="24" y="40"/>
                      <a:pt x="24" y="40"/>
                    </a:cubicBezTo>
                    <a:cubicBezTo>
                      <a:pt x="24" y="40"/>
                      <a:pt x="24" y="40"/>
                      <a:pt x="24" y="40"/>
                    </a:cubicBezTo>
                    <a:cubicBezTo>
                      <a:pt x="24" y="40"/>
                      <a:pt x="24" y="40"/>
                      <a:pt x="23" y="39"/>
                    </a:cubicBezTo>
                    <a:cubicBezTo>
                      <a:pt x="23" y="39"/>
                      <a:pt x="23" y="39"/>
                      <a:pt x="23" y="40"/>
                    </a:cubicBezTo>
                    <a:cubicBezTo>
                      <a:pt x="23" y="40"/>
                      <a:pt x="23" y="40"/>
                      <a:pt x="23" y="40"/>
                    </a:cubicBezTo>
                    <a:cubicBezTo>
                      <a:pt x="23" y="38"/>
                      <a:pt x="22" y="37"/>
                      <a:pt x="22" y="35"/>
                    </a:cubicBezTo>
                    <a:cubicBezTo>
                      <a:pt x="22" y="35"/>
                      <a:pt x="22" y="35"/>
                      <a:pt x="22" y="35"/>
                    </a:cubicBezTo>
                    <a:cubicBezTo>
                      <a:pt x="22" y="36"/>
                      <a:pt x="23" y="37"/>
                      <a:pt x="23" y="38"/>
                    </a:cubicBezTo>
                    <a:cubicBezTo>
                      <a:pt x="23" y="38"/>
                      <a:pt x="23" y="38"/>
                      <a:pt x="23" y="38"/>
                    </a:cubicBezTo>
                    <a:close/>
                    <a:moveTo>
                      <a:pt x="69" y="38"/>
                    </a:moveTo>
                    <a:cubicBezTo>
                      <a:pt x="69" y="38"/>
                      <a:pt x="69" y="38"/>
                      <a:pt x="69" y="38"/>
                    </a:cubicBezTo>
                    <a:cubicBezTo>
                      <a:pt x="69" y="38"/>
                      <a:pt x="69" y="38"/>
                      <a:pt x="69" y="38"/>
                    </a:cubicBezTo>
                    <a:cubicBezTo>
                      <a:pt x="69" y="38"/>
                      <a:pt x="69" y="38"/>
                      <a:pt x="69" y="38"/>
                    </a:cubicBezTo>
                    <a:cubicBezTo>
                      <a:pt x="69" y="38"/>
                      <a:pt x="69" y="38"/>
                      <a:pt x="69" y="38"/>
                    </a:cubicBezTo>
                    <a:close/>
                    <a:moveTo>
                      <a:pt x="80" y="39"/>
                    </a:moveTo>
                    <a:cubicBezTo>
                      <a:pt x="79" y="38"/>
                      <a:pt x="79" y="38"/>
                      <a:pt x="79" y="38"/>
                    </a:cubicBezTo>
                    <a:cubicBezTo>
                      <a:pt x="79" y="38"/>
                      <a:pt x="79" y="39"/>
                      <a:pt x="79" y="39"/>
                    </a:cubicBezTo>
                    <a:cubicBezTo>
                      <a:pt x="79" y="39"/>
                      <a:pt x="79" y="39"/>
                      <a:pt x="80" y="39"/>
                    </a:cubicBezTo>
                    <a:cubicBezTo>
                      <a:pt x="80" y="39"/>
                      <a:pt x="80" y="39"/>
                      <a:pt x="80" y="39"/>
                    </a:cubicBezTo>
                    <a:close/>
                    <a:moveTo>
                      <a:pt x="74" y="39"/>
                    </a:moveTo>
                    <a:cubicBezTo>
                      <a:pt x="75" y="38"/>
                      <a:pt x="75" y="38"/>
                      <a:pt x="75" y="38"/>
                    </a:cubicBezTo>
                    <a:cubicBezTo>
                      <a:pt x="75" y="38"/>
                      <a:pt x="75" y="39"/>
                      <a:pt x="75" y="39"/>
                    </a:cubicBezTo>
                    <a:cubicBezTo>
                      <a:pt x="75" y="39"/>
                      <a:pt x="74" y="39"/>
                      <a:pt x="74" y="39"/>
                    </a:cubicBezTo>
                    <a:cubicBezTo>
                      <a:pt x="74" y="39"/>
                      <a:pt x="74" y="39"/>
                      <a:pt x="74" y="39"/>
                    </a:cubicBezTo>
                    <a:cubicBezTo>
                      <a:pt x="74" y="39"/>
                      <a:pt x="74" y="39"/>
                      <a:pt x="74" y="39"/>
                    </a:cubicBezTo>
                    <a:close/>
                    <a:moveTo>
                      <a:pt x="79" y="39"/>
                    </a:moveTo>
                    <a:cubicBezTo>
                      <a:pt x="79" y="39"/>
                      <a:pt x="79" y="39"/>
                      <a:pt x="79" y="39"/>
                    </a:cubicBezTo>
                    <a:cubicBezTo>
                      <a:pt x="79" y="39"/>
                      <a:pt x="78" y="40"/>
                      <a:pt x="78" y="41"/>
                    </a:cubicBezTo>
                    <a:cubicBezTo>
                      <a:pt x="78" y="41"/>
                      <a:pt x="78" y="41"/>
                      <a:pt x="78" y="41"/>
                    </a:cubicBezTo>
                    <a:cubicBezTo>
                      <a:pt x="78" y="41"/>
                      <a:pt x="78" y="41"/>
                      <a:pt x="78" y="40"/>
                    </a:cubicBezTo>
                    <a:cubicBezTo>
                      <a:pt x="77" y="41"/>
                      <a:pt x="77" y="41"/>
                      <a:pt x="77" y="41"/>
                    </a:cubicBezTo>
                    <a:cubicBezTo>
                      <a:pt x="77" y="41"/>
                      <a:pt x="77" y="41"/>
                      <a:pt x="77" y="41"/>
                    </a:cubicBezTo>
                    <a:cubicBezTo>
                      <a:pt x="77" y="41"/>
                      <a:pt x="77" y="41"/>
                      <a:pt x="77" y="41"/>
                    </a:cubicBezTo>
                    <a:cubicBezTo>
                      <a:pt x="77" y="41"/>
                      <a:pt x="77" y="41"/>
                      <a:pt x="77" y="41"/>
                    </a:cubicBezTo>
                    <a:cubicBezTo>
                      <a:pt x="77" y="41"/>
                      <a:pt x="77" y="41"/>
                      <a:pt x="77" y="41"/>
                    </a:cubicBezTo>
                    <a:cubicBezTo>
                      <a:pt x="77" y="41"/>
                      <a:pt x="77" y="41"/>
                      <a:pt x="77" y="42"/>
                    </a:cubicBezTo>
                    <a:cubicBezTo>
                      <a:pt x="77" y="42"/>
                      <a:pt x="77" y="41"/>
                      <a:pt x="77" y="41"/>
                    </a:cubicBezTo>
                    <a:cubicBezTo>
                      <a:pt x="77" y="41"/>
                      <a:pt x="76" y="42"/>
                      <a:pt x="76" y="42"/>
                    </a:cubicBezTo>
                    <a:cubicBezTo>
                      <a:pt x="76" y="42"/>
                      <a:pt x="76" y="42"/>
                      <a:pt x="77" y="42"/>
                    </a:cubicBezTo>
                    <a:cubicBezTo>
                      <a:pt x="78" y="42"/>
                      <a:pt x="79" y="40"/>
                      <a:pt x="79" y="39"/>
                    </a:cubicBezTo>
                    <a:cubicBezTo>
                      <a:pt x="79" y="39"/>
                      <a:pt x="79" y="39"/>
                      <a:pt x="79" y="39"/>
                    </a:cubicBezTo>
                    <a:close/>
                    <a:moveTo>
                      <a:pt x="73" y="39"/>
                    </a:moveTo>
                    <a:cubicBezTo>
                      <a:pt x="73" y="39"/>
                      <a:pt x="73" y="39"/>
                      <a:pt x="73" y="39"/>
                    </a:cubicBezTo>
                    <a:cubicBezTo>
                      <a:pt x="74" y="39"/>
                      <a:pt x="74" y="39"/>
                      <a:pt x="74" y="39"/>
                    </a:cubicBezTo>
                    <a:cubicBezTo>
                      <a:pt x="74" y="39"/>
                      <a:pt x="74" y="40"/>
                      <a:pt x="73" y="40"/>
                    </a:cubicBezTo>
                    <a:cubicBezTo>
                      <a:pt x="73" y="40"/>
                      <a:pt x="73" y="39"/>
                      <a:pt x="73" y="39"/>
                    </a:cubicBezTo>
                    <a:cubicBezTo>
                      <a:pt x="73" y="39"/>
                      <a:pt x="73" y="40"/>
                      <a:pt x="73" y="40"/>
                    </a:cubicBezTo>
                    <a:cubicBezTo>
                      <a:pt x="73" y="40"/>
                      <a:pt x="73" y="40"/>
                      <a:pt x="73" y="40"/>
                    </a:cubicBezTo>
                    <a:cubicBezTo>
                      <a:pt x="73" y="40"/>
                      <a:pt x="73" y="40"/>
                      <a:pt x="73" y="40"/>
                    </a:cubicBezTo>
                    <a:cubicBezTo>
                      <a:pt x="73" y="40"/>
                      <a:pt x="73" y="40"/>
                      <a:pt x="73" y="40"/>
                    </a:cubicBezTo>
                    <a:cubicBezTo>
                      <a:pt x="73" y="40"/>
                      <a:pt x="73" y="40"/>
                      <a:pt x="73" y="40"/>
                    </a:cubicBezTo>
                    <a:cubicBezTo>
                      <a:pt x="73" y="40"/>
                      <a:pt x="73" y="39"/>
                      <a:pt x="73" y="39"/>
                    </a:cubicBezTo>
                    <a:cubicBezTo>
                      <a:pt x="73" y="39"/>
                      <a:pt x="73" y="39"/>
                      <a:pt x="73" y="39"/>
                    </a:cubicBezTo>
                    <a:cubicBezTo>
                      <a:pt x="73" y="39"/>
                      <a:pt x="73" y="39"/>
                      <a:pt x="73" y="39"/>
                    </a:cubicBezTo>
                    <a:close/>
                    <a:moveTo>
                      <a:pt x="72" y="39"/>
                    </a:moveTo>
                    <a:cubicBezTo>
                      <a:pt x="72" y="39"/>
                      <a:pt x="73" y="39"/>
                      <a:pt x="73" y="39"/>
                    </a:cubicBezTo>
                    <a:cubicBezTo>
                      <a:pt x="73" y="39"/>
                      <a:pt x="73" y="39"/>
                      <a:pt x="73" y="39"/>
                    </a:cubicBezTo>
                    <a:cubicBezTo>
                      <a:pt x="72" y="39"/>
                      <a:pt x="72" y="39"/>
                      <a:pt x="72" y="39"/>
                    </a:cubicBezTo>
                    <a:cubicBezTo>
                      <a:pt x="72" y="39"/>
                      <a:pt x="72" y="39"/>
                      <a:pt x="72" y="39"/>
                    </a:cubicBezTo>
                    <a:close/>
                    <a:moveTo>
                      <a:pt x="41" y="39"/>
                    </a:moveTo>
                    <a:cubicBezTo>
                      <a:pt x="41" y="39"/>
                      <a:pt x="41" y="39"/>
                      <a:pt x="41" y="39"/>
                    </a:cubicBezTo>
                    <a:cubicBezTo>
                      <a:pt x="41" y="39"/>
                      <a:pt x="41" y="39"/>
                      <a:pt x="41" y="39"/>
                    </a:cubicBezTo>
                    <a:cubicBezTo>
                      <a:pt x="41" y="39"/>
                      <a:pt x="41" y="39"/>
                      <a:pt x="41" y="39"/>
                    </a:cubicBezTo>
                    <a:cubicBezTo>
                      <a:pt x="41" y="39"/>
                      <a:pt x="41" y="39"/>
                      <a:pt x="41" y="39"/>
                    </a:cubicBezTo>
                    <a:close/>
                    <a:moveTo>
                      <a:pt x="43" y="39"/>
                    </a:moveTo>
                    <a:cubicBezTo>
                      <a:pt x="44" y="39"/>
                      <a:pt x="44" y="39"/>
                      <a:pt x="45" y="39"/>
                    </a:cubicBezTo>
                    <a:cubicBezTo>
                      <a:pt x="44" y="40"/>
                      <a:pt x="43" y="40"/>
                      <a:pt x="42" y="40"/>
                    </a:cubicBezTo>
                    <a:cubicBezTo>
                      <a:pt x="42" y="40"/>
                      <a:pt x="42" y="39"/>
                      <a:pt x="42" y="39"/>
                    </a:cubicBezTo>
                    <a:cubicBezTo>
                      <a:pt x="42" y="39"/>
                      <a:pt x="43" y="39"/>
                      <a:pt x="43" y="39"/>
                    </a:cubicBezTo>
                    <a:cubicBezTo>
                      <a:pt x="43" y="39"/>
                      <a:pt x="43" y="39"/>
                      <a:pt x="43" y="39"/>
                    </a:cubicBezTo>
                    <a:close/>
                    <a:moveTo>
                      <a:pt x="22" y="39"/>
                    </a:moveTo>
                    <a:cubicBezTo>
                      <a:pt x="21" y="39"/>
                      <a:pt x="21" y="39"/>
                      <a:pt x="21" y="39"/>
                    </a:cubicBezTo>
                    <a:cubicBezTo>
                      <a:pt x="21" y="39"/>
                      <a:pt x="21" y="40"/>
                      <a:pt x="22" y="40"/>
                    </a:cubicBezTo>
                    <a:cubicBezTo>
                      <a:pt x="22" y="40"/>
                      <a:pt x="22" y="39"/>
                      <a:pt x="22" y="39"/>
                    </a:cubicBezTo>
                    <a:cubicBezTo>
                      <a:pt x="22" y="39"/>
                      <a:pt x="22" y="39"/>
                      <a:pt x="22" y="39"/>
                    </a:cubicBezTo>
                    <a:close/>
                    <a:moveTo>
                      <a:pt x="80" y="39"/>
                    </a:moveTo>
                    <a:cubicBezTo>
                      <a:pt x="80" y="39"/>
                      <a:pt x="80" y="39"/>
                      <a:pt x="79" y="39"/>
                    </a:cubicBezTo>
                    <a:cubicBezTo>
                      <a:pt x="79" y="39"/>
                      <a:pt x="79" y="40"/>
                      <a:pt x="79" y="40"/>
                    </a:cubicBezTo>
                    <a:cubicBezTo>
                      <a:pt x="79" y="40"/>
                      <a:pt x="80" y="40"/>
                      <a:pt x="80" y="39"/>
                    </a:cubicBezTo>
                    <a:cubicBezTo>
                      <a:pt x="80" y="39"/>
                      <a:pt x="80" y="39"/>
                      <a:pt x="80" y="39"/>
                    </a:cubicBezTo>
                    <a:close/>
                    <a:moveTo>
                      <a:pt x="72" y="39"/>
                    </a:moveTo>
                    <a:cubicBezTo>
                      <a:pt x="72" y="39"/>
                      <a:pt x="72" y="39"/>
                      <a:pt x="72" y="39"/>
                    </a:cubicBezTo>
                    <a:cubicBezTo>
                      <a:pt x="72" y="39"/>
                      <a:pt x="72" y="39"/>
                      <a:pt x="72" y="39"/>
                    </a:cubicBezTo>
                    <a:cubicBezTo>
                      <a:pt x="72" y="39"/>
                      <a:pt x="72" y="39"/>
                      <a:pt x="72" y="39"/>
                    </a:cubicBezTo>
                    <a:cubicBezTo>
                      <a:pt x="72" y="39"/>
                      <a:pt x="72" y="39"/>
                      <a:pt x="72" y="39"/>
                    </a:cubicBezTo>
                    <a:cubicBezTo>
                      <a:pt x="72" y="39"/>
                      <a:pt x="72" y="39"/>
                      <a:pt x="72" y="39"/>
                    </a:cubicBezTo>
                    <a:close/>
                    <a:moveTo>
                      <a:pt x="69" y="39"/>
                    </a:moveTo>
                    <a:cubicBezTo>
                      <a:pt x="69" y="39"/>
                      <a:pt x="69" y="39"/>
                      <a:pt x="69" y="39"/>
                    </a:cubicBezTo>
                    <a:cubicBezTo>
                      <a:pt x="69" y="39"/>
                      <a:pt x="69" y="39"/>
                      <a:pt x="69" y="40"/>
                    </a:cubicBezTo>
                    <a:cubicBezTo>
                      <a:pt x="69" y="40"/>
                      <a:pt x="69" y="39"/>
                      <a:pt x="69" y="39"/>
                    </a:cubicBezTo>
                    <a:cubicBezTo>
                      <a:pt x="69" y="39"/>
                      <a:pt x="69" y="39"/>
                      <a:pt x="69" y="39"/>
                    </a:cubicBezTo>
                    <a:cubicBezTo>
                      <a:pt x="69" y="39"/>
                      <a:pt x="69" y="39"/>
                      <a:pt x="69" y="39"/>
                    </a:cubicBezTo>
                    <a:close/>
                    <a:moveTo>
                      <a:pt x="74" y="39"/>
                    </a:moveTo>
                    <a:cubicBezTo>
                      <a:pt x="74" y="39"/>
                      <a:pt x="74" y="39"/>
                      <a:pt x="74" y="39"/>
                    </a:cubicBezTo>
                    <a:cubicBezTo>
                      <a:pt x="74" y="40"/>
                      <a:pt x="74" y="40"/>
                      <a:pt x="74" y="40"/>
                    </a:cubicBezTo>
                    <a:cubicBezTo>
                      <a:pt x="74" y="40"/>
                      <a:pt x="74" y="40"/>
                      <a:pt x="74" y="39"/>
                    </a:cubicBezTo>
                    <a:cubicBezTo>
                      <a:pt x="74" y="39"/>
                      <a:pt x="74" y="39"/>
                      <a:pt x="74" y="39"/>
                    </a:cubicBezTo>
                    <a:close/>
                    <a:moveTo>
                      <a:pt x="69" y="39"/>
                    </a:moveTo>
                    <a:cubicBezTo>
                      <a:pt x="69" y="39"/>
                      <a:pt x="69" y="39"/>
                      <a:pt x="69" y="39"/>
                    </a:cubicBezTo>
                    <a:cubicBezTo>
                      <a:pt x="69" y="39"/>
                      <a:pt x="69" y="39"/>
                      <a:pt x="69" y="40"/>
                    </a:cubicBezTo>
                    <a:cubicBezTo>
                      <a:pt x="69" y="39"/>
                      <a:pt x="69" y="39"/>
                      <a:pt x="69" y="39"/>
                    </a:cubicBezTo>
                    <a:cubicBezTo>
                      <a:pt x="69" y="39"/>
                      <a:pt x="69" y="39"/>
                      <a:pt x="69" y="39"/>
                    </a:cubicBezTo>
                    <a:close/>
                    <a:moveTo>
                      <a:pt x="72" y="39"/>
                    </a:moveTo>
                    <a:cubicBezTo>
                      <a:pt x="72" y="39"/>
                      <a:pt x="72" y="39"/>
                      <a:pt x="72" y="39"/>
                    </a:cubicBezTo>
                    <a:cubicBezTo>
                      <a:pt x="72" y="39"/>
                      <a:pt x="72" y="39"/>
                      <a:pt x="72" y="40"/>
                    </a:cubicBezTo>
                    <a:cubicBezTo>
                      <a:pt x="72" y="40"/>
                      <a:pt x="72" y="40"/>
                      <a:pt x="72" y="40"/>
                    </a:cubicBezTo>
                    <a:cubicBezTo>
                      <a:pt x="72" y="39"/>
                      <a:pt x="72" y="39"/>
                      <a:pt x="72" y="39"/>
                    </a:cubicBezTo>
                    <a:cubicBezTo>
                      <a:pt x="72" y="39"/>
                      <a:pt x="72" y="39"/>
                      <a:pt x="72" y="39"/>
                    </a:cubicBezTo>
                    <a:close/>
                    <a:moveTo>
                      <a:pt x="70" y="40"/>
                    </a:moveTo>
                    <a:cubicBezTo>
                      <a:pt x="70" y="40"/>
                      <a:pt x="70" y="40"/>
                      <a:pt x="70" y="40"/>
                    </a:cubicBezTo>
                    <a:cubicBezTo>
                      <a:pt x="70" y="40"/>
                      <a:pt x="70" y="40"/>
                      <a:pt x="70" y="40"/>
                    </a:cubicBezTo>
                    <a:cubicBezTo>
                      <a:pt x="70" y="40"/>
                      <a:pt x="70" y="40"/>
                      <a:pt x="70" y="40"/>
                    </a:cubicBezTo>
                    <a:cubicBezTo>
                      <a:pt x="70" y="40"/>
                      <a:pt x="70" y="40"/>
                      <a:pt x="70" y="40"/>
                    </a:cubicBezTo>
                    <a:close/>
                    <a:moveTo>
                      <a:pt x="29" y="40"/>
                    </a:moveTo>
                    <a:cubicBezTo>
                      <a:pt x="29" y="40"/>
                      <a:pt x="28" y="40"/>
                      <a:pt x="28" y="40"/>
                    </a:cubicBezTo>
                    <a:cubicBezTo>
                      <a:pt x="28" y="40"/>
                      <a:pt x="29" y="40"/>
                      <a:pt x="29" y="40"/>
                    </a:cubicBezTo>
                    <a:cubicBezTo>
                      <a:pt x="29" y="40"/>
                      <a:pt x="29" y="40"/>
                      <a:pt x="29" y="40"/>
                    </a:cubicBezTo>
                    <a:cubicBezTo>
                      <a:pt x="29" y="40"/>
                      <a:pt x="29" y="40"/>
                      <a:pt x="29" y="40"/>
                    </a:cubicBezTo>
                    <a:cubicBezTo>
                      <a:pt x="29" y="40"/>
                      <a:pt x="29" y="41"/>
                      <a:pt x="30" y="41"/>
                    </a:cubicBezTo>
                    <a:cubicBezTo>
                      <a:pt x="30" y="41"/>
                      <a:pt x="30" y="41"/>
                      <a:pt x="31" y="41"/>
                    </a:cubicBezTo>
                    <a:cubicBezTo>
                      <a:pt x="31" y="41"/>
                      <a:pt x="31" y="41"/>
                      <a:pt x="30" y="41"/>
                    </a:cubicBezTo>
                    <a:cubicBezTo>
                      <a:pt x="30" y="40"/>
                      <a:pt x="29" y="40"/>
                      <a:pt x="29" y="40"/>
                    </a:cubicBezTo>
                    <a:cubicBezTo>
                      <a:pt x="29" y="40"/>
                      <a:pt x="29" y="40"/>
                      <a:pt x="29" y="40"/>
                    </a:cubicBezTo>
                    <a:close/>
                    <a:moveTo>
                      <a:pt x="76" y="40"/>
                    </a:moveTo>
                    <a:cubicBezTo>
                      <a:pt x="76" y="40"/>
                      <a:pt x="76" y="40"/>
                      <a:pt x="76" y="40"/>
                    </a:cubicBezTo>
                    <a:cubicBezTo>
                      <a:pt x="76" y="40"/>
                      <a:pt x="76" y="40"/>
                      <a:pt x="76" y="40"/>
                    </a:cubicBezTo>
                    <a:cubicBezTo>
                      <a:pt x="76" y="40"/>
                      <a:pt x="75" y="40"/>
                      <a:pt x="75" y="40"/>
                    </a:cubicBezTo>
                    <a:cubicBezTo>
                      <a:pt x="75" y="40"/>
                      <a:pt x="75" y="40"/>
                      <a:pt x="75" y="40"/>
                    </a:cubicBezTo>
                    <a:cubicBezTo>
                      <a:pt x="75" y="40"/>
                      <a:pt x="76" y="40"/>
                      <a:pt x="76" y="40"/>
                    </a:cubicBezTo>
                    <a:cubicBezTo>
                      <a:pt x="76" y="40"/>
                      <a:pt x="76" y="40"/>
                      <a:pt x="76" y="40"/>
                    </a:cubicBezTo>
                    <a:close/>
                    <a:moveTo>
                      <a:pt x="73" y="40"/>
                    </a:moveTo>
                    <a:cubicBezTo>
                      <a:pt x="73" y="40"/>
                      <a:pt x="73" y="40"/>
                      <a:pt x="73" y="40"/>
                    </a:cubicBezTo>
                    <a:cubicBezTo>
                      <a:pt x="73" y="40"/>
                      <a:pt x="73" y="40"/>
                      <a:pt x="73" y="40"/>
                    </a:cubicBezTo>
                    <a:cubicBezTo>
                      <a:pt x="73" y="40"/>
                      <a:pt x="73" y="40"/>
                      <a:pt x="73" y="40"/>
                    </a:cubicBezTo>
                    <a:cubicBezTo>
                      <a:pt x="73" y="40"/>
                      <a:pt x="73" y="40"/>
                      <a:pt x="73" y="40"/>
                    </a:cubicBezTo>
                    <a:cubicBezTo>
                      <a:pt x="73" y="40"/>
                      <a:pt x="73" y="40"/>
                      <a:pt x="73" y="40"/>
                    </a:cubicBezTo>
                    <a:close/>
                    <a:moveTo>
                      <a:pt x="67" y="40"/>
                    </a:moveTo>
                    <a:cubicBezTo>
                      <a:pt x="66" y="40"/>
                      <a:pt x="66" y="40"/>
                      <a:pt x="66" y="40"/>
                    </a:cubicBezTo>
                    <a:cubicBezTo>
                      <a:pt x="66" y="40"/>
                      <a:pt x="66" y="40"/>
                      <a:pt x="66" y="40"/>
                    </a:cubicBezTo>
                    <a:cubicBezTo>
                      <a:pt x="66" y="41"/>
                      <a:pt x="66" y="41"/>
                      <a:pt x="66" y="41"/>
                    </a:cubicBezTo>
                    <a:cubicBezTo>
                      <a:pt x="67" y="41"/>
                      <a:pt x="67" y="41"/>
                      <a:pt x="67" y="41"/>
                    </a:cubicBezTo>
                    <a:cubicBezTo>
                      <a:pt x="67" y="40"/>
                      <a:pt x="67" y="40"/>
                      <a:pt x="67" y="40"/>
                    </a:cubicBezTo>
                    <a:cubicBezTo>
                      <a:pt x="67" y="40"/>
                      <a:pt x="67" y="40"/>
                      <a:pt x="67" y="40"/>
                    </a:cubicBezTo>
                    <a:close/>
                    <a:moveTo>
                      <a:pt x="70" y="40"/>
                    </a:moveTo>
                    <a:cubicBezTo>
                      <a:pt x="70" y="40"/>
                      <a:pt x="70" y="40"/>
                      <a:pt x="70" y="40"/>
                    </a:cubicBezTo>
                    <a:cubicBezTo>
                      <a:pt x="70" y="40"/>
                      <a:pt x="70" y="40"/>
                      <a:pt x="70" y="40"/>
                    </a:cubicBezTo>
                    <a:cubicBezTo>
                      <a:pt x="70" y="40"/>
                      <a:pt x="70" y="40"/>
                      <a:pt x="70" y="40"/>
                    </a:cubicBezTo>
                    <a:cubicBezTo>
                      <a:pt x="70" y="40"/>
                      <a:pt x="70" y="40"/>
                      <a:pt x="70" y="40"/>
                    </a:cubicBezTo>
                    <a:close/>
                    <a:moveTo>
                      <a:pt x="70" y="40"/>
                    </a:moveTo>
                    <a:cubicBezTo>
                      <a:pt x="70" y="40"/>
                      <a:pt x="70" y="40"/>
                      <a:pt x="70" y="40"/>
                    </a:cubicBezTo>
                    <a:cubicBezTo>
                      <a:pt x="70" y="40"/>
                      <a:pt x="70" y="40"/>
                      <a:pt x="70" y="40"/>
                    </a:cubicBezTo>
                    <a:cubicBezTo>
                      <a:pt x="70" y="40"/>
                      <a:pt x="70" y="40"/>
                      <a:pt x="70" y="40"/>
                    </a:cubicBezTo>
                    <a:cubicBezTo>
                      <a:pt x="70" y="40"/>
                      <a:pt x="70" y="40"/>
                      <a:pt x="70" y="40"/>
                    </a:cubicBezTo>
                    <a:cubicBezTo>
                      <a:pt x="70" y="40"/>
                      <a:pt x="70" y="40"/>
                      <a:pt x="70" y="40"/>
                    </a:cubicBezTo>
                    <a:close/>
                    <a:moveTo>
                      <a:pt x="42" y="40"/>
                    </a:moveTo>
                    <a:cubicBezTo>
                      <a:pt x="42" y="40"/>
                      <a:pt x="42" y="40"/>
                      <a:pt x="42" y="40"/>
                    </a:cubicBezTo>
                    <a:cubicBezTo>
                      <a:pt x="42" y="40"/>
                      <a:pt x="42" y="40"/>
                      <a:pt x="42" y="40"/>
                    </a:cubicBezTo>
                    <a:cubicBezTo>
                      <a:pt x="42" y="40"/>
                      <a:pt x="42" y="40"/>
                      <a:pt x="42" y="40"/>
                    </a:cubicBezTo>
                    <a:cubicBezTo>
                      <a:pt x="42" y="40"/>
                      <a:pt x="42" y="40"/>
                      <a:pt x="42" y="40"/>
                    </a:cubicBezTo>
                    <a:close/>
                    <a:moveTo>
                      <a:pt x="72" y="40"/>
                    </a:moveTo>
                    <a:cubicBezTo>
                      <a:pt x="73" y="40"/>
                      <a:pt x="73" y="40"/>
                      <a:pt x="73" y="40"/>
                    </a:cubicBezTo>
                    <a:cubicBezTo>
                      <a:pt x="73" y="40"/>
                      <a:pt x="73" y="40"/>
                      <a:pt x="73" y="40"/>
                    </a:cubicBezTo>
                    <a:cubicBezTo>
                      <a:pt x="73" y="40"/>
                      <a:pt x="72" y="40"/>
                      <a:pt x="72" y="40"/>
                    </a:cubicBezTo>
                    <a:cubicBezTo>
                      <a:pt x="72" y="40"/>
                      <a:pt x="72" y="40"/>
                      <a:pt x="72" y="40"/>
                    </a:cubicBezTo>
                    <a:cubicBezTo>
                      <a:pt x="72" y="40"/>
                      <a:pt x="72" y="40"/>
                      <a:pt x="72" y="40"/>
                    </a:cubicBezTo>
                    <a:close/>
                    <a:moveTo>
                      <a:pt x="65" y="40"/>
                    </a:moveTo>
                    <a:cubicBezTo>
                      <a:pt x="65" y="40"/>
                      <a:pt x="66" y="40"/>
                      <a:pt x="66" y="40"/>
                    </a:cubicBezTo>
                    <a:cubicBezTo>
                      <a:pt x="66" y="40"/>
                      <a:pt x="65" y="40"/>
                      <a:pt x="65" y="40"/>
                    </a:cubicBezTo>
                    <a:cubicBezTo>
                      <a:pt x="65" y="40"/>
                      <a:pt x="65" y="40"/>
                      <a:pt x="65" y="40"/>
                    </a:cubicBezTo>
                    <a:cubicBezTo>
                      <a:pt x="65" y="40"/>
                      <a:pt x="65" y="40"/>
                      <a:pt x="65" y="40"/>
                    </a:cubicBezTo>
                    <a:close/>
                    <a:moveTo>
                      <a:pt x="68" y="40"/>
                    </a:moveTo>
                    <a:cubicBezTo>
                      <a:pt x="68" y="40"/>
                      <a:pt x="68" y="40"/>
                      <a:pt x="68" y="40"/>
                    </a:cubicBezTo>
                    <a:cubicBezTo>
                      <a:pt x="68" y="40"/>
                      <a:pt x="69" y="40"/>
                      <a:pt x="69" y="40"/>
                    </a:cubicBezTo>
                    <a:cubicBezTo>
                      <a:pt x="69" y="41"/>
                      <a:pt x="68" y="41"/>
                      <a:pt x="68" y="41"/>
                    </a:cubicBezTo>
                    <a:cubicBezTo>
                      <a:pt x="68" y="41"/>
                      <a:pt x="68" y="41"/>
                      <a:pt x="68" y="40"/>
                    </a:cubicBezTo>
                    <a:cubicBezTo>
                      <a:pt x="68" y="40"/>
                      <a:pt x="68" y="40"/>
                      <a:pt x="68" y="40"/>
                    </a:cubicBezTo>
                    <a:cubicBezTo>
                      <a:pt x="68" y="40"/>
                      <a:pt x="68" y="40"/>
                      <a:pt x="68" y="40"/>
                    </a:cubicBezTo>
                    <a:cubicBezTo>
                      <a:pt x="68" y="40"/>
                      <a:pt x="68" y="40"/>
                      <a:pt x="68" y="40"/>
                    </a:cubicBezTo>
                    <a:cubicBezTo>
                      <a:pt x="68" y="40"/>
                      <a:pt x="68" y="40"/>
                      <a:pt x="68" y="40"/>
                    </a:cubicBezTo>
                    <a:close/>
                    <a:moveTo>
                      <a:pt x="42" y="40"/>
                    </a:moveTo>
                    <a:cubicBezTo>
                      <a:pt x="43" y="40"/>
                      <a:pt x="44" y="40"/>
                      <a:pt x="45" y="40"/>
                    </a:cubicBezTo>
                    <a:cubicBezTo>
                      <a:pt x="45" y="40"/>
                      <a:pt x="44" y="40"/>
                      <a:pt x="44" y="41"/>
                    </a:cubicBezTo>
                    <a:cubicBezTo>
                      <a:pt x="45" y="41"/>
                      <a:pt x="45" y="41"/>
                      <a:pt x="45" y="41"/>
                    </a:cubicBezTo>
                    <a:cubicBezTo>
                      <a:pt x="45" y="41"/>
                      <a:pt x="45" y="41"/>
                      <a:pt x="45" y="41"/>
                    </a:cubicBezTo>
                    <a:cubicBezTo>
                      <a:pt x="45" y="41"/>
                      <a:pt x="46" y="41"/>
                      <a:pt x="46" y="41"/>
                    </a:cubicBezTo>
                    <a:cubicBezTo>
                      <a:pt x="46" y="41"/>
                      <a:pt x="46" y="41"/>
                      <a:pt x="46" y="41"/>
                    </a:cubicBezTo>
                    <a:cubicBezTo>
                      <a:pt x="46" y="41"/>
                      <a:pt x="46" y="41"/>
                      <a:pt x="47" y="41"/>
                    </a:cubicBezTo>
                    <a:cubicBezTo>
                      <a:pt x="46" y="41"/>
                      <a:pt x="45" y="41"/>
                      <a:pt x="44" y="42"/>
                    </a:cubicBezTo>
                    <a:cubicBezTo>
                      <a:pt x="44" y="41"/>
                      <a:pt x="44" y="41"/>
                      <a:pt x="44" y="41"/>
                    </a:cubicBezTo>
                    <a:cubicBezTo>
                      <a:pt x="44" y="41"/>
                      <a:pt x="44" y="41"/>
                      <a:pt x="44" y="41"/>
                    </a:cubicBezTo>
                    <a:cubicBezTo>
                      <a:pt x="44" y="41"/>
                      <a:pt x="44" y="41"/>
                      <a:pt x="44" y="41"/>
                    </a:cubicBezTo>
                    <a:cubicBezTo>
                      <a:pt x="44" y="41"/>
                      <a:pt x="44" y="41"/>
                      <a:pt x="44" y="41"/>
                    </a:cubicBezTo>
                    <a:cubicBezTo>
                      <a:pt x="44" y="41"/>
                      <a:pt x="44" y="42"/>
                      <a:pt x="44" y="42"/>
                    </a:cubicBezTo>
                    <a:cubicBezTo>
                      <a:pt x="44" y="42"/>
                      <a:pt x="44" y="42"/>
                      <a:pt x="44" y="42"/>
                    </a:cubicBezTo>
                    <a:cubicBezTo>
                      <a:pt x="44" y="42"/>
                      <a:pt x="44" y="42"/>
                      <a:pt x="44" y="42"/>
                    </a:cubicBezTo>
                    <a:cubicBezTo>
                      <a:pt x="44" y="42"/>
                      <a:pt x="44" y="42"/>
                      <a:pt x="44" y="43"/>
                    </a:cubicBezTo>
                    <a:cubicBezTo>
                      <a:pt x="44" y="42"/>
                      <a:pt x="43" y="42"/>
                      <a:pt x="43" y="42"/>
                    </a:cubicBezTo>
                    <a:cubicBezTo>
                      <a:pt x="43" y="42"/>
                      <a:pt x="43" y="42"/>
                      <a:pt x="43" y="43"/>
                    </a:cubicBezTo>
                    <a:cubicBezTo>
                      <a:pt x="43" y="42"/>
                      <a:pt x="43" y="42"/>
                      <a:pt x="43" y="42"/>
                    </a:cubicBezTo>
                    <a:cubicBezTo>
                      <a:pt x="43" y="42"/>
                      <a:pt x="43" y="41"/>
                      <a:pt x="43" y="41"/>
                    </a:cubicBezTo>
                    <a:cubicBezTo>
                      <a:pt x="43" y="41"/>
                      <a:pt x="43" y="41"/>
                      <a:pt x="42" y="41"/>
                    </a:cubicBezTo>
                    <a:cubicBezTo>
                      <a:pt x="42" y="41"/>
                      <a:pt x="42" y="40"/>
                      <a:pt x="42" y="40"/>
                    </a:cubicBezTo>
                    <a:cubicBezTo>
                      <a:pt x="42" y="40"/>
                      <a:pt x="42" y="40"/>
                      <a:pt x="42" y="40"/>
                    </a:cubicBezTo>
                    <a:close/>
                    <a:moveTo>
                      <a:pt x="68" y="40"/>
                    </a:moveTo>
                    <a:cubicBezTo>
                      <a:pt x="68" y="40"/>
                      <a:pt x="68" y="40"/>
                      <a:pt x="68" y="40"/>
                    </a:cubicBezTo>
                    <a:cubicBezTo>
                      <a:pt x="68" y="40"/>
                      <a:pt x="68" y="40"/>
                      <a:pt x="68" y="40"/>
                    </a:cubicBezTo>
                    <a:cubicBezTo>
                      <a:pt x="68" y="40"/>
                      <a:pt x="68" y="40"/>
                      <a:pt x="68" y="40"/>
                    </a:cubicBezTo>
                    <a:cubicBezTo>
                      <a:pt x="68" y="40"/>
                      <a:pt x="68" y="40"/>
                      <a:pt x="68" y="40"/>
                    </a:cubicBezTo>
                    <a:close/>
                    <a:moveTo>
                      <a:pt x="60" y="40"/>
                    </a:moveTo>
                    <a:cubicBezTo>
                      <a:pt x="60" y="40"/>
                      <a:pt x="60" y="40"/>
                      <a:pt x="60" y="40"/>
                    </a:cubicBezTo>
                    <a:cubicBezTo>
                      <a:pt x="60" y="40"/>
                      <a:pt x="60" y="40"/>
                      <a:pt x="60" y="40"/>
                    </a:cubicBezTo>
                    <a:cubicBezTo>
                      <a:pt x="60" y="40"/>
                      <a:pt x="60" y="40"/>
                      <a:pt x="60" y="40"/>
                    </a:cubicBezTo>
                    <a:cubicBezTo>
                      <a:pt x="60" y="40"/>
                      <a:pt x="60" y="40"/>
                      <a:pt x="60" y="40"/>
                    </a:cubicBezTo>
                    <a:close/>
                    <a:moveTo>
                      <a:pt x="70" y="40"/>
                    </a:moveTo>
                    <a:cubicBezTo>
                      <a:pt x="70" y="40"/>
                      <a:pt x="70" y="40"/>
                      <a:pt x="70" y="40"/>
                    </a:cubicBezTo>
                    <a:cubicBezTo>
                      <a:pt x="70" y="40"/>
                      <a:pt x="70" y="40"/>
                      <a:pt x="70" y="40"/>
                    </a:cubicBezTo>
                    <a:cubicBezTo>
                      <a:pt x="70" y="40"/>
                      <a:pt x="70" y="40"/>
                      <a:pt x="70" y="40"/>
                    </a:cubicBezTo>
                    <a:cubicBezTo>
                      <a:pt x="70" y="40"/>
                      <a:pt x="70" y="40"/>
                      <a:pt x="70" y="40"/>
                    </a:cubicBezTo>
                    <a:close/>
                    <a:moveTo>
                      <a:pt x="30" y="41"/>
                    </a:moveTo>
                    <a:cubicBezTo>
                      <a:pt x="31" y="41"/>
                      <a:pt x="31" y="41"/>
                      <a:pt x="31" y="41"/>
                    </a:cubicBezTo>
                    <a:cubicBezTo>
                      <a:pt x="31" y="41"/>
                      <a:pt x="31" y="41"/>
                      <a:pt x="31" y="41"/>
                    </a:cubicBezTo>
                    <a:cubicBezTo>
                      <a:pt x="31" y="41"/>
                      <a:pt x="31" y="41"/>
                      <a:pt x="31" y="41"/>
                    </a:cubicBezTo>
                    <a:cubicBezTo>
                      <a:pt x="31" y="41"/>
                      <a:pt x="31" y="41"/>
                      <a:pt x="30" y="41"/>
                    </a:cubicBezTo>
                    <a:cubicBezTo>
                      <a:pt x="30" y="41"/>
                      <a:pt x="30" y="41"/>
                      <a:pt x="30" y="41"/>
                    </a:cubicBezTo>
                    <a:close/>
                    <a:moveTo>
                      <a:pt x="68" y="41"/>
                    </a:moveTo>
                    <a:cubicBezTo>
                      <a:pt x="68" y="41"/>
                      <a:pt x="68" y="41"/>
                      <a:pt x="68" y="41"/>
                    </a:cubicBezTo>
                    <a:cubicBezTo>
                      <a:pt x="68" y="41"/>
                      <a:pt x="67" y="41"/>
                      <a:pt x="67" y="42"/>
                    </a:cubicBezTo>
                    <a:cubicBezTo>
                      <a:pt x="67" y="42"/>
                      <a:pt x="67" y="42"/>
                      <a:pt x="67" y="42"/>
                    </a:cubicBezTo>
                    <a:cubicBezTo>
                      <a:pt x="67" y="42"/>
                      <a:pt x="67" y="42"/>
                      <a:pt x="67" y="42"/>
                    </a:cubicBezTo>
                    <a:cubicBezTo>
                      <a:pt x="68" y="42"/>
                      <a:pt x="68" y="41"/>
                      <a:pt x="68" y="41"/>
                    </a:cubicBezTo>
                    <a:cubicBezTo>
                      <a:pt x="68" y="41"/>
                      <a:pt x="68" y="41"/>
                      <a:pt x="68" y="41"/>
                    </a:cubicBezTo>
                    <a:cubicBezTo>
                      <a:pt x="68" y="41"/>
                      <a:pt x="68" y="41"/>
                      <a:pt x="68" y="41"/>
                    </a:cubicBezTo>
                    <a:close/>
                    <a:moveTo>
                      <a:pt x="26" y="41"/>
                    </a:moveTo>
                    <a:cubicBezTo>
                      <a:pt x="26" y="41"/>
                      <a:pt x="26" y="40"/>
                      <a:pt x="26" y="40"/>
                    </a:cubicBezTo>
                    <a:cubicBezTo>
                      <a:pt x="26" y="40"/>
                      <a:pt x="27" y="41"/>
                      <a:pt x="27" y="41"/>
                    </a:cubicBezTo>
                    <a:cubicBezTo>
                      <a:pt x="27" y="41"/>
                      <a:pt x="26" y="41"/>
                      <a:pt x="26" y="41"/>
                    </a:cubicBezTo>
                    <a:cubicBezTo>
                      <a:pt x="26" y="41"/>
                      <a:pt x="26" y="41"/>
                      <a:pt x="26" y="41"/>
                    </a:cubicBezTo>
                    <a:close/>
                    <a:moveTo>
                      <a:pt x="31" y="41"/>
                    </a:moveTo>
                    <a:cubicBezTo>
                      <a:pt x="31" y="41"/>
                      <a:pt x="31" y="41"/>
                      <a:pt x="31" y="41"/>
                    </a:cubicBezTo>
                    <a:cubicBezTo>
                      <a:pt x="31" y="41"/>
                      <a:pt x="32" y="41"/>
                      <a:pt x="32" y="41"/>
                    </a:cubicBezTo>
                    <a:cubicBezTo>
                      <a:pt x="32" y="41"/>
                      <a:pt x="31" y="41"/>
                      <a:pt x="31" y="41"/>
                    </a:cubicBezTo>
                    <a:cubicBezTo>
                      <a:pt x="31" y="41"/>
                      <a:pt x="31" y="41"/>
                      <a:pt x="31" y="41"/>
                    </a:cubicBezTo>
                    <a:close/>
                    <a:moveTo>
                      <a:pt x="26" y="42"/>
                    </a:moveTo>
                    <a:cubicBezTo>
                      <a:pt x="26" y="41"/>
                      <a:pt x="26" y="41"/>
                      <a:pt x="26" y="41"/>
                    </a:cubicBezTo>
                    <a:cubicBezTo>
                      <a:pt x="26" y="41"/>
                      <a:pt x="26" y="42"/>
                      <a:pt x="26" y="42"/>
                    </a:cubicBezTo>
                    <a:cubicBezTo>
                      <a:pt x="26" y="42"/>
                      <a:pt x="26" y="42"/>
                      <a:pt x="26" y="42"/>
                    </a:cubicBezTo>
                    <a:cubicBezTo>
                      <a:pt x="26" y="42"/>
                      <a:pt x="26" y="42"/>
                      <a:pt x="26" y="42"/>
                    </a:cubicBezTo>
                    <a:close/>
                    <a:moveTo>
                      <a:pt x="29" y="42"/>
                    </a:moveTo>
                    <a:cubicBezTo>
                      <a:pt x="29" y="42"/>
                      <a:pt x="29" y="42"/>
                      <a:pt x="29" y="41"/>
                    </a:cubicBezTo>
                    <a:cubicBezTo>
                      <a:pt x="29" y="42"/>
                      <a:pt x="29" y="42"/>
                      <a:pt x="29" y="42"/>
                    </a:cubicBezTo>
                    <a:cubicBezTo>
                      <a:pt x="29" y="42"/>
                      <a:pt x="29" y="42"/>
                      <a:pt x="29" y="42"/>
                    </a:cubicBezTo>
                    <a:cubicBezTo>
                      <a:pt x="29" y="42"/>
                      <a:pt x="29" y="42"/>
                      <a:pt x="29" y="42"/>
                    </a:cubicBezTo>
                    <a:close/>
                    <a:moveTo>
                      <a:pt x="91" y="42"/>
                    </a:moveTo>
                    <a:cubicBezTo>
                      <a:pt x="91" y="42"/>
                      <a:pt x="91" y="42"/>
                      <a:pt x="91" y="42"/>
                    </a:cubicBezTo>
                    <a:cubicBezTo>
                      <a:pt x="91" y="42"/>
                      <a:pt x="91" y="42"/>
                      <a:pt x="91" y="42"/>
                    </a:cubicBezTo>
                    <a:cubicBezTo>
                      <a:pt x="91" y="42"/>
                      <a:pt x="91" y="42"/>
                      <a:pt x="91" y="42"/>
                    </a:cubicBezTo>
                    <a:cubicBezTo>
                      <a:pt x="91" y="42"/>
                      <a:pt x="91" y="42"/>
                      <a:pt x="91" y="42"/>
                    </a:cubicBezTo>
                    <a:close/>
                    <a:moveTo>
                      <a:pt x="45" y="42"/>
                    </a:moveTo>
                    <a:cubicBezTo>
                      <a:pt x="45" y="42"/>
                      <a:pt x="45" y="42"/>
                      <a:pt x="45" y="42"/>
                    </a:cubicBezTo>
                    <a:cubicBezTo>
                      <a:pt x="45" y="42"/>
                      <a:pt x="45" y="42"/>
                      <a:pt x="45" y="42"/>
                    </a:cubicBezTo>
                    <a:cubicBezTo>
                      <a:pt x="45" y="42"/>
                      <a:pt x="45" y="42"/>
                      <a:pt x="45" y="42"/>
                    </a:cubicBezTo>
                    <a:cubicBezTo>
                      <a:pt x="45" y="42"/>
                      <a:pt x="45" y="42"/>
                      <a:pt x="45" y="42"/>
                    </a:cubicBezTo>
                    <a:close/>
                    <a:moveTo>
                      <a:pt x="45" y="42"/>
                    </a:moveTo>
                    <a:cubicBezTo>
                      <a:pt x="46" y="42"/>
                      <a:pt x="46" y="42"/>
                      <a:pt x="46" y="42"/>
                    </a:cubicBezTo>
                    <a:cubicBezTo>
                      <a:pt x="46" y="42"/>
                      <a:pt x="46" y="42"/>
                      <a:pt x="47" y="42"/>
                    </a:cubicBezTo>
                    <a:cubicBezTo>
                      <a:pt x="46" y="42"/>
                      <a:pt x="46" y="42"/>
                      <a:pt x="45" y="42"/>
                    </a:cubicBezTo>
                    <a:cubicBezTo>
                      <a:pt x="45" y="42"/>
                      <a:pt x="45" y="42"/>
                      <a:pt x="45" y="42"/>
                    </a:cubicBezTo>
                    <a:cubicBezTo>
                      <a:pt x="45" y="42"/>
                      <a:pt x="45" y="42"/>
                      <a:pt x="45" y="42"/>
                    </a:cubicBezTo>
                    <a:close/>
                    <a:moveTo>
                      <a:pt x="34" y="42"/>
                    </a:moveTo>
                    <a:cubicBezTo>
                      <a:pt x="34" y="42"/>
                      <a:pt x="34" y="42"/>
                      <a:pt x="34" y="42"/>
                    </a:cubicBezTo>
                    <a:cubicBezTo>
                      <a:pt x="34" y="42"/>
                      <a:pt x="34" y="42"/>
                      <a:pt x="34" y="42"/>
                    </a:cubicBezTo>
                    <a:cubicBezTo>
                      <a:pt x="34" y="42"/>
                      <a:pt x="34" y="42"/>
                      <a:pt x="34" y="42"/>
                    </a:cubicBezTo>
                    <a:cubicBezTo>
                      <a:pt x="34" y="42"/>
                      <a:pt x="34" y="42"/>
                      <a:pt x="34" y="42"/>
                    </a:cubicBezTo>
                    <a:close/>
                    <a:moveTo>
                      <a:pt x="82" y="42"/>
                    </a:moveTo>
                    <a:cubicBezTo>
                      <a:pt x="82" y="42"/>
                      <a:pt x="82" y="42"/>
                      <a:pt x="83" y="42"/>
                    </a:cubicBezTo>
                    <a:cubicBezTo>
                      <a:pt x="83" y="42"/>
                      <a:pt x="83" y="42"/>
                      <a:pt x="82" y="42"/>
                    </a:cubicBezTo>
                    <a:cubicBezTo>
                      <a:pt x="82" y="42"/>
                      <a:pt x="82" y="42"/>
                      <a:pt x="82" y="42"/>
                    </a:cubicBezTo>
                    <a:cubicBezTo>
                      <a:pt x="82" y="42"/>
                      <a:pt x="82" y="42"/>
                      <a:pt x="82" y="42"/>
                    </a:cubicBezTo>
                    <a:close/>
                    <a:moveTo>
                      <a:pt x="29" y="42"/>
                    </a:moveTo>
                    <a:cubicBezTo>
                      <a:pt x="29" y="42"/>
                      <a:pt x="29" y="42"/>
                      <a:pt x="29" y="42"/>
                    </a:cubicBezTo>
                    <a:cubicBezTo>
                      <a:pt x="30" y="42"/>
                      <a:pt x="30" y="43"/>
                      <a:pt x="30" y="43"/>
                    </a:cubicBezTo>
                    <a:cubicBezTo>
                      <a:pt x="30" y="43"/>
                      <a:pt x="30" y="43"/>
                      <a:pt x="30" y="43"/>
                    </a:cubicBezTo>
                    <a:cubicBezTo>
                      <a:pt x="29" y="43"/>
                      <a:pt x="29" y="42"/>
                      <a:pt x="29" y="42"/>
                    </a:cubicBezTo>
                    <a:cubicBezTo>
                      <a:pt x="29" y="42"/>
                      <a:pt x="29" y="42"/>
                      <a:pt x="29" y="42"/>
                    </a:cubicBezTo>
                    <a:close/>
                    <a:moveTo>
                      <a:pt x="91" y="42"/>
                    </a:moveTo>
                    <a:cubicBezTo>
                      <a:pt x="89" y="42"/>
                      <a:pt x="87" y="42"/>
                      <a:pt x="85" y="43"/>
                    </a:cubicBezTo>
                    <a:cubicBezTo>
                      <a:pt x="85" y="43"/>
                      <a:pt x="85" y="43"/>
                      <a:pt x="85" y="43"/>
                    </a:cubicBezTo>
                    <a:cubicBezTo>
                      <a:pt x="85" y="43"/>
                      <a:pt x="85" y="43"/>
                      <a:pt x="85" y="43"/>
                    </a:cubicBezTo>
                    <a:cubicBezTo>
                      <a:pt x="86" y="43"/>
                      <a:pt x="86" y="43"/>
                      <a:pt x="87" y="43"/>
                    </a:cubicBezTo>
                    <a:cubicBezTo>
                      <a:pt x="87" y="43"/>
                      <a:pt x="86" y="43"/>
                      <a:pt x="86" y="43"/>
                    </a:cubicBezTo>
                    <a:cubicBezTo>
                      <a:pt x="87" y="43"/>
                      <a:pt x="88" y="43"/>
                      <a:pt x="89" y="43"/>
                    </a:cubicBezTo>
                    <a:cubicBezTo>
                      <a:pt x="89" y="43"/>
                      <a:pt x="89" y="43"/>
                      <a:pt x="89" y="43"/>
                    </a:cubicBezTo>
                    <a:cubicBezTo>
                      <a:pt x="89" y="43"/>
                      <a:pt x="90" y="43"/>
                      <a:pt x="90" y="44"/>
                    </a:cubicBezTo>
                    <a:cubicBezTo>
                      <a:pt x="90" y="43"/>
                      <a:pt x="91" y="43"/>
                      <a:pt x="91" y="42"/>
                    </a:cubicBezTo>
                    <a:cubicBezTo>
                      <a:pt x="91" y="42"/>
                      <a:pt x="91" y="42"/>
                      <a:pt x="91" y="42"/>
                    </a:cubicBezTo>
                    <a:close/>
                    <a:moveTo>
                      <a:pt x="45" y="42"/>
                    </a:moveTo>
                    <a:cubicBezTo>
                      <a:pt x="46" y="42"/>
                      <a:pt x="46" y="42"/>
                      <a:pt x="47" y="42"/>
                    </a:cubicBezTo>
                    <a:cubicBezTo>
                      <a:pt x="47" y="42"/>
                      <a:pt x="47" y="43"/>
                      <a:pt x="47" y="43"/>
                    </a:cubicBezTo>
                    <a:cubicBezTo>
                      <a:pt x="46" y="43"/>
                      <a:pt x="46" y="43"/>
                      <a:pt x="46" y="43"/>
                    </a:cubicBezTo>
                    <a:cubicBezTo>
                      <a:pt x="46" y="43"/>
                      <a:pt x="47" y="44"/>
                      <a:pt x="47" y="45"/>
                    </a:cubicBezTo>
                    <a:cubicBezTo>
                      <a:pt x="47" y="45"/>
                      <a:pt x="46" y="44"/>
                      <a:pt x="46" y="44"/>
                    </a:cubicBezTo>
                    <a:cubicBezTo>
                      <a:pt x="46" y="44"/>
                      <a:pt x="46" y="44"/>
                      <a:pt x="46" y="44"/>
                    </a:cubicBezTo>
                    <a:cubicBezTo>
                      <a:pt x="46" y="44"/>
                      <a:pt x="46" y="44"/>
                      <a:pt x="46" y="44"/>
                    </a:cubicBezTo>
                    <a:cubicBezTo>
                      <a:pt x="46" y="44"/>
                      <a:pt x="46" y="44"/>
                      <a:pt x="46" y="44"/>
                    </a:cubicBezTo>
                    <a:cubicBezTo>
                      <a:pt x="45" y="44"/>
                      <a:pt x="45" y="43"/>
                      <a:pt x="45" y="42"/>
                    </a:cubicBezTo>
                    <a:cubicBezTo>
                      <a:pt x="45" y="42"/>
                      <a:pt x="45" y="42"/>
                      <a:pt x="45" y="42"/>
                    </a:cubicBezTo>
                    <a:close/>
                    <a:moveTo>
                      <a:pt x="26" y="43"/>
                    </a:moveTo>
                    <a:cubicBezTo>
                      <a:pt x="26" y="43"/>
                      <a:pt x="26" y="42"/>
                      <a:pt x="26" y="42"/>
                    </a:cubicBezTo>
                    <a:cubicBezTo>
                      <a:pt x="26" y="42"/>
                      <a:pt x="27" y="43"/>
                      <a:pt x="27" y="43"/>
                    </a:cubicBezTo>
                    <a:cubicBezTo>
                      <a:pt x="27" y="43"/>
                      <a:pt x="27" y="43"/>
                      <a:pt x="27" y="43"/>
                    </a:cubicBezTo>
                    <a:cubicBezTo>
                      <a:pt x="26" y="43"/>
                      <a:pt x="26" y="43"/>
                      <a:pt x="26" y="43"/>
                    </a:cubicBezTo>
                    <a:cubicBezTo>
                      <a:pt x="26" y="43"/>
                      <a:pt x="26" y="43"/>
                      <a:pt x="26" y="43"/>
                    </a:cubicBezTo>
                    <a:close/>
                    <a:moveTo>
                      <a:pt x="29" y="43"/>
                    </a:moveTo>
                    <a:cubicBezTo>
                      <a:pt x="29" y="43"/>
                      <a:pt x="29" y="43"/>
                      <a:pt x="29" y="42"/>
                    </a:cubicBezTo>
                    <a:cubicBezTo>
                      <a:pt x="29" y="43"/>
                      <a:pt x="29" y="43"/>
                      <a:pt x="29" y="43"/>
                    </a:cubicBezTo>
                    <a:cubicBezTo>
                      <a:pt x="29" y="43"/>
                      <a:pt x="29" y="43"/>
                      <a:pt x="29" y="43"/>
                    </a:cubicBezTo>
                    <a:cubicBezTo>
                      <a:pt x="29" y="43"/>
                      <a:pt x="29" y="43"/>
                      <a:pt x="29" y="43"/>
                    </a:cubicBezTo>
                    <a:close/>
                    <a:moveTo>
                      <a:pt x="82" y="43"/>
                    </a:moveTo>
                    <a:cubicBezTo>
                      <a:pt x="81" y="43"/>
                      <a:pt x="81" y="43"/>
                      <a:pt x="81" y="43"/>
                    </a:cubicBezTo>
                    <a:cubicBezTo>
                      <a:pt x="81" y="43"/>
                      <a:pt x="81" y="43"/>
                      <a:pt x="82" y="43"/>
                    </a:cubicBezTo>
                    <a:cubicBezTo>
                      <a:pt x="82" y="43"/>
                      <a:pt x="82" y="43"/>
                      <a:pt x="82" y="43"/>
                    </a:cubicBezTo>
                    <a:close/>
                    <a:moveTo>
                      <a:pt x="29" y="43"/>
                    </a:moveTo>
                    <a:cubicBezTo>
                      <a:pt x="29" y="43"/>
                      <a:pt x="29" y="43"/>
                      <a:pt x="29" y="43"/>
                    </a:cubicBezTo>
                    <a:cubicBezTo>
                      <a:pt x="29" y="43"/>
                      <a:pt x="29" y="43"/>
                      <a:pt x="29" y="43"/>
                    </a:cubicBezTo>
                    <a:cubicBezTo>
                      <a:pt x="29" y="43"/>
                      <a:pt x="29" y="43"/>
                      <a:pt x="29" y="43"/>
                    </a:cubicBezTo>
                    <a:cubicBezTo>
                      <a:pt x="29" y="43"/>
                      <a:pt x="29" y="43"/>
                      <a:pt x="29" y="43"/>
                    </a:cubicBezTo>
                    <a:cubicBezTo>
                      <a:pt x="29" y="43"/>
                      <a:pt x="29" y="43"/>
                      <a:pt x="29" y="43"/>
                    </a:cubicBezTo>
                    <a:close/>
                    <a:moveTo>
                      <a:pt x="30" y="43"/>
                    </a:moveTo>
                    <a:cubicBezTo>
                      <a:pt x="30" y="43"/>
                      <a:pt x="30" y="43"/>
                      <a:pt x="30" y="43"/>
                    </a:cubicBezTo>
                    <a:cubicBezTo>
                      <a:pt x="30" y="43"/>
                      <a:pt x="30" y="43"/>
                      <a:pt x="30" y="43"/>
                    </a:cubicBezTo>
                    <a:cubicBezTo>
                      <a:pt x="30" y="43"/>
                      <a:pt x="30" y="43"/>
                      <a:pt x="30" y="43"/>
                    </a:cubicBezTo>
                    <a:cubicBezTo>
                      <a:pt x="30" y="43"/>
                      <a:pt x="30" y="43"/>
                      <a:pt x="30" y="43"/>
                    </a:cubicBezTo>
                    <a:close/>
                    <a:moveTo>
                      <a:pt x="41" y="43"/>
                    </a:moveTo>
                    <a:cubicBezTo>
                      <a:pt x="41" y="43"/>
                      <a:pt x="41" y="43"/>
                      <a:pt x="41" y="43"/>
                    </a:cubicBezTo>
                    <a:cubicBezTo>
                      <a:pt x="41" y="43"/>
                      <a:pt x="41" y="43"/>
                      <a:pt x="41" y="43"/>
                    </a:cubicBezTo>
                    <a:cubicBezTo>
                      <a:pt x="41" y="43"/>
                      <a:pt x="41" y="43"/>
                      <a:pt x="41" y="43"/>
                    </a:cubicBezTo>
                    <a:cubicBezTo>
                      <a:pt x="41" y="43"/>
                      <a:pt x="41" y="43"/>
                      <a:pt x="41" y="43"/>
                    </a:cubicBezTo>
                    <a:cubicBezTo>
                      <a:pt x="41" y="43"/>
                      <a:pt x="41" y="43"/>
                      <a:pt x="41" y="43"/>
                    </a:cubicBezTo>
                    <a:cubicBezTo>
                      <a:pt x="41" y="43"/>
                      <a:pt x="41" y="43"/>
                      <a:pt x="41" y="43"/>
                    </a:cubicBezTo>
                    <a:close/>
                    <a:moveTo>
                      <a:pt x="68" y="43"/>
                    </a:moveTo>
                    <a:cubicBezTo>
                      <a:pt x="68" y="43"/>
                      <a:pt x="68" y="43"/>
                      <a:pt x="68" y="43"/>
                    </a:cubicBezTo>
                    <a:cubicBezTo>
                      <a:pt x="68" y="43"/>
                      <a:pt x="68" y="43"/>
                      <a:pt x="68" y="43"/>
                    </a:cubicBezTo>
                    <a:cubicBezTo>
                      <a:pt x="68" y="43"/>
                      <a:pt x="68" y="43"/>
                      <a:pt x="68" y="43"/>
                    </a:cubicBezTo>
                    <a:cubicBezTo>
                      <a:pt x="68" y="43"/>
                      <a:pt x="68" y="43"/>
                      <a:pt x="68" y="43"/>
                    </a:cubicBezTo>
                    <a:cubicBezTo>
                      <a:pt x="68" y="43"/>
                      <a:pt x="68" y="43"/>
                      <a:pt x="68" y="43"/>
                    </a:cubicBezTo>
                    <a:cubicBezTo>
                      <a:pt x="68" y="44"/>
                      <a:pt x="67" y="44"/>
                      <a:pt x="67" y="44"/>
                    </a:cubicBezTo>
                    <a:cubicBezTo>
                      <a:pt x="68" y="44"/>
                      <a:pt x="68" y="44"/>
                      <a:pt x="68" y="43"/>
                    </a:cubicBezTo>
                    <a:cubicBezTo>
                      <a:pt x="68" y="43"/>
                      <a:pt x="68" y="43"/>
                      <a:pt x="68" y="43"/>
                    </a:cubicBezTo>
                    <a:close/>
                    <a:moveTo>
                      <a:pt x="85" y="43"/>
                    </a:moveTo>
                    <a:cubicBezTo>
                      <a:pt x="84" y="43"/>
                      <a:pt x="84" y="44"/>
                      <a:pt x="83" y="44"/>
                    </a:cubicBezTo>
                    <a:cubicBezTo>
                      <a:pt x="84" y="44"/>
                      <a:pt x="84" y="45"/>
                      <a:pt x="84" y="45"/>
                    </a:cubicBezTo>
                    <a:cubicBezTo>
                      <a:pt x="84" y="44"/>
                      <a:pt x="85" y="44"/>
                      <a:pt x="85" y="43"/>
                    </a:cubicBezTo>
                    <a:cubicBezTo>
                      <a:pt x="85" y="43"/>
                      <a:pt x="85" y="43"/>
                      <a:pt x="85" y="43"/>
                    </a:cubicBezTo>
                    <a:cubicBezTo>
                      <a:pt x="85" y="43"/>
                      <a:pt x="85" y="43"/>
                      <a:pt x="85" y="43"/>
                    </a:cubicBezTo>
                    <a:close/>
                    <a:moveTo>
                      <a:pt x="78" y="44"/>
                    </a:moveTo>
                    <a:cubicBezTo>
                      <a:pt x="78" y="44"/>
                      <a:pt x="78" y="44"/>
                      <a:pt x="78" y="43"/>
                    </a:cubicBezTo>
                    <a:cubicBezTo>
                      <a:pt x="78" y="44"/>
                      <a:pt x="78" y="44"/>
                      <a:pt x="78" y="44"/>
                    </a:cubicBezTo>
                    <a:cubicBezTo>
                      <a:pt x="78" y="44"/>
                      <a:pt x="78" y="44"/>
                      <a:pt x="78" y="44"/>
                    </a:cubicBezTo>
                    <a:close/>
                    <a:moveTo>
                      <a:pt x="77" y="44"/>
                    </a:moveTo>
                    <a:cubicBezTo>
                      <a:pt x="77" y="44"/>
                      <a:pt x="77" y="44"/>
                      <a:pt x="78" y="43"/>
                    </a:cubicBezTo>
                    <a:cubicBezTo>
                      <a:pt x="78" y="44"/>
                      <a:pt x="78" y="44"/>
                      <a:pt x="78" y="44"/>
                    </a:cubicBezTo>
                    <a:cubicBezTo>
                      <a:pt x="78" y="44"/>
                      <a:pt x="77" y="44"/>
                      <a:pt x="77" y="44"/>
                    </a:cubicBezTo>
                    <a:cubicBezTo>
                      <a:pt x="77" y="44"/>
                      <a:pt x="77" y="44"/>
                      <a:pt x="77" y="44"/>
                    </a:cubicBezTo>
                    <a:cubicBezTo>
                      <a:pt x="77" y="44"/>
                      <a:pt x="77" y="44"/>
                      <a:pt x="77" y="44"/>
                    </a:cubicBezTo>
                    <a:close/>
                    <a:moveTo>
                      <a:pt x="42" y="44"/>
                    </a:moveTo>
                    <a:cubicBezTo>
                      <a:pt x="42" y="43"/>
                      <a:pt x="42" y="43"/>
                      <a:pt x="41" y="43"/>
                    </a:cubicBezTo>
                    <a:cubicBezTo>
                      <a:pt x="41" y="44"/>
                      <a:pt x="42" y="44"/>
                      <a:pt x="42" y="45"/>
                    </a:cubicBezTo>
                    <a:cubicBezTo>
                      <a:pt x="42" y="45"/>
                      <a:pt x="42" y="45"/>
                      <a:pt x="42" y="45"/>
                    </a:cubicBezTo>
                    <a:cubicBezTo>
                      <a:pt x="42" y="44"/>
                      <a:pt x="42" y="44"/>
                      <a:pt x="42" y="44"/>
                    </a:cubicBezTo>
                    <a:cubicBezTo>
                      <a:pt x="42" y="44"/>
                      <a:pt x="42" y="44"/>
                      <a:pt x="42" y="44"/>
                    </a:cubicBezTo>
                    <a:close/>
                    <a:moveTo>
                      <a:pt x="77" y="44"/>
                    </a:moveTo>
                    <a:cubicBezTo>
                      <a:pt x="77" y="44"/>
                      <a:pt x="77" y="44"/>
                      <a:pt x="77" y="44"/>
                    </a:cubicBezTo>
                    <a:cubicBezTo>
                      <a:pt x="77" y="44"/>
                      <a:pt x="77" y="44"/>
                      <a:pt x="77" y="44"/>
                    </a:cubicBezTo>
                    <a:cubicBezTo>
                      <a:pt x="77" y="44"/>
                      <a:pt x="77" y="44"/>
                      <a:pt x="77" y="44"/>
                    </a:cubicBezTo>
                    <a:cubicBezTo>
                      <a:pt x="77" y="44"/>
                      <a:pt x="77" y="44"/>
                      <a:pt x="77" y="44"/>
                    </a:cubicBezTo>
                    <a:close/>
                    <a:moveTo>
                      <a:pt x="36" y="44"/>
                    </a:moveTo>
                    <a:cubicBezTo>
                      <a:pt x="36" y="44"/>
                      <a:pt x="36" y="44"/>
                      <a:pt x="36" y="44"/>
                    </a:cubicBezTo>
                    <a:cubicBezTo>
                      <a:pt x="36" y="44"/>
                      <a:pt x="36" y="44"/>
                      <a:pt x="36" y="44"/>
                    </a:cubicBezTo>
                    <a:cubicBezTo>
                      <a:pt x="36" y="44"/>
                      <a:pt x="36" y="44"/>
                      <a:pt x="36" y="44"/>
                    </a:cubicBezTo>
                    <a:cubicBezTo>
                      <a:pt x="36" y="44"/>
                      <a:pt x="36" y="44"/>
                      <a:pt x="36" y="44"/>
                    </a:cubicBezTo>
                    <a:cubicBezTo>
                      <a:pt x="36" y="44"/>
                      <a:pt x="36" y="44"/>
                      <a:pt x="36" y="44"/>
                    </a:cubicBezTo>
                    <a:cubicBezTo>
                      <a:pt x="36" y="44"/>
                      <a:pt x="36" y="44"/>
                      <a:pt x="36" y="44"/>
                    </a:cubicBezTo>
                    <a:close/>
                    <a:moveTo>
                      <a:pt x="82" y="44"/>
                    </a:moveTo>
                    <a:cubicBezTo>
                      <a:pt x="83" y="44"/>
                      <a:pt x="83" y="44"/>
                      <a:pt x="83" y="44"/>
                    </a:cubicBezTo>
                    <a:cubicBezTo>
                      <a:pt x="83" y="44"/>
                      <a:pt x="83" y="44"/>
                      <a:pt x="83" y="44"/>
                    </a:cubicBezTo>
                    <a:cubicBezTo>
                      <a:pt x="83" y="44"/>
                      <a:pt x="83" y="44"/>
                      <a:pt x="82" y="44"/>
                    </a:cubicBezTo>
                    <a:cubicBezTo>
                      <a:pt x="83" y="44"/>
                      <a:pt x="83" y="44"/>
                      <a:pt x="83" y="44"/>
                    </a:cubicBezTo>
                    <a:cubicBezTo>
                      <a:pt x="82" y="45"/>
                      <a:pt x="82" y="45"/>
                      <a:pt x="82" y="45"/>
                    </a:cubicBezTo>
                    <a:cubicBezTo>
                      <a:pt x="82" y="44"/>
                      <a:pt x="82" y="44"/>
                      <a:pt x="82" y="44"/>
                    </a:cubicBezTo>
                    <a:cubicBezTo>
                      <a:pt x="82" y="44"/>
                      <a:pt x="82" y="44"/>
                      <a:pt x="82" y="44"/>
                    </a:cubicBezTo>
                    <a:close/>
                    <a:moveTo>
                      <a:pt x="81" y="44"/>
                    </a:moveTo>
                    <a:cubicBezTo>
                      <a:pt x="81" y="44"/>
                      <a:pt x="81" y="44"/>
                      <a:pt x="80" y="44"/>
                    </a:cubicBezTo>
                    <a:cubicBezTo>
                      <a:pt x="80" y="44"/>
                      <a:pt x="80" y="44"/>
                      <a:pt x="80" y="44"/>
                    </a:cubicBezTo>
                    <a:cubicBezTo>
                      <a:pt x="80" y="44"/>
                      <a:pt x="81" y="44"/>
                      <a:pt x="81" y="44"/>
                    </a:cubicBezTo>
                    <a:cubicBezTo>
                      <a:pt x="81" y="44"/>
                      <a:pt x="81" y="44"/>
                      <a:pt x="81" y="44"/>
                    </a:cubicBezTo>
                    <a:cubicBezTo>
                      <a:pt x="81" y="44"/>
                      <a:pt x="81" y="44"/>
                      <a:pt x="81" y="44"/>
                    </a:cubicBezTo>
                    <a:close/>
                    <a:moveTo>
                      <a:pt x="87" y="44"/>
                    </a:moveTo>
                    <a:cubicBezTo>
                      <a:pt x="87" y="44"/>
                      <a:pt x="86" y="44"/>
                      <a:pt x="86" y="43"/>
                    </a:cubicBezTo>
                    <a:cubicBezTo>
                      <a:pt x="85" y="44"/>
                      <a:pt x="85" y="44"/>
                      <a:pt x="85" y="45"/>
                    </a:cubicBezTo>
                    <a:cubicBezTo>
                      <a:pt x="85" y="45"/>
                      <a:pt x="85" y="45"/>
                      <a:pt x="86" y="46"/>
                    </a:cubicBezTo>
                    <a:cubicBezTo>
                      <a:pt x="86" y="45"/>
                      <a:pt x="87" y="45"/>
                      <a:pt x="87" y="44"/>
                    </a:cubicBezTo>
                    <a:cubicBezTo>
                      <a:pt x="87" y="44"/>
                      <a:pt x="87" y="44"/>
                      <a:pt x="87" y="44"/>
                    </a:cubicBezTo>
                    <a:close/>
                    <a:moveTo>
                      <a:pt x="35" y="44"/>
                    </a:moveTo>
                    <a:cubicBezTo>
                      <a:pt x="36" y="44"/>
                      <a:pt x="36" y="44"/>
                      <a:pt x="36" y="44"/>
                    </a:cubicBezTo>
                    <a:cubicBezTo>
                      <a:pt x="36" y="44"/>
                      <a:pt x="36" y="44"/>
                      <a:pt x="36" y="44"/>
                    </a:cubicBezTo>
                    <a:cubicBezTo>
                      <a:pt x="36" y="44"/>
                      <a:pt x="36" y="44"/>
                      <a:pt x="35" y="44"/>
                    </a:cubicBezTo>
                    <a:cubicBezTo>
                      <a:pt x="35" y="44"/>
                      <a:pt x="35" y="44"/>
                      <a:pt x="35" y="44"/>
                    </a:cubicBezTo>
                    <a:cubicBezTo>
                      <a:pt x="35" y="44"/>
                      <a:pt x="35" y="44"/>
                      <a:pt x="35" y="44"/>
                    </a:cubicBezTo>
                    <a:close/>
                    <a:moveTo>
                      <a:pt x="79" y="44"/>
                    </a:moveTo>
                    <a:cubicBezTo>
                      <a:pt x="79" y="44"/>
                      <a:pt x="80" y="44"/>
                      <a:pt x="80" y="44"/>
                    </a:cubicBezTo>
                    <a:cubicBezTo>
                      <a:pt x="80" y="44"/>
                      <a:pt x="80" y="44"/>
                      <a:pt x="80" y="44"/>
                    </a:cubicBezTo>
                    <a:cubicBezTo>
                      <a:pt x="80" y="44"/>
                      <a:pt x="79" y="44"/>
                      <a:pt x="79" y="44"/>
                    </a:cubicBezTo>
                    <a:cubicBezTo>
                      <a:pt x="79" y="44"/>
                      <a:pt x="79" y="44"/>
                      <a:pt x="79" y="44"/>
                    </a:cubicBezTo>
                    <a:close/>
                    <a:moveTo>
                      <a:pt x="90" y="44"/>
                    </a:moveTo>
                    <a:cubicBezTo>
                      <a:pt x="90" y="44"/>
                      <a:pt x="90" y="44"/>
                      <a:pt x="90" y="44"/>
                    </a:cubicBezTo>
                    <a:cubicBezTo>
                      <a:pt x="90" y="44"/>
                      <a:pt x="90" y="44"/>
                      <a:pt x="90" y="44"/>
                    </a:cubicBezTo>
                    <a:cubicBezTo>
                      <a:pt x="90" y="44"/>
                      <a:pt x="90" y="44"/>
                      <a:pt x="90" y="44"/>
                    </a:cubicBezTo>
                    <a:close/>
                    <a:moveTo>
                      <a:pt x="28" y="44"/>
                    </a:moveTo>
                    <a:cubicBezTo>
                      <a:pt x="28" y="44"/>
                      <a:pt x="28" y="44"/>
                      <a:pt x="28" y="44"/>
                    </a:cubicBezTo>
                    <a:cubicBezTo>
                      <a:pt x="29" y="44"/>
                      <a:pt x="29" y="44"/>
                      <a:pt x="29" y="44"/>
                    </a:cubicBezTo>
                    <a:cubicBezTo>
                      <a:pt x="28" y="44"/>
                      <a:pt x="28" y="44"/>
                      <a:pt x="28" y="44"/>
                    </a:cubicBezTo>
                    <a:cubicBezTo>
                      <a:pt x="28" y="44"/>
                      <a:pt x="28" y="44"/>
                      <a:pt x="28" y="44"/>
                    </a:cubicBezTo>
                    <a:cubicBezTo>
                      <a:pt x="28" y="44"/>
                      <a:pt x="28" y="44"/>
                      <a:pt x="28" y="44"/>
                    </a:cubicBezTo>
                    <a:cubicBezTo>
                      <a:pt x="28" y="44"/>
                      <a:pt x="28" y="44"/>
                      <a:pt x="28" y="44"/>
                    </a:cubicBezTo>
                    <a:cubicBezTo>
                      <a:pt x="28" y="44"/>
                      <a:pt x="28" y="44"/>
                      <a:pt x="28" y="44"/>
                    </a:cubicBezTo>
                    <a:close/>
                    <a:moveTo>
                      <a:pt x="40" y="44"/>
                    </a:moveTo>
                    <a:cubicBezTo>
                      <a:pt x="40" y="44"/>
                      <a:pt x="40" y="44"/>
                      <a:pt x="40" y="44"/>
                    </a:cubicBezTo>
                    <a:cubicBezTo>
                      <a:pt x="41" y="44"/>
                      <a:pt x="41" y="45"/>
                      <a:pt x="41" y="45"/>
                    </a:cubicBezTo>
                    <a:cubicBezTo>
                      <a:pt x="41" y="45"/>
                      <a:pt x="41" y="44"/>
                      <a:pt x="40" y="44"/>
                    </a:cubicBezTo>
                    <a:cubicBezTo>
                      <a:pt x="40" y="44"/>
                      <a:pt x="40" y="44"/>
                      <a:pt x="40" y="44"/>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80" y="45"/>
                    </a:moveTo>
                    <a:cubicBezTo>
                      <a:pt x="80" y="45"/>
                      <a:pt x="80" y="45"/>
                      <a:pt x="80" y="45"/>
                    </a:cubicBezTo>
                    <a:cubicBezTo>
                      <a:pt x="80" y="45"/>
                      <a:pt x="80" y="45"/>
                      <a:pt x="80" y="45"/>
                    </a:cubicBezTo>
                    <a:cubicBezTo>
                      <a:pt x="80" y="45"/>
                      <a:pt x="80" y="45"/>
                      <a:pt x="80" y="45"/>
                    </a:cubicBezTo>
                    <a:cubicBezTo>
                      <a:pt x="80" y="45"/>
                      <a:pt x="80" y="45"/>
                      <a:pt x="80" y="45"/>
                    </a:cubicBezTo>
                    <a:close/>
                    <a:moveTo>
                      <a:pt x="42" y="45"/>
                    </a:moveTo>
                    <a:cubicBezTo>
                      <a:pt x="42" y="45"/>
                      <a:pt x="42" y="45"/>
                      <a:pt x="42" y="45"/>
                    </a:cubicBezTo>
                    <a:cubicBezTo>
                      <a:pt x="42" y="45"/>
                      <a:pt x="42" y="45"/>
                      <a:pt x="42" y="45"/>
                    </a:cubicBezTo>
                    <a:cubicBezTo>
                      <a:pt x="42" y="45"/>
                      <a:pt x="42" y="45"/>
                      <a:pt x="43" y="45"/>
                    </a:cubicBezTo>
                    <a:cubicBezTo>
                      <a:pt x="43" y="45"/>
                      <a:pt x="42" y="45"/>
                      <a:pt x="42" y="45"/>
                    </a:cubicBezTo>
                    <a:cubicBezTo>
                      <a:pt x="42" y="45"/>
                      <a:pt x="42" y="45"/>
                      <a:pt x="42" y="45"/>
                    </a:cubicBezTo>
                    <a:close/>
                    <a:moveTo>
                      <a:pt x="46" y="45"/>
                    </a:moveTo>
                    <a:cubicBezTo>
                      <a:pt x="46" y="45"/>
                      <a:pt x="46" y="45"/>
                      <a:pt x="46" y="45"/>
                    </a:cubicBezTo>
                    <a:cubicBezTo>
                      <a:pt x="46" y="45"/>
                      <a:pt x="46" y="45"/>
                      <a:pt x="46" y="45"/>
                    </a:cubicBezTo>
                    <a:cubicBezTo>
                      <a:pt x="46" y="45"/>
                      <a:pt x="46" y="45"/>
                      <a:pt x="46" y="45"/>
                    </a:cubicBezTo>
                    <a:cubicBezTo>
                      <a:pt x="46" y="45"/>
                      <a:pt x="46" y="45"/>
                      <a:pt x="46" y="45"/>
                    </a:cubicBezTo>
                    <a:cubicBezTo>
                      <a:pt x="46" y="45"/>
                      <a:pt x="46" y="45"/>
                      <a:pt x="46" y="45"/>
                    </a:cubicBezTo>
                    <a:close/>
                    <a:moveTo>
                      <a:pt x="41" y="45"/>
                    </a:moveTo>
                    <a:cubicBezTo>
                      <a:pt x="41" y="45"/>
                      <a:pt x="41" y="45"/>
                      <a:pt x="41" y="45"/>
                    </a:cubicBezTo>
                    <a:cubicBezTo>
                      <a:pt x="41" y="45"/>
                      <a:pt x="41" y="45"/>
                      <a:pt x="41" y="45"/>
                    </a:cubicBezTo>
                    <a:cubicBezTo>
                      <a:pt x="41" y="45"/>
                      <a:pt x="41" y="45"/>
                      <a:pt x="41" y="45"/>
                    </a:cubicBezTo>
                    <a:cubicBezTo>
                      <a:pt x="41" y="45"/>
                      <a:pt x="41" y="45"/>
                      <a:pt x="41" y="45"/>
                    </a:cubicBezTo>
                    <a:close/>
                    <a:moveTo>
                      <a:pt x="84" y="45"/>
                    </a:moveTo>
                    <a:cubicBezTo>
                      <a:pt x="83" y="45"/>
                      <a:pt x="83" y="45"/>
                      <a:pt x="83" y="45"/>
                    </a:cubicBezTo>
                    <a:cubicBezTo>
                      <a:pt x="83" y="45"/>
                      <a:pt x="83" y="45"/>
                      <a:pt x="83" y="45"/>
                    </a:cubicBezTo>
                    <a:cubicBezTo>
                      <a:pt x="83" y="45"/>
                      <a:pt x="83" y="45"/>
                      <a:pt x="83" y="45"/>
                    </a:cubicBezTo>
                    <a:cubicBezTo>
                      <a:pt x="83" y="45"/>
                      <a:pt x="83" y="45"/>
                      <a:pt x="83" y="45"/>
                    </a:cubicBezTo>
                    <a:cubicBezTo>
                      <a:pt x="83" y="45"/>
                      <a:pt x="83" y="45"/>
                      <a:pt x="83" y="45"/>
                    </a:cubicBezTo>
                    <a:cubicBezTo>
                      <a:pt x="83" y="45"/>
                      <a:pt x="83" y="45"/>
                      <a:pt x="83" y="45"/>
                    </a:cubicBezTo>
                    <a:cubicBezTo>
                      <a:pt x="83" y="45"/>
                      <a:pt x="83" y="45"/>
                      <a:pt x="83" y="45"/>
                    </a:cubicBezTo>
                    <a:cubicBezTo>
                      <a:pt x="83" y="45"/>
                      <a:pt x="83" y="45"/>
                      <a:pt x="83" y="45"/>
                    </a:cubicBezTo>
                    <a:cubicBezTo>
                      <a:pt x="83" y="45"/>
                      <a:pt x="83" y="45"/>
                      <a:pt x="84" y="45"/>
                    </a:cubicBezTo>
                    <a:cubicBezTo>
                      <a:pt x="84" y="45"/>
                      <a:pt x="84" y="45"/>
                      <a:pt x="84" y="45"/>
                    </a:cubicBezTo>
                    <a:close/>
                    <a:moveTo>
                      <a:pt x="79" y="45"/>
                    </a:moveTo>
                    <a:cubicBezTo>
                      <a:pt x="79" y="45"/>
                      <a:pt x="79" y="45"/>
                      <a:pt x="79" y="45"/>
                    </a:cubicBezTo>
                    <a:cubicBezTo>
                      <a:pt x="79" y="45"/>
                      <a:pt x="79" y="45"/>
                      <a:pt x="79" y="45"/>
                    </a:cubicBezTo>
                    <a:cubicBezTo>
                      <a:pt x="79" y="45"/>
                      <a:pt x="79" y="45"/>
                      <a:pt x="78" y="45"/>
                    </a:cubicBezTo>
                    <a:cubicBezTo>
                      <a:pt x="79" y="45"/>
                      <a:pt x="79" y="45"/>
                      <a:pt x="79" y="45"/>
                    </a:cubicBezTo>
                    <a:cubicBezTo>
                      <a:pt x="79" y="45"/>
                      <a:pt x="79" y="45"/>
                      <a:pt x="79" y="45"/>
                    </a:cubicBezTo>
                    <a:close/>
                    <a:moveTo>
                      <a:pt x="80" y="45"/>
                    </a:moveTo>
                    <a:cubicBezTo>
                      <a:pt x="80" y="45"/>
                      <a:pt x="80" y="45"/>
                      <a:pt x="80" y="45"/>
                    </a:cubicBezTo>
                    <a:cubicBezTo>
                      <a:pt x="80" y="45"/>
                      <a:pt x="80" y="45"/>
                      <a:pt x="80" y="45"/>
                    </a:cubicBezTo>
                    <a:cubicBezTo>
                      <a:pt x="80" y="45"/>
                      <a:pt x="80" y="45"/>
                      <a:pt x="80" y="45"/>
                    </a:cubicBezTo>
                    <a:cubicBezTo>
                      <a:pt x="80" y="45"/>
                      <a:pt x="80" y="45"/>
                      <a:pt x="80" y="45"/>
                    </a:cubicBezTo>
                    <a:close/>
                    <a:moveTo>
                      <a:pt x="80" y="45"/>
                    </a:moveTo>
                    <a:cubicBezTo>
                      <a:pt x="80" y="45"/>
                      <a:pt x="80" y="45"/>
                      <a:pt x="80" y="45"/>
                    </a:cubicBezTo>
                    <a:cubicBezTo>
                      <a:pt x="79" y="45"/>
                      <a:pt x="79" y="45"/>
                      <a:pt x="79" y="46"/>
                    </a:cubicBezTo>
                    <a:cubicBezTo>
                      <a:pt x="79" y="46"/>
                      <a:pt x="79" y="46"/>
                      <a:pt x="79" y="46"/>
                    </a:cubicBezTo>
                    <a:cubicBezTo>
                      <a:pt x="79" y="46"/>
                      <a:pt x="79" y="46"/>
                      <a:pt x="79" y="46"/>
                    </a:cubicBezTo>
                    <a:cubicBezTo>
                      <a:pt x="79" y="46"/>
                      <a:pt x="79" y="46"/>
                      <a:pt x="79" y="46"/>
                    </a:cubicBezTo>
                    <a:cubicBezTo>
                      <a:pt x="79" y="46"/>
                      <a:pt x="79" y="46"/>
                      <a:pt x="79" y="47"/>
                    </a:cubicBezTo>
                    <a:cubicBezTo>
                      <a:pt x="80" y="46"/>
                      <a:pt x="80" y="46"/>
                      <a:pt x="80" y="45"/>
                    </a:cubicBezTo>
                    <a:cubicBezTo>
                      <a:pt x="80" y="45"/>
                      <a:pt x="80" y="45"/>
                      <a:pt x="80" y="45"/>
                    </a:cubicBezTo>
                    <a:cubicBezTo>
                      <a:pt x="80" y="45"/>
                      <a:pt x="80" y="45"/>
                      <a:pt x="80" y="45"/>
                    </a:cubicBezTo>
                    <a:close/>
                    <a:moveTo>
                      <a:pt x="81" y="45"/>
                    </a:moveTo>
                    <a:cubicBezTo>
                      <a:pt x="81" y="45"/>
                      <a:pt x="81" y="46"/>
                      <a:pt x="81" y="46"/>
                    </a:cubicBezTo>
                    <a:cubicBezTo>
                      <a:pt x="81" y="46"/>
                      <a:pt x="81" y="46"/>
                      <a:pt x="81" y="46"/>
                    </a:cubicBezTo>
                    <a:cubicBezTo>
                      <a:pt x="81" y="46"/>
                      <a:pt x="81" y="46"/>
                      <a:pt x="82" y="46"/>
                    </a:cubicBezTo>
                    <a:cubicBezTo>
                      <a:pt x="81" y="45"/>
                      <a:pt x="81" y="45"/>
                      <a:pt x="81" y="45"/>
                    </a:cubicBezTo>
                    <a:cubicBezTo>
                      <a:pt x="81" y="45"/>
                      <a:pt x="81" y="45"/>
                      <a:pt x="81" y="45"/>
                    </a:cubicBezTo>
                    <a:close/>
                    <a:moveTo>
                      <a:pt x="84" y="46"/>
                    </a:moveTo>
                    <a:cubicBezTo>
                      <a:pt x="84" y="46"/>
                      <a:pt x="84" y="45"/>
                      <a:pt x="84" y="45"/>
                    </a:cubicBezTo>
                    <a:cubicBezTo>
                      <a:pt x="85" y="46"/>
                      <a:pt x="85" y="46"/>
                      <a:pt x="85" y="46"/>
                    </a:cubicBezTo>
                    <a:cubicBezTo>
                      <a:pt x="85" y="46"/>
                      <a:pt x="85" y="46"/>
                      <a:pt x="85" y="46"/>
                    </a:cubicBezTo>
                    <a:cubicBezTo>
                      <a:pt x="85" y="46"/>
                      <a:pt x="84" y="46"/>
                      <a:pt x="84" y="46"/>
                    </a:cubicBezTo>
                    <a:cubicBezTo>
                      <a:pt x="84" y="46"/>
                      <a:pt x="84" y="46"/>
                      <a:pt x="84" y="46"/>
                    </a:cubicBezTo>
                    <a:close/>
                    <a:moveTo>
                      <a:pt x="87" y="46"/>
                    </a:moveTo>
                    <a:cubicBezTo>
                      <a:pt x="87" y="46"/>
                      <a:pt x="87" y="45"/>
                      <a:pt x="87" y="45"/>
                    </a:cubicBezTo>
                    <a:cubicBezTo>
                      <a:pt x="87" y="46"/>
                      <a:pt x="86" y="46"/>
                      <a:pt x="86" y="46"/>
                    </a:cubicBezTo>
                    <a:cubicBezTo>
                      <a:pt x="86" y="46"/>
                      <a:pt x="86" y="46"/>
                      <a:pt x="87" y="46"/>
                    </a:cubicBezTo>
                    <a:cubicBezTo>
                      <a:pt x="87" y="46"/>
                      <a:pt x="87" y="46"/>
                      <a:pt x="87" y="46"/>
                    </a:cubicBezTo>
                    <a:close/>
                    <a:moveTo>
                      <a:pt x="41" y="46"/>
                    </a:moveTo>
                    <a:cubicBezTo>
                      <a:pt x="41" y="46"/>
                      <a:pt x="41" y="46"/>
                      <a:pt x="40" y="46"/>
                    </a:cubicBezTo>
                    <a:cubicBezTo>
                      <a:pt x="41" y="46"/>
                      <a:pt x="41" y="46"/>
                      <a:pt x="41" y="46"/>
                    </a:cubicBezTo>
                    <a:cubicBezTo>
                      <a:pt x="41" y="46"/>
                      <a:pt x="41" y="46"/>
                      <a:pt x="41" y="46"/>
                    </a:cubicBezTo>
                    <a:cubicBezTo>
                      <a:pt x="41" y="46"/>
                      <a:pt x="41" y="46"/>
                      <a:pt x="41" y="47"/>
                    </a:cubicBezTo>
                    <a:cubicBezTo>
                      <a:pt x="41" y="46"/>
                      <a:pt x="41" y="46"/>
                      <a:pt x="41" y="46"/>
                    </a:cubicBezTo>
                    <a:cubicBezTo>
                      <a:pt x="41" y="46"/>
                      <a:pt x="41" y="46"/>
                      <a:pt x="41" y="46"/>
                    </a:cubicBezTo>
                    <a:cubicBezTo>
                      <a:pt x="41" y="46"/>
                      <a:pt x="41" y="46"/>
                      <a:pt x="41" y="46"/>
                    </a:cubicBezTo>
                    <a:cubicBezTo>
                      <a:pt x="41" y="46"/>
                      <a:pt x="41" y="46"/>
                      <a:pt x="41" y="46"/>
                    </a:cubicBezTo>
                    <a:cubicBezTo>
                      <a:pt x="41" y="46"/>
                      <a:pt x="41" y="46"/>
                      <a:pt x="41" y="46"/>
                    </a:cubicBezTo>
                    <a:cubicBezTo>
                      <a:pt x="41" y="46"/>
                      <a:pt x="41" y="46"/>
                      <a:pt x="41" y="46"/>
                    </a:cubicBezTo>
                    <a:close/>
                    <a:moveTo>
                      <a:pt x="78" y="46"/>
                    </a:moveTo>
                    <a:cubicBezTo>
                      <a:pt x="78" y="46"/>
                      <a:pt x="78" y="46"/>
                      <a:pt x="78" y="46"/>
                    </a:cubicBezTo>
                    <a:cubicBezTo>
                      <a:pt x="78" y="46"/>
                      <a:pt x="78" y="46"/>
                      <a:pt x="78" y="46"/>
                    </a:cubicBezTo>
                    <a:cubicBezTo>
                      <a:pt x="78" y="46"/>
                      <a:pt x="78" y="46"/>
                      <a:pt x="78" y="46"/>
                    </a:cubicBezTo>
                    <a:cubicBezTo>
                      <a:pt x="78" y="46"/>
                      <a:pt x="78" y="46"/>
                      <a:pt x="78" y="46"/>
                    </a:cubicBezTo>
                    <a:close/>
                    <a:moveTo>
                      <a:pt x="27" y="46"/>
                    </a:moveTo>
                    <a:cubicBezTo>
                      <a:pt x="28" y="46"/>
                      <a:pt x="28" y="46"/>
                      <a:pt x="28" y="46"/>
                    </a:cubicBezTo>
                    <a:cubicBezTo>
                      <a:pt x="28" y="46"/>
                      <a:pt x="28" y="46"/>
                      <a:pt x="28" y="46"/>
                    </a:cubicBezTo>
                    <a:cubicBezTo>
                      <a:pt x="28" y="46"/>
                      <a:pt x="28" y="46"/>
                      <a:pt x="28" y="46"/>
                    </a:cubicBezTo>
                    <a:cubicBezTo>
                      <a:pt x="28" y="46"/>
                      <a:pt x="28" y="47"/>
                      <a:pt x="28" y="47"/>
                    </a:cubicBezTo>
                    <a:cubicBezTo>
                      <a:pt x="28" y="47"/>
                      <a:pt x="28" y="47"/>
                      <a:pt x="27" y="48"/>
                    </a:cubicBezTo>
                    <a:cubicBezTo>
                      <a:pt x="27" y="47"/>
                      <a:pt x="27" y="47"/>
                      <a:pt x="27" y="47"/>
                    </a:cubicBezTo>
                    <a:cubicBezTo>
                      <a:pt x="27" y="46"/>
                      <a:pt x="27" y="46"/>
                      <a:pt x="27" y="46"/>
                    </a:cubicBezTo>
                    <a:cubicBezTo>
                      <a:pt x="27" y="46"/>
                      <a:pt x="27" y="46"/>
                      <a:pt x="27" y="46"/>
                    </a:cubicBezTo>
                    <a:cubicBezTo>
                      <a:pt x="27" y="46"/>
                      <a:pt x="27" y="46"/>
                      <a:pt x="27" y="46"/>
                    </a:cubicBezTo>
                    <a:close/>
                    <a:moveTo>
                      <a:pt x="84" y="46"/>
                    </a:moveTo>
                    <a:cubicBezTo>
                      <a:pt x="84" y="46"/>
                      <a:pt x="84" y="46"/>
                      <a:pt x="84" y="46"/>
                    </a:cubicBezTo>
                    <a:cubicBezTo>
                      <a:pt x="84" y="46"/>
                      <a:pt x="84" y="46"/>
                      <a:pt x="85" y="46"/>
                    </a:cubicBezTo>
                    <a:cubicBezTo>
                      <a:pt x="85" y="46"/>
                      <a:pt x="84" y="46"/>
                      <a:pt x="84" y="46"/>
                    </a:cubicBezTo>
                    <a:cubicBezTo>
                      <a:pt x="84" y="46"/>
                      <a:pt x="84" y="46"/>
                      <a:pt x="84" y="46"/>
                    </a:cubicBezTo>
                    <a:cubicBezTo>
                      <a:pt x="84" y="46"/>
                      <a:pt x="84" y="46"/>
                      <a:pt x="84" y="46"/>
                    </a:cubicBezTo>
                    <a:close/>
                    <a:moveTo>
                      <a:pt x="27" y="46"/>
                    </a:moveTo>
                    <a:cubicBezTo>
                      <a:pt x="27" y="46"/>
                      <a:pt x="27" y="46"/>
                      <a:pt x="27" y="46"/>
                    </a:cubicBezTo>
                    <a:cubicBezTo>
                      <a:pt x="27" y="46"/>
                      <a:pt x="27" y="46"/>
                      <a:pt x="27" y="46"/>
                    </a:cubicBezTo>
                    <a:cubicBezTo>
                      <a:pt x="27" y="46"/>
                      <a:pt x="27" y="46"/>
                      <a:pt x="27" y="46"/>
                    </a:cubicBezTo>
                    <a:cubicBezTo>
                      <a:pt x="27" y="46"/>
                      <a:pt x="27" y="46"/>
                      <a:pt x="27" y="46"/>
                    </a:cubicBezTo>
                    <a:close/>
                    <a:moveTo>
                      <a:pt x="29" y="46"/>
                    </a:moveTo>
                    <a:cubicBezTo>
                      <a:pt x="29" y="46"/>
                      <a:pt x="29" y="46"/>
                      <a:pt x="29" y="46"/>
                    </a:cubicBezTo>
                    <a:cubicBezTo>
                      <a:pt x="29" y="46"/>
                      <a:pt x="29" y="46"/>
                      <a:pt x="29" y="46"/>
                    </a:cubicBezTo>
                    <a:cubicBezTo>
                      <a:pt x="29" y="46"/>
                      <a:pt x="29" y="46"/>
                      <a:pt x="29" y="46"/>
                    </a:cubicBezTo>
                    <a:cubicBezTo>
                      <a:pt x="29" y="46"/>
                      <a:pt x="29" y="46"/>
                      <a:pt x="29" y="46"/>
                    </a:cubicBezTo>
                    <a:close/>
                    <a:moveTo>
                      <a:pt x="81" y="46"/>
                    </a:moveTo>
                    <a:cubicBezTo>
                      <a:pt x="81" y="46"/>
                      <a:pt x="81" y="46"/>
                      <a:pt x="81" y="46"/>
                    </a:cubicBezTo>
                    <a:cubicBezTo>
                      <a:pt x="81" y="46"/>
                      <a:pt x="81" y="46"/>
                      <a:pt x="81" y="46"/>
                    </a:cubicBezTo>
                    <a:cubicBezTo>
                      <a:pt x="81" y="46"/>
                      <a:pt x="81" y="46"/>
                      <a:pt x="81" y="46"/>
                    </a:cubicBezTo>
                    <a:cubicBezTo>
                      <a:pt x="81" y="46"/>
                      <a:pt x="80" y="46"/>
                      <a:pt x="80" y="47"/>
                    </a:cubicBezTo>
                    <a:cubicBezTo>
                      <a:pt x="80" y="47"/>
                      <a:pt x="81" y="47"/>
                      <a:pt x="81" y="47"/>
                    </a:cubicBezTo>
                    <a:cubicBezTo>
                      <a:pt x="81" y="46"/>
                      <a:pt x="81" y="46"/>
                      <a:pt x="81" y="46"/>
                    </a:cubicBezTo>
                    <a:cubicBezTo>
                      <a:pt x="81" y="46"/>
                      <a:pt x="81" y="46"/>
                      <a:pt x="81" y="46"/>
                    </a:cubicBezTo>
                    <a:cubicBezTo>
                      <a:pt x="81" y="46"/>
                      <a:pt x="81" y="46"/>
                      <a:pt x="81" y="46"/>
                    </a:cubicBezTo>
                    <a:close/>
                    <a:moveTo>
                      <a:pt x="77" y="48"/>
                    </a:moveTo>
                    <a:cubicBezTo>
                      <a:pt x="77" y="48"/>
                      <a:pt x="77" y="48"/>
                      <a:pt x="76" y="48"/>
                    </a:cubicBezTo>
                    <a:cubicBezTo>
                      <a:pt x="77" y="48"/>
                      <a:pt x="77" y="48"/>
                      <a:pt x="77" y="48"/>
                    </a:cubicBezTo>
                    <a:cubicBezTo>
                      <a:pt x="76" y="47"/>
                      <a:pt x="76" y="48"/>
                      <a:pt x="76" y="47"/>
                    </a:cubicBezTo>
                    <a:cubicBezTo>
                      <a:pt x="76" y="47"/>
                      <a:pt x="77" y="47"/>
                      <a:pt x="77" y="47"/>
                    </a:cubicBezTo>
                    <a:cubicBezTo>
                      <a:pt x="76" y="47"/>
                      <a:pt x="76" y="46"/>
                      <a:pt x="75" y="46"/>
                    </a:cubicBezTo>
                    <a:cubicBezTo>
                      <a:pt x="76" y="46"/>
                      <a:pt x="77" y="46"/>
                      <a:pt x="78" y="47"/>
                    </a:cubicBezTo>
                    <a:cubicBezTo>
                      <a:pt x="78" y="47"/>
                      <a:pt x="77" y="47"/>
                      <a:pt x="77" y="48"/>
                    </a:cubicBezTo>
                    <a:cubicBezTo>
                      <a:pt x="77" y="48"/>
                      <a:pt x="77" y="48"/>
                      <a:pt x="77" y="48"/>
                    </a:cubicBezTo>
                    <a:close/>
                    <a:moveTo>
                      <a:pt x="57" y="46"/>
                    </a:moveTo>
                    <a:cubicBezTo>
                      <a:pt x="57" y="46"/>
                      <a:pt x="57" y="46"/>
                      <a:pt x="57" y="46"/>
                    </a:cubicBezTo>
                    <a:cubicBezTo>
                      <a:pt x="57" y="46"/>
                      <a:pt x="57" y="46"/>
                      <a:pt x="57" y="47"/>
                    </a:cubicBezTo>
                    <a:cubicBezTo>
                      <a:pt x="57" y="47"/>
                      <a:pt x="57" y="47"/>
                      <a:pt x="57" y="47"/>
                    </a:cubicBezTo>
                    <a:cubicBezTo>
                      <a:pt x="57" y="47"/>
                      <a:pt x="57" y="47"/>
                      <a:pt x="58" y="47"/>
                    </a:cubicBezTo>
                    <a:cubicBezTo>
                      <a:pt x="57" y="47"/>
                      <a:pt x="57" y="46"/>
                      <a:pt x="57" y="46"/>
                    </a:cubicBezTo>
                    <a:cubicBezTo>
                      <a:pt x="57" y="46"/>
                      <a:pt x="57" y="46"/>
                      <a:pt x="57" y="46"/>
                    </a:cubicBezTo>
                    <a:close/>
                    <a:moveTo>
                      <a:pt x="41" y="46"/>
                    </a:moveTo>
                    <a:cubicBezTo>
                      <a:pt x="41" y="46"/>
                      <a:pt x="41" y="46"/>
                      <a:pt x="41" y="46"/>
                    </a:cubicBezTo>
                    <a:cubicBezTo>
                      <a:pt x="42" y="46"/>
                      <a:pt x="42" y="46"/>
                      <a:pt x="42" y="46"/>
                    </a:cubicBezTo>
                    <a:cubicBezTo>
                      <a:pt x="42" y="47"/>
                      <a:pt x="42" y="47"/>
                      <a:pt x="42" y="47"/>
                    </a:cubicBezTo>
                    <a:cubicBezTo>
                      <a:pt x="42" y="46"/>
                      <a:pt x="42" y="46"/>
                      <a:pt x="42" y="46"/>
                    </a:cubicBezTo>
                    <a:cubicBezTo>
                      <a:pt x="42" y="46"/>
                      <a:pt x="42" y="46"/>
                      <a:pt x="42" y="46"/>
                    </a:cubicBezTo>
                    <a:cubicBezTo>
                      <a:pt x="42" y="46"/>
                      <a:pt x="42" y="46"/>
                      <a:pt x="42" y="46"/>
                    </a:cubicBezTo>
                    <a:cubicBezTo>
                      <a:pt x="42" y="46"/>
                      <a:pt x="42" y="46"/>
                      <a:pt x="42" y="46"/>
                    </a:cubicBezTo>
                    <a:cubicBezTo>
                      <a:pt x="42" y="46"/>
                      <a:pt x="42" y="46"/>
                      <a:pt x="41" y="46"/>
                    </a:cubicBezTo>
                    <a:cubicBezTo>
                      <a:pt x="42" y="46"/>
                      <a:pt x="42" y="46"/>
                      <a:pt x="42" y="46"/>
                    </a:cubicBezTo>
                    <a:cubicBezTo>
                      <a:pt x="42" y="46"/>
                      <a:pt x="41" y="46"/>
                      <a:pt x="41" y="46"/>
                    </a:cubicBezTo>
                    <a:cubicBezTo>
                      <a:pt x="41" y="46"/>
                      <a:pt x="41" y="46"/>
                      <a:pt x="41" y="46"/>
                    </a:cubicBezTo>
                    <a:close/>
                    <a:moveTo>
                      <a:pt x="30" y="46"/>
                    </a:moveTo>
                    <a:cubicBezTo>
                      <a:pt x="30" y="46"/>
                      <a:pt x="30" y="46"/>
                      <a:pt x="30" y="46"/>
                    </a:cubicBezTo>
                    <a:cubicBezTo>
                      <a:pt x="30" y="46"/>
                      <a:pt x="30" y="47"/>
                      <a:pt x="30" y="47"/>
                    </a:cubicBezTo>
                    <a:cubicBezTo>
                      <a:pt x="30" y="47"/>
                      <a:pt x="31" y="47"/>
                      <a:pt x="31" y="46"/>
                    </a:cubicBezTo>
                    <a:cubicBezTo>
                      <a:pt x="30" y="46"/>
                      <a:pt x="30" y="46"/>
                      <a:pt x="30" y="46"/>
                    </a:cubicBezTo>
                    <a:cubicBezTo>
                      <a:pt x="30" y="46"/>
                      <a:pt x="30" y="46"/>
                      <a:pt x="30" y="46"/>
                    </a:cubicBezTo>
                    <a:close/>
                    <a:moveTo>
                      <a:pt x="83" y="46"/>
                    </a:moveTo>
                    <a:cubicBezTo>
                      <a:pt x="82" y="46"/>
                      <a:pt x="82" y="46"/>
                      <a:pt x="82" y="46"/>
                    </a:cubicBezTo>
                    <a:cubicBezTo>
                      <a:pt x="82" y="46"/>
                      <a:pt x="82" y="46"/>
                      <a:pt x="82" y="46"/>
                    </a:cubicBezTo>
                    <a:cubicBezTo>
                      <a:pt x="82" y="46"/>
                      <a:pt x="82" y="46"/>
                      <a:pt x="82" y="46"/>
                    </a:cubicBezTo>
                    <a:cubicBezTo>
                      <a:pt x="82" y="46"/>
                      <a:pt x="82" y="46"/>
                      <a:pt x="83" y="46"/>
                    </a:cubicBezTo>
                    <a:cubicBezTo>
                      <a:pt x="83" y="46"/>
                      <a:pt x="83" y="46"/>
                      <a:pt x="83" y="46"/>
                    </a:cubicBezTo>
                    <a:close/>
                    <a:moveTo>
                      <a:pt x="84" y="46"/>
                    </a:moveTo>
                    <a:cubicBezTo>
                      <a:pt x="84" y="46"/>
                      <a:pt x="84" y="46"/>
                      <a:pt x="84" y="46"/>
                    </a:cubicBezTo>
                    <a:cubicBezTo>
                      <a:pt x="84" y="46"/>
                      <a:pt x="84" y="46"/>
                      <a:pt x="84" y="46"/>
                    </a:cubicBezTo>
                    <a:cubicBezTo>
                      <a:pt x="84" y="46"/>
                      <a:pt x="84" y="46"/>
                      <a:pt x="84" y="46"/>
                    </a:cubicBezTo>
                    <a:cubicBezTo>
                      <a:pt x="84" y="46"/>
                      <a:pt x="84" y="46"/>
                      <a:pt x="84" y="46"/>
                    </a:cubicBezTo>
                    <a:close/>
                    <a:moveTo>
                      <a:pt x="31" y="46"/>
                    </a:moveTo>
                    <a:cubicBezTo>
                      <a:pt x="31" y="46"/>
                      <a:pt x="31" y="46"/>
                      <a:pt x="31" y="46"/>
                    </a:cubicBezTo>
                    <a:cubicBezTo>
                      <a:pt x="30" y="47"/>
                      <a:pt x="30" y="47"/>
                      <a:pt x="30" y="48"/>
                    </a:cubicBezTo>
                    <a:cubicBezTo>
                      <a:pt x="31" y="47"/>
                      <a:pt x="31" y="47"/>
                      <a:pt x="31" y="46"/>
                    </a:cubicBezTo>
                    <a:cubicBezTo>
                      <a:pt x="31" y="46"/>
                      <a:pt x="31" y="46"/>
                      <a:pt x="31" y="46"/>
                    </a:cubicBezTo>
                    <a:close/>
                    <a:moveTo>
                      <a:pt x="43" y="46"/>
                    </a:moveTo>
                    <a:cubicBezTo>
                      <a:pt x="43" y="46"/>
                      <a:pt x="43" y="46"/>
                      <a:pt x="43" y="46"/>
                    </a:cubicBezTo>
                    <a:cubicBezTo>
                      <a:pt x="43" y="46"/>
                      <a:pt x="43" y="46"/>
                      <a:pt x="43" y="46"/>
                    </a:cubicBezTo>
                    <a:cubicBezTo>
                      <a:pt x="43" y="46"/>
                      <a:pt x="43" y="46"/>
                      <a:pt x="43" y="46"/>
                    </a:cubicBezTo>
                    <a:cubicBezTo>
                      <a:pt x="43" y="47"/>
                      <a:pt x="43" y="47"/>
                      <a:pt x="43" y="47"/>
                    </a:cubicBezTo>
                    <a:cubicBezTo>
                      <a:pt x="43" y="47"/>
                      <a:pt x="43" y="47"/>
                      <a:pt x="43" y="47"/>
                    </a:cubicBezTo>
                    <a:cubicBezTo>
                      <a:pt x="43" y="47"/>
                      <a:pt x="43" y="46"/>
                      <a:pt x="43" y="46"/>
                    </a:cubicBezTo>
                    <a:cubicBezTo>
                      <a:pt x="43" y="46"/>
                      <a:pt x="43" y="46"/>
                      <a:pt x="43" y="46"/>
                    </a:cubicBezTo>
                    <a:close/>
                    <a:moveTo>
                      <a:pt x="82" y="47"/>
                    </a:moveTo>
                    <a:cubicBezTo>
                      <a:pt x="82" y="46"/>
                      <a:pt x="82" y="46"/>
                      <a:pt x="82" y="46"/>
                    </a:cubicBezTo>
                    <a:cubicBezTo>
                      <a:pt x="82" y="47"/>
                      <a:pt x="82" y="47"/>
                      <a:pt x="82" y="47"/>
                    </a:cubicBezTo>
                    <a:cubicBezTo>
                      <a:pt x="82" y="47"/>
                      <a:pt x="82" y="47"/>
                      <a:pt x="81" y="47"/>
                    </a:cubicBezTo>
                    <a:cubicBezTo>
                      <a:pt x="81" y="47"/>
                      <a:pt x="82" y="47"/>
                      <a:pt x="82" y="47"/>
                    </a:cubicBezTo>
                    <a:cubicBezTo>
                      <a:pt x="82" y="47"/>
                      <a:pt x="82" y="47"/>
                      <a:pt x="82" y="47"/>
                    </a:cubicBezTo>
                    <a:close/>
                    <a:moveTo>
                      <a:pt x="83" y="46"/>
                    </a:moveTo>
                    <a:cubicBezTo>
                      <a:pt x="83" y="46"/>
                      <a:pt x="83" y="46"/>
                      <a:pt x="83" y="46"/>
                    </a:cubicBezTo>
                    <a:cubicBezTo>
                      <a:pt x="83" y="46"/>
                      <a:pt x="83" y="46"/>
                      <a:pt x="82" y="47"/>
                    </a:cubicBezTo>
                    <a:cubicBezTo>
                      <a:pt x="82" y="47"/>
                      <a:pt x="82" y="47"/>
                      <a:pt x="83" y="47"/>
                    </a:cubicBezTo>
                    <a:cubicBezTo>
                      <a:pt x="83" y="47"/>
                      <a:pt x="83" y="47"/>
                      <a:pt x="83" y="46"/>
                    </a:cubicBezTo>
                    <a:cubicBezTo>
                      <a:pt x="83" y="46"/>
                      <a:pt x="83" y="46"/>
                      <a:pt x="83" y="46"/>
                    </a:cubicBezTo>
                    <a:close/>
                    <a:moveTo>
                      <a:pt x="31" y="47"/>
                    </a:moveTo>
                    <a:cubicBezTo>
                      <a:pt x="31" y="46"/>
                      <a:pt x="31" y="46"/>
                      <a:pt x="31" y="46"/>
                    </a:cubicBezTo>
                    <a:cubicBezTo>
                      <a:pt x="31" y="46"/>
                      <a:pt x="31" y="47"/>
                      <a:pt x="31" y="47"/>
                    </a:cubicBezTo>
                    <a:cubicBezTo>
                      <a:pt x="31" y="47"/>
                      <a:pt x="31" y="47"/>
                      <a:pt x="31" y="47"/>
                    </a:cubicBezTo>
                    <a:cubicBezTo>
                      <a:pt x="31" y="47"/>
                      <a:pt x="31" y="47"/>
                      <a:pt x="31" y="47"/>
                    </a:cubicBezTo>
                    <a:close/>
                    <a:moveTo>
                      <a:pt x="86" y="47"/>
                    </a:moveTo>
                    <a:cubicBezTo>
                      <a:pt x="86" y="46"/>
                      <a:pt x="86" y="46"/>
                      <a:pt x="85" y="47"/>
                    </a:cubicBezTo>
                    <a:cubicBezTo>
                      <a:pt x="85" y="47"/>
                      <a:pt x="86" y="47"/>
                      <a:pt x="86" y="47"/>
                    </a:cubicBezTo>
                    <a:cubicBezTo>
                      <a:pt x="86" y="47"/>
                      <a:pt x="86" y="47"/>
                      <a:pt x="86" y="47"/>
                    </a:cubicBezTo>
                    <a:close/>
                    <a:moveTo>
                      <a:pt x="80" y="47"/>
                    </a:moveTo>
                    <a:cubicBezTo>
                      <a:pt x="80" y="46"/>
                      <a:pt x="80" y="46"/>
                      <a:pt x="80" y="46"/>
                    </a:cubicBezTo>
                    <a:cubicBezTo>
                      <a:pt x="80" y="46"/>
                      <a:pt x="80" y="46"/>
                      <a:pt x="80" y="47"/>
                    </a:cubicBezTo>
                    <a:cubicBezTo>
                      <a:pt x="80" y="47"/>
                      <a:pt x="80" y="47"/>
                      <a:pt x="80" y="47"/>
                    </a:cubicBezTo>
                    <a:cubicBezTo>
                      <a:pt x="80" y="47"/>
                      <a:pt x="80" y="47"/>
                      <a:pt x="80" y="47"/>
                    </a:cubicBezTo>
                    <a:close/>
                    <a:moveTo>
                      <a:pt x="43" y="47"/>
                    </a:moveTo>
                    <a:cubicBezTo>
                      <a:pt x="43" y="47"/>
                      <a:pt x="43" y="47"/>
                      <a:pt x="43" y="47"/>
                    </a:cubicBezTo>
                    <a:cubicBezTo>
                      <a:pt x="43" y="47"/>
                      <a:pt x="43" y="47"/>
                      <a:pt x="43" y="47"/>
                    </a:cubicBezTo>
                    <a:cubicBezTo>
                      <a:pt x="43" y="47"/>
                      <a:pt x="43" y="47"/>
                      <a:pt x="43" y="47"/>
                    </a:cubicBezTo>
                    <a:cubicBezTo>
                      <a:pt x="43" y="47"/>
                      <a:pt x="43" y="47"/>
                      <a:pt x="43" y="47"/>
                    </a:cubicBezTo>
                    <a:close/>
                    <a:moveTo>
                      <a:pt x="31" y="47"/>
                    </a:moveTo>
                    <a:cubicBezTo>
                      <a:pt x="31" y="47"/>
                      <a:pt x="31" y="47"/>
                      <a:pt x="31" y="47"/>
                    </a:cubicBezTo>
                    <a:cubicBezTo>
                      <a:pt x="31" y="47"/>
                      <a:pt x="31" y="47"/>
                      <a:pt x="31" y="47"/>
                    </a:cubicBezTo>
                    <a:cubicBezTo>
                      <a:pt x="31" y="47"/>
                      <a:pt x="31" y="47"/>
                      <a:pt x="31" y="47"/>
                    </a:cubicBezTo>
                    <a:cubicBezTo>
                      <a:pt x="31" y="47"/>
                      <a:pt x="31" y="47"/>
                      <a:pt x="31" y="47"/>
                    </a:cubicBezTo>
                    <a:close/>
                    <a:moveTo>
                      <a:pt x="70" y="48"/>
                    </a:moveTo>
                    <a:cubicBezTo>
                      <a:pt x="69" y="49"/>
                      <a:pt x="69" y="49"/>
                      <a:pt x="69" y="49"/>
                    </a:cubicBezTo>
                    <a:cubicBezTo>
                      <a:pt x="69" y="49"/>
                      <a:pt x="68" y="48"/>
                      <a:pt x="68" y="48"/>
                    </a:cubicBezTo>
                    <a:cubicBezTo>
                      <a:pt x="68" y="48"/>
                      <a:pt x="68" y="48"/>
                      <a:pt x="68" y="48"/>
                    </a:cubicBezTo>
                    <a:cubicBezTo>
                      <a:pt x="68" y="48"/>
                      <a:pt x="68" y="48"/>
                      <a:pt x="68" y="48"/>
                    </a:cubicBezTo>
                    <a:cubicBezTo>
                      <a:pt x="68" y="47"/>
                      <a:pt x="67" y="47"/>
                      <a:pt x="67" y="47"/>
                    </a:cubicBezTo>
                    <a:cubicBezTo>
                      <a:pt x="68" y="47"/>
                      <a:pt x="69" y="48"/>
                      <a:pt x="70" y="48"/>
                    </a:cubicBezTo>
                    <a:cubicBezTo>
                      <a:pt x="70" y="48"/>
                      <a:pt x="70" y="48"/>
                      <a:pt x="70" y="48"/>
                    </a:cubicBezTo>
                    <a:close/>
                    <a:moveTo>
                      <a:pt x="86" y="48"/>
                    </a:moveTo>
                    <a:cubicBezTo>
                      <a:pt x="87" y="48"/>
                      <a:pt x="88" y="48"/>
                      <a:pt x="89" y="48"/>
                    </a:cubicBezTo>
                    <a:cubicBezTo>
                      <a:pt x="89" y="49"/>
                      <a:pt x="88" y="49"/>
                      <a:pt x="88" y="49"/>
                    </a:cubicBezTo>
                    <a:cubicBezTo>
                      <a:pt x="88" y="49"/>
                      <a:pt x="87" y="49"/>
                      <a:pt x="87" y="49"/>
                    </a:cubicBezTo>
                    <a:cubicBezTo>
                      <a:pt x="87" y="48"/>
                      <a:pt x="87" y="48"/>
                      <a:pt x="87" y="48"/>
                    </a:cubicBezTo>
                    <a:cubicBezTo>
                      <a:pt x="87" y="48"/>
                      <a:pt x="87" y="48"/>
                      <a:pt x="87" y="49"/>
                    </a:cubicBezTo>
                    <a:cubicBezTo>
                      <a:pt x="86" y="48"/>
                      <a:pt x="85" y="47"/>
                      <a:pt x="84" y="47"/>
                    </a:cubicBezTo>
                    <a:cubicBezTo>
                      <a:pt x="85" y="48"/>
                      <a:pt x="85" y="48"/>
                      <a:pt x="86" y="49"/>
                    </a:cubicBezTo>
                    <a:cubicBezTo>
                      <a:pt x="86" y="49"/>
                      <a:pt x="86" y="49"/>
                      <a:pt x="85" y="50"/>
                    </a:cubicBezTo>
                    <a:cubicBezTo>
                      <a:pt x="84" y="49"/>
                      <a:pt x="83" y="48"/>
                      <a:pt x="82" y="48"/>
                    </a:cubicBezTo>
                    <a:cubicBezTo>
                      <a:pt x="82" y="48"/>
                      <a:pt x="82" y="48"/>
                      <a:pt x="82" y="48"/>
                    </a:cubicBezTo>
                    <a:cubicBezTo>
                      <a:pt x="82" y="48"/>
                      <a:pt x="82" y="48"/>
                      <a:pt x="81" y="48"/>
                    </a:cubicBezTo>
                    <a:cubicBezTo>
                      <a:pt x="82" y="47"/>
                      <a:pt x="83" y="47"/>
                      <a:pt x="84" y="47"/>
                    </a:cubicBezTo>
                    <a:cubicBezTo>
                      <a:pt x="84" y="47"/>
                      <a:pt x="83" y="47"/>
                      <a:pt x="83" y="47"/>
                    </a:cubicBezTo>
                    <a:cubicBezTo>
                      <a:pt x="84" y="47"/>
                      <a:pt x="85" y="47"/>
                      <a:pt x="86" y="48"/>
                    </a:cubicBezTo>
                    <a:cubicBezTo>
                      <a:pt x="86" y="48"/>
                      <a:pt x="86" y="48"/>
                      <a:pt x="86" y="48"/>
                    </a:cubicBezTo>
                    <a:close/>
                    <a:moveTo>
                      <a:pt x="32" y="47"/>
                    </a:moveTo>
                    <a:cubicBezTo>
                      <a:pt x="32" y="47"/>
                      <a:pt x="32" y="47"/>
                      <a:pt x="32" y="47"/>
                    </a:cubicBezTo>
                    <a:cubicBezTo>
                      <a:pt x="32" y="47"/>
                      <a:pt x="32" y="47"/>
                      <a:pt x="32" y="47"/>
                    </a:cubicBezTo>
                    <a:cubicBezTo>
                      <a:pt x="32" y="47"/>
                      <a:pt x="32" y="47"/>
                      <a:pt x="32" y="47"/>
                    </a:cubicBezTo>
                    <a:cubicBezTo>
                      <a:pt x="32" y="47"/>
                      <a:pt x="32" y="47"/>
                      <a:pt x="32" y="47"/>
                    </a:cubicBezTo>
                    <a:cubicBezTo>
                      <a:pt x="32" y="47"/>
                      <a:pt x="32" y="47"/>
                      <a:pt x="32" y="47"/>
                    </a:cubicBezTo>
                    <a:close/>
                    <a:moveTo>
                      <a:pt x="77" y="48"/>
                    </a:moveTo>
                    <a:cubicBezTo>
                      <a:pt x="78" y="48"/>
                      <a:pt x="78" y="47"/>
                      <a:pt x="79" y="47"/>
                    </a:cubicBezTo>
                    <a:cubicBezTo>
                      <a:pt x="78" y="47"/>
                      <a:pt x="78" y="47"/>
                      <a:pt x="78" y="47"/>
                    </a:cubicBezTo>
                    <a:cubicBezTo>
                      <a:pt x="78" y="47"/>
                      <a:pt x="78" y="47"/>
                      <a:pt x="77" y="48"/>
                    </a:cubicBezTo>
                    <a:cubicBezTo>
                      <a:pt x="77" y="48"/>
                      <a:pt x="77" y="48"/>
                      <a:pt x="77" y="48"/>
                    </a:cubicBezTo>
                    <a:close/>
                    <a:moveTo>
                      <a:pt x="34" y="47"/>
                    </a:moveTo>
                    <a:cubicBezTo>
                      <a:pt x="34" y="47"/>
                      <a:pt x="34" y="47"/>
                      <a:pt x="33" y="47"/>
                    </a:cubicBezTo>
                    <a:cubicBezTo>
                      <a:pt x="33" y="47"/>
                      <a:pt x="33" y="48"/>
                      <a:pt x="33" y="48"/>
                    </a:cubicBezTo>
                    <a:cubicBezTo>
                      <a:pt x="34" y="48"/>
                      <a:pt x="34" y="48"/>
                      <a:pt x="34" y="47"/>
                    </a:cubicBezTo>
                    <a:cubicBezTo>
                      <a:pt x="34" y="47"/>
                      <a:pt x="34" y="47"/>
                      <a:pt x="34" y="47"/>
                    </a:cubicBezTo>
                    <a:cubicBezTo>
                      <a:pt x="34" y="47"/>
                      <a:pt x="34" y="47"/>
                      <a:pt x="34" y="47"/>
                    </a:cubicBezTo>
                    <a:close/>
                    <a:moveTo>
                      <a:pt x="32" y="47"/>
                    </a:moveTo>
                    <a:cubicBezTo>
                      <a:pt x="32" y="47"/>
                      <a:pt x="32" y="47"/>
                      <a:pt x="32" y="47"/>
                    </a:cubicBezTo>
                    <a:cubicBezTo>
                      <a:pt x="32" y="47"/>
                      <a:pt x="32" y="47"/>
                      <a:pt x="32" y="47"/>
                    </a:cubicBezTo>
                    <a:cubicBezTo>
                      <a:pt x="32" y="47"/>
                      <a:pt x="32" y="47"/>
                      <a:pt x="32" y="47"/>
                    </a:cubicBezTo>
                    <a:cubicBezTo>
                      <a:pt x="32" y="47"/>
                      <a:pt x="32" y="47"/>
                      <a:pt x="32" y="47"/>
                    </a:cubicBezTo>
                    <a:cubicBezTo>
                      <a:pt x="32" y="47"/>
                      <a:pt x="32" y="47"/>
                      <a:pt x="32" y="47"/>
                    </a:cubicBezTo>
                    <a:close/>
                    <a:moveTo>
                      <a:pt x="72" y="47"/>
                    </a:moveTo>
                    <a:cubicBezTo>
                      <a:pt x="72" y="47"/>
                      <a:pt x="72" y="47"/>
                      <a:pt x="72" y="47"/>
                    </a:cubicBezTo>
                    <a:cubicBezTo>
                      <a:pt x="72" y="47"/>
                      <a:pt x="72" y="47"/>
                      <a:pt x="72" y="48"/>
                    </a:cubicBezTo>
                    <a:cubicBezTo>
                      <a:pt x="72" y="47"/>
                      <a:pt x="72" y="47"/>
                      <a:pt x="72" y="47"/>
                    </a:cubicBezTo>
                    <a:cubicBezTo>
                      <a:pt x="72" y="47"/>
                      <a:pt x="72" y="47"/>
                      <a:pt x="72" y="47"/>
                    </a:cubicBezTo>
                    <a:close/>
                    <a:moveTo>
                      <a:pt x="35" y="47"/>
                    </a:moveTo>
                    <a:cubicBezTo>
                      <a:pt x="35" y="47"/>
                      <a:pt x="35" y="47"/>
                      <a:pt x="34" y="47"/>
                    </a:cubicBezTo>
                    <a:cubicBezTo>
                      <a:pt x="34" y="47"/>
                      <a:pt x="34" y="47"/>
                      <a:pt x="34" y="48"/>
                    </a:cubicBezTo>
                    <a:cubicBezTo>
                      <a:pt x="34" y="47"/>
                      <a:pt x="35" y="47"/>
                      <a:pt x="35" y="47"/>
                    </a:cubicBezTo>
                    <a:cubicBezTo>
                      <a:pt x="35" y="47"/>
                      <a:pt x="35" y="47"/>
                      <a:pt x="35" y="47"/>
                    </a:cubicBezTo>
                    <a:cubicBezTo>
                      <a:pt x="35" y="47"/>
                      <a:pt x="35" y="47"/>
                      <a:pt x="35" y="47"/>
                    </a:cubicBezTo>
                    <a:close/>
                    <a:moveTo>
                      <a:pt x="24" y="47"/>
                    </a:moveTo>
                    <a:cubicBezTo>
                      <a:pt x="25" y="47"/>
                      <a:pt x="26" y="48"/>
                      <a:pt x="26" y="48"/>
                    </a:cubicBezTo>
                    <a:cubicBezTo>
                      <a:pt x="26" y="48"/>
                      <a:pt x="25" y="48"/>
                      <a:pt x="24" y="47"/>
                    </a:cubicBezTo>
                    <a:cubicBezTo>
                      <a:pt x="24" y="47"/>
                      <a:pt x="24" y="47"/>
                      <a:pt x="24" y="47"/>
                    </a:cubicBezTo>
                    <a:cubicBezTo>
                      <a:pt x="24" y="47"/>
                      <a:pt x="24" y="47"/>
                      <a:pt x="24" y="47"/>
                    </a:cubicBezTo>
                    <a:close/>
                    <a:moveTo>
                      <a:pt x="32" y="48"/>
                    </a:moveTo>
                    <a:cubicBezTo>
                      <a:pt x="32" y="48"/>
                      <a:pt x="32" y="47"/>
                      <a:pt x="32" y="47"/>
                    </a:cubicBezTo>
                    <a:cubicBezTo>
                      <a:pt x="32" y="48"/>
                      <a:pt x="32" y="48"/>
                      <a:pt x="32" y="48"/>
                    </a:cubicBezTo>
                    <a:cubicBezTo>
                      <a:pt x="32" y="48"/>
                      <a:pt x="32" y="48"/>
                      <a:pt x="32" y="48"/>
                    </a:cubicBezTo>
                    <a:cubicBezTo>
                      <a:pt x="32" y="48"/>
                      <a:pt x="32" y="48"/>
                      <a:pt x="32" y="48"/>
                    </a:cubicBezTo>
                    <a:cubicBezTo>
                      <a:pt x="32" y="48"/>
                      <a:pt x="32" y="48"/>
                      <a:pt x="32" y="48"/>
                    </a:cubicBezTo>
                    <a:close/>
                    <a:moveTo>
                      <a:pt x="57" y="48"/>
                    </a:moveTo>
                    <a:cubicBezTo>
                      <a:pt x="57" y="47"/>
                      <a:pt x="58" y="47"/>
                      <a:pt x="58" y="47"/>
                    </a:cubicBezTo>
                    <a:cubicBezTo>
                      <a:pt x="58" y="47"/>
                      <a:pt x="58" y="48"/>
                      <a:pt x="58" y="48"/>
                    </a:cubicBezTo>
                    <a:cubicBezTo>
                      <a:pt x="58" y="48"/>
                      <a:pt x="58" y="49"/>
                      <a:pt x="57" y="49"/>
                    </a:cubicBezTo>
                    <a:cubicBezTo>
                      <a:pt x="57" y="48"/>
                      <a:pt x="57" y="48"/>
                      <a:pt x="57" y="48"/>
                    </a:cubicBezTo>
                    <a:cubicBezTo>
                      <a:pt x="57" y="48"/>
                      <a:pt x="57" y="48"/>
                      <a:pt x="57" y="48"/>
                    </a:cubicBezTo>
                    <a:close/>
                    <a:moveTo>
                      <a:pt x="65" y="48"/>
                    </a:moveTo>
                    <a:cubicBezTo>
                      <a:pt x="65" y="48"/>
                      <a:pt x="65" y="48"/>
                      <a:pt x="65" y="48"/>
                    </a:cubicBezTo>
                    <a:cubicBezTo>
                      <a:pt x="65" y="48"/>
                      <a:pt x="65" y="48"/>
                      <a:pt x="65" y="48"/>
                    </a:cubicBezTo>
                    <a:cubicBezTo>
                      <a:pt x="65" y="48"/>
                      <a:pt x="65" y="48"/>
                      <a:pt x="65" y="48"/>
                    </a:cubicBezTo>
                    <a:cubicBezTo>
                      <a:pt x="65" y="48"/>
                      <a:pt x="65" y="48"/>
                      <a:pt x="65" y="48"/>
                    </a:cubicBezTo>
                    <a:cubicBezTo>
                      <a:pt x="65" y="48"/>
                      <a:pt x="65" y="48"/>
                      <a:pt x="65" y="48"/>
                    </a:cubicBezTo>
                    <a:close/>
                    <a:moveTo>
                      <a:pt x="30" y="48"/>
                    </a:moveTo>
                    <a:cubicBezTo>
                      <a:pt x="30" y="48"/>
                      <a:pt x="30" y="48"/>
                      <a:pt x="30" y="48"/>
                    </a:cubicBezTo>
                    <a:cubicBezTo>
                      <a:pt x="30" y="48"/>
                      <a:pt x="30" y="48"/>
                      <a:pt x="30" y="48"/>
                    </a:cubicBezTo>
                    <a:cubicBezTo>
                      <a:pt x="30" y="48"/>
                      <a:pt x="30" y="48"/>
                      <a:pt x="30" y="48"/>
                    </a:cubicBezTo>
                    <a:cubicBezTo>
                      <a:pt x="30" y="48"/>
                      <a:pt x="30" y="48"/>
                      <a:pt x="30" y="48"/>
                    </a:cubicBezTo>
                    <a:close/>
                    <a:moveTo>
                      <a:pt x="59" y="48"/>
                    </a:moveTo>
                    <a:cubicBezTo>
                      <a:pt x="59" y="48"/>
                      <a:pt x="59" y="48"/>
                      <a:pt x="59" y="48"/>
                    </a:cubicBezTo>
                    <a:cubicBezTo>
                      <a:pt x="59" y="48"/>
                      <a:pt x="59" y="48"/>
                      <a:pt x="59" y="48"/>
                    </a:cubicBezTo>
                    <a:cubicBezTo>
                      <a:pt x="59" y="48"/>
                      <a:pt x="59" y="48"/>
                      <a:pt x="59" y="48"/>
                    </a:cubicBezTo>
                    <a:cubicBezTo>
                      <a:pt x="59" y="48"/>
                      <a:pt x="59" y="48"/>
                      <a:pt x="59" y="48"/>
                    </a:cubicBezTo>
                    <a:cubicBezTo>
                      <a:pt x="59" y="48"/>
                      <a:pt x="59" y="48"/>
                      <a:pt x="59" y="48"/>
                    </a:cubicBezTo>
                    <a:close/>
                    <a:moveTo>
                      <a:pt x="71" y="48"/>
                    </a:moveTo>
                    <a:cubicBezTo>
                      <a:pt x="71" y="48"/>
                      <a:pt x="71" y="48"/>
                      <a:pt x="71" y="48"/>
                    </a:cubicBezTo>
                    <a:cubicBezTo>
                      <a:pt x="71" y="48"/>
                      <a:pt x="72" y="48"/>
                      <a:pt x="72" y="48"/>
                    </a:cubicBezTo>
                    <a:cubicBezTo>
                      <a:pt x="72" y="48"/>
                      <a:pt x="72" y="48"/>
                      <a:pt x="71" y="48"/>
                    </a:cubicBezTo>
                    <a:cubicBezTo>
                      <a:pt x="71" y="48"/>
                      <a:pt x="71" y="48"/>
                      <a:pt x="71" y="48"/>
                    </a:cubicBezTo>
                    <a:cubicBezTo>
                      <a:pt x="71" y="48"/>
                      <a:pt x="71" y="48"/>
                      <a:pt x="71" y="48"/>
                    </a:cubicBezTo>
                    <a:close/>
                    <a:moveTo>
                      <a:pt x="66" y="48"/>
                    </a:moveTo>
                    <a:cubicBezTo>
                      <a:pt x="66" y="48"/>
                      <a:pt x="66" y="48"/>
                      <a:pt x="66" y="48"/>
                    </a:cubicBezTo>
                    <a:cubicBezTo>
                      <a:pt x="66" y="48"/>
                      <a:pt x="66" y="48"/>
                      <a:pt x="66" y="48"/>
                    </a:cubicBezTo>
                    <a:cubicBezTo>
                      <a:pt x="66" y="48"/>
                      <a:pt x="66" y="48"/>
                      <a:pt x="66" y="48"/>
                    </a:cubicBezTo>
                    <a:cubicBezTo>
                      <a:pt x="66" y="48"/>
                      <a:pt x="66" y="48"/>
                      <a:pt x="66" y="48"/>
                    </a:cubicBezTo>
                    <a:cubicBezTo>
                      <a:pt x="66" y="48"/>
                      <a:pt x="66" y="48"/>
                      <a:pt x="66" y="48"/>
                    </a:cubicBezTo>
                    <a:close/>
                    <a:moveTo>
                      <a:pt x="32" y="48"/>
                    </a:moveTo>
                    <a:cubicBezTo>
                      <a:pt x="33" y="48"/>
                      <a:pt x="34" y="48"/>
                      <a:pt x="35" y="48"/>
                    </a:cubicBezTo>
                    <a:cubicBezTo>
                      <a:pt x="35" y="48"/>
                      <a:pt x="35" y="48"/>
                      <a:pt x="35" y="48"/>
                    </a:cubicBezTo>
                    <a:cubicBezTo>
                      <a:pt x="34" y="48"/>
                      <a:pt x="34" y="48"/>
                      <a:pt x="33" y="48"/>
                    </a:cubicBezTo>
                    <a:cubicBezTo>
                      <a:pt x="33" y="48"/>
                      <a:pt x="33" y="48"/>
                      <a:pt x="33" y="48"/>
                    </a:cubicBezTo>
                    <a:cubicBezTo>
                      <a:pt x="33" y="48"/>
                      <a:pt x="33" y="48"/>
                      <a:pt x="33" y="49"/>
                    </a:cubicBezTo>
                    <a:cubicBezTo>
                      <a:pt x="33" y="48"/>
                      <a:pt x="33" y="48"/>
                      <a:pt x="33" y="48"/>
                    </a:cubicBezTo>
                    <a:cubicBezTo>
                      <a:pt x="33" y="48"/>
                      <a:pt x="33" y="48"/>
                      <a:pt x="33" y="49"/>
                    </a:cubicBezTo>
                    <a:cubicBezTo>
                      <a:pt x="33" y="49"/>
                      <a:pt x="33" y="49"/>
                      <a:pt x="32" y="49"/>
                    </a:cubicBezTo>
                    <a:cubicBezTo>
                      <a:pt x="32" y="49"/>
                      <a:pt x="32" y="48"/>
                      <a:pt x="32" y="48"/>
                    </a:cubicBezTo>
                    <a:cubicBezTo>
                      <a:pt x="32" y="48"/>
                      <a:pt x="32" y="48"/>
                      <a:pt x="32" y="48"/>
                    </a:cubicBezTo>
                    <a:cubicBezTo>
                      <a:pt x="32" y="48"/>
                      <a:pt x="32" y="48"/>
                      <a:pt x="32" y="48"/>
                    </a:cubicBezTo>
                    <a:close/>
                    <a:moveTo>
                      <a:pt x="62" y="48"/>
                    </a:moveTo>
                    <a:cubicBezTo>
                      <a:pt x="62" y="48"/>
                      <a:pt x="63" y="48"/>
                      <a:pt x="63" y="48"/>
                    </a:cubicBezTo>
                    <a:cubicBezTo>
                      <a:pt x="63" y="48"/>
                      <a:pt x="63" y="48"/>
                      <a:pt x="63" y="48"/>
                    </a:cubicBezTo>
                    <a:cubicBezTo>
                      <a:pt x="63" y="48"/>
                      <a:pt x="62" y="48"/>
                      <a:pt x="62" y="48"/>
                    </a:cubicBezTo>
                    <a:cubicBezTo>
                      <a:pt x="62" y="48"/>
                      <a:pt x="62" y="48"/>
                      <a:pt x="62" y="48"/>
                    </a:cubicBezTo>
                    <a:cubicBezTo>
                      <a:pt x="62" y="48"/>
                      <a:pt x="62" y="48"/>
                      <a:pt x="62" y="48"/>
                    </a:cubicBezTo>
                    <a:cubicBezTo>
                      <a:pt x="62" y="48"/>
                      <a:pt x="62" y="48"/>
                      <a:pt x="62" y="48"/>
                    </a:cubicBezTo>
                    <a:close/>
                    <a:moveTo>
                      <a:pt x="45" y="48"/>
                    </a:moveTo>
                    <a:cubicBezTo>
                      <a:pt x="45" y="48"/>
                      <a:pt x="45" y="48"/>
                      <a:pt x="45" y="48"/>
                    </a:cubicBezTo>
                    <a:cubicBezTo>
                      <a:pt x="45" y="48"/>
                      <a:pt x="45" y="48"/>
                      <a:pt x="45" y="48"/>
                    </a:cubicBezTo>
                    <a:cubicBezTo>
                      <a:pt x="45" y="48"/>
                      <a:pt x="45" y="48"/>
                      <a:pt x="44" y="48"/>
                    </a:cubicBezTo>
                    <a:cubicBezTo>
                      <a:pt x="44" y="48"/>
                      <a:pt x="44" y="48"/>
                      <a:pt x="44" y="48"/>
                    </a:cubicBezTo>
                    <a:cubicBezTo>
                      <a:pt x="44" y="48"/>
                      <a:pt x="45" y="49"/>
                      <a:pt x="45" y="48"/>
                    </a:cubicBezTo>
                    <a:cubicBezTo>
                      <a:pt x="45" y="48"/>
                      <a:pt x="45" y="48"/>
                      <a:pt x="45" y="48"/>
                    </a:cubicBezTo>
                    <a:cubicBezTo>
                      <a:pt x="45" y="48"/>
                      <a:pt x="45" y="48"/>
                      <a:pt x="45" y="48"/>
                    </a:cubicBezTo>
                    <a:cubicBezTo>
                      <a:pt x="45" y="48"/>
                      <a:pt x="45" y="48"/>
                      <a:pt x="45" y="48"/>
                    </a:cubicBezTo>
                    <a:cubicBezTo>
                      <a:pt x="45" y="48"/>
                      <a:pt x="45" y="48"/>
                      <a:pt x="45" y="48"/>
                    </a:cubicBezTo>
                    <a:cubicBezTo>
                      <a:pt x="45" y="48"/>
                      <a:pt x="45" y="48"/>
                      <a:pt x="45" y="48"/>
                    </a:cubicBezTo>
                    <a:close/>
                    <a:moveTo>
                      <a:pt x="23" y="48"/>
                    </a:moveTo>
                    <a:cubicBezTo>
                      <a:pt x="23" y="48"/>
                      <a:pt x="23" y="48"/>
                      <a:pt x="23" y="48"/>
                    </a:cubicBezTo>
                    <a:cubicBezTo>
                      <a:pt x="23" y="48"/>
                      <a:pt x="23" y="48"/>
                      <a:pt x="23" y="48"/>
                    </a:cubicBezTo>
                    <a:cubicBezTo>
                      <a:pt x="23" y="48"/>
                      <a:pt x="23" y="48"/>
                      <a:pt x="23" y="48"/>
                    </a:cubicBezTo>
                    <a:cubicBezTo>
                      <a:pt x="23" y="48"/>
                      <a:pt x="23" y="48"/>
                      <a:pt x="23" y="48"/>
                    </a:cubicBezTo>
                    <a:close/>
                    <a:moveTo>
                      <a:pt x="74" y="48"/>
                    </a:moveTo>
                    <a:cubicBezTo>
                      <a:pt x="74" y="48"/>
                      <a:pt x="74" y="48"/>
                      <a:pt x="74" y="48"/>
                    </a:cubicBezTo>
                    <a:cubicBezTo>
                      <a:pt x="74" y="48"/>
                      <a:pt x="74" y="48"/>
                      <a:pt x="73" y="48"/>
                    </a:cubicBezTo>
                    <a:cubicBezTo>
                      <a:pt x="73" y="48"/>
                      <a:pt x="73" y="48"/>
                      <a:pt x="74" y="48"/>
                    </a:cubicBezTo>
                    <a:cubicBezTo>
                      <a:pt x="74" y="48"/>
                      <a:pt x="74" y="48"/>
                      <a:pt x="74" y="48"/>
                    </a:cubicBezTo>
                    <a:cubicBezTo>
                      <a:pt x="74" y="48"/>
                      <a:pt x="74" y="48"/>
                      <a:pt x="74" y="48"/>
                    </a:cubicBezTo>
                    <a:close/>
                    <a:moveTo>
                      <a:pt x="64" y="48"/>
                    </a:moveTo>
                    <a:cubicBezTo>
                      <a:pt x="64" y="48"/>
                      <a:pt x="64" y="48"/>
                      <a:pt x="64" y="48"/>
                    </a:cubicBezTo>
                    <a:cubicBezTo>
                      <a:pt x="64" y="48"/>
                      <a:pt x="64" y="48"/>
                      <a:pt x="64" y="49"/>
                    </a:cubicBezTo>
                    <a:cubicBezTo>
                      <a:pt x="64" y="48"/>
                      <a:pt x="65" y="48"/>
                      <a:pt x="65" y="48"/>
                    </a:cubicBezTo>
                    <a:cubicBezTo>
                      <a:pt x="65" y="48"/>
                      <a:pt x="65" y="48"/>
                      <a:pt x="64" y="48"/>
                    </a:cubicBezTo>
                    <a:cubicBezTo>
                      <a:pt x="64" y="48"/>
                      <a:pt x="64" y="48"/>
                      <a:pt x="64" y="48"/>
                    </a:cubicBezTo>
                    <a:close/>
                    <a:moveTo>
                      <a:pt x="73" y="48"/>
                    </a:moveTo>
                    <a:cubicBezTo>
                      <a:pt x="73" y="48"/>
                      <a:pt x="73" y="48"/>
                      <a:pt x="73" y="48"/>
                    </a:cubicBezTo>
                    <a:cubicBezTo>
                      <a:pt x="73" y="48"/>
                      <a:pt x="73" y="48"/>
                      <a:pt x="73" y="48"/>
                    </a:cubicBezTo>
                    <a:cubicBezTo>
                      <a:pt x="73" y="48"/>
                      <a:pt x="73" y="48"/>
                      <a:pt x="73" y="48"/>
                    </a:cubicBezTo>
                    <a:cubicBezTo>
                      <a:pt x="73" y="48"/>
                      <a:pt x="73" y="48"/>
                      <a:pt x="73" y="48"/>
                    </a:cubicBezTo>
                    <a:cubicBezTo>
                      <a:pt x="73" y="48"/>
                      <a:pt x="73" y="48"/>
                      <a:pt x="73" y="48"/>
                    </a:cubicBezTo>
                    <a:close/>
                    <a:moveTo>
                      <a:pt x="71" y="48"/>
                    </a:moveTo>
                    <a:cubicBezTo>
                      <a:pt x="71" y="48"/>
                      <a:pt x="71" y="48"/>
                      <a:pt x="71" y="48"/>
                    </a:cubicBezTo>
                    <a:cubicBezTo>
                      <a:pt x="71" y="48"/>
                      <a:pt x="71" y="48"/>
                      <a:pt x="71" y="49"/>
                    </a:cubicBezTo>
                    <a:cubicBezTo>
                      <a:pt x="71" y="49"/>
                      <a:pt x="71" y="49"/>
                      <a:pt x="71" y="49"/>
                    </a:cubicBezTo>
                    <a:cubicBezTo>
                      <a:pt x="71" y="49"/>
                      <a:pt x="71" y="49"/>
                      <a:pt x="71" y="48"/>
                    </a:cubicBezTo>
                    <a:cubicBezTo>
                      <a:pt x="71" y="48"/>
                      <a:pt x="71" y="48"/>
                      <a:pt x="71" y="48"/>
                    </a:cubicBezTo>
                    <a:close/>
                    <a:moveTo>
                      <a:pt x="65" y="48"/>
                    </a:moveTo>
                    <a:cubicBezTo>
                      <a:pt x="65" y="48"/>
                      <a:pt x="65" y="48"/>
                      <a:pt x="65" y="48"/>
                    </a:cubicBezTo>
                    <a:cubicBezTo>
                      <a:pt x="65" y="48"/>
                      <a:pt x="65" y="48"/>
                      <a:pt x="66" y="48"/>
                    </a:cubicBezTo>
                    <a:cubicBezTo>
                      <a:pt x="65" y="48"/>
                      <a:pt x="65" y="48"/>
                      <a:pt x="65" y="48"/>
                    </a:cubicBezTo>
                    <a:cubicBezTo>
                      <a:pt x="65" y="48"/>
                      <a:pt x="65" y="48"/>
                      <a:pt x="65" y="48"/>
                    </a:cubicBezTo>
                    <a:close/>
                    <a:moveTo>
                      <a:pt x="79" y="48"/>
                    </a:moveTo>
                    <a:cubicBezTo>
                      <a:pt x="79" y="48"/>
                      <a:pt x="79" y="48"/>
                      <a:pt x="79" y="48"/>
                    </a:cubicBezTo>
                    <a:cubicBezTo>
                      <a:pt x="79" y="48"/>
                      <a:pt x="79" y="48"/>
                      <a:pt x="79" y="48"/>
                    </a:cubicBezTo>
                    <a:cubicBezTo>
                      <a:pt x="79" y="48"/>
                      <a:pt x="79" y="48"/>
                      <a:pt x="79" y="48"/>
                    </a:cubicBezTo>
                    <a:cubicBezTo>
                      <a:pt x="79" y="48"/>
                      <a:pt x="79" y="48"/>
                      <a:pt x="79" y="48"/>
                    </a:cubicBezTo>
                    <a:close/>
                    <a:moveTo>
                      <a:pt x="67" y="49"/>
                    </a:moveTo>
                    <a:cubicBezTo>
                      <a:pt x="67" y="48"/>
                      <a:pt x="67" y="48"/>
                      <a:pt x="67" y="48"/>
                    </a:cubicBezTo>
                    <a:cubicBezTo>
                      <a:pt x="68" y="49"/>
                      <a:pt x="68" y="49"/>
                      <a:pt x="68" y="49"/>
                    </a:cubicBezTo>
                    <a:cubicBezTo>
                      <a:pt x="68" y="49"/>
                      <a:pt x="68" y="48"/>
                      <a:pt x="67" y="48"/>
                    </a:cubicBezTo>
                    <a:cubicBezTo>
                      <a:pt x="68" y="48"/>
                      <a:pt x="68" y="49"/>
                      <a:pt x="68" y="49"/>
                    </a:cubicBezTo>
                    <a:cubicBezTo>
                      <a:pt x="68" y="49"/>
                      <a:pt x="67" y="49"/>
                      <a:pt x="66" y="49"/>
                    </a:cubicBezTo>
                    <a:cubicBezTo>
                      <a:pt x="66" y="49"/>
                      <a:pt x="67" y="49"/>
                      <a:pt x="67" y="49"/>
                    </a:cubicBezTo>
                    <a:cubicBezTo>
                      <a:pt x="67" y="49"/>
                      <a:pt x="67" y="49"/>
                      <a:pt x="67" y="49"/>
                    </a:cubicBezTo>
                    <a:cubicBezTo>
                      <a:pt x="67" y="49"/>
                      <a:pt x="67" y="49"/>
                      <a:pt x="67" y="49"/>
                    </a:cubicBezTo>
                    <a:cubicBezTo>
                      <a:pt x="67" y="49"/>
                      <a:pt x="67" y="49"/>
                      <a:pt x="67" y="49"/>
                    </a:cubicBezTo>
                    <a:cubicBezTo>
                      <a:pt x="67" y="49"/>
                      <a:pt x="67" y="49"/>
                      <a:pt x="68" y="49"/>
                    </a:cubicBezTo>
                    <a:cubicBezTo>
                      <a:pt x="68" y="49"/>
                      <a:pt x="68" y="49"/>
                      <a:pt x="68" y="49"/>
                    </a:cubicBezTo>
                    <a:cubicBezTo>
                      <a:pt x="68" y="49"/>
                      <a:pt x="67" y="49"/>
                      <a:pt x="67" y="49"/>
                    </a:cubicBezTo>
                    <a:cubicBezTo>
                      <a:pt x="67" y="49"/>
                      <a:pt x="67" y="49"/>
                      <a:pt x="67" y="49"/>
                    </a:cubicBezTo>
                    <a:close/>
                    <a:moveTo>
                      <a:pt x="90" y="49"/>
                    </a:moveTo>
                    <a:cubicBezTo>
                      <a:pt x="90" y="49"/>
                      <a:pt x="90" y="48"/>
                      <a:pt x="89" y="48"/>
                    </a:cubicBezTo>
                    <a:cubicBezTo>
                      <a:pt x="89" y="50"/>
                      <a:pt x="88" y="51"/>
                      <a:pt x="87" y="53"/>
                    </a:cubicBezTo>
                    <a:cubicBezTo>
                      <a:pt x="89" y="52"/>
                      <a:pt x="89" y="50"/>
                      <a:pt x="90" y="49"/>
                    </a:cubicBezTo>
                    <a:cubicBezTo>
                      <a:pt x="90" y="49"/>
                      <a:pt x="90" y="49"/>
                      <a:pt x="90" y="49"/>
                    </a:cubicBezTo>
                    <a:close/>
                    <a:moveTo>
                      <a:pt x="64" y="49"/>
                    </a:moveTo>
                    <a:cubicBezTo>
                      <a:pt x="65" y="49"/>
                      <a:pt x="65" y="48"/>
                      <a:pt x="65" y="48"/>
                    </a:cubicBezTo>
                    <a:cubicBezTo>
                      <a:pt x="65" y="49"/>
                      <a:pt x="65" y="49"/>
                      <a:pt x="65" y="49"/>
                    </a:cubicBezTo>
                    <a:cubicBezTo>
                      <a:pt x="65" y="49"/>
                      <a:pt x="65" y="49"/>
                      <a:pt x="65" y="49"/>
                    </a:cubicBezTo>
                    <a:cubicBezTo>
                      <a:pt x="65" y="49"/>
                      <a:pt x="65" y="49"/>
                      <a:pt x="64" y="49"/>
                    </a:cubicBezTo>
                    <a:cubicBezTo>
                      <a:pt x="64" y="49"/>
                      <a:pt x="64" y="49"/>
                      <a:pt x="64" y="49"/>
                    </a:cubicBezTo>
                    <a:close/>
                    <a:moveTo>
                      <a:pt x="78" y="49"/>
                    </a:moveTo>
                    <a:cubicBezTo>
                      <a:pt x="78" y="49"/>
                      <a:pt x="78" y="49"/>
                      <a:pt x="78" y="49"/>
                    </a:cubicBezTo>
                    <a:cubicBezTo>
                      <a:pt x="78" y="49"/>
                      <a:pt x="78" y="49"/>
                      <a:pt x="77" y="49"/>
                    </a:cubicBezTo>
                    <a:cubicBezTo>
                      <a:pt x="77" y="49"/>
                      <a:pt x="78" y="49"/>
                      <a:pt x="78" y="49"/>
                    </a:cubicBezTo>
                    <a:cubicBezTo>
                      <a:pt x="78" y="49"/>
                      <a:pt x="78" y="49"/>
                      <a:pt x="78" y="49"/>
                    </a:cubicBezTo>
                    <a:cubicBezTo>
                      <a:pt x="78" y="49"/>
                      <a:pt x="78" y="49"/>
                      <a:pt x="78" y="49"/>
                    </a:cubicBezTo>
                    <a:close/>
                    <a:moveTo>
                      <a:pt x="64" y="49"/>
                    </a:moveTo>
                    <a:cubicBezTo>
                      <a:pt x="64" y="49"/>
                      <a:pt x="64" y="48"/>
                      <a:pt x="63" y="48"/>
                    </a:cubicBezTo>
                    <a:cubicBezTo>
                      <a:pt x="63" y="49"/>
                      <a:pt x="63" y="49"/>
                      <a:pt x="63" y="49"/>
                    </a:cubicBezTo>
                    <a:cubicBezTo>
                      <a:pt x="63" y="49"/>
                      <a:pt x="63" y="49"/>
                      <a:pt x="63" y="49"/>
                    </a:cubicBezTo>
                    <a:cubicBezTo>
                      <a:pt x="63" y="49"/>
                      <a:pt x="63" y="49"/>
                      <a:pt x="63" y="49"/>
                    </a:cubicBezTo>
                    <a:cubicBezTo>
                      <a:pt x="64" y="50"/>
                      <a:pt x="64" y="50"/>
                      <a:pt x="65" y="49"/>
                    </a:cubicBezTo>
                    <a:cubicBezTo>
                      <a:pt x="65" y="49"/>
                      <a:pt x="64" y="49"/>
                      <a:pt x="64" y="49"/>
                    </a:cubicBezTo>
                    <a:cubicBezTo>
                      <a:pt x="64" y="49"/>
                      <a:pt x="64" y="49"/>
                      <a:pt x="64" y="49"/>
                    </a:cubicBezTo>
                    <a:close/>
                    <a:moveTo>
                      <a:pt x="86" y="49"/>
                    </a:moveTo>
                    <a:cubicBezTo>
                      <a:pt x="86" y="49"/>
                      <a:pt x="86" y="49"/>
                      <a:pt x="86" y="49"/>
                    </a:cubicBezTo>
                    <a:cubicBezTo>
                      <a:pt x="86" y="49"/>
                      <a:pt x="86" y="49"/>
                      <a:pt x="87" y="49"/>
                    </a:cubicBezTo>
                    <a:cubicBezTo>
                      <a:pt x="86" y="49"/>
                      <a:pt x="86" y="50"/>
                      <a:pt x="86" y="50"/>
                    </a:cubicBezTo>
                    <a:cubicBezTo>
                      <a:pt x="86" y="50"/>
                      <a:pt x="86" y="50"/>
                      <a:pt x="86" y="50"/>
                    </a:cubicBezTo>
                    <a:cubicBezTo>
                      <a:pt x="86" y="50"/>
                      <a:pt x="86" y="49"/>
                      <a:pt x="86" y="49"/>
                    </a:cubicBezTo>
                    <a:cubicBezTo>
                      <a:pt x="86" y="49"/>
                      <a:pt x="86" y="49"/>
                      <a:pt x="86" y="49"/>
                    </a:cubicBezTo>
                    <a:cubicBezTo>
                      <a:pt x="86" y="49"/>
                      <a:pt x="86" y="49"/>
                      <a:pt x="86" y="49"/>
                    </a:cubicBezTo>
                    <a:close/>
                    <a:moveTo>
                      <a:pt x="32" y="49"/>
                    </a:moveTo>
                    <a:cubicBezTo>
                      <a:pt x="32" y="49"/>
                      <a:pt x="32" y="49"/>
                      <a:pt x="32" y="49"/>
                    </a:cubicBezTo>
                    <a:cubicBezTo>
                      <a:pt x="32" y="49"/>
                      <a:pt x="32" y="49"/>
                      <a:pt x="32" y="49"/>
                    </a:cubicBezTo>
                    <a:close/>
                    <a:moveTo>
                      <a:pt x="81" y="49"/>
                    </a:moveTo>
                    <a:cubicBezTo>
                      <a:pt x="82" y="48"/>
                      <a:pt x="84" y="49"/>
                      <a:pt x="85" y="50"/>
                    </a:cubicBezTo>
                    <a:cubicBezTo>
                      <a:pt x="84" y="51"/>
                      <a:pt x="83" y="53"/>
                      <a:pt x="82" y="54"/>
                    </a:cubicBezTo>
                    <a:cubicBezTo>
                      <a:pt x="82" y="54"/>
                      <a:pt x="82" y="54"/>
                      <a:pt x="82" y="54"/>
                    </a:cubicBezTo>
                    <a:cubicBezTo>
                      <a:pt x="82" y="53"/>
                      <a:pt x="84" y="51"/>
                      <a:pt x="84" y="50"/>
                    </a:cubicBezTo>
                    <a:cubicBezTo>
                      <a:pt x="84" y="50"/>
                      <a:pt x="84" y="50"/>
                      <a:pt x="84" y="50"/>
                    </a:cubicBezTo>
                    <a:cubicBezTo>
                      <a:pt x="84" y="50"/>
                      <a:pt x="84" y="50"/>
                      <a:pt x="84" y="50"/>
                    </a:cubicBezTo>
                    <a:cubicBezTo>
                      <a:pt x="84" y="50"/>
                      <a:pt x="84" y="50"/>
                      <a:pt x="84" y="50"/>
                    </a:cubicBezTo>
                    <a:cubicBezTo>
                      <a:pt x="84" y="50"/>
                      <a:pt x="84" y="50"/>
                      <a:pt x="84" y="50"/>
                    </a:cubicBezTo>
                    <a:cubicBezTo>
                      <a:pt x="83" y="51"/>
                      <a:pt x="83" y="52"/>
                      <a:pt x="82" y="53"/>
                    </a:cubicBezTo>
                    <a:cubicBezTo>
                      <a:pt x="82" y="52"/>
                      <a:pt x="82" y="51"/>
                      <a:pt x="82" y="50"/>
                    </a:cubicBezTo>
                    <a:cubicBezTo>
                      <a:pt x="82" y="51"/>
                      <a:pt x="82" y="53"/>
                      <a:pt x="81" y="53"/>
                    </a:cubicBezTo>
                    <a:cubicBezTo>
                      <a:pt x="81" y="52"/>
                      <a:pt x="81" y="51"/>
                      <a:pt x="82" y="50"/>
                    </a:cubicBezTo>
                    <a:cubicBezTo>
                      <a:pt x="81" y="52"/>
                      <a:pt x="80" y="53"/>
                      <a:pt x="80" y="54"/>
                    </a:cubicBezTo>
                    <a:cubicBezTo>
                      <a:pt x="80" y="54"/>
                      <a:pt x="80" y="54"/>
                      <a:pt x="80" y="54"/>
                    </a:cubicBezTo>
                    <a:cubicBezTo>
                      <a:pt x="80" y="54"/>
                      <a:pt x="80" y="53"/>
                      <a:pt x="80" y="52"/>
                    </a:cubicBezTo>
                    <a:cubicBezTo>
                      <a:pt x="80" y="52"/>
                      <a:pt x="80" y="52"/>
                      <a:pt x="80" y="52"/>
                    </a:cubicBezTo>
                    <a:cubicBezTo>
                      <a:pt x="80" y="52"/>
                      <a:pt x="80" y="52"/>
                      <a:pt x="80" y="52"/>
                    </a:cubicBezTo>
                    <a:cubicBezTo>
                      <a:pt x="80" y="52"/>
                      <a:pt x="80" y="52"/>
                      <a:pt x="80" y="52"/>
                    </a:cubicBezTo>
                    <a:cubicBezTo>
                      <a:pt x="80" y="52"/>
                      <a:pt x="80" y="52"/>
                      <a:pt x="80" y="52"/>
                    </a:cubicBezTo>
                    <a:cubicBezTo>
                      <a:pt x="79" y="51"/>
                      <a:pt x="78" y="51"/>
                      <a:pt x="77" y="50"/>
                    </a:cubicBezTo>
                    <a:cubicBezTo>
                      <a:pt x="78" y="50"/>
                      <a:pt x="78" y="50"/>
                      <a:pt x="78" y="49"/>
                    </a:cubicBezTo>
                    <a:cubicBezTo>
                      <a:pt x="78" y="49"/>
                      <a:pt x="78" y="49"/>
                      <a:pt x="78" y="49"/>
                    </a:cubicBezTo>
                    <a:cubicBezTo>
                      <a:pt x="78" y="49"/>
                      <a:pt x="78" y="49"/>
                      <a:pt x="79" y="49"/>
                    </a:cubicBezTo>
                    <a:cubicBezTo>
                      <a:pt x="79" y="49"/>
                      <a:pt x="82" y="51"/>
                      <a:pt x="83" y="50"/>
                    </a:cubicBezTo>
                    <a:cubicBezTo>
                      <a:pt x="83" y="50"/>
                      <a:pt x="82" y="50"/>
                      <a:pt x="82" y="50"/>
                    </a:cubicBezTo>
                    <a:cubicBezTo>
                      <a:pt x="82" y="50"/>
                      <a:pt x="82" y="50"/>
                      <a:pt x="82" y="50"/>
                    </a:cubicBezTo>
                    <a:cubicBezTo>
                      <a:pt x="82" y="49"/>
                      <a:pt x="81" y="49"/>
                      <a:pt x="81" y="49"/>
                    </a:cubicBezTo>
                    <a:cubicBezTo>
                      <a:pt x="81" y="49"/>
                      <a:pt x="81" y="49"/>
                      <a:pt x="81" y="49"/>
                    </a:cubicBezTo>
                    <a:close/>
                    <a:moveTo>
                      <a:pt x="61" y="49"/>
                    </a:moveTo>
                    <a:cubicBezTo>
                      <a:pt x="61" y="49"/>
                      <a:pt x="61" y="49"/>
                      <a:pt x="61" y="49"/>
                    </a:cubicBezTo>
                    <a:cubicBezTo>
                      <a:pt x="61" y="49"/>
                      <a:pt x="60" y="50"/>
                      <a:pt x="60" y="50"/>
                    </a:cubicBezTo>
                    <a:cubicBezTo>
                      <a:pt x="60" y="50"/>
                      <a:pt x="61" y="50"/>
                      <a:pt x="61" y="49"/>
                    </a:cubicBezTo>
                    <a:cubicBezTo>
                      <a:pt x="61" y="49"/>
                      <a:pt x="61" y="49"/>
                      <a:pt x="61" y="49"/>
                    </a:cubicBezTo>
                    <a:close/>
                    <a:moveTo>
                      <a:pt x="28" y="49"/>
                    </a:moveTo>
                    <a:cubicBezTo>
                      <a:pt x="28" y="49"/>
                      <a:pt x="28" y="49"/>
                      <a:pt x="28" y="49"/>
                    </a:cubicBezTo>
                    <a:cubicBezTo>
                      <a:pt x="28" y="49"/>
                      <a:pt x="28" y="49"/>
                      <a:pt x="28" y="49"/>
                    </a:cubicBezTo>
                    <a:cubicBezTo>
                      <a:pt x="28" y="50"/>
                      <a:pt x="28" y="50"/>
                      <a:pt x="29" y="50"/>
                    </a:cubicBezTo>
                    <a:cubicBezTo>
                      <a:pt x="28" y="50"/>
                      <a:pt x="28" y="49"/>
                      <a:pt x="28" y="49"/>
                    </a:cubicBezTo>
                    <a:cubicBezTo>
                      <a:pt x="28" y="49"/>
                      <a:pt x="28" y="49"/>
                      <a:pt x="28" y="49"/>
                    </a:cubicBezTo>
                    <a:close/>
                    <a:moveTo>
                      <a:pt x="88" y="49"/>
                    </a:moveTo>
                    <a:cubicBezTo>
                      <a:pt x="88" y="49"/>
                      <a:pt x="87" y="49"/>
                      <a:pt x="87" y="49"/>
                    </a:cubicBezTo>
                    <a:cubicBezTo>
                      <a:pt x="87" y="50"/>
                      <a:pt x="87" y="50"/>
                      <a:pt x="86" y="50"/>
                    </a:cubicBezTo>
                    <a:cubicBezTo>
                      <a:pt x="86" y="51"/>
                      <a:pt x="87" y="51"/>
                      <a:pt x="87" y="51"/>
                    </a:cubicBezTo>
                    <a:cubicBezTo>
                      <a:pt x="87" y="51"/>
                      <a:pt x="86" y="51"/>
                      <a:pt x="86" y="51"/>
                    </a:cubicBezTo>
                    <a:cubicBezTo>
                      <a:pt x="86" y="51"/>
                      <a:pt x="86" y="52"/>
                      <a:pt x="86" y="52"/>
                    </a:cubicBezTo>
                    <a:cubicBezTo>
                      <a:pt x="86" y="52"/>
                      <a:pt x="86" y="52"/>
                      <a:pt x="86" y="52"/>
                    </a:cubicBezTo>
                    <a:cubicBezTo>
                      <a:pt x="86" y="53"/>
                      <a:pt x="85" y="53"/>
                      <a:pt x="85" y="53"/>
                    </a:cubicBezTo>
                    <a:cubicBezTo>
                      <a:pt x="85" y="53"/>
                      <a:pt x="85" y="53"/>
                      <a:pt x="85" y="53"/>
                    </a:cubicBezTo>
                    <a:cubicBezTo>
                      <a:pt x="85" y="54"/>
                      <a:pt x="85" y="54"/>
                      <a:pt x="85" y="54"/>
                    </a:cubicBezTo>
                    <a:cubicBezTo>
                      <a:pt x="88" y="51"/>
                      <a:pt x="86" y="53"/>
                      <a:pt x="88" y="49"/>
                    </a:cubicBezTo>
                    <a:cubicBezTo>
                      <a:pt x="88" y="49"/>
                      <a:pt x="88" y="49"/>
                      <a:pt x="88" y="49"/>
                    </a:cubicBezTo>
                    <a:close/>
                    <a:moveTo>
                      <a:pt x="74" y="50"/>
                    </a:moveTo>
                    <a:cubicBezTo>
                      <a:pt x="74" y="50"/>
                      <a:pt x="74" y="50"/>
                      <a:pt x="74" y="50"/>
                    </a:cubicBezTo>
                    <a:cubicBezTo>
                      <a:pt x="74" y="50"/>
                      <a:pt x="74" y="50"/>
                      <a:pt x="74" y="50"/>
                    </a:cubicBezTo>
                    <a:cubicBezTo>
                      <a:pt x="74" y="50"/>
                      <a:pt x="74" y="50"/>
                      <a:pt x="74" y="50"/>
                    </a:cubicBezTo>
                    <a:cubicBezTo>
                      <a:pt x="74" y="50"/>
                      <a:pt x="74" y="50"/>
                      <a:pt x="74" y="50"/>
                    </a:cubicBezTo>
                    <a:close/>
                    <a:moveTo>
                      <a:pt x="76" y="50"/>
                    </a:moveTo>
                    <a:cubicBezTo>
                      <a:pt x="76" y="50"/>
                      <a:pt x="76" y="50"/>
                      <a:pt x="76" y="50"/>
                    </a:cubicBezTo>
                    <a:cubicBezTo>
                      <a:pt x="76" y="50"/>
                      <a:pt x="76" y="50"/>
                      <a:pt x="76" y="50"/>
                    </a:cubicBezTo>
                    <a:cubicBezTo>
                      <a:pt x="76" y="50"/>
                      <a:pt x="76" y="50"/>
                      <a:pt x="76" y="50"/>
                    </a:cubicBezTo>
                    <a:cubicBezTo>
                      <a:pt x="76" y="50"/>
                      <a:pt x="76" y="50"/>
                      <a:pt x="76" y="50"/>
                    </a:cubicBezTo>
                    <a:cubicBezTo>
                      <a:pt x="76" y="50"/>
                      <a:pt x="76" y="50"/>
                      <a:pt x="76" y="50"/>
                    </a:cubicBezTo>
                    <a:close/>
                    <a:moveTo>
                      <a:pt x="70" y="50"/>
                    </a:moveTo>
                    <a:cubicBezTo>
                      <a:pt x="71" y="50"/>
                      <a:pt x="71" y="50"/>
                      <a:pt x="72" y="51"/>
                    </a:cubicBezTo>
                    <a:cubicBezTo>
                      <a:pt x="72" y="51"/>
                      <a:pt x="72" y="51"/>
                      <a:pt x="72" y="51"/>
                    </a:cubicBezTo>
                    <a:cubicBezTo>
                      <a:pt x="72" y="51"/>
                      <a:pt x="71" y="50"/>
                      <a:pt x="70" y="50"/>
                    </a:cubicBezTo>
                    <a:cubicBezTo>
                      <a:pt x="71" y="51"/>
                      <a:pt x="71" y="51"/>
                      <a:pt x="72" y="52"/>
                    </a:cubicBezTo>
                    <a:cubicBezTo>
                      <a:pt x="72" y="52"/>
                      <a:pt x="72" y="52"/>
                      <a:pt x="72" y="52"/>
                    </a:cubicBezTo>
                    <a:cubicBezTo>
                      <a:pt x="71" y="51"/>
                      <a:pt x="70" y="51"/>
                      <a:pt x="69" y="50"/>
                    </a:cubicBezTo>
                    <a:cubicBezTo>
                      <a:pt x="69" y="50"/>
                      <a:pt x="69" y="50"/>
                      <a:pt x="70" y="50"/>
                    </a:cubicBezTo>
                    <a:cubicBezTo>
                      <a:pt x="70" y="50"/>
                      <a:pt x="70" y="50"/>
                      <a:pt x="70" y="50"/>
                    </a:cubicBezTo>
                    <a:close/>
                    <a:moveTo>
                      <a:pt x="74" y="50"/>
                    </a:moveTo>
                    <a:cubicBezTo>
                      <a:pt x="74" y="50"/>
                      <a:pt x="74" y="50"/>
                      <a:pt x="74" y="50"/>
                    </a:cubicBezTo>
                    <a:cubicBezTo>
                      <a:pt x="73" y="50"/>
                      <a:pt x="73" y="50"/>
                      <a:pt x="73" y="50"/>
                    </a:cubicBezTo>
                    <a:cubicBezTo>
                      <a:pt x="74" y="50"/>
                      <a:pt x="74" y="50"/>
                      <a:pt x="74" y="50"/>
                    </a:cubicBezTo>
                    <a:cubicBezTo>
                      <a:pt x="74" y="50"/>
                      <a:pt x="74" y="50"/>
                      <a:pt x="74" y="50"/>
                    </a:cubicBezTo>
                    <a:cubicBezTo>
                      <a:pt x="74" y="50"/>
                      <a:pt x="74" y="50"/>
                      <a:pt x="74" y="50"/>
                    </a:cubicBezTo>
                    <a:close/>
                    <a:moveTo>
                      <a:pt x="69" y="50"/>
                    </a:moveTo>
                    <a:cubicBezTo>
                      <a:pt x="69" y="50"/>
                      <a:pt x="68" y="50"/>
                      <a:pt x="68" y="50"/>
                    </a:cubicBezTo>
                    <a:cubicBezTo>
                      <a:pt x="68" y="50"/>
                      <a:pt x="69" y="50"/>
                      <a:pt x="69" y="50"/>
                    </a:cubicBezTo>
                    <a:cubicBezTo>
                      <a:pt x="69" y="50"/>
                      <a:pt x="69" y="50"/>
                      <a:pt x="69" y="50"/>
                    </a:cubicBezTo>
                    <a:cubicBezTo>
                      <a:pt x="69" y="50"/>
                      <a:pt x="69" y="50"/>
                      <a:pt x="69" y="50"/>
                    </a:cubicBezTo>
                    <a:close/>
                    <a:moveTo>
                      <a:pt x="86" y="50"/>
                    </a:moveTo>
                    <a:cubicBezTo>
                      <a:pt x="86" y="50"/>
                      <a:pt x="86" y="50"/>
                      <a:pt x="86" y="50"/>
                    </a:cubicBezTo>
                    <a:cubicBezTo>
                      <a:pt x="86" y="51"/>
                      <a:pt x="86" y="51"/>
                      <a:pt x="85" y="51"/>
                    </a:cubicBezTo>
                    <a:cubicBezTo>
                      <a:pt x="86" y="51"/>
                      <a:pt x="86" y="51"/>
                      <a:pt x="86" y="50"/>
                    </a:cubicBezTo>
                    <a:cubicBezTo>
                      <a:pt x="86" y="50"/>
                      <a:pt x="86" y="50"/>
                      <a:pt x="86" y="50"/>
                    </a:cubicBezTo>
                    <a:close/>
                    <a:moveTo>
                      <a:pt x="66" y="50"/>
                    </a:moveTo>
                    <a:cubicBezTo>
                      <a:pt x="69" y="50"/>
                      <a:pt x="68" y="51"/>
                      <a:pt x="72" y="53"/>
                    </a:cubicBezTo>
                    <a:cubicBezTo>
                      <a:pt x="72" y="53"/>
                      <a:pt x="72" y="53"/>
                      <a:pt x="72" y="53"/>
                    </a:cubicBezTo>
                    <a:cubicBezTo>
                      <a:pt x="72" y="53"/>
                      <a:pt x="72" y="53"/>
                      <a:pt x="72" y="53"/>
                    </a:cubicBezTo>
                    <a:cubicBezTo>
                      <a:pt x="72" y="53"/>
                      <a:pt x="72" y="53"/>
                      <a:pt x="72" y="53"/>
                    </a:cubicBezTo>
                    <a:cubicBezTo>
                      <a:pt x="72" y="53"/>
                      <a:pt x="72" y="53"/>
                      <a:pt x="72" y="53"/>
                    </a:cubicBezTo>
                    <a:cubicBezTo>
                      <a:pt x="72" y="53"/>
                      <a:pt x="72" y="53"/>
                      <a:pt x="73" y="53"/>
                    </a:cubicBezTo>
                    <a:cubicBezTo>
                      <a:pt x="72" y="53"/>
                      <a:pt x="72" y="53"/>
                      <a:pt x="72" y="53"/>
                    </a:cubicBezTo>
                    <a:cubicBezTo>
                      <a:pt x="73" y="53"/>
                      <a:pt x="73" y="53"/>
                      <a:pt x="73" y="53"/>
                    </a:cubicBezTo>
                    <a:cubicBezTo>
                      <a:pt x="73" y="53"/>
                      <a:pt x="73" y="53"/>
                      <a:pt x="73" y="53"/>
                    </a:cubicBezTo>
                    <a:cubicBezTo>
                      <a:pt x="73" y="53"/>
                      <a:pt x="73" y="53"/>
                      <a:pt x="73" y="53"/>
                    </a:cubicBezTo>
                    <a:cubicBezTo>
                      <a:pt x="73" y="53"/>
                      <a:pt x="73" y="54"/>
                      <a:pt x="73" y="54"/>
                    </a:cubicBezTo>
                    <a:cubicBezTo>
                      <a:pt x="73" y="54"/>
                      <a:pt x="74" y="53"/>
                      <a:pt x="74" y="53"/>
                    </a:cubicBezTo>
                    <a:cubicBezTo>
                      <a:pt x="75" y="55"/>
                      <a:pt x="72" y="59"/>
                      <a:pt x="70" y="59"/>
                    </a:cubicBezTo>
                    <a:cubicBezTo>
                      <a:pt x="70" y="58"/>
                      <a:pt x="71" y="58"/>
                      <a:pt x="71" y="57"/>
                    </a:cubicBezTo>
                    <a:cubicBezTo>
                      <a:pt x="71" y="57"/>
                      <a:pt x="71" y="57"/>
                      <a:pt x="71" y="57"/>
                    </a:cubicBezTo>
                    <a:cubicBezTo>
                      <a:pt x="71" y="57"/>
                      <a:pt x="71" y="57"/>
                      <a:pt x="71" y="57"/>
                    </a:cubicBezTo>
                    <a:cubicBezTo>
                      <a:pt x="71" y="57"/>
                      <a:pt x="71" y="57"/>
                      <a:pt x="71" y="57"/>
                    </a:cubicBezTo>
                    <a:cubicBezTo>
                      <a:pt x="71" y="57"/>
                      <a:pt x="72" y="56"/>
                      <a:pt x="72" y="56"/>
                    </a:cubicBezTo>
                    <a:cubicBezTo>
                      <a:pt x="72" y="56"/>
                      <a:pt x="72" y="56"/>
                      <a:pt x="72" y="56"/>
                    </a:cubicBezTo>
                    <a:cubicBezTo>
                      <a:pt x="72" y="56"/>
                      <a:pt x="71" y="57"/>
                      <a:pt x="70" y="58"/>
                    </a:cubicBezTo>
                    <a:cubicBezTo>
                      <a:pt x="71" y="57"/>
                      <a:pt x="71" y="57"/>
                      <a:pt x="71" y="57"/>
                    </a:cubicBezTo>
                    <a:cubicBezTo>
                      <a:pt x="71" y="57"/>
                      <a:pt x="70" y="57"/>
                      <a:pt x="70" y="57"/>
                    </a:cubicBezTo>
                    <a:cubicBezTo>
                      <a:pt x="70" y="57"/>
                      <a:pt x="70" y="57"/>
                      <a:pt x="70" y="57"/>
                    </a:cubicBezTo>
                    <a:cubicBezTo>
                      <a:pt x="70" y="57"/>
                      <a:pt x="70" y="57"/>
                      <a:pt x="70" y="57"/>
                    </a:cubicBezTo>
                    <a:cubicBezTo>
                      <a:pt x="70" y="57"/>
                      <a:pt x="71" y="56"/>
                      <a:pt x="71" y="56"/>
                    </a:cubicBezTo>
                    <a:cubicBezTo>
                      <a:pt x="71" y="56"/>
                      <a:pt x="71" y="56"/>
                      <a:pt x="70" y="56"/>
                    </a:cubicBezTo>
                    <a:cubicBezTo>
                      <a:pt x="71" y="56"/>
                      <a:pt x="71" y="55"/>
                      <a:pt x="71" y="54"/>
                    </a:cubicBezTo>
                    <a:cubicBezTo>
                      <a:pt x="71" y="55"/>
                      <a:pt x="71" y="55"/>
                      <a:pt x="71" y="55"/>
                    </a:cubicBezTo>
                    <a:cubicBezTo>
                      <a:pt x="71" y="55"/>
                      <a:pt x="71" y="54"/>
                      <a:pt x="71" y="54"/>
                    </a:cubicBezTo>
                    <a:cubicBezTo>
                      <a:pt x="70" y="55"/>
                      <a:pt x="69" y="57"/>
                      <a:pt x="69" y="58"/>
                    </a:cubicBezTo>
                    <a:cubicBezTo>
                      <a:pt x="69" y="58"/>
                      <a:pt x="68" y="58"/>
                      <a:pt x="68" y="58"/>
                    </a:cubicBezTo>
                    <a:cubicBezTo>
                      <a:pt x="69" y="57"/>
                      <a:pt x="69" y="57"/>
                      <a:pt x="69" y="56"/>
                    </a:cubicBezTo>
                    <a:cubicBezTo>
                      <a:pt x="69" y="57"/>
                      <a:pt x="69" y="57"/>
                      <a:pt x="68" y="58"/>
                    </a:cubicBezTo>
                    <a:cubicBezTo>
                      <a:pt x="67" y="58"/>
                      <a:pt x="66" y="60"/>
                      <a:pt x="65" y="60"/>
                    </a:cubicBezTo>
                    <a:cubicBezTo>
                      <a:pt x="67" y="59"/>
                      <a:pt x="68" y="57"/>
                      <a:pt x="69" y="55"/>
                    </a:cubicBezTo>
                    <a:cubicBezTo>
                      <a:pt x="68" y="56"/>
                      <a:pt x="66" y="58"/>
                      <a:pt x="65" y="58"/>
                    </a:cubicBezTo>
                    <a:cubicBezTo>
                      <a:pt x="66" y="58"/>
                      <a:pt x="66" y="58"/>
                      <a:pt x="66" y="58"/>
                    </a:cubicBezTo>
                    <a:cubicBezTo>
                      <a:pt x="66" y="58"/>
                      <a:pt x="66" y="58"/>
                      <a:pt x="65" y="58"/>
                    </a:cubicBezTo>
                    <a:cubicBezTo>
                      <a:pt x="66" y="57"/>
                      <a:pt x="66" y="57"/>
                      <a:pt x="66" y="56"/>
                    </a:cubicBezTo>
                    <a:cubicBezTo>
                      <a:pt x="66" y="56"/>
                      <a:pt x="66" y="56"/>
                      <a:pt x="66" y="56"/>
                    </a:cubicBezTo>
                    <a:cubicBezTo>
                      <a:pt x="66" y="56"/>
                      <a:pt x="66" y="56"/>
                      <a:pt x="66" y="56"/>
                    </a:cubicBezTo>
                    <a:cubicBezTo>
                      <a:pt x="66" y="56"/>
                      <a:pt x="66" y="57"/>
                      <a:pt x="66" y="57"/>
                    </a:cubicBezTo>
                    <a:cubicBezTo>
                      <a:pt x="66" y="57"/>
                      <a:pt x="66" y="57"/>
                      <a:pt x="66" y="57"/>
                    </a:cubicBezTo>
                    <a:cubicBezTo>
                      <a:pt x="66" y="57"/>
                      <a:pt x="66" y="56"/>
                      <a:pt x="66" y="55"/>
                    </a:cubicBezTo>
                    <a:cubicBezTo>
                      <a:pt x="66" y="56"/>
                      <a:pt x="66" y="56"/>
                      <a:pt x="66" y="56"/>
                    </a:cubicBezTo>
                    <a:cubicBezTo>
                      <a:pt x="66" y="56"/>
                      <a:pt x="66" y="56"/>
                      <a:pt x="66" y="55"/>
                    </a:cubicBezTo>
                    <a:cubicBezTo>
                      <a:pt x="65" y="57"/>
                      <a:pt x="64" y="58"/>
                      <a:pt x="63" y="59"/>
                    </a:cubicBezTo>
                    <a:cubicBezTo>
                      <a:pt x="63" y="59"/>
                      <a:pt x="62" y="60"/>
                      <a:pt x="62" y="60"/>
                    </a:cubicBezTo>
                    <a:cubicBezTo>
                      <a:pt x="63" y="59"/>
                      <a:pt x="64" y="57"/>
                      <a:pt x="65" y="56"/>
                    </a:cubicBezTo>
                    <a:cubicBezTo>
                      <a:pt x="65" y="56"/>
                      <a:pt x="64" y="56"/>
                      <a:pt x="64" y="56"/>
                    </a:cubicBezTo>
                    <a:cubicBezTo>
                      <a:pt x="64" y="57"/>
                      <a:pt x="63" y="58"/>
                      <a:pt x="63" y="58"/>
                    </a:cubicBezTo>
                    <a:cubicBezTo>
                      <a:pt x="63" y="58"/>
                      <a:pt x="63" y="57"/>
                      <a:pt x="63" y="56"/>
                    </a:cubicBezTo>
                    <a:cubicBezTo>
                      <a:pt x="62" y="58"/>
                      <a:pt x="61" y="59"/>
                      <a:pt x="61" y="61"/>
                    </a:cubicBezTo>
                    <a:cubicBezTo>
                      <a:pt x="61" y="60"/>
                      <a:pt x="62" y="59"/>
                      <a:pt x="63" y="58"/>
                    </a:cubicBezTo>
                    <a:cubicBezTo>
                      <a:pt x="62" y="59"/>
                      <a:pt x="62" y="60"/>
                      <a:pt x="61" y="61"/>
                    </a:cubicBezTo>
                    <a:cubicBezTo>
                      <a:pt x="61" y="61"/>
                      <a:pt x="61" y="61"/>
                      <a:pt x="62" y="60"/>
                    </a:cubicBezTo>
                    <a:cubicBezTo>
                      <a:pt x="61" y="61"/>
                      <a:pt x="61" y="61"/>
                      <a:pt x="60" y="61"/>
                    </a:cubicBezTo>
                    <a:cubicBezTo>
                      <a:pt x="60" y="61"/>
                      <a:pt x="60" y="61"/>
                      <a:pt x="60" y="61"/>
                    </a:cubicBezTo>
                    <a:cubicBezTo>
                      <a:pt x="60" y="60"/>
                      <a:pt x="61" y="59"/>
                      <a:pt x="61" y="59"/>
                    </a:cubicBezTo>
                    <a:cubicBezTo>
                      <a:pt x="62" y="59"/>
                      <a:pt x="62" y="57"/>
                      <a:pt x="62" y="57"/>
                    </a:cubicBezTo>
                    <a:cubicBezTo>
                      <a:pt x="62" y="57"/>
                      <a:pt x="62" y="57"/>
                      <a:pt x="62" y="58"/>
                    </a:cubicBezTo>
                    <a:cubicBezTo>
                      <a:pt x="62" y="57"/>
                      <a:pt x="62" y="57"/>
                      <a:pt x="62" y="56"/>
                    </a:cubicBezTo>
                    <a:cubicBezTo>
                      <a:pt x="62" y="57"/>
                      <a:pt x="62" y="57"/>
                      <a:pt x="61" y="58"/>
                    </a:cubicBezTo>
                    <a:cubicBezTo>
                      <a:pt x="61" y="58"/>
                      <a:pt x="61" y="58"/>
                      <a:pt x="61" y="58"/>
                    </a:cubicBezTo>
                    <a:cubicBezTo>
                      <a:pt x="61" y="59"/>
                      <a:pt x="60" y="60"/>
                      <a:pt x="59" y="62"/>
                    </a:cubicBezTo>
                    <a:cubicBezTo>
                      <a:pt x="59" y="62"/>
                      <a:pt x="57" y="62"/>
                      <a:pt x="57" y="62"/>
                    </a:cubicBezTo>
                    <a:cubicBezTo>
                      <a:pt x="58" y="60"/>
                      <a:pt x="59" y="59"/>
                      <a:pt x="60" y="57"/>
                    </a:cubicBezTo>
                    <a:cubicBezTo>
                      <a:pt x="59" y="58"/>
                      <a:pt x="59" y="58"/>
                      <a:pt x="58" y="59"/>
                    </a:cubicBezTo>
                    <a:cubicBezTo>
                      <a:pt x="59" y="59"/>
                      <a:pt x="59" y="59"/>
                      <a:pt x="59" y="58"/>
                    </a:cubicBezTo>
                    <a:cubicBezTo>
                      <a:pt x="58" y="59"/>
                      <a:pt x="58" y="59"/>
                      <a:pt x="58" y="59"/>
                    </a:cubicBezTo>
                    <a:cubicBezTo>
                      <a:pt x="58" y="59"/>
                      <a:pt x="58" y="58"/>
                      <a:pt x="58" y="58"/>
                    </a:cubicBezTo>
                    <a:cubicBezTo>
                      <a:pt x="58" y="58"/>
                      <a:pt x="58" y="58"/>
                      <a:pt x="58" y="58"/>
                    </a:cubicBezTo>
                    <a:cubicBezTo>
                      <a:pt x="58" y="58"/>
                      <a:pt x="58" y="58"/>
                      <a:pt x="58" y="58"/>
                    </a:cubicBezTo>
                    <a:cubicBezTo>
                      <a:pt x="58" y="58"/>
                      <a:pt x="58" y="58"/>
                      <a:pt x="58" y="58"/>
                    </a:cubicBezTo>
                    <a:cubicBezTo>
                      <a:pt x="58" y="57"/>
                      <a:pt x="58" y="57"/>
                      <a:pt x="59" y="57"/>
                    </a:cubicBezTo>
                    <a:cubicBezTo>
                      <a:pt x="58" y="57"/>
                      <a:pt x="58" y="58"/>
                      <a:pt x="57" y="58"/>
                    </a:cubicBezTo>
                    <a:cubicBezTo>
                      <a:pt x="58" y="58"/>
                      <a:pt x="58" y="57"/>
                      <a:pt x="58" y="57"/>
                    </a:cubicBezTo>
                    <a:cubicBezTo>
                      <a:pt x="57" y="57"/>
                      <a:pt x="57" y="58"/>
                      <a:pt x="57" y="58"/>
                    </a:cubicBezTo>
                    <a:cubicBezTo>
                      <a:pt x="57" y="58"/>
                      <a:pt x="57" y="58"/>
                      <a:pt x="57" y="58"/>
                    </a:cubicBezTo>
                    <a:cubicBezTo>
                      <a:pt x="57" y="56"/>
                      <a:pt x="57" y="54"/>
                      <a:pt x="57" y="52"/>
                    </a:cubicBezTo>
                    <a:cubicBezTo>
                      <a:pt x="58" y="53"/>
                      <a:pt x="59" y="53"/>
                      <a:pt x="60" y="53"/>
                    </a:cubicBezTo>
                    <a:cubicBezTo>
                      <a:pt x="59" y="53"/>
                      <a:pt x="58" y="52"/>
                      <a:pt x="58" y="52"/>
                    </a:cubicBezTo>
                    <a:cubicBezTo>
                      <a:pt x="58" y="51"/>
                      <a:pt x="59" y="51"/>
                      <a:pt x="59" y="51"/>
                    </a:cubicBezTo>
                    <a:cubicBezTo>
                      <a:pt x="61" y="52"/>
                      <a:pt x="62" y="53"/>
                      <a:pt x="63" y="54"/>
                    </a:cubicBezTo>
                    <a:cubicBezTo>
                      <a:pt x="62" y="53"/>
                      <a:pt x="61" y="52"/>
                      <a:pt x="59" y="51"/>
                    </a:cubicBezTo>
                    <a:cubicBezTo>
                      <a:pt x="59" y="51"/>
                      <a:pt x="59" y="51"/>
                      <a:pt x="59" y="51"/>
                    </a:cubicBezTo>
                    <a:cubicBezTo>
                      <a:pt x="59" y="51"/>
                      <a:pt x="59" y="51"/>
                      <a:pt x="59" y="51"/>
                    </a:cubicBezTo>
                    <a:cubicBezTo>
                      <a:pt x="60" y="51"/>
                      <a:pt x="60" y="51"/>
                      <a:pt x="60" y="51"/>
                    </a:cubicBezTo>
                    <a:cubicBezTo>
                      <a:pt x="61" y="51"/>
                      <a:pt x="61" y="52"/>
                      <a:pt x="62" y="52"/>
                    </a:cubicBezTo>
                    <a:cubicBezTo>
                      <a:pt x="62" y="52"/>
                      <a:pt x="61" y="51"/>
                      <a:pt x="61" y="51"/>
                    </a:cubicBezTo>
                    <a:cubicBezTo>
                      <a:pt x="62" y="52"/>
                      <a:pt x="62" y="52"/>
                      <a:pt x="64" y="51"/>
                    </a:cubicBezTo>
                    <a:cubicBezTo>
                      <a:pt x="65" y="52"/>
                      <a:pt x="67" y="53"/>
                      <a:pt x="69" y="54"/>
                    </a:cubicBezTo>
                    <a:cubicBezTo>
                      <a:pt x="69" y="54"/>
                      <a:pt x="69" y="54"/>
                      <a:pt x="69" y="54"/>
                    </a:cubicBezTo>
                    <a:cubicBezTo>
                      <a:pt x="67" y="52"/>
                      <a:pt x="66" y="51"/>
                      <a:pt x="64" y="51"/>
                    </a:cubicBezTo>
                    <a:cubicBezTo>
                      <a:pt x="64" y="51"/>
                      <a:pt x="64" y="51"/>
                      <a:pt x="64" y="50"/>
                    </a:cubicBezTo>
                    <a:cubicBezTo>
                      <a:pt x="65" y="51"/>
                      <a:pt x="65" y="51"/>
                      <a:pt x="65" y="51"/>
                    </a:cubicBezTo>
                    <a:cubicBezTo>
                      <a:pt x="66" y="51"/>
                      <a:pt x="66" y="50"/>
                      <a:pt x="66" y="50"/>
                    </a:cubicBezTo>
                    <a:cubicBezTo>
                      <a:pt x="66" y="50"/>
                      <a:pt x="66" y="50"/>
                      <a:pt x="66" y="50"/>
                    </a:cubicBezTo>
                    <a:close/>
                    <a:moveTo>
                      <a:pt x="42" y="50"/>
                    </a:moveTo>
                    <a:cubicBezTo>
                      <a:pt x="42" y="51"/>
                      <a:pt x="43" y="51"/>
                      <a:pt x="43" y="51"/>
                    </a:cubicBezTo>
                    <a:cubicBezTo>
                      <a:pt x="42" y="51"/>
                      <a:pt x="42" y="51"/>
                      <a:pt x="42" y="51"/>
                    </a:cubicBezTo>
                    <a:cubicBezTo>
                      <a:pt x="42" y="51"/>
                      <a:pt x="43" y="51"/>
                      <a:pt x="43" y="51"/>
                    </a:cubicBezTo>
                    <a:cubicBezTo>
                      <a:pt x="42" y="51"/>
                      <a:pt x="42" y="51"/>
                      <a:pt x="41" y="51"/>
                    </a:cubicBezTo>
                    <a:cubicBezTo>
                      <a:pt x="42" y="51"/>
                      <a:pt x="42" y="51"/>
                      <a:pt x="42" y="50"/>
                    </a:cubicBezTo>
                    <a:cubicBezTo>
                      <a:pt x="42" y="50"/>
                      <a:pt x="42" y="50"/>
                      <a:pt x="42" y="50"/>
                    </a:cubicBezTo>
                    <a:close/>
                    <a:moveTo>
                      <a:pt x="76" y="51"/>
                    </a:moveTo>
                    <a:cubicBezTo>
                      <a:pt x="77" y="50"/>
                      <a:pt x="77" y="50"/>
                      <a:pt x="77" y="50"/>
                    </a:cubicBezTo>
                    <a:cubicBezTo>
                      <a:pt x="77" y="51"/>
                      <a:pt x="78" y="51"/>
                      <a:pt x="79" y="51"/>
                    </a:cubicBezTo>
                    <a:cubicBezTo>
                      <a:pt x="79" y="51"/>
                      <a:pt x="79" y="52"/>
                      <a:pt x="79" y="52"/>
                    </a:cubicBezTo>
                    <a:cubicBezTo>
                      <a:pt x="79" y="52"/>
                      <a:pt x="79" y="52"/>
                      <a:pt x="79" y="51"/>
                    </a:cubicBezTo>
                    <a:cubicBezTo>
                      <a:pt x="79" y="52"/>
                      <a:pt x="80" y="52"/>
                      <a:pt x="80" y="52"/>
                    </a:cubicBezTo>
                    <a:cubicBezTo>
                      <a:pt x="80" y="53"/>
                      <a:pt x="79" y="54"/>
                      <a:pt x="79" y="54"/>
                    </a:cubicBezTo>
                    <a:cubicBezTo>
                      <a:pt x="79" y="54"/>
                      <a:pt x="79" y="54"/>
                      <a:pt x="79" y="54"/>
                    </a:cubicBezTo>
                    <a:cubicBezTo>
                      <a:pt x="79" y="54"/>
                      <a:pt x="79" y="54"/>
                      <a:pt x="79" y="54"/>
                    </a:cubicBezTo>
                    <a:cubicBezTo>
                      <a:pt x="79" y="53"/>
                      <a:pt x="79" y="53"/>
                      <a:pt x="79" y="53"/>
                    </a:cubicBezTo>
                    <a:cubicBezTo>
                      <a:pt x="79" y="53"/>
                      <a:pt x="79" y="53"/>
                      <a:pt x="79" y="53"/>
                    </a:cubicBezTo>
                    <a:cubicBezTo>
                      <a:pt x="79" y="53"/>
                      <a:pt x="79" y="53"/>
                      <a:pt x="79" y="53"/>
                    </a:cubicBezTo>
                    <a:cubicBezTo>
                      <a:pt x="79" y="53"/>
                      <a:pt x="79" y="53"/>
                      <a:pt x="79" y="53"/>
                    </a:cubicBezTo>
                    <a:cubicBezTo>
                      <a:pt x="79" y="52"/>
                      <a:pt x="79" y="52"/>
                      <a:pt x="79" y="52"/>
                    </a:cubicBezTo>
                    <a:cubicBezTo>
                      <a:pt x="79" y="52"/>
                      <a:pt x="79" y="52"/>
                      <a:pt x="79" y="53"/>
                    </a:cubicBezTo>
                    <a:cubicBezTo>
                      <a:pt x="79" y="52"/>
                      <a:pt x="79" y="52"/>
                      <a:pt x="79" y="52"/>
                    </a:cubicBezTo>
                    <a:cubicBezTo>
                      <a:pt x="79" y="52"/>
                      <a:pt x="79" y="52"/>
                      <a:pt x="79" y="52"/>
                    </a:cubicBezTo>
                    <a:cubicBezTo>
                      <a:pt x="77" y="52"/>
                      <a:pt x="77" y="52"/>
                      <a:pt x="76" y="51"/>
                    </a:cubicBezTo>
                    <a:cubicBezTo>
                      <a:pt x="76" y="51"/>
                      <a:pt x="76" y="51"/>
                      <a:pt x="76" y="51"/>
                    </a:cubicBezTo>
                    <a:close/>
                    <a:moveTo>
                      <a:pt x="45" y="51"/>
                    </a:moveTo>
                    <a:cubicBezTo>
                      <a:pt x="45" y="51"/>
                      <a:pt x="45" y="51"/>
                      <a:pt x="45" y="51"/>
                    </a:cubicBezTo>
                    <a:cubicBezTo>
                      <a:pt x="42" y="52"/>
                      <a:pt x="42" y="52"/>
                      <a:pt x="41" y="54"/>
                    </a:cubicBezTo>
                    <a:cubicBezTo>
                      <a:pt x="41" y="54"/>
                      <a:pt x="42" y="54"/>
                      <a:pt x="42" y="54"/>
                    </a:cubicBezTo>
                    <a:cubicBezTo>
                      <a:pt x="42" y="55"/>
                      <a:pt x="41" y="55"/>
                      <a:pt x="41" y="56"/>
                    </a:cubicBezTo>
                    <a:cubicBezTo>
                      <a:pt x="41" y="56"/>
                      <a:pt x="41" y="57"/>
                      <a:pt x="41" y="57"/>
                    </a:cubicBezTo>
                    <a:cubicBezTo>
                      <a:pt x="41" y="57"/>
                      <a:pt x="41" y="57"/>
                      <a:pt x="42" y="57"/>
                    </a:cubicBezTo>
                    <a:cubicBezTo>
                      <a:pt x="42" y="57"/>
                      <a:pt x="42" y="56"/>
                      <a:pt x="42" y="56"/>
                    </a:cubicBezTo>
                    <a:cubicBezTo>
                      <a:pt x="42" y="56"/>
                      <a:pt x="42" y="55"/>
                      <a:pt x="42" y="55"/>
                    </a:cubicBezTo>
                    <a:cubicBezTo>
                      <a:pt x="42" y="55"/>
                      <a:pt x="43" y="56"/>
                      <a:pt x="43" y="56"/>
                    </a:cubicBezTo>
                    <a:cubicBezTo>
                      <a:pt x="43" y="56"/>
                      <a:pt x="43" y="56"/>
                      <a:pt x="43" y="56"/>
                    </a:cubicBezTo>
                    <a:cubicBezTo>
                      <a:pt x="44" y="56"/>
                      <a:pt x="44" y="57"/>
                      <a:pt x="45" y="58"/>
                    </a:cubicBezTo>
                    <a:cubicBezTo>
                      <a:pt x="45" y="57"/>
                      <a:pt x="44" y="56"/>
                      <a:pt x="44" y="56"/>
                    </a:cubicBezTo>
                    <a:cubicBezTo>
                      <a:pt x="44" y="56"/>
                      <a:pt x="45" y="56"/>
                      <a:pt x="45" y="56"/>
                    </a:cubicBezTo>
                    <a:cubicBezTo>
                      <a:pt x="45" y="56"/>
                      <a:pt x="44" y="56"/>
                      <a:pt x="45" y="55"/>
                    </a:cubicBezTo>
                    <a:cubicBezTo>
                      <a:pt x="45" y="56"/>
                      <a:pt x="45" y="57"/>
                      <a:pt x="46" y="57"/>
                    </a:cubicBezTo>
                    <a:cubicBezTo>
                      <a:pt x="46" y="57"/>
                      <a:pt x="46" y="57"/>
                      <a:pt x="45" y="56"/>
                    </a:cubicBezTo>
                    <a:cubicBezTo>
                      <a:pt x="45" y="56"/>
                      <a:pt x="45" y="56"/>
                      <a:pt x="45" y="56"/>
                    </a:cubicBezTo>
                    <a:cubicBezTo>
                      <a:pt x="46" y="56"/>
                      <a:pt x="46" y="57"/>
                      <a:pt x="46" y="57"/>
                    </a:cubicBezTo>
                    <a:cubicBezTo>
                      <a:pt x="46" y="56"/>
                      <a:pt x="46" y="56"/>
                      <a:pt x="46" y="56"/>
                    </a:cubicBezTo>
                    <a:cubicBezTo>
                      <a:pt x="46" y="56"/>
                      <a:pt x="46" y="56"/>
                      <a:pt x="46" y="56"/>
                    </a:cubicBezTo>
                    <a:cubicBezTo>
                      <a:pt x="46" y="56"/>
                      <a:pt x="46" y="56"/>
                      <a:pt x="46" y="56"/>
                    </a:cubicBezTo>
                    <a:cubicBezTo>
                      <a:pt x="46" y="56"/>
                      <a:pt x="46" y="57"/>
                      <a:pt x="47" y="57"/>
                    </a:cubicBezTo>
                    <a:cubicBezTo>
                      <a:pt x="47" y="57"/>
                      <a:pt x="47" y="57"/>
                      <a:pt x="47" y="57"/>
                    </a:cubicBezTo>
                    <a:cubicBezTo>
                      <a:pt x="47" y="57"/>
                      <a:pt x="47" y="57"/>
                      <a:pt x="47" y="57"/>
                    </a:cubicBezTo>
                    <a:cubicBezTo>
                      <a:pt x="47" y="57"/>
                      <a:pt x="47" y="57"/>
                      <a:pt x="47" y="57"/>
                    </a:cubicBezTo>
                    <a:cubicBezTo>
                      <a:pt x="47" y="57"/>
                      <a:pt x="47" y="57"/>
                      <a:pt x="47" y="56"/>
                    </a:cubicBezTo>
                    <a:cubicBezTo>
                      <a:pt x="47" y="56"/>
                      <a:pt x="47" y="56"/>
                      <a:pt x="46" y="56"/>
                    </a:cubicBezTo>
                    <a:cubicBezTo>
                      <a:pt x="46" y="56"/>
                      <a:pt x="46" y="56"/>
                      <a:pt x="46" y="56"/>
                    </a:cubicBezTo>
                    <a:cubicBezTo>
                      <a:pt x="46" y="56"/>
                      <a:pt x="46" y="56"/>
                      <a:pt x="46" y="56"/>
                    </a:cubicBezTo>
                    <a:cubicBezTo>
                      <a:pt x="47" y="55"/>
                      <a:pt x="47" y="55"/>
                      <a:pt x="48" y="55"/>
                    </a:cubicBezTo>
                    <a:cubicBezTo>
                      <a:pt x="48" y="55"/>
                      <a:pt x="48" y="54"/>
                      <a:pt x="47" y="54"/>
                    </a:cubicBezTo>
                    <a:cubicBezTo>
                      <a:pt x="48" y="54"/>
                      <a:pt x="48" y="54"/>
                      <a:pt x="48" y="54"/>
                    </a:cubicBezTo>
                    <a:cubicBezTo>
                      <a:pt x="48" y="54"/>
                      <a:pt x="48" y="54"/>
                      <a:pt x="49" y="54"/>
                    </a:cubicBezTo>
                    <a:cubicBezTo>
                      <a:pt x="49" y="54"/>
                      <a:pt x="48" y="54"/>
                      <a:pt x="48" y="54"/>
                    </a:cubicBezTo>
                    <a:cubicBezTo>
                      <a:pt x="48" y="54"/>
                      <a:pt x="48" y="54"/>
                      <a:pt x="48" y="54"/>
                    </a:cubicBezTo>
                    <a:cubicBezTo>
                      <a:pt x="48" y="54"/>
                      <a:pt x="48" y="54"/>
                      <a:pt x="48" y="54"/>
                    </a:cubicBezTo>
                    <a:cubicBezTo>
                      <a:pt x="48" y="53"/>
                      <a:pt x="48" y="53"/>
                      <a:pt x="48" y="53"/>
                    </a:cubicBezTo>
                    <a:cubicBezTo>
                      <a:pt x="47" y="54"/>
                      <a:pt x="46" y="54"/>
                      <a:pt x="46" y="55"/>
                    </a:cubicBezTo>
                    <a:cubicBezTo>
                      <a:pt x="46" y="54"/>
                      <a:pt x="47" y="54"/>
                      <a:pt x="48" y="53"/>
                    </a:cubicBezTo>
                    <a:cubicBezTo>
                      <a:pt x="47" y="53"/>
                      <a:pt x="47" y="53"/>
                      <a:pt x="47" y="53"/>
                    </a:cubicBezTo>
                    <a:cubicBezTo>
                      <a:pt x="46" y="53"/>
                      <a:pt x="46" y="53"/>
                      <a:pt x="46" y="53"/>
                    </a:cubicBezTo>
                    <a:cubicBezTo>
                      <a:pt x="46" y="53"/>
                      <a:pt x="46" y="53"/>
                      <a:pt x="46" y="53"/>
                    </a:cubicBezTo>
                    <a:cubicBezTo>
                      <a:pt x="46" y="53"/>
                      <a:pt x="46" y="53"/>
                      <a:pt x="46" y="53"/>
                    </a:cubicBezTo>
                    <a:cubicBezTo>
                      <a:pt x="46" y="53"/>
                      <a:pt x="46" y="53"/>
                      <a:pt x="46" y="53"/>
                    </a:cubicBezTo>
                    <a:cubicBezTo>
                      <a:pt x="46" y="53"/>
                      <a:pt x="46" y="53"/>
                      <a:pt x="46" y="52"/>
                    </a:cubicBezTo>
                    <a:cubicBezTo>
                      <a:pt x="46" y="52"/>
                      <a:pt x="47" y="52"/>
                      <a:pt x="47" y="52"/>
                    </a:cubicBezTo>
                    <a:cubicBezTo>
                      <a:pt x="47" y="52"/>
                      <a:pt x="47" y="52"/>
                      <a:pt x="47" y="51"/>
                    </a:cubicBezTo>
                    <a:cubicBezTo>
                      <a:pt x="47" y="51"/>
                      <a:pt x="47" y="51"/>
                      <a:pt x="47" y="51"/>
                    </a:cubicBezTo>
                    <a:cubicBezTo>
                      <a:pt x="46" y="52"/>
                      <a:pt x="45" y="53"/>
                      <a:pt x="44" y="53"/>
                    </a:cubicBezTo>
                    <a:cubicBezTo>
                      <a:pt x="45" y="53"/>
                      <a:pt x="46" y="52"/>
                      <a:pt x="47" y="51"/>
                    </a:cubicBezTo>
                    <a:cubicBezTo>
                      <a:pt x="46" y="51"/>
                      <a:pt x="45" y="51"/>
                      <a:pt x="44" y="52"/>
                    </a:cubicBezTo>
                    <a:cubicBezTo>
                      <a:pt x="44" y="51"/>
                      <a:pt x="45" y="51"/>
                      <a:pt x="45" y="51"/>
                    </a:cubicBezTo>
                    <a:cubicBezTo>
                      <a:pt x="45" y="51"/>
                      <a:pt x="45" y="51"/>
                      <a:pt x="45" y="51"/>
                    </a:cubicBezTo>
                    <a:close/>
                    <a:moveTo>
                      <a:pt x="73" y="51"/>
                    </a:moveTo>
                    <a:cubicBezTo>
                      <a:pt x="73" y="51"/>
                      <a:pt x="73" y="51"/>
                      <a:pt x="73" y="51"/>
                    </a:cubicBezTo>
                    <a:cubicBezTo>
                      <a:pt x="73" y="51"/>
                      <a:pt x="73" y="51"/>
                      <a:pt x="73" y="52"/>
                    </a:cubicBezTo>
                    <a:cubicBezTo>
                      <a:pt x="73" y="52"/>
                      <a:pt x="73" y="52"/>
                      <a:pt x="73" y="52"/>
                    </a:cubicBezTo>
                    <a:cubicBezTo>
                      <a:pt x="73" y="52"/>
                      <a:pt x="73" y="51"/>
                      <a:pt x="73" y="51"/>
                    </a:cubicBezTo>
                    <a:cubicBezTo>
                      <a:pt x="73" y="51"/>
                      <a:pt x="73" y="51"/>
                      <a:pt x="73" y="51"/>
                    </a:cubicBezTo>
                    <a:close/>
                    <a:moveTo>
                      <a:pt x="43" y="51"/>
                    </a:moveTo>
                    <a:cubicBezTo>
                      <a:pt x="43" y="51"/>
                      <a:pt x="43" y="51"/>
                      <a:pt x="43" y="51"/>
                    </a:cubicBezTo>
                    <a:cubicBezTo>
                      <a:pt x="43" y="51"/>
                      <a:pt x="43" y="51"/>
                      <a:pt x="43" y="51"/>
                    </a:cubicBezTo>
                    <a:cubicBezTo>
                      <a:pt x="43" y="51"/>
                      <a:pt x="43" y="51"/>
                      <a:pt x="43" y="51"/>
                    </a:cubicBezTo>
                    <a:cubicBezTo>
                      <a:pt x="43" y="51"/>
                      <a:pt x="43" y="51"/>
                      <a:pt x="43" y="51"/>
                    </a:cubicBezTo>
                    <a:close/>
                    <a:moveTo>
                      <a:pt x="30" y="51"/>
                    </a:moveTo>
                    <a:cubicBezTo>
                      <a:pt x="30" y="51"/>
                      <a:pt x="30" y="51"/>
                      <a:pt x="30" y="51"/>
                    </a:cubicBezTo>
                    <a:cubicBezTo>
                      <a:pt x="30" y="51"/>
                      <a:pt x="31" y="52"/>
                      <a:pt x="31" y="52"/>
                    </a:cubicBezTo>
                    <a:cubicBezTo>
                      <a:pt x="31" y="52"/>
                      <a:pt x="30" y="52"/>
                      <a:pt x="30" y="51"/>
                    </a:cubicBezTo>
                    <a:cubicBezTo>
                      <a:pt x="30" y="51"/>
                      <a:pt x="30" y="51"/>
                      <a:pt x="30" y="51"/>
                    </a:cubicBezTo>
                    <a:close/>
                    <a:moveTo>
                      <a:pt x="94" y="51"/>
                    </a:moveTo>
                    <a:cubicBezTo>
                      <a:pt x="94" y="51"/>
                      <a:pt x="94" y="51"/>
                      <a:pt x="94" y="51"/>
                    </a:cubicBezTo>
                    <a:cubicBezTo>
                      <a:pt x="93" y="51"/>
                      <a:pt x="93" y="52"/>
                      <a:pt x="92" y="52"/>
                    </a:cubicBezTo>
                    <a:cubicBezTo>
                      <a:pt x="92" y="52"/>
                      <a:pt x="92" y="52"/>
                      <a:pt x="93" y="52"/>
                    </a:cubicBezTo>
                    <a:cubicBezTo>
                      <a:pt x="92" y="52"/>
                      <a:pt x="92" y="52"/>
                      <a:pt x="92" y="52"/>
                    </a:cubicBezTo>
                    <a:cubicBezTo>
                      <a:pt x="93" y="52"/>
                      <a:pt x="94" y="52"/>
                      <a:pt x="94" y="51"/>
                    </a:cubicBezTo>
                    <a:cubicBezTo>
                      <a:pt x="94" y="51"/>
                      <a:pt x="94" y="51"/>
                      <a:pt x="94" y="51"/>
                    </a:cubicBezTo>
                    <a:close/>
                    <a:moveTo>
                      <a:pt x="77" y="52"/>
                    </a:moveTo>
                    <a:cubicBezTo>
                      <a:pt x="77" y="52"/>
                      <a:pt x="77" y="52"/>
                      <a:pt x="77" y="52"/>
                    </a:cubicBezTo>
                    <a:cubicBezTo>
                      <a:pt x="77" y="52"/>
                      <a:pt x="78" y="52"/>
                      <a:pt x="79" y="53"/>
                    </a:cubicBezTo>
                    <a:cubicBezTo>
                      <a:pt x="79" y="53"/>
                      <a:pt x="79" y="53"/>
                      <a:pt x="79" y="53"/>
                    </a:cubicBezTo>
                    <a:cubicBezTo>
                      <a:pt x="78" y="53"/>
                      <a:pt x="78" y="53"/>
                      <a:pt x="78" y="53"/>
                    </a:cubicBezTo>
                    <a:cubicBezTo>
                      <a:pt x="78" y="53"/>
                      <a:pt x="78" y="52"/>
                      <a:pt x="77" y="52"/>
                    </a:cubicBezTo>
                    <a:cubicBezTo>
                      <a:pt x="77" y="52"/>
                      <a:pt x="77" y="52"/>
                      <a:pt x="77" y="52"/>
                    </a:cubicBezTo>
                    <a:cubicBezTo>
                      <a:pt x="77" y="52"/>
                      <a:pt x="77" y="52"/>
                      <a:pt x="77" y="52"/>
                    </a:cubicBezTo>
                    <a:cubicBezTo>
                      <a:pt x="77" y="52"/>
                      <a:pt x="77" y="52"/>
                      <a:pt x="77" y="52"/>
                    </a:cubicBezTo>
                    <a:cubicBezTo>
                      <a:pt x="77" y="52"/>
                      <a:pt x="77" y="52"/>
                      <a:pt x="77" y="52"/>
                    </a:cubicBezTo>
                    <a:close/>
                    <a:moveTo>
                      <a:pt x="73" y="52"/>
                    </a:moveTo>
                    <a:cubicBezTo>
                      <a:pt x="73" y="52"/>
                      <a:pt x="73" y="52"/>
                      <a:pt x="73" y="52"/>
                    </a:cubicBezTo>
                    <a:cubicBezTo>
                      <a:pt x="72" y="52"/>
                      <a:pt x="72" y="52"/>
                      <a:pt x="72" y="52"/>
                    </a:cubicBezTo>
                    <a:cubicBezTo>
                      <a:pt x="72" y="52"/>
                      <a:pt x="73" y="52"/>
                      <a:pt x="73" y="52"/>
                    </a:cubicBezTo>
                    <a:cubicBezTo>
                      <a:pt x="73" y="52"/>
                      <a:pt x="73" y="52"/>
                      <a:pt x="73" y="52"/>
                    </a:cubicBezTo>
                    <a:cubicBezTo>
                      <a:pt x="73" y="52"/>
                      <a:pt x="73" y="52"/>
                      <a:pt x="73" y="52"/>
                    </a:cubicBezTo>
                    <a:close/>
                    <a:moveTo>
                      <a:pt x="30" y="52"/>
                    </a:moveTo>
                    <a:cubicBezTo>
                      <a:pt x="30" y="52"/>
                      <a:pt x="30" y="52"/>
                      <a:pt x="30" y="52"/>
                    </a:cubicBezTo>
                    <a:cubicBezTo>
                      <a:pt x="30" y="52"/>
                      <a:pt x="30" y="52"/>
                      <a:pt x="30" y="52"/>
                    </a:cubicBezTo>
                    <a:cubicBezTo>
                      <a:pt x="30" y="52"/>
                      <a:pt x="30" y="52"/>
                      <a:pt x="30" y="52"/>
                    </a:cubicBezTo>
                    <a:close/>
                    <a:moveTo>
                      <a:pt x="33" y="53"/>
                    </a:moveTo>
                    <a:cubicBezTo>
                      <a:pt x="33" y="53"/>
                      <a:pt x="33" y="53"/>
                      <a:pt x="33" y="53"/>
                    </a:cubicBezTo>
                    <a:cubicBezTo>
                      <a:pt x="33" y="52"/>
                      <a:pt x="33" y="52"/>
                      <a:pt x="33" y="53"/>
                    </a:cubicBezTo>
                    <a:cubicBezTo>
                      <a:pt x="33" y="53"/>
                      <a:pt x="33" y="53"/>
                      <a:pt x="33" y="53"/>
                    </a:cubicBezTo>
                    <a:close/>
                    <a:moveTo>
                      <a:pt x="76" y="52"/>
                    </a:moveTo>
                    <a:cubicBezTo>
                      <a:pt x="76" y="52"/>
                      <a:pt x="77" y="52"/>
                      <a:pt x="77" y="52"/>
                    </a:cubicBezTo>
                    <a:cubicBezTo>
                      <a:pt x="77" y="54"/>
                      <a:pt x="78" y="54"/>
                      <a:pt x="76" y="55"/>
                    </a:cubicBezTo>
                    <a:cubicBezTo>
                      <a:pt x="76" y="55"/>
                      <a:pt x="77" y="53"/>
                      <a:pt x="77" y="52"/>
                    </a:cubicBezTo>
                    <a:cubicBezTo>
                      <a:pt x="76" y="53"/>
                      <a:pt x="76" y="54"/>
                      <a:pt x="75" y="55"/>
                    </a:cubicBezTo>
                    <a:cubicBezTo>
                      <a:pt x="75" y="54"/>
                      <a:pt x="75" y="53"/>
                      <a:pt x="75" y="52"/>
                    </a:cubicBezTo>
                    <a:cubicBezTo>
                      <a:pt x="76" y="52"/>
                      <a:pt x="76" y="52"/>
                      <a:pt x="76" y="52"/>
                    </a:cubicBezTo>
                    <a:cubicBezTo>
                      <a:pt x="76" y="52"/>
                      <a:pt x="76" y="52"/>
                      <a:pt x="76" y="52"/>
                    </a:cubicBezTo>
                    <a:cubicBezTo>
                      <a:pt x="76" y="52"/>
                      <a:pt x="76" y="52"/>
                      <a:pt x="76" y="52"/>
                    </a:cubicBezTo>
                    <a:close/>
                    <a:moveTo>
                      <a:pt x="31" y="52"/>
                    </a:moveTo>
                    <a:cubicBezTo>
                      <a:pt x="31" y="52"/>
                      <a:pt x="31" y="52"/>
                      <a:pt x="31" y="52"/>
                    </a:cubicBezTo>
                    <a:cubicBezTo>
                      <a:pt x="31" y="52"/>
                      <a:pt x="32" y="53"/>
                      <a:pt x="32" y="53"/>
                    </a:cubicBezTo>
                    <a:cubicBezTo>
                      <a:pt x="32" y="53"/>
                      <a:pt x="31" y="52"/>
                      <a:pt x="31" y="52"/>
                    </a:cubicBezTo>
                    <a:cubicBezTo>
                      <a:pt x="31" y="52"/>
                      <a:pt x="31" y="52"/>
                      <a:pt x="31" y="52"/>
                    </a:cubicBezTo>
                    <a:close/>
                    <a:moveTo>
                      <a:pt x="100" y="51"/>
                    </a:moveTo>
                    <a:cubicBezTo>
                      <a:pt x="101" y="50"/>
                      <a:pt x="102" y="49"/>
                      <a:pt x="103" y="48"/>
                    </a:cubicBezTo>
                    <a:cubicBezTo>
                      <a:pt x="101" y="49"/>
                      <a:pt x="99" y="50"/>
                      <a:pt x="98" y="52"/>
                    </a:cubicBezTo>
                    <a:cubicBezTo>
                      <a:pt x="99" y="52"/>
                      <a:pt x="100" y="51"/>
                      <a:pt x="100" y="51"/>
                    </a:cubicBezTo>
                    <a:cubicBezTo>
                      <a:pt x="100" y="51"/>
                      <a:pt x="100" y="51"/>
                      <a:pt x="100" y="51"/>
                    </a:cubicBezTo>
                    <a:close/>
                    <a:moveTo>
                      <a:pt x="93" y="52"/>
                    </a:moveTo>
                    <a:cubicBezTo>
                      <a:pt x="92" y="52"/>
                      <a:pt x="92" y="52"/>
                      <a:pt x="92" y="53"/>
                    </a:cubicBezTo>
                    <a:cubicBezTo>
                      <a:pt x="92" y="53"/>
                      <a:pt x="92" y="53"/>
                      <a:pt x="92" y="53"/>
                    </a:cubicBezTo>
                    <a:cubicBezTo>
                      <a:pt x="92" y="53"/>
                      <a:pt x="93" y="52"/>
                      <a:pt x="93" y="52"/>
                    </a:cubicBezTo>
                    <a:cubicBezTo>
                      <a:pt x="93" y="52"/>
                      <a:pt x="93" y="52"/>
                      <a:pt x="93" y="52"/>
                    </a:cubicBezTo>
                    <a:close/>
                    <a:moveTo>
                      <a:pt x="41" y="52"/>
                    </a:moveTo>
                    <a:cubicBezTo>
                      <a:pt x="41" y="52"/>
                      <a:pt x="41" y="52"/>
                      <a:pt x="41" y="52"/>
                    </a:cubicBezTo>
                    <a:cubicBezTo>
                      <a:pt x="41" y="52"/>
                      <a:pt x="41" y="52"/>
                      <a:pt x="41" y="52"/>
                    </a:cubicBezTo>
                    <a:cubicBezTo>
                      <a:pt x="41" y="52"/>
                      <a:pt x="41" y="52"/>
                      <a:pt x="41" y="52"/>
                    </a:cubicBezTo>
                    <a:cubicBezTo>
                      <a:pt x="41" y="52"/>
                      <a:pt x="41" y="52"/>
                      <a:pt x="41" y="52"/>
                    </a:cubicBezTo>
                    <a:close/>
                    <a:moveTo>
                      <a:pt x="85" y="53"/>
                    </a:moveTo>
                    <a:cubicBezTo>
                      <a:pt x="85" y="52"/>
                      <a:pt x="86" y="52"/>
                      <a:pt x="86" y="52"/>
                    </a:cubicBezTo>
                    <a:cubicBezTo>
                      <a:pt x="85" y="52"/>
                      <a:pt x="85" y="52"/>
                      <a:pt x="85" y="53"/>
                    </a:cubicBezTo>
                    <a:cubicBezTo>
                      <a:pt x="85" y="53"/>
                      <a:pt x="85" y="53"/>
                      <a:pt x="85" y="53"/>
                    </a:cubicBezTo>
                    <a:cubicBezTo>
                      <a:pt x="85" y="53"/>
                      <a:pt x="85" y="53"/>
                      <a:pt x="85" y="53"/>
                    </a:cubicBezTo>
                    <a:close/>
                    <a:moveTo>
                      <a:pt x="30" y="53"/>
                    </a:moveTo>
                    <a:cubicBezTo>
                      <a:pt x="29" y="52"/>
                      <a:pt x="29" y="52"/>
                      <a:pt x="28" y="53"/>
                    </a:cubicBezTo>
                    <a:cubicBezTo>
                      <a:pt x="29" y="53"/>
                      <a:pt x="30" y="53"/>
                      <a:pt x="30" y="53"/>
                    </a:cubicBezTo>
                    <a:cubicBezTo>
                      <a:pt x="30" y="53"/>
                      <a:pt x="30" y="53"/>
                      <a:pt x="30" y="53"/>
                    </a:cubicBezTo>
                    <a:close/>
                    <a:moveTo>
                      <a:pt x="30" y="53"/>
                    </a:moveTo>
                    <a:cubicBezTo>
                      <a:pt x="30" y="53"/>
                      <a:pt x="30" y="53"/>
                      <a:pt x="30" y="53"/>
                    </a:cubicBezTo>
                    <a:cubicBezTo>
                      <a:pt x="30" y="53"/>
                      <a:pt x="30" y="53"/>
                      <a:pt x="30" y="53"/>
                    </a:cubicBezTo>
                    <a:cubicBezTo>
                      <a:pt x="30" y="53"/>
                      <a:pt x="30" y="53"/>
                      <a:pt x="30" y="53"/>
                    </a:cubicBezTo>
                    <a:cubicBezTo>
                      <a:pt x="30" y="53"/>
                      <a:pt x="30" y="53"/>
                      <a:pt x="30" y="53"/>
                    </a:cubicBezTo>
                    <a:cubicBezTo>
                      <a:pt x="30" y="53"/>
                      <a:pt x="30" y="53"/>
                      <a:pt x="30" y="53"/>
                    </a:cubicBezTo>
                    <a:close/>
                    <a:moveTo>
                      <a:pt x="32" y="53"/>
                    </a:moveTo>
                    <a:cubicBezTo>
                      <a:pt x="32" y="53"/>
                      <a:pt x="32" y="53"/>
                      <a:pt x="33" y="53"/>
                    </a:cubicBezTo>
                    <a:cubicBezTo>
                      <a:pt x="33" y="53"/>
                      <a:pt x="33" y="54"/>
                      <a:pt x="33" y="54"/>
                    </a:cubicBezTo>
                    <a:cubicBezTo>
                      <a:pt x="32" y="53"/>
                      <a:pt x="32" y="53"/>
                      <a:pt x="32" y="53"/>
                    </a:cubicBezTo>
                    <a:cubicBezTo>
                      <a:pt x="32" y="53"/>
                      <a:pt x="32" y="53"/>
                      <a:pt x="32" y="53"/>
                    </a:cubicBezTo>
                    <a:close/>
                    <a:moveTo>
                      <a:pt x="87" y="53"/>
                    </a:moveTo>
                    <a:cubicBezTo>
                      <a:pt x="87" y="53"/>
                      <a:pt x="87" y="53"/>
                      <a:pt x="87" y="53"/>
                    </a:cubicBezTo>
                    <a:cubicBezTo>
                      <a:pt x="87" y="53"/>
                      <a:pt x="87" y="53"/>
                      <a:pt x="87" y="53"/>
                    </a:cubicBezTo>
                    <a:cubicBezTo>
                      <a:pt x="87" y="53"/>
                      <a:pt x="87" y="53"/>
                      <a:pt x="87" y="53"/>
                    </a:cubicBezTo>
                    <a:cubicBezTo>
                      <a:pt x="87" y="53"/>
                      <a:pt x="87" y="53"/>
                      <a:pt x="87" y="53"/>
                    </a:cubicBezTo>
                    <a:close/>
                    <a:moveTo>
                      <a:pt x="30" y="53"/>
                    </a:moveTo>
                    <a:cubicBezTo>
                      <a:pt x="30" y="53"/>
                      <a:pt x="31" y="53"/>
                      <a:pt x="31" y="53"/>
                    </a:cubicBezTo>
                    <a:cubicBezTo>
                      <a:pt x="31" y="53"/>
                      <a:pt x="31" y="53"/>
                      <a:pt x="31" y="54"/>
                    </a:cubicBezTo>
                    <a:cubicBezTo>
                      <a:pt x="31" y="54"/>
                      <a:pt x="31" y="53"/>
                      <a:pt x="30" y="53"/>
                    </a:cubicBezTo>
                    <a:cubicBezTo>
                      <a:pt x="30" y="53"/>
                      <a:pt x="30" y="53"/>
                      <a:pt x="30" y="53"/>
                    </a:cubicBezTo>
                    <a:close/>
                    <a:moveTo>
                      <a:pt x="66" y="50"/>
                    </a:moveTo>
                    <a:cubicBezTo>
                      <a:pt x="68" y="51"/>
                      <a:pt x="69" y="52"/>
                      <a:pt x="70" y="53"/>
                    </a:cubicBezTo>
                    <a:cubicBezTo>
                      <a:pt x="69" y="53"/>
                      <a:pt x="68" y="52"/>
                      <a:pt x="66" y="50"/>
                    </a:cubicBezTo>
                    <a:cubicBezTo>
                      <a:pt x="66" y="50"/>
                      <a:pt x="66" y="50"/>
                      <a:pt x="66" y="50"/>
                    </a:cubicBezTo>
                    <a:close/>
                    <a:moveTo>
                      <a:pt x="33" y="53"/>
                    </a:moveTo>
                    <a:cubicBezTo>
                      <a:pt x="33" y="53"/>
                      <a:pt x="33" y="53"/>
                      <a:pt x="33" y="53"/>
                    </a:cubicBezTo>
                    <a:cubicBezTo>
                      <a:pt x="33" y="53"/>
                      <a:pt x="33" y="54"/>
                      <a:pt x="33" y="54"/>
                    </a:cubicBezTo>
                    <a:cubicBezTo>
                      <a:pt x="33" y="54"/>
                      <a:pt x="33" y="54"/>
                      <a:pt x="33" y="54"/>
                    </a:cubicBezTo>
                    <a:cubicBezTo>
                      <a:pt x="33" y="54"/>
                      <a:pt x="34" y="54"/>
                      <a:pt x="34" y="54"/>
                    </a:cubicBezTo>
                    <a:cubicBezTo>
                      <a:pt x="34" y="54"/>
                      <a:pt x="34" y="54"/>
                      <a:pt x="34" y="54"/>
                    </a:cubicBezTo>
                    <a:cubicBezTo>
                      <a:pt x="34" y="54"/>
                      <a:pt x="34" y="54"/>
                      <a:pt x="34" y="54"/>
                    </a:cubicBezTo>
                    <a:cubicBezTo>
                      <a:pt x="34" y="54"/>
                      <a:pt x="34" y="54"/>
                      <a:pt x="33" y="54"/>
                    </a:cubicBezTo>
                    <a:cubicBezTo>
                      <a:pt x="33" y="54"/>
                      <a:pt x="33" y="54"/>
                      <a:pt x="33" y="53"/>
                    </a:cubicBezTo>
                    <a:cubicBezTo>
                      <a:pt x="33" y="53"/>
                      <a:pt x="33" y="53"/>
                      <a:pt x="33" y="53"/>
                    </a:cubicBezTo>
                    <a:close/>
                    <a:moveTo>
                      <a:pt x="91" y="54"/>
                    </a:moveTo>
                    <a:cubicBezTo>
                      <a:pt x="91" y="53"/>
                      <a:pt x="92" y="53"/>
                      <a:pt x="92" y="53"/>
                    </a:cubicBezTo>
                    <a:cubicBezTo>
                      <a:pt x="92" y="53"/>
                      <a:pt x="92" y="53"/>
                      <a:pt x="92" y="54"/>
                    </a:cubicBezTo>
                    <a:cubicBezTo>
                      <a:pt x="92" y="54"/>
                      <a:pt x="91" y="54"/>
                      <a:pt x="91" y="54"/>
                    </a:cubicBezTo>
                    <a:cubicBezTo>
                      <a:pt x="91" y="54"/>
                      <a:pt x="91" y="54"/>
                      <a:pt x="91" y="54"/>
                    </a:cubicBezTo>
                    <a:close/>
                    <a:moveTo>
                      <a:pt x="101" y="54"/>
                    </a:moveTo>
                    <a:cubicBezTo>
                      <a:pt x="101" y="53"/>
                      <a:pt x="101" y="53"/>
                      <a:pt x="101" y="53"/>
                    </a:cubicBezTo>
                    <a:cubicBezTo>
                      <a:pt x="101" y="54"/>
                      <a:pt x="101" y="54"/>
                      <a:pt x="101" y="54"/>
                    </a:cubicBezTo>
                    <a:cubicBezTo>
                      <a:pt x="100" y="54"/>
                      <a:pt x="100" y="54"/>
                      <a:pt x="100" y="54"/>
                    </a:cubicBezTo>
                    <a:cubicBezTo>
                      <a:pt x="100" y="54"/>
                      <a:pt x="100" y="54"/>
                      <a:pt x="101" y="54"/>
                    </a:cubicBezTo>
                    <a:cubicBezTo>
                      <a:pt x="101" y="54"/>
                      <a:pt x="101" y="54"/>
                      <a:pt x="101" y="54"/>
                    </a:cubicBezTo>
                    <a:close/>
                    <a:moveTo>
                      <a:pt x="34" y="54"/>
                    </a:moveTo>
                    <a:cubicBezTo>
                      <a:pt x="34" y="54"/>
                      <a:pt x="34" y="54"/>
                      <a:pt x="34" y="54"/>
                    </a:cubicBezTo>
                    <a:cubicBezTo>
                      <a:pt x="34" y="54"/>
                      <a:pt x="34" y="54"/>
                      <a:pt x="34" y="54"/>
                    </a:cubicBezTo>
                    <a:cubicBezTo>
                      <a:pt x="34" y="54"/>
                      <a:pt x="34" y="54"/>
                      <a:pt x="34" y="54"/>
                    </a:cubicBezTo>
                    <a:cubicBezTo>
                      <a:pt x="34" y="54"/>
                      <a:pt x="34" y="54"/>
                      <a:pt x="34" y="54"/>
                    </a:cubicBezTo>
                    <a:close/>
                    <a:moveTo>
                      <a:pt x="79" y="54"/>
                    </a:moveTo>
                    <a:cubicBezTo>
                      <a:pt x="79" y="54"/>
                      <a:pt x="79" y="54"/>
                      <a:pt x="79" y="54"/>
                    </a:cubicBezTo>
                    <a:cubicBezTo>
                      <a:pt x="78" y="54"/>
                      <a:pt x="78" y="54"/>
                      <a:pt x="78" y="54"/>
                    </a:cubicBezTo>
                    <a:cubicBezTo>
                      <a:pt x="78" y="54"/>
                      <a:pt x="78" y="54"/>
                      <a:pt x="79" y="54"/>
                    </a:cubicBezTo>
                    <a:cubicBezTo>
                      <a:pt x="79" y="54"/>
                      <a:pt x="79" y="54"/>
                      <a:pt x="79" y="54"/>
                    </a:cubicBezTo>
                    <a:close/>
                    <a:moveTo>
                      <a:pt x="96" y="54"/>
                    </a:moveTo>
                    <a:cubicBezTo>
                      <a:pt x="96" y="54"/>
                      <a:pt x="96" y="54"/>
                      <a:pt x="96" y="54"/>
                    </a:cubicBezTo>
                    <a:cubicBezTo>
                      <a:pt x="96" y="54"/>
                      <a:pt x="96" y="54"/>
                      <a:pt x="95" y="54"/>
                    </a:cubicBezTo>
                    <a:cubicBezTo>
                      <a:pt x="95" y="54"/>
                      <a:pt x="95" y="54"/>
                      <a:pt x="95" y="54"/>
                    </a:cubicBezTo>
                    <a:cubicBezTo>
                      <a:pt x="95" y="54"/>
                      <a:pt x="95" y="54"/>
                      <a:pt x="95" y="54"/>
                    </a:cubicBezTo>
                    <a:cubicBezTo>
                      <a:pt x="95" y="54"/>
                      <a:pt x="95" y="54"/>
                      <a:pt x="95" y="55"/>
                    </a:cubicBezTo>
                    <a:cubicBezTo>
                      <a:pt x="95" y="55"/>
                      <a:pt x="95" y="54"/>
                      <a:pt x="94" y="54"/>
                    </a:cubicBezTo>
                    <a:cubicBezTo>
                      <a:pt x="95" y="54"/>
                      <a:pt x="95" y="54"/>
                      <a:pt x="96" y="54"/>
                    </a:cubicBezTo>
                    <a:cubicBezTo>
                      <a:pt x="96" y="54"/>
                      <a:pt x="96" y="54"/>
                      <a:pt x="96" y="54"/>
                    </a:cubicBezTo>
                    <a:close/>
                    <a:moveTo>
                      <a:pt x="96" y="54"/>
                    </a:moveTo>
                    <a:cubicBezTo>
                      <a:pt x="96" y="54"/>
                      <a:pt x="96" y="54"/>
                      <a:pt x="96" y="54"/>
                    </a:cubicBezTo>
                    <a:cubicBezTo>
                      <a:pt x="96" y="54"/>
                      <a:pt x="96" y="54"/>
                      <a:pt x="96" y="54"/>
                    </a:cubicBezTo>
                    <a:cubicBezTo>
                      <a:pt x="96" y="54"/>
                      <a:pt x="96" y="54"/>
                      <a:pt x="97" y="54"/>
                    </a:cubicBezTo>
                    <a:cubicBezTo>
                      <a:pt x="96" y="54"/>
                      <a:pt x="96" y="54"/>
                      <a:pt x="96" y="54"/>
                    </a:cubicBezTo>
                    <a:cubicBezTo>
                      <a:pt x="96" y="54"/>
                      <a:pt x="96" y="54"/>
                      <a:pt x="96" y="54"/>
                    </a:cubicBezTo>
                    <a:close/>
                    <a:moveTo>
                      <a:pt x="34" y="54"/>
                    </a:moveTo>
                    <a:cubicBezTo>
                      <a:pt x="34" y="54"/>
                      <a:pt x="34" y="54"/>
                      <a:pt x="34" y="54"/>
                    </a:cubicBezTo>
                    <a:cubicBezTo>
                      <a:pt x="34" y="54"/>
                      <a:pt x="34" y="54"/>
                      <a:pt x="34" y="54"/>
                    </a:cubicBezTo>
                    <a:cubicBezTo>
                      <a:pt x="34" y="54"/>
                      <a:pt x="34" y="54"/>
                      <a:pt x="34" y="54"/>
                    </a:cubicBezTo>
                    <a:cubicBezTo>
                      <a:pt x="35" y="55"/>
                      <a:pt x="34" y="55"/>
                      <a:pt x="34" y="54"/>
                    </a:cubicBezTo>
                    <a:cubicBezTo>
                      <a:pt x="34" y="54"/>
                      <a:pt x="34" y="54"/>
                      <a:pt x="34" y="54"/>
                    </a:cubicBezTo>
                    <a:close/>
                    <a:moveTo>
                      <a:pt x="94" y="54"/>
                    </a:moveTo>
                    <a:cubicBezTo>
                      <a:pt x="94" y="54"/>
                      <a:pt x="94" y="54"/>
                      <a:pt x="94" y="54"/>
                    </a:cubicBezTo>
                    <a:cubicBezTo>
                      <a:pt x="94" y="54"/>
                      <a:pt x="94" y="54"/>
                      <a:pt x="94" y="54"/>
                    </a:cubicBezTo>
                    <a:cubicBezTo>
                      <a:pt x="94" y="54"/>
                      <a:pt x="94" y="54"/>
                      <a:pt x="94" y="54"/>
                    </a:cubicBezTo>
                    <a:cubicBezTo>
                      <a:pt x="94" y="54"/>
                      <a:pt x="94" y="54"/>
                      <a:pt x="94" y="54"/>
                    </a:cubicBezTo>
                    <a:close/>
                    <a:moveTo>
                      <a:pt x="48" y="54"/>
                    </a:moveTo>
                    <a:cubicBezTo>
                      <a:pt x="48" y="54"/>
                      <a:pt x="48" y="54"/>
                      <a:pt x="49" y="54"/>
                    </a:cubicBezTo>
                    <a:cubicBezTo>
                      <a:pt x="49" y="54"/>
                      <a:pt x="49" y="54"/>
                      <a:pt x="49" y="55"/>
                    </a:cubicBezTo>
                    <a:cubicBezTo>
                      <a:pt x="49" y="55"/>
                      <a:pt x="49" y="55"/>
                      <a:pt x="49" y="55"/>
                    </a:cubicBezTo>
                    <a:cubicBezTo>
                      <a:pt x="49" y="55"/>
                      <a:pt x="49" y="55"/>
                      <a:pt x="49" y="55"/>
                    </a:cubicBezTo>
                    <a:cubicBezTo>
                      <a:pt x="48" y="55"/>
                      <a:pt x="48" y="54"/>
                      <a:pt x="48" y="54"/>
                    </a:cubicBezTo>
                    <a:cubicBezTo>
                      <a:pt x="48" y="54"/>
                      <a:pt x="48" y="54"/>
                      <a:pt x="48" y="54"/>
                    </a:cubicBezTo>
                    <a:close/>
                    <a:moveTo>
                      <a:pt x="62" y="53"/>
                    </a:moveTo>
                    <a:cubicBezTo>
                      <a:pt x="63" y="54"/>
                      <a:pt x="64" y="54"/>
                      <a:pt x="64" y="54"/>
                    </a:cubicBezTo>
                    <a:cubicBezTo>
                      <a:pt x="63" y="53"/>
                      <a:pt x="62" y="52"/>
                      <a:pt x="60" y="52"/>
                    </a:cubicBezTo>
                    <a:cubicBezTo>
                      <a:pt x="61" y="52"/>
                      <a:pt x="62" y="53"/>
                      <a:pt x="62" y="53"/>
                    </a:cubicBezTo>
                    <a:cubicBezTo>
                      <a:pt x="62" y="53"/>
                      <a:pt x="62" y="53"/>
                      <a:pt x="62" y="53"/>
                    </a:cubicBezTo>
                    <a:close/>
                    <a:moveTo>
                      <a:pt x="100" y="54"/>
                    </a:moveTo>
                    <a:cubicBezTo>
                      <a:pt x="100" y="54"/>
                      <a:pt x="100" y="54"/>
                      <a:pt x="101" y="54"/>
                    </a:cubicBezTo>
                    <a:cubicBezTo>
                      <a:pt x="100" y="55"/>
                      <a:pt x="99" y="55"/>
                      <a:pt x="98" y="55"/>
                    </a:cubicBezTo>
                    <a:cubicBezTo>
                      <a:pt x="98" y="55"/>
                      <a:pt x="99" y="55"/>
                      <a:pt x="99" y="55"/>
                    </a:cubicBezTo>
                    <a:cubicBezTo>
                      <a:pt x="99" y="55"/>
                      <a:pt x="99" y="55"/>
                      <a:pt x="99" y="55"/>
                    </a:cubicBezTo>
                    <a:cubicBezTo>
                      <a:pt x="99" y="55"/>
                      <a:pt x="99" y="55"/>
                      <a:pt x="100" y="54"/>
                    </a:cubicBezTo>
                    <a:cubicBezTo>
                      <a:pt x="100" y="54"/>
                      <a:pt x="100" y="54"/>
                      <a:pt x="100" y="54"/>
                    </a:cubicBezTo>
                    <a:close/>
                    <a:moveTo>
                      <a:pt x="90" y="55"/>
                    </a:moveTo>
                    <a:cubicBezTo>
                      <a:pt x="90" y="55"/>
                      <a:pt x="90" y="54"/>
                      <a:pt x="90" y="54"/>
                    </a:cubicBezTo>
                    <a:cubicBezTo>
                      <a:pt x="90" y="55"/>
                      <a:pt x="90" y="56"/>
                      <a:pt x="89" y="56"/>
                    </a:cubicBezTo>
                    <a:cubicBezTo>
                      <a:pt x="89" y="56"/>
                      <a:pt x="89" y="56"/>
                      <a:pt x="89" y="56"/>
                    </a:cubicBezTo>
                    <a:cubicBezTo>
                      <a:pt x="89" y="56"/>
                      <a:pt x="89" y="55"/>
                      <a:pt x="90" y="55"/>
                    </a:cubicBezTo>
                    <a:cubicBezTo>
                      <a:pt x="90" y="55"/>
                      <a:pt x="89" y="55"/>
                      <a:pt x="89" y="55"/>
                    </a:cubicBezTo>
                    <a:cubicBezTo>
                      <a:pt x="90" y="55"/>
                      <a:pt x="90" y="55"/>
                      <a:pt x="90" y="55"/>
                    </a:cubicBezTo>
                    <a:cubicBezTo>
                      <a:pt x="90" y="55"/>
                      <a:pt x="90" y="55"/>
                      <a:pt x="90" y="55"/>
                    </a:cubicBezTo>
                    <a:close/>
                    <a:moveTo>
                      <a:pt x="78" y="55"/>
                    </a:moveTo>
                    <a:cubicBezTo>
                      <a:pt x="78" y="54"/>
                      <a:pt x="78" y="54"/>
                      <a:pt x="79" y="54"/>
                    </a:cubicBezTo>
                    <a:cubicBezTo>
                      <a:pt x="79" y="54"/>
                      <a:pt x="79" y="55"/>
                      <a:pt x="79" y="55"/>
                    </a:cubicBezTo>
                    <a:cubicBezTo>
                      <a:pt x="78" y="55"/>
                      <a:pt x="78" y="55"/>
                      <a:pt x="78" y="55"/>
                    </a:cubicBezTo>
                    <a:cubicBezTo>
                      <a:pt x="78" y="55"/>
                      <a:pt x="78" y="55"/>
                      <a:pt x="78" y="55"/>
                    </a:cubicBezTo>
                    <a:cubicBezTo>
                      <a:pt x="78" y="55"/>
                      <a:pt x="78" y="55"/>
                      <a:pt x="78" y="55"/>
                    </a:cubicBezTo>
                    <a:close/>
                    <a:moveTo>
                      <a:pt x="97" y="55"/>
                    </a:moveTo>
                    <a:cubicBezTo>
                      <a:pt x="97" y="55"/>
                      <a:pt x="96" y="54"/>
                      <a:pt x="96" y="54"/>
                    </a:cubicBezTo>
                    <a:cubicBezTo>
                      <a:pt x="96" y="54"/>
                      <a:pt x="96" y="55"/>
                      <a:pt x="96" y="55"/>
                    </a:cubicBezTo>
                    <a:cubicBezTo>
                      <a:pt x="96" y="55"/>
                      <a:pt x="96" y="55"/>
                      <a:pt x="96" y="55"/>
                    </a:cubicBezTo>
                    <a:cubicBezTo>
                      <a:pt x="96" y="55"/>
                      <a:pt x="96" y="55"/>
                      <a:pt x="95" y="55"/>
                    </a:cubicBezTo>
                    <a:cubicBezTo>
                      <a:pt x="96" y="55"/>
                      <a:pt x="96" y="55"/>
                      <a:pt x="96" y="55"/>
                    </a:cubicBezTo>
                    <a:cubicBezTo>
                      <a:pt x="96" y="55"/>
                      <a:pt x="96" y="55"/>
                      <a:pt x="96" y="55"/>
                    </a:cubicBezTo>
                    <a:cubicBezTo>
                      <a:pt x="96" y="55"/>
                      <a:pt x="96" y="55"/>
                      <a:pt x="96" y="55"/>
                    </a:cubicBezTo>
                    <a:cubicBezTo>
                      <a:pt x="97" y="55"/>
                      <a:pt x="97" y="55"/>
                      <a:pt x="97" y="55"/>
                    </a:cubicBezTo>
                    <a:cubicBezTo>
                      <a:pt x="97" y="55"/>
                      <a:pt x="97" y="55"/>
                      <a:pt x="97" y="55"/>
                    </a:cubicBezTo>
                    <a:cubicBezTo>
                      <a:pt x="97" y="55"/>
                      <a:pt x="97" y="55"/>
                      <a:pt x="97" y="55"/>
                    </a:cubicBezTo>
                    <a:cubicBezTo>
                      <a:pt x="97" y="55"/>
                      <a:pt x="97" y="55"/>
                      <a:pt x="97" y="55"/>
                    </a:cubicBezTo>
                    <a:cubicBezTo>
                      <a:pt x="97" y="55"/>
                      <a:pt x="97" y="55"/>
                      <a:pt x="97" y="55"/>
                    </a:cubicBezTo>
                    <a:close/>
                    <a:moveTo>
                      <a:pt x="30" y="55"/>
                    </a:moveTo>
                    <a:cubicBezTo>
                      <a:pt x="30" y="55"/>
                      <a:pt x="29" y="55"/>
                      <a:pt x="29" y="55"/>
                    </a:cubicBezTo>
                    <a:cubicBezTo>
                      <a:pt x="29" y="55"/>
                      <a:pt x="28" y="55"/>
                      <a:pt x="27" y="56"/>
                    </a:cubicBezTo>
                    <a:cubicBezTo>
                      <a:pt x="28" y="56"/>
                      <a:pt x="29" y="55"/>
                      <a:pt x="30" y="55"/>
                    </a:cubicBezTo>
                    <a:cubicBezTo>
                      <a:pt x="30" y="55"/>
                      <a:pt x="30" y="55"/>
                      <a:pt x="30" y="55"/>
                    </a:cubicBezTo>
                    <a:close/>
                    <a:moveTo>
                      <a:pt x="59" y="52"/>
                    </a:moveTo>
                    <a:cubicBezTo>
                      <a:pt x="60" y="53"/>
                      <a:pt x="61" y="54"/>
                      <a:pt x="62" y="55"/>
                    </a:cubicBezTo>
                    <a:cubicBezTo>
                      <a:pt x="61" y="54"/>
                      <a:pt x="60" y="53"/>
                      <a:pt x="59" y="52"/>
                    </a:cubicBezTo>
                    <a:cubicBezTo>
                      <a:pt x="59" y="52"/>
                      <a:pt x="59" y="52"/>
                      <a:pt x="59" y="52"/>
                    </a:cubicBezTo>
                    <a:close/>
                    <a:moveTo>
                      <a:pt x="82" y="55"/>
                    </a:moveTo>
                    <a:cubicBezTo>
                      <a:pt x="82" y="55"/>
                      <a:pt x="82" y="55"/>
                      <a:pt x="82" y="55"/>
                    </a:cubicBezTo>
                    <a:cubicBezTo>
                      <a:pt x="82" y="55"/>
                      <a:pt x="82" y="55"/>
                      <a:pt x="82" y="55"/>
                    </a:cubicBezTo>
                    <a:cubicBezTo>
                      <a:pt x="82" y="55"/>
                      <a:pt x="82" y="55"/>
                      <a:pt x="82" y="55"/>
                    </a:cubicBezTo>
                    <a:cubicBezTo>
                      <a:pt x="82" y="55"/>
                      <a:pt x="82" y="55"/>
                      <a:pt x="82" y="55"/>
                    </a:cubicBezTo>
                    <a:close/>
                    <a:moveTo>
                      <a:pt x="98" y="55"/>
                    </a:moveTo>
                    <a:cubicBezTo>
                      <a:pt x="98" y="55"/>
                      <a:pt x="98" y="55"/>
                      <a:pt x="98" y="55"/>
                    </a:cubicBezTo>
                    <a:cubicBezTo>
                      <a:pt x="98" y="55"/>
                      <a:pt x="98" y="55"/>
                      <a:pt x="98" y="56"/>
                    </a:cubicBezTo>
                    <a:cubicBezTo>
                      <a:pt x="98" y="55"/>
                      <a:pt x="98" y="55"/>
                      <a:pt x="98" y="55"/>
                    </a:cubicBezTo>
                    <a:cubicBezTo>
                      <a:pt x="98" y="55"/>
                      <a:pt x="98" y="55"/>
                      <a:pt x="98" y="55"/>
                    </a:cubicBezTo>
                    <a:close/>
                    <a:moveTo>
                      <a:pt x="82" y="55"/>
                    </a:moveTo>
                    <a:cubicBezTo>
                      <a:pt x="82" y="55"/>
                      <a:pt x="82" y="55"/>
                      <a:pt x="82" y="55"/>
                    </a:cubicBezTo>
                    <a:cubicBezTo>
                      <a:pt x="81" y="55"/>
                      <a:pt x="81" y="55"/>
                      <a:pt x="81" y="56"/>
                    </a:cubicBezTo>
                    <a:cubicBezTo>
                      <a:pt x="81" y="56"/>
                      <a:pt x="81" y="55"/>
                      <a:pt x="82" y="55"/>
                    </a:cubicBezTo>
                    <a:cubicBezTo>
                      <a:pt x="82" y="55"/>
                      <a:pt x="82" y="55"/>
                      <a:pt x="82" y="55"/>
                    </a:cubicBezTo>
                    <a:close/>
                    <a:moveTo>
                      <a:pt x="97" y="55"/>
                    </a:moveTo>
                    <a:cubicBezTo>
                      <a:pt x="97" y="55"/>
                      <a:pt x="97" y="55"/>
                      <a:pt x="97" y="55"/>
                    </a:cubicBezTo>
                    <a:cubicBezTo>
                      <a:pt x="97" y="55"/>
                      <a:pt x="97" y="55"/>
                      <a:pt x="97" y="56"/>
                    </a:cubicBezTo>
                    <a:cubicBezTo>
                      <a:pt x="97" y="55"/>
                      <a:pt x="97" y="55"/>
                      <a:pt x="97" y="55"/>
                    </a:cubicBezTo>
                    <a:cubicBezTo>
                      <a:pt x="97" y="55"/>
                      <a:pt x="97" y="55"/>
                      <a:pt x="97" y="55"/>
                    </a:cubicBezTo>
                    <a:close/>
                    <a:moveTo>
                      <a:pt x="97" y="56"/>
                    </a:moveTo>
                    <a:cubicBezTo>
                      <a:pt x="97" y="55"/>
                      <a:pt x="97" y="55"/>
                      <a:pt x="97" y="55"/>
                    </a:cubicBezTo>
                    <a:cubicBezTo>
                      <a:pt x="96" y="56"/>
                      <a:pt x="96" y="56"/>
                      <a:pt x="96" y="56"/>
                    </a:cubicBezTo>
                    <a:cubicBezTo>
                      <a:pt x="96" y="56"/>
                      <a:pt x="96" y="56"/>
                      <a:pt x="97" y="56"/>
                    </a:cubicBezTo>
                    <a:cubicBezTo>
                      <a:pt x="97" y="56"/>
                      <a:pt x="96" y="57"/>
                      <a:pt x="96" y="57"/>
                    </a:cubicBezTo>
                    <a:cubicBezTo>
                      <a:pt x="97" y="56"/>
                      <a:pt x="97" y="56"/>
                      <a:pt x="97" y="56"/>
                    </a:cubicBezTo>
                    <a:cubicBezTo>
                      <a:pt x="97" y="56"/>
                      <a:pt x="97" y="56"/>
                      <a:pt x="97" y="56"/>
                    </a:cubicBezTo>
                    <a:close/>
                    <a:moveTo>
                      <a:pt x="95" y="56"/>
                    </a:moveTo>
                    <a:cubicBezTo>
                      <a:pt x="96" y="56"/>
                      <a:pt x="96" y="55"/>
                      <a:pt x="96" y="55"/>
                    </a:cubicBezTo>
                    <a:cubicBezTo>
                      <a:pt x="96" y="56"/>
                      <a:pt x="96" y="56"/>
                      <a:pt x="95" y="57"/>
                    </a:cubicBezTo>
                    <a:cubicBezTo>
                      <a:pt x="95" y="57"/>
                      <a:pt x="95" y="57"/>
                      <a:pt x="95" y="56"/>
                    </a:cubicBezTo>
                    <a:cubicBezTo>
                      <a:pt x="95" y="56"/>
                      <a:pt x="95" y="56"/>
                      <a:pt x="95" y="56"/>
                    </a:cubicBezTo>
                    <a:cubicBezTo>
                      <a:pt x="95" y="56"/>
                      <a:pt x="95" y="56"/>
                      <a:pt x="95" y="56"/>
                    </a:cubicBezTo>
                    <a:close/>
                    <a:moveTo>
                      <a:pt x="75" y="56"/>
                    </a:moveTo>
                    <a:cubicBezTo>
                      <a:pt x="75" y="55"/>
                      <a:pt x="75" y="55"/>
                      <a:pt x="75" y="54"/>
                    </a:cubicBezTo>
                    <a:cubicBezTo>
                      <a:pt x="74" y="55"/>
                      <a:pt x="74" y="56"/>
                      <a:pt x="73" y="57"/>
                    </a:cubicBezTo>
                    <a:cubicBezTo>
                      <a:pt x="74" y="57"/>
                      <a:pt x="74" y="57"/>
                      <a:pt x="75" y="57"/>
                    </a:cubicBezTo>
                    <a:cubicBezTo>
                      <a:pt x="75" y="57"/>
                      <a:pt x="75" y="56"/>
                      <a:pt x="75" y="56"/>
                    </a:cubicBezTo>
                    <a:cubicBezTo>
                      <a:pt x="75" y="56"/>
                      <a:pt x="75" y="56"/>
                      <a:pt x="75" y="56"/>
                    </a:cubicBezTo>
                    <a:close/>
                    <a:moveTo>
                      <a:pt x="95" y="56"/>
                    </a:moveTo>
                    <a:cubicBezTo>
                      <a:pt x="95" y="56"/>
                      <a:pt x="95" y="56"/>
                      <a:pt x="95" y="56"/>
                    </a:cubicBezTo>
                    <a:cubicBezTo>
                      <a:pt x="95" y="56"/>
                      <a:pt x="95" y="56"/>
                      <a:pt x="95" y="56"/>
                    </a:cubicBezTo>
                    <a:cubicBezTo>
                      <a:pt x="94" y="56"/>
                      <a:pt x="94" y="56"/>
                      <a:pt x="94" y="56"/>
                    </a:cubicBezTo>
                    <a:cubicBezTo>
                      <a:pt x="94" y="56"/>
                      <a:pt x="94" y="56"/>
                      <a:pt x="94" y="56"/>
                    </a:cubicBezTo>
                    <a:cubicBezTo>
                      <a:pt x="94" y="56"/>
                      <a:pt x="94" y="56"/>
                      <a:pt x="95" y="56"/>
                    </a:cubicBezTo>
                    <a:cubicBezTo>
                      <a:pt x="95" y="56"/>
                      <a:pt x="95" y="56"/>
                      <a:pt x="95" y="56"/>
                    </a:cubicBezTo>
                    <a:close/>
                    <a:moveTo>
                      <a:pt x="93" y="56"/>
                    </a:moveTo>
                    <a:cubicBezTo>
                      <a:pt x="93" y="56"/>
                      <a:pt x="92" y="56"/>
                      <a:pt x="92" y="56"/>
                    </a:cubicBezTo>
                    <a:cubicBezTo>
                      <a:pt x="92" y="56"/>
                      <a:pt x="93" y="56"/>
                      <a:pt x="93" y="56"/>
                    </a:cubicBezTo>
                    <a:cubicBezTo>
                      <a:pt x="93" y="56"/>
                      <a:pt x="93" y="56"/>
                      <a:pt x="93" y="56"/>
                    </a:cubicBezTo>
                    <a:cubicBezTo>
                      <a:pt x="93" y="56"/>
                      <a:pt x="93" y="56"/>
                      <a:pt x="93" y="56"/>
                    </a:cubicBezTo>
                    <a:close/>
                    <a:moveTo>
                      <a:pt x="94" y="56"/>
                    </a:moveTo>
                    <a:cubicBezTo>
                      <a:pt x="94" y="56"/>
                      <a:pt x="93" y="56"/>
                      <a:pt x="93" y="56"/>
                    </a:cubicBezTo>
                    <a:cubicBezTo>
                      <a:pt x="93" y="56"/>
                      <a:pt x="93" y="56"/>
                      <a:pt x="93" y="56"/>
                    </a:cubicBezTo>
                    <a:cubicBezTo>
                      <a:pt x="93" y="56"/>
                      <a:pt x="93" y="56"/>
                      <a:pt x="93" y="56"/>
                    </a:cubicBezTo>
                    <a:cubicBezTo>
                      <a:pt x="94" y="56"/>
                      <a:pt x="94" y="56"/>
                      <a:pt x="94" y="56"/>
                    </a:cubicBezTo>
                    <a:cubicBezTo>
                      <a:pt x="94" y="56"/>
                      <a:pt x="94" y="56"/>
                      <a:pt x="94" y="56"/>
                    </a:cubicBezTo>
                    <a:close/>
                    <a:moveTo>
                      <a:pt x="86" y="56"/>
                    </a:moveTo>
                    <a:cubicBezTo>
                      <a:pt x="86" y="56"/>
                      <a:pt x="86" y="56"/>
                      <a:pt x="86" y="56"/>
                    </a:cubicBezTo>
                    <a:cubicBezTo>
                      <a:pt x="86" y="56"/>
                      <a:pt x="86" y="56"/>
                      <a:pt x="86" y="56"/>
                    </a:cubicBezTo>
                    <a:cubicBezTo>
                      <a:pt x="86" y="56"/>
                      <a:pt x="86" y="56"/>
                      <a:pt x="86" y="56"/>
                    </a:cubicBezTo>
                    <a:cubicBezTo>
                      <a:pt x="86" y="56"/>
                      <a:pt x="86" y="56"/>
                      <a:pt x="86" y="56"/>
                    </a:cubicBezTo>
                    <a:close/>
                    <a:moveTo>
                      <a:pt x="90" y="56"/>
                    </a:moveTo>
                    <a:cubicBezTo>
                      <a:pt x="90" y="56"/>
                      <a:pt x="90" y="56"/>
                      <a:pt x="90" y="56"/>
                    </a:cubicBezTo>
                    <a:cubicBezTo>
                      <a:pt x="90" y="56"/>
                      <a:pt x="90" y="56"/>
                      <a:pt x="90" y="56"/>
                    </a:cubicBezTo>
                    <a:cubicBezTo>
                      <a:pt x="90" y="56"/>
                      <a:pt x="90" y="56"/>
                      <a:pt x="90" y="56"/>
                    </a:cubicBezTo>
                    <a:cubicBezTo>
                      <a:pt x="90" y="56"/>
                      <a:pt x="90" y="56"/>
                      <a:pt x="90" y="56"/>
                    </a:cubicBezTo>
                    <a:close/>
                    <a:moveTo>
                      <a:pt x="89" y="56"/>
                    </a:moveTo>
                    <a:cubicBezTo>
                      <a:pt x="89" y="56"/>
                      <a:pt x="89" y="56"/>
                      <a:pt x="90" y="56"/>
                    </a:cubicBezTo>
                    <a:cubicBezTo>
                      <a:pt x="90" y="56"/>
                      <a:pt x="90" y="56"/>
                      <a:pt x="90" y="57"/>
                    </a:cubicBezTo>
                    <a:cubicBezTo>
                      <a:pt x="90" y="57"/>
                      <a:pt x="90" y="57"/>
                      <a:pt x="89" y="57"/>
                    </a:cubicBezTo>
                    <a:cubicBezTo>
                      <a:pt x="89" y="57"/>
                      <a:pt x="89" y="57"/>
                      <a:pt x="89" y="57"/>
                    </a:cubicBezTo>
                    <a:cubicBezTo>
                      <a:pt x="89" y="57"/>
                      <a:pt x="89" y="57"/>
                      <a:pt x="89" y="56"/>
                    </a:cubicBezTo>
                    <a:cubicBezTo>
                      <a:pt x="89" y="56"/>
                      <a:pt x="89" y="56"/>
                      <a:pt x="89" y="56"/>
                    </a:cubicBezTo>
                    <a:close/>
                    <a:moveTo>
                      <a:pt x="85" y="57"/>
                    </a:moveTo>
                    <a:cubicBezTo>
                      <a:pt x="85" y="56"/>
                      <a:pt x="85" y="56"/>
                      <a:pt x="86" y="56"/>
                    </a:cubicBezTo>
                    <a:cubicBezTo>
                      <a:pt x="86" y="56"/>
                      <a:pt x="86" y="56"/>
                      <a:pt x="86" y="57"/>
                    </a:cubicBezTo>
                    <a:cubicBezTo>
                      <a:pt x="86" y="57"/>
                      <a:pt x="86" y="57"/>
                      <a:pt x="86" y="57"/>
                    </a:cubicBezTo>
                    <a:cubicBezTo>
                      <a:pt x="85" y="57"/>
                      <a:pt x="85" y="57"/>
                      <a:pt x="84" y="57"/>
                    </a:cubicBezTo>
                    <a:cubicBezTo>
                      <a:pt x="85" y="57"/>
                      <a:pt x="85" y="57"/>
                      <a:pt x="85" y="57"/>
                    </a:cubicBezTo>
                    <a:cubicBezTo>
                      <a:pt x="85" y="57"/>
                      <a:pt x="85" y="57"/>
                      <a:pt x="85" y="57"/>
                    </a:cubicBezTo>
                    <a:close/>
                    <a:moveTo>
                      <a:pt x="87" y="57"/>
                    </a:moveTo>
                    <a:cubicBezTo>
                      <a:pt x="87" y="56"/>
                      <a:pt x="87" y="56"/>
                      <a:pt x="87" y="56"/>
                    </a:cubicBezTo>
                    <a:cubicBezTo>
                      <a:pt x="87" y="57"/>
                      <a:pt x="87" y="57"/>
                      <a:pt x="87" y="57"/>
                    </a:cubicBezTo>
                    <a:cubicBezTo>
                      <a:pt x="87" y="57"/>
                      <a:pt x="87" y="57"/>
                      <a:pt x="87" y="57"/>
                    </a:cubicBezTo>
                    <a:close/>
                    <a:moveTo>
                      <a:pt x="90" y="57"/>
                    </a:moveTo>
                    <a:cubicBezTo>
                      <a:pt x="90" y="57"/>
                      <a:pt x="90" y="57"/>
                      <a:pt x="90" y="57"/>
                    </a:cubicBezTo>
                    <a:cubicBezTo>
                      <a:pt x="90" y="57"/>
                      <a:pt x="90" y="57"/>
                      <a:pt x="90" y="57"/>
                    </a:cubicBezTo>
                    <a:cubicBezTo>
                      <a:pt x="90" y="57"/>
                      <a:pt x="90" y="57"/>
                      <a:pt x="90" y="57"/>
                    </a:cubicBezTo>
                    <a:cubicBezTo>
                      <a:pt x="90" y="57"/>
                      <a:pt x="90" y="57"/>
                      <a:pt x="90" y="57"/>
                    </a:cubicBezTo>
                    <a:cubicBezTo>
                      <a:pt x="90" y="57"/>
                      <a:pt x="90" y="57"/>
                      <a:pt x="90" y="57"/>
                    </a:cubicBezTo>
                    <a:cubicBezTo>
                      <a:pt x="90" y="57"/>
                      <a:pt x="90" y="57"/>
                      <a:pt x="90" y="57"/>
                    </a:cubicBezTo>
                    <a:cubicBezTo>
                      <a:pt x="90" y="57"/>
                      <a:pt x="90" y="57"/>
                      <a:pt x="90" y="57"/>
                    </a:cubicBezTo>
                    <a:close/>
                    <a:moveTo>
                      <a:pt x="86" y="57"/>
                    </a:moveTo>
                    <a:cubicBezTo>
                      <a:pt x="86" y="57"/>
                      <a:pt x="86" y="57"/>
                      <a:pt x="86" y="57"/>
                    </a:cubicBezTo>
                    <a:cubicBezTo>
                      <a:pt x="86" y="57"/>
                      <a:pt x="86" y="57"/>
                      <a:pt x="86" y="57"/>
                    </a:cubicBezTo>
                    <a:cubicBezTo>
                      <a:pt x="86" y="57"/>
                      <a:pt x="86" y="57"/>
                      <a:pt x="86" y="57"/>
                    </a:cubicBezTo>
                    <a:cubicBezTo>
                      <a:pt x="86" y="57"/>
                      <a:pt x="86" y="57"/>
                      <a:pt x="86" y="57"/>
                    </a:cubicBezTo>
                    <a:close/>
                    <a:moveTo>
                      <a:pt x="91" y="57"/>
                    </a:moveTo>
                    <a:cubicBezTo>
                      <a:pt x="91" y="57"/>
                      <a:pt x="91" y="57"/>
                      <a:pt x="91" y="57"/>
                    </a:cubicBezTo>
                    <a:cubicBezTo>
                      <a:pt x="91" y="57"/>
                      <a:pt x="91" y="57"/>
                      <a:pt x="91" y="57"/>
                    </a:cubicBezTo>
                    <a:cubicBezTo>
                      <a:pt x="91" y="57"/>
                      <a:pt x="91" y="57"/>
                      <a:pt x="91" y="57"/>
                    </a:cubicBezTo>
                    <a:cubicBezTo>
                      <a:pt x="91" y="57"/>
                      <a:pt x="91" y="58"/>
                      <a:pt x="91" y="58"/>
                    </a:cubicBezTo>
                    <a:cubicBezTo>
                      <a:pt x="91" y="58"/>
                      <a:pt x="91" y="57"/>
                      <a:pt x="91" y="57"/>
                    </a:cubicBezTo>
                    <a:cubicBezTo>
                      <a:pt x="91" y="57"/>
                      <a:pt x="91" y="57"/>
                      <a:pt x="91" y="57"/>
                    </a:cubicBezTo>
                    <a:close/>
                    <a:moveTo>
                      <a:pt x="92" y="57"/>
                    </a:moveTo>
                    <a:cubicBezTo>
                      <a:pt x="92" y="57"/>
                      <a:pt x="92" y="57"/>
                      <a:pt x="92" y="57"/>
                    </a:cubicBezTo>
                    <a:cubicBezTo>
                      <a:pt x="92" y="57"/>
                      <a:pt x="92" y="57"/>
                      <a:pt x="92" y="57"/>
                    </a:cubicBezTo>
                    <a:cubicBezTo>
                      <a:pt x="92" y="57"/>
                      <a:pt x="92" y="57"/>
                      <a:pt x="92" y="57"/>
                    </a:cubicBezTo>
                    <a:cubicBezTo>
                      <a:pt x="92" y="57"/>
                      <a:pt x="92" y="57"/>
                      <a:pt x="92" y="57"/>
                    </a:cubicBezTo>
                    <a:close/>
                    <a:moveTo>
                      <a:pt x="88" y="57"/>
                    </a:moveTo>
                    <a:cubicBezTo>
                      <a:pt x="88" y="57"/>
                      <a:pt x="89" y="57"/>
                      <a:pt x="89" y="57"/>
                    </a:cubicBezTo>
                    <a:cubicBezTo>
                      <a:pt x="89" y="57"/>
                      <a:pt x="89" y="57"/>
                      <a:pt x="88" y="57"/>
                    </a:cubicBezTo>
                    <a:cubicBezTo>
                      <a:pt x="88" y="57"/>
                      <a:pt x="88" y="57"/>
                      <a:pt x="88" y="57"/>
                    </a:cubicBezTo>
                    <a:close/>
                    <a:moveTo>
                      <a:pt x="49" y="57"/>
                    </a:moveTo>
                    <a:cubicBezTo>
                      <a:pt x="48" y="57"/>
                      <a:pt x="48" y="57"/>
                      <a:pt x="47" y="57"/>
                    </a:cubicBezTo>
                    <a:cubicBezTo>
                      <a:pt x="47" y="57"/>
                      <a:pt x="47" y="57"/>
                      <a:pt x="47" y="57"/>
                    </a:cubicBezTo>
                    <a:cubicBezTo>
                      <a:pt x="48" y="57"/>
                      <a:pt x="49" y="57"/>
                      <a:pt x="49" y="57"/>
                    </a:cubicBezTo>
                    <a:cubicBezTo>
                      <a:pt x="49" y="57"/>
                      <a:pt x="49" y="57"/>
                      <a:pt x="49" y="57"/>
                    </a:cubicBezTo>
                    <a:cubicBezTo>
                      <a:pt x="49" y="57"/>
                      <a:pt x="49" y="57"/>
                      <a:pt x="49" y="57"/>
                    </a:cubicBezTo>
                    <a:cubicBezTo>
                      <a:pt x="49" y="57"/>
                      <a:pt x="49" y="57"/>
                      <a:pt x="49" y="57"/>
                    </a:cubicBezTo>
                    <a:cubicBezTo>
                      <a:pt x="49" y="57"/>
                      <a:pt x="49" y="57"/>
                      <a:pt x="49" y="57"/>
                    </a:cubicBezTo>
                    <a:close/>
                    <a:moveTo>
                      <a:pt x="76" y="57"/>
                    </a:moveTo>
                    <a:cubicBezTo>
                      <a:pt x="76" y="57"/>
                      <a:pt x="76" y="57"/>
                      <a:pt x="76" y="57"/>
                    </a:cubicBezTo>
                    <a:cubicBezTo>
                      <a:pt x="76" y="57"/>
                      <a:pt x="76" y="57"/>
                      <a:pt x="76" y="57"/>
                    </a:cubicBezTo>
                    <a:cubicBezTo>
                      <a:pt x="76" y="57"/>
                      <a:pt x="76" y="57"/>
                      <a:pt x="76" y="57"/>
                    </a:cubicBezTo>
                    <a:cubicBezTo>
                      <a:pt x="76" y="57"/>
                      <a:pt x="76" y="57"/>
                      <a:pt x="76" y="57"/>
                    </a:cubicBezTo>
                    <a:close/>
                    <a:moveTo>
                      <a:pt x="92" y="57"/>
                    </a:moveTo>
                    <a:cubicBezTo>
                      <a:pt x="92" y="57"/>
                      <a:pt x="92" y="57"/>
                      <a:pt x="92" y="57"/>
                    </a:cubicBezTo>
                    <a:cubicBezTo>
                      <a:pt x="92" y="57"/>
                      <a:pt x="92" y="58"/>
                      <a:pt x="92" y="58"/>
                    </a:cubicBezTo>
                    <a:cubicBezTo>
                      <a:pt x="92" y="58"/>
                      <a:pt x="92" y="58"/>
                      <a:pt x="92" y="57"/>
                    </a:cubicBezTo>
                    <a:cubicBezTo>
                      <a:pt x="92" y="57"/>
                      <a:pt x="92" y="57"/>
                      <a:pt x="92" y="57"/>
                    </a:cubicBezTo>
                    <a:close/>
                    <a:moveTo>
                      <a:pt x="94" y="57"/>
                    </a:moveTo>
                    <a:cubicBezTo>
                      <a:pt x="94" y="57"/>
                      <a:pt x="94" y="57"/>
                      <a:pt x="94" y="57"/>
                    </a:cubicBezTo>
                    <a:cubicBezTo>
                      <a:pt x="94" y="57"/>
                      <a:pt x="93" y="58"/>
                      <a:pt x="93" y="58"/>
                    </a:cubicBezTo>
                    <a:cubicBezTo>
                      <a:pt x="93" y="58"/>
                      <a:pt x="93" y="58"/>
                      <a:pt x="93" y="58"/>
                    </a:cubicBezTo>
                    <a:cubicBezTo>
                      <a:pt x="93" y="58"/>
                      <a:pt x="93" y="57"/>
                      <a:pt x="94" y="57"/>
                    </a:cubicBezTo>
                    <a:cubicBezTo>
                      <a:pt x="94" y="57"/>
                      <a:pt x="94" y="57"/>
                      <a:pt x="94" y="57"/>
                    </a:cubicBezTo>
                    <a:close/>
                    <a:moveTo>
                      <a:pt x="93" y="57"/>
                    </a:moveTo>
                    <a:cubicBezTo>
                      <a:pt x="93" y="57"/>
                      <a:pt x="93" y="57"/>
                      <a:pt x="93" y="57"/>
                    </a:cubicBezTo>
                    <a:cubicBezTo>
                      <a:pt x="92" y="58"/>
                      <a:pt x="92" y="59"/>
                      <a:pt x="92" y="59"/>
                    </a:cubicBezTo>
                    <a:cubicBezTo>
                      <a:pt x="92" y="59"/>
                      <a:pt x="92" y="59"/>
                      <a:pt x="92" y="59"/>
                    </a:cubicBezTo>
                    <a:cubicBezTo>
                      <a:pt x="92" y="59"/>
                      <a:pt x="92" y="59"/>
                      <a:pt x="92" y="59"/>
                    </a:cubicBezTo>
                    <a:cubicBezTo>
                      <a:pt x="92" y="59"/>
                      <a:pt x="92" y="58"/>
                      <a:pt x="93" y="57"/>
                    </a:cubicBezTo>
                    <a:cubicBezTo>
                      <a:pt x="93" y="57"/>
                      <a:pt x="93" y="57"/>
                      <a:pt x="93" y="57"/>
                    </a:cubicBezTo>
                    <a:close/>
                    <a:moveTo>
                      <a:pt x="4" y="58"/>
                    </a:moveTo>
                    <a:cubicBezTo>
                      <a:pt x="6" y="58"/>
                      <a:pt x="8" y="57"/>
                      <a:pt x="10" y="57"/>
                    </a:cubicBezTo>
                    <a:cubicBezTo>
                      <a:pt x="9" y="57"/>
                      <a:pt x="8" y="57"/>
                      <a:pt x="8" y="57"/>
                    </a:cubicBezTo>
                    <a:cubicBezTo>
                      <a:pt x="8" y="57"/>
                      <a:pt x="8" y="57"/>
                      <a:pt x="8" y="58"/>
                    </a:cubicBezTo>
                    <a:cubicBezTo>
                      <a:pt x="7" y="57"/>
                      <a:pt x="5" y="58"/>
                      <a:pt x="4" y="58"/>
                    </a:cubicBezTo>
                    <a:cubicBezTo>
                      <a:pt x="4" y="58"/>
                      <a:pt x="4" y="58"/>
                      <a:pt x="4" y="58"/>
                    </a:cubicBezTo>
                    <a:close/>
                    <a:moveTo>
                      <a:pt x="79" y="58"/>
                    </a:moveTo>
                    <a:cubicBezTo>
                      <a:pt x="79" y="58"/>
                      <a:pt x="79" y="58"/>
                      <a:pt x="79" y="58"/>
                    </a:cubicBezTo>
                    <a:cubicBezTo>
                      <a:pt x="79" y="58"/>
                      <a:pt x="78" y="58"/>
                      <a:pt x="78" y="58"/>
                    </a:cubicBezTo>
                    <a:cubicBezTo>
                      <a:pt x="78" y="58"/>
                      <a:pt x="78" y="58"/>
                      <a:pt x="79" y="58"/>
                    </a:cubicBezTo>
                    <a:cubicBezTo>
                      <a:pt x="79" y="58"/>
                      <a:pt x="79" y="58"/>
                      <a:pt x="79" y="58"/>
                    </a:cubicBezTo>
                    <a:close/>
                    <a:moveTo>
                      <a:pt x="89" y="58"/>
                    </a:moveTo>
                    <a:cubicBezTo>
                      <a:pt x="89" y="58"/>
                      <a:pt x="89" y="57"/>
                      <a:pt x="89" y="57"/>
                    </a:cubicBezTo>
                    <a:cubicBezTo>
                      <a:pt x="89" y="58"/>
                      <a:pt x="89" y="58"/>
                      <a:pt x="89" y="58"/>
                    </a:cubicBezTo>
                    <a:cubicBezTo>
                      <a:pt x="89" y="58"/>
                      <a:pt x="89" y="58"/>
                      <a:pt x="89" y="58"/>
                    </a:cubicBezTo>
                    <a:cubicBezTo>
                      <a:pt x="89" y="58"/>
                      <a:pt x="89" y="58"/>
                      <a:pt x="89" y="58"/>
                    </a:cubicBezTo>
                    <a:cubicBezTo>
                      <a:pt x="89" y="58"/>
                      <a:pt x="89" y="58"/>
                      <a:pt x="89" y="58"/>
                    </a:cubicBezTo>
                    <a:close/>
                    <a:moveTo>
                      <a:pt x="12" y="58"/>
                    </a:moveTo>
                    <a:cubicBezTo>
                      <a:pt x="12" y="58"/>
                      <a:pt x="12" y="57"/>
                      <a:pt x="12" y="57"/>
                    </a:cubicBezTo>
                    <a:cubicBezTo>
                      <a:pt x="12" y="57"/>
                      <a:pt x="12" y="58"/>
                      <a:pt x="13" y="58"/>
                    </a:cubicBezTo>
                    <a:cubicBezTo>
                      <a:pt x="13" y="58"/>
                      <a:pt x="12" y="58"/>
                      <a:pt x="12" y="58"/>
                    </a:cubicBezTo>
                    <a:cubicBezTo>
                      <a:pt x="12" y="58"/>
                      <a:pt x="12" y="58"/>
                      <a:pt x="12" y="58"/>
                    </a:cubicBezTo>
                    <a:close/>
                    <a:moveTo>
                      <a:pt x="65" y="58"/>
                    </a:moveTo>
                    <a:cubicBezTo>
                      <a:pt x="65" y="58"/>
                      <a:pt x="65" y="57"/>
                      <a:pt x="66" y="57"/>
                    </a:cubicBezTo>
                    <a:cubicBezTo>
                      <a:pt x="65" y="58"/>
                      <a:pt x="65" y="58"/>
                      <a:pt x="65" y="58"/>
                    </a:cubicBezTo>
                    <a:cubicBezTo>
                      <a:pt x="65" y="58"/>
                      <a:pt x="65" y="58"/>
                      <a:pt x="65" y="58"/>
                    </a:cubicBezTo>
                    <a:cubicBezTo>
                      <a:pt x="65" y="58"/>
                      <a:pt x="65" y="58"/>
                      <a:pt x="65" y="58"/>
                    </a:cubicBezTo>
                    <a:close/>
                    <a:moveTo>
                      <a:pt x="15" y="59"/>
                    </a:moveTo>
                    <a:cubicBezTo>
                      <a:pt x="14" y="57"/>
                      <a:pt x="13" y="56"/>
                      <a:pt x="13" y="54"/>
                    </a:cubicBezTo>
                    <a:cubicBezTo>
                      <a:pt x="14" y="55"/>
                      <a:pt x="14" y="57"/>
                      <a:pt x="15" y="59"/>
                    </a:cubicBezTo>
                    <a:cubicBezTo>
                      <a:pt x="15" y="59"/>
                      <a:pt x="15" y="59"/>
                      <a:pt x="15" y="59"/>
                    </a:cubicBezTo>
                    <a:close/>
                    <a:moveTo>
                      <a:pt x="31" y="59"/>
                    </a:moveTo>
                    <a:cubicBezTo>
                      <a:pt x="31" y="59"/>
                      <a:pt x="31" y="59"/>
                      <a:pt x="31" y="59"/>
                    </a:cubicBezTo>
                    <a:cubicBezTo>
                      <a:pt x="31" y="59"/>
                      <a:pt x="31" y="59"/>
                      <a:pt x="31" y="59"/>
                    </a:cubicBezTo>
                    <a:cubicBezTo>
                      <a:pt x="31" y="59"/>
                      <a:pt x="31" y="59"/>
                      <a:pt x="31" y="59"/>
                    </a:cubicBezTo>
                    <a:cubicBezTo>
                      <a:pt x="31" y="59"/>
                      <a:pt x="31" y="59"/>
                      <a:pt x="31" y="59"/>
                    </a:cubicBezTo>
                    <a:close/>
                    <a:moveTo>
                      <a:pt x="82" y="59"/>
                    </a:moveTo>
                    <a:cubicBezTo>
                      <a:pt x="82" y="59"/>
                      <a:pt x="82" y="59"/>
                      <a:pt x="82" y="59"/>
                    </a:cubicBezTo>
                    <a:cubicBezTo>
                      <a:pt x="81" y="59"/>
                      <a:pt x="81" y="59"/>
                      <a:pt x="81" y="59"/>
                    </a:cubicBezTo>
                    <a:cubicBezTo>
                      <a:pt x="81" y="59"/>
                      <a:pt x="81" y="59"/>
                      <a:pt x="81" y="59"/>
                    </a:cubicBezTo>
                    <a:cubicBezTo>
                      <a:pt x="81" y="59"/>
                      <a:pt x="81" y="59"/>
                      <a:pt x="82" y="60"/>
                    </a:cubicBezTo>
                    <a:cubicBezTo>
                      <a:pt x="82" y="59"/>
                      <a:pt x="82" y="59"/>
                      <a:pt x="82" y="59"/>
                    </a:cubicBezTo>
                    <a:cubicBezTo>
                      <a:pt x="82" y="59"/>
                      <a:pt x="82" y="59"/>
                      <a:pt x="82" y="59"/>
                    </a:cubicBezTo>
                    <a:close/>
                    <a:moveTo>
                      <a:pt x="32" y="59"/>
                    </a:moveTo>
                    <a:cubicBezTo>
                      <a:pt x="32" y="59"/>
                      <a:pt x="32" y="59"/>
                      <a:pt x="32" y="59"/>
                    </a:cubicBezTo>
                    <a:cubicBezTo>
                      <a:pt x="32" y="59"/>
                      <a:pt x="32" y="59"/>
                      <a:pt x="32" y="59"/>
                    </a:cubicBezTo>
                    <a:cubicBezTo>
                      <a:pt x="32" y="59"/>
                      <a:pt x="32" y="59"/>
                      <a:pt x="32" y="59"/>
                    </a:cubicBezTo>
                    <a:cubicBezTo>
                      <a:pt x="32" y="59"/>
                      <a:pt x="32" y="59"/>
                      <a:pt x="32" y="59"/>
                    </a:cubicBezTo>
                    <a:close/>
                    <a:moveTo>
                      <a:pt x="85" y="59"/>
                    </a:moveTo>
                    <a:cubicBezTo>
                      <a:pt x="85" y="59"/>
                      <a:pt x="85" y="59"/>
                      <a:pt x="85" y="59"/>
                    </a:cubicBezTo>
                    <a:cubicBezTo>
                      <a:pt x="85" y="59"/>
                      <a:pt x="85" y="59"/>
                      <a:pt x="85" y="59"/>
                    </a:cubicBezTo>
                    <a:cubicBezTo>
                      <a:pt x="85" y="59"/>
                      <a:pt x="85" y="59"/>
                      <a:pt x="85" y="59"/>
                    </a:cubicBezTo>
                    <a:cubicBezTo>
                      <a:pt x="85" y="59"/>
                      <a:pt x="85" y="59"/>
                      <a:pt x="85" y="59"/>
                    </a:cubicBezTo>
                    <a:cubicBezTo>
                      <a:pt x="85" y="59"/>
                      <a:pt x="85" y="59"/>
                      <a:pt x="85" y="59"/>
                    </a:cubicBezTo>
                    <a:close/>
                    <a:moveTo>
                      <a:pt x="82" y="59"/>
                    </a:moveTo>
                    <a:cubicBezTo>
                      <a:pt x="82" y="59"/>
                      <a:pt x="82" y="59"/>
                      <a:pt x="82" y="59"/>
                    </a:cubicBezTo>
                    <a:cubicBezTo>
                      <a:pt x="82" y="59"/>
                      <a:pt x="82" y="59"/>
                      <a:pt x="82" y="59"/>
                    </a:cubicBezTo>
                    <a:cubicBezTo>
                      <a:pt x="82" y="59"/>
                      <a:pt x="82" y="59"/>
                      <a:pt x="82" y="59"/>
                    </a:cubicBezTo>
                    <a:cubicBezTo>
                      <a:pt x="82" y="59"/>
                      <a:pt x="82" y="59"/>
                      <a:pt x="82" y="59"/>
                    </a:cubicBezTo>
                    <a:close/>
                    <a:moveTo>
                      <a:pt x="33" y="59"/>
                    </a:moveTo>
                    <a:cubicBezTo>
                      <a:pt x="33" y="59"/>
                      <a:pt x="33" y="59"/>
                      <a:pt x="33" y="59"/>
                    </a:cubicBezTo>
                    <a:cubicBezTo>
                      <a:pt x="33" y="59"/>
                      <a:pt x="33" y="59"/>
                      <a:pt x="33" y="59"/>
                    </a:cubicBezTo>
                    <a:cubicBezTo>
                      <a:pt x="33" y="59"/>
                      <a:pt x="33" y="59"/>
                      <a:pt x="33" y="59"/>
                    </a:cubicBezTo>
                    <a:cubicBezTo>
                      <a:pt x="33" y="59"/>
                      <a:pt x="33" y="59"/>
                      <a:pt x="33" y="59"/>
                    </a:cubicBezTo>
                    <a:close/>
                    <a:moveTo>
                      <a:pt x="80" y="59"/>
                    </a:moveTo>
                    <a:cubicBezTo>
                      <a:pt x="81" y="59"/>
                      <a:pt x="81" y="59"/>
                      <a:pt x="81" y="59"/>
                    </a:cubicBezTo>
                    <a:cubicBezTo>
                      <a:pt x="81" y="59"/>
                      <a:pt x="81" y="59"/>
                      <a:pt x="81" y="59"/>
                    </a:cubicBezTo>
                    <a:cubicBezTo>
                      <a:pt x="81" y="59"/>
                      <a:pt x="80" y="59"/>
                      <a:pt x="80" y="59"/>
                    </a:cubicBezTo>
                    <a:cubicBezTo>
                      <a:pt x="80" y="59"/>
                      <a:pt x="80" y="59"/>
                      <a:pt x="80" y="59"/>
                    </a:cubicBezTo>
                    <a:close/>
                    <a:moveTo>
                      <a:pt x="87" y="59"/>
                    </a:moveTo>
                    <a:cubicBezTo>
                      <a:pt x="87" y="59"/>
                      <a:pt x="87" y="59"/>
                      <a:pt x="87" y="59"/>
                    </a:cubicBezTo>
                    <a:cubicBezTo>
                      <a:pt x="87" y="59"/>
                      <a:pt x="87" y="59"/>
                      <a:pt x="87" y="59"/>
                    </a:cubicBezTo>
                    <a:cubicBezTo>
                      <a:pt x="87" y="59"/>
                      <a:pt x="87" y="59"/>
                      <a:pt x="87" y="59"/>
                    </a:cubicBezTo>
                    <a:cubicBezTo>
                      <a:pt x="87" y="59"/>
                      <a:pt x="87" y="59"/>
                      <a:pt x="87" y="59"/>
                    </a:cubicBezTo>
                    <a:cubicBezTo>
                      <a:pt x="87" y="59"/>
                      <a:pt x="87" y="59"/>
                      <a:pt x="87" y="59"/>
                    </a:cubicBezTo>
                    <a:close/>
                    <a:moveTo>
                      <a:pt x="86" y="59"/>
                    </a:moveTo>
                    <a:cubicBezTo>
                      <a:pt x="86" y="59"/>
                      <a:pt x="86" y="59"/>
                      <a:pt x="86" y="59"/>
                    </a:cubicBezTo>
                    <a:cubicBezTo>
                      <a:pt x="86" y="59"/>
                      <a:pt x="86" y="59"/>
                      <a:pt x="86" y="59"/>
                    </a:cubicBezTo>
                    <a:cubicBezTo>
                      <a:pt x="86" y="59"/>
                      <a:pt x="86" y="59"/>
                      <a:pt x="86" y="59"/>
                    </a:cubicBezTo>
                    <a:cubicBezTo>
                      <a:pt x="86" y="59"/>
                      <a:pt x="86" y="59"/>
                      <a:pt x="86" y="59"/>
                    </a:cubicBezTo>
                    <a:cubicBezTo>
                      <a:pt x="86" y="59"/>
                      <a:pt x="85" y="59"/>
                      <a:pt x="85" y="59"/>
                    </a:cubicBezTo>
                    <a:cubicBezTo>
                      <a:pt x="85" y="59"/>
                      <a:pt x="86" y="59"/>
                      <a:pt x="86" y="59"/>
                    </a:cubicBezTo>
                    <a:cubicBezTo>
                      <a:pt x="86" y="60"/>
                      <a:pt x="86" y="60"/>
                      <a:pt x="85" y="60"/>
                    </a:cubicBezTo>
                    <a:cubicBezTo>
                      <a:pt x="85" y="60"/>
                      <a:pt x="85" y="60"/>
                      <a:pt x="85" y="60"/>
                    </a:cubicBezTo>
                    <a:cubicBezTo>
                      <a:pt x="85" y="60"/>
                      <a:pt x="85" y="60"/>
                      <a:pt x="85" y="59"/>
                    </a:cubicBezTo>
                    <a:cubicBezTo>
                      <a:pt x="85" y="59"/>
                      <a:pt x="85" y="59"/>
                      <a:pt x="86" y="59"/>
                    </a:cubicBezTo>
                    <a:cubicBezTo>
                      <a:pt x="86" y="59"/>
                      <a:pt x="86" y="59"/>
                      <a:pt x="86" y="59"/>
                    </a:cubicBezTo>
                    <a:close/>
                    <a:moveTo>
                      <a:pt x="96" y="59"/>
                    </a:moveTo>
                    <a:cubicBezTo>
                      <a:pt x="96" y="59"/>
                      <a:pt x="96" y="59"/>
                      <a:pt x="96" y="59"/>
                    </a:cubicBezTo>
                    <a:cubicBezTo>
                      <a:pt x="96" y="59"/>
                      <a:pt x="96" y="59"/>
                      <a:pt x="96" y="59"/>
                    </a:cubicBezTo>
                    <a:cubicBezTo>
                      <a:pt x="96" y="59"/>
                      <a:pt x="96" y="59"/>
                      <a:pt x="96" y="59"/>
                    </a:cubicBezTo>
                    <a:close/>
                    <a:moveTo>
                      <a:pt x="86" y="59"/>
                    </a:moveTo>
                    <a:cubicBezTo>
                      <a:pt x="86" y="59"/>
                      <a:pt x="86" y="59"/>
                      <a:pt x="86" y="59"/>
                    </a:cubicBezTo>
                    <a:cubicBezTo>
                      <a:pt x="86" y="59"/>
                      <a:pt x="86" y="59"/>
                      <a:pt x="86" y="59"/>
                    </a:cubicBezTo>
                    <a:cubicBezTo>
                      <a:pt x="86" y="59"/>
                      <a:pt x="86" y="59"/>
                      <a:pt x="86" y="59"/>
                    </a:cubicBezTo>
                    <a:cubicBezTo>
                      <a:pt x="86" y="59"/>
                      <a:pt x="86" y="59"/>
                      <a:pt x="86" y="59"/>
                    </a:cubicBezTo>
                    <a:cubicBezTo>
                      <a:pt x="86" y="59"/>
                      <a:pt x="86" y="59"/>
                      <a:pt x="86" y="59"/>
                    </a:cubicBezTo>
                    <a:close/>
                    <a:moveTo>
                      <a:pt x="83" y="59"/>
                    </a:moveTo>
                    <a:cubicBezTo>
                      <a:pt x="83" y="59"/>
                      <a:pt x="83" y="59"/>
                      <a:pt x="82" y="59"/>
                    </a:cubicBezTo>
                    <a:cubicBezTo>
                      <a:pt x="82" y="59"/>
                      <a:pt x="82" y="60"/>
                      <a:pt x="82" y="60"/>
                    </a:cubicBezTo>
                    <a:cubicBezTo>
                      <a:pt x="82" y="60"/>
                      <a:pt x="82" y="60"/>
                      <a:pt x="82" y="60"/>
                    </a:cubicBezTo>
                    <a:cubicBezTo>
                      <a:pt x="82" y="60"/>
                      <a:pt x="82" y="60"/>
                      <a:pt x="82" y="60"/>
                    </a:cubicBezTo>
                    <a:cubicBezTo>
                      <a:pt x="82" y="60"/>
                      <a:pt x="82" y="60"/>
                      <a:pt x="82" y="60"/>
                    </a:cubicBezTo>
                    <a:cubicBezTo>
                      <a:pt x="82" y="60"/>
                      <a:pt x="82" y="60"/>
                      <a:pt x="83" y="60"/>
                    </a:cubicBezTo>
                    <a:cubicBezTo>
                      <a:pt x="83" y="60"/>
                      <a:pt x="83" y="60"/>
                      <a:pt x="83" y="60"/>
                    </a:cubicBezTo>
                    <a:cubicBezTo>
                      <a:pt x="83" y="60"/>
                      <a:pt x="83" y="60"/>
                      <a:pt x="83" y="60"/>
                    </a:cubicBezTo>
                    <a:cubicBezTo>
                      <a:pt x="83" y="60"/>
                      <a:pt x="83" y="60"/>
                      <a:pt x="83" y="59"/>
                    </a:cubicBezTo>
                    <a:cubicBezTo>
                      <a:pt x="83" y="59"/>
                      <a:pt x="83" y="59"/>
                      <a:pt x="83" y="59"/>
                    </a:cubicBezTo>
                    <a:close/>
                    <a:moveTo>
                      <a:pt x="83" y="59"/>
                    </a:moveTo>
                    <a:cubicBezTo>
                      <a:pt x="84" y="59"/>
                      <a:pt x="84" y="59"/>
                      <a:pt x="84" y="59"/>
                    </a:cubicBezTo>
                    <a:cubicBezTo>
                      <a:pt x="84" y="59"/>
                      <a:pt x="84" y="60"/>
                      <a:pt x="84" y="60"/>
                    </a:cubicBezTo>
                    <a:cubicBezTo>
                      <a:pt x="84" y="60"/>
                      <a:pt x="83" y="60"/>
                      <a:pt x="83" y="60"/>
                    </a:cubicBezTo>
                    <a:cubicBezTo>
                      <a:pt x="83" y="59"/>
                      <a:pt x="83" y="59"/>
                      <a:pt x="83" y="59"/>
                    </a:cubicBezTo>
                    <a:cubicBezTo>
                      <a:pt x="83" y="59"/>
                      <a:pt x="83" y="59"/>
                      <a:pt x="83" y="59"/>
                    </a:cubicBezTo>
                    <a:close/>
                    <a:moveTo>
                      <a:pt x="79" y="59"/>
                    </a:moveTo>
                    <a:cubicBezTo>
                      <a:pt x="79" y="59"/>
                      <a:pt x="79" y="59"/>
                      <a:pt x="79" y="59"/>
                    </a:cubicBezTo>
                    <a:cubicBezTo>
                      <a:pt x="80" y="59"/>
                      <a:pt x="80" y="60"/>
                      <a:pt x="80" y="60"/>
                    </a:cubicBezTo>
                    <a:cubicBezTo>
                      <a:pt x="80" y="60"/>
                      <a:pt x="80" y="60"/>
                      <a:pt x="80" y="60"/>
                    </a:cubicBezTo>
                    <a:cubicBezTo>
                      <a:pt x="80" y="60"/>
                      <a:pt x="79" y="60"/>
                      <a:pt x="79" y="59"/>
                    </a:cubicBezTo>
                    <a:cubicBezTo>
                      <a:pt x="79" y="59"/>
                      <a:pt x="79" y="59"/>
                      <a:pt x="79" y="59"/>
                    </a:cubicBezTo>
                    <a:cubicBezTo>
                      <a:pt x="79" y="59"/>
                      <a:pt x="79" y="59"/>
                      <a:pt x="79" y="59"/>
                    </a:cubicBezTo>
                    <a:close/>
                    <a:moveTo>
                      <a:pt x="79" y="59"/>
                    </a:moveTo>
                    <a:cubicBezTo>
                      <a:pt x="78" y="59"/>
                      <a:pt x="78" y="60"/>
                      <a:pt x="77" y="60"/>
                    </a:cubicBezTo>
                    <a:cubicBezTo>
                      <a:pt x="78" y="60"/>
                      <a:pt x="78" y="61"/>
                      <a:pt x="79" y="61"/>
                    </a:cubicBezTo>
                    <a:cubicBezTo>
                      <a:pt x="79" y="61"/>
                      <a:pt x="79" y="61"/>
                      <a:pt x="80" y="60"/>
                    </a:cubicBezTo>
                    <a:cubicBezTo>
                      <a:pt x="79" y="60"/>
                      <a:pt x="79" y="60"/>
                      <a:pt x="79" y="60"/>
                    </a:cubicBezTo>
                    <a:cubicBezTo>
                      <a:pt x="79" y="60"/>
                      <a:pt x="79" y="60"/>
                      <a:pt x="80" y="60"/>
                    </a:cubicBezTo>
                    <a:cubicBezTo>
                      <a:pt x="80" y="60"/>
                      <a:pt x="80" y="60"/>
                      <a:pt x="80" y="60"/>
                    </a:cubicBezTo>
                    <a:cubicBezTo>
                      <a:pt x="80" y="60"/>
                      <a:pt x="79" y="59"/>
                      <a:pt x="79" y="59"/>
                    </a:cubicBezTo>
                    <a:cubicBezTo>
                      <a:pt x="79" y="59"/>
                      <a:pt x="79" y="59"/>
                      <a:pt x="79" y="59"/>
                    </a:cubicBezTo>
                    <a:close/>
                    <a:moveTo>
                      <a:pt x="32" y="59"/>
                    </a:moveTo>
                    <a:cubicBezTo>
                      <a:pt x="32" y="59"/>
                      <a:pt x="32" y="59"/>
                      <a:pt x="32" y="59"/>
                    </a:cubicBezTo>
                    <a:cubicBezTo>
                      <a:pt x="32" y="59"/>
                      <a:pt x="32" y="59"/>
                      <a:pt x="32" y="60"/>
                    </a:cubicBezTo>
                    <a:cubicBezTo>
                      <a:pt x="32" y="60"/>
                      <a:pt x="32" y="60"/>
                      <a:pt x="32" y="60"/>
                    </a:cubicBezTo>
                    <a:cubicBezTo>
                      <a:pt x="32" y="60"/>
                      <a:pt x="32" y="60"/>
                      <a:pt x="32" y="59"/>
                    </a:cubicBezTo>
                    <a:cubicBezTo>
                      <a:pt x="32" y="59"/>
                      <a:pt x="32" y="59"/>
                      <a:pt x="32" y="59"/>
                    </a:cubicBezTo>
                    <a:close/>
                    <a:moveTo>
                      <a:pt x="86" y="60"/>
                    </a:moveTo>
                    <a:cubicBezTo>
                      <a:pt x="86" y="60"/>
                      <a:pt x="86" y="60"/>
                      <a:pt x="86" y="59"/>
                    </a:cubicBezTo>
                    <a:cubicBezTo>
                      <a:pt x="86" y="60"/>
                      <a:pt x="86" y="60"/>
                      <a:pt x="85" y="60"/>
                    </a:cubicBezTo>
                    <a:cubicBezTo>
                      <a:pt x="86" y="60"/>
                      <a:pt x="86" y="60"/>
                      <a:pt x="86" y="60"/>
                    </a:cubicBezTo>
                    <a:cubicBezTo>
                      <a:pt x="86" y="60"/>
                      <a:pt x="86" y="60"/>
                      <a:pt x="86" y="60"/>
                    </a:cubicBezTo>
                    <a:cubicBezTo>
                      <a:pt x="86" y="60"/>
                      <a:pt x="86" y="60"/>
                      <a:pt x="86" y="60"/>
                    </a:cubicBezTo>
                    <a:close/>
                    <a:moveTo>
                      <a:pt x="30" y="60"/>
                    </a:moveTo>
                    <a:cubicBezTo>
                      <a:pt x="30" y="60"/>
                      <a:pt x="30" y="60"/>
                      <a:pt x="30" y="60"/>
                    </a:cubicBezTo>
                    <a:cubicBezTo>
                      <a:pt x="30" y="60"/>
                      <a:pt x="30" y="60"/>
                      <a:pt x="30" y="60"/>
                    </a:cubicBezTo>
                    <a:cubicBezTo>
                      <a:pt x="30" y="60"/>
                      <a:pt x="30" y="60"/>
                      <a:pt x="30" y="60"/>
                    </a:cubicBezTo>
                    <a:cubicBezTo>
                      <a:pt x="30" y="60"/>
                      <a:pt x="30" y="60"/>
                      <a:pt x="30" y="60"/>
                    </a:cubicBezTo>
                    <a:close/>
                    <a:moveTo>
                      <a:pt x="87" y="60"/>
                    </a:moveTo>
                    <a:cubicBezTo>
                      <a:pt x="87" y="60"/>
                      <a:pt x="87" y="60"/>
                      <a:pt x="87" y="60"/>
                    </a:cubicBezTo>
                    <a:cubicBezTo>
                      <a:pt x="87" y="60"/>
                      <a:pt x="87" y="60"/>
                      <a:pt x="87" y="60"/>
                    </a:cubicBezTo>
                    <a:cubicBezTo>
                      <a:pt x="87" y="60"/>
                      <a:pt x="87" y="60"/>
                      <a:pt x="87" y="60"/>
                    </a:cubicBezTo>
                    <a:cubicBezTo>
                      <a:pt x="87" y="60"/>
                      <a:pt x="87" y="60"/>
                      <a:pt x="87" y="60"/>
                    </a:cubicBezTo>
                    <a:close/>
                    <a:moveTo>
                      <a:pt x="32" y="60"/>
                    </a:moveTo>
                    <a:cubicBezTo>
                      <a:pt x="32" y="60"/>
                      <a:pt x="33" y="60"/>
                      <a:pt x="33" y="60"/>
                    </a:cubicBezTo>
                    <a:cubicBezTo>
                      <a:pt x="33" y="60"/>
                      <a:pt x="33" y="60"/>
                      <a:pt x="33" y="60"/>
                    </a:cubicBezTo>
                    <a:cubicBezTo>
                      <a:pt x="33" y="60"/>
                      <a:pt x="33" y="60"/>
                      <a:pt x="33" y="60"/>
                    </a:cubicBezTo>
                    <a:cubicBezTo>
                      <a:pt x="32" y="60"/>
                      <a:pt x="32" y="60"/>
                      <a:pt x="32" y="60"/>
                    </a:cubicBezTo>
                    <a:cubicBezTo>
                      <a:pt x="32" y="60"/>
                      <a:pt x="32" y="60"/>
                      <a:pt x="32" y="60"/>
                    </a:cubicBezTo>
                    <a:close/>
                    <a:moveTo>
                      <a:pt x="77" y="60"/>
                    </a:moveTo>
                    <a:cubicBezTo>
                      <a:pt x="77" y="60"/>
                      <a:pt x="77" y="60"/>
                      <a:pt x="77" y="60"/>
                    </a:cubicBezTo>
                    <a:cubicBezTo>
                      <a:pt x="77" y="60"/>
                      <a:pt x="77" y="60"/>
                      <a:pt x="77" y="60"/>
                    </a:cubicBezTo>
                    <a:cubicBezTo>
                      <a:pt x="77" y="60"/>
                      <a:pt x="77" y="60"/>
                      <a:pt x="77" y="60"/>
                    </a:cubicBezTo>
                    <a:cubicBezTo>
                      <a:pt x="77" y="60"/>
                      <a:pt x="77" y="60"/>
                      <a:pt x="77" y="60"/>
                    </a:cubicBezTo>
                    <a:close/>
                    <a:moveTo>
                      <a:pt x="83" y="60"/>
                    </a:moveTo>
                    <a:cubicBezTo>
                      <a:pt x="83" y="60"/>
                      <a:pt x="83" y="60"/>
                      <a:pt x="83" y="60"/>
                    </a:cubicBezTo>
                    <a:cubicBezTo>
                      <a:pt x="83" y="60"/>
                      <a:pt x="83" y="60"/>
                      <a:pt x="83" y="60"/>
                    </a:cubicBezTo>
                    <a:cubicBezTo>
                      <a:pt x="83" y="60"/>
                      <a:pt x="83" y="60"/>
                      <a:pt x="83" y="60"/>
                    </a:cubicBezTo>
                    <a:cubicBezTo>
                      <a:pt x="83" y="60"/>
                      <a:pt x="83" y="60"/>
                      <a:pt x="83" y="60"/>
                    </a:cubicBezTo>
                    <a:close/>
                    <a:moveTo>
                      <a:pt x="84" y="60"/>
                    </a:moveTo>
                    <a:cubicBezTo>
                      <a:pt x="85" y="60"/>
                      <a:pt x="85" y="60"/>
                      <a:pt x="85" y="60"/>
                    </a:cubicBezTo>
                    <a:cubicBezTo>
                      <a:pt x="85" y="60"/>
                      <a:pt x="85" y="61"/>
                      <a:pt x="85" y="61"/>
                    </a:cubicBezTo>
                    <a:cubicBezTo>
                      <a:pt x="85" y="61"/>
                      <a:pt x="84" y="61"/>
                      <a:pt x="84" y="61"/>
                    </a:cubicBezTo>
                    <a:cubicBezTo>
                      <a:pt x="84" y="60"/>
                      <a:pt x="84" y="60"/>
                      <a:pt x="84" y="60"/>
                    </a:cubicBezTo>
                    <a:cubicBezTo>
                      <a:pt x="84" y="60"/>
                      <a:pt x="84" y="60"/>
                      <a:pt x="84" y="60"/>
                    </a:cubicBezTo>
                    <a:close/>
                    <a:moveTo>
                      <a:pt x="33" y="60"/>
                    </a:moveTo>
                    <a:cubicBezTo>
                      <a:pt x="33" y="60"/>
                      <a:pt x="33" y="60"/>
                      <a:pt x="33" y="60"/>
                    </a:cubicBezTo>
                    <a:cubicBezTo>
                      <a:pt x="33" y="60"/>
                      <a:pt x="33" y="60"/>
                      <a:pt x="33" y="60"/>
                    </a:cubicBezTo>
                    <a:cubicBezTo>
                      <a:pt x="33" y="60"/>
                      <a:pt x="33" y="60"/>
                      <a:pt x="33" y="60"/>
                    </a:cubicBezTo>
                    <a:cubicBezTo>
                      <a:pt x="33" y="60"/>
                      <a:pt x="33" y="60"/>
                      <a:pt x="33" y="60"/>
                    </a:cubicBezTo>
                    <a:close/>
                    <a:moveTo>
                      <a:pt x="19" y="60"/>
                    </a:moveTo>
                    <a:cubicBezTo>
                      <a:pt x="19" y="60"/>
                      <a:pt x="19" y="60"/>
                      <a:pt x="19" y="60"/>
                    </a:cubicBezTo>
                    <a:cubicBezTo>
                      <a:pt x="19" y="60"/>
                      <a:pt x="19" y="60"/>
                      <a:pt x="19" y="60"/>
                    </a:cubicBezTo>
                    <a:cubicBezTo>
                      <a:pt x="19" y="60"/>
                      <a:pt x="19" y="60"/>
                      <a:pt x="19" y="60"/>
                    </a:cubicBezTo>
                    <a:cubicBezTo>
                      <a:pt x="19" y="60"/>
                      <a:pt x="19" y="60"/>
                      <a:pt x="19" y="60"/>
                    </a:cubicBezTo>
                    <a:close/>
                    <a:moveTo>
                      <a:pt x="81" y="60"/>
                    </a:moveTo>
                    <a:cubicBezTo>
                      <a:pt x="81" y="60"/>
                      <a:pt x="81" y="60"/>
                      <a:pt x="81" y="60"/>
                    </a:cubicBezTo>
                    <a:cubicBezTo>
                      <a:pt x="81" y="60"/>
                      <a:pt x="81" y="60"/>
                      <a:pt x="81" y="60"/>
                    </a:cubicBezTo>
                    <a:cubicBezTo>
                      <a:pt x="81" y="60"/>
                      <a:pt x="81" y="61"/>
                      <a:pt x="81" y="61"/>
                    </a:cubicBezTo>
                    <a:cubicBezTo>
                      <a:pt x="81" y="60"/>
                      <a:pt x="81" y="60"/>
                      <a:pt x="81" y="60"/>
                    </a:cubicBezTo>
                    <a:cubicBezTo>
                      <a:pt x="81" y="60"/>
                      <a:pt x="81" y="60"/>
                      <a:pt x="81" y="60"/>
                    </a:cubicBezTo>
                    <a:cubicBezTo>
                      <a:pt x="81" y="60"/>
                      <a:pt x="81" y="60"/>
                      <a:pt x="81" y="60"/>
                    </a:cubicBezTo>
                    <a:close/>
                    <a:moveTo>
                      <a:pt x="80" y="60"/>
                    </a:moveTo>
                    <a:cubicBezTo>
                      <a:pt x="80" y="60"/>
                      <a:pt x="80" y="60"/>
                      <a:pt x="80" y="60"/>
                    </a:cubicBezTo>
                    <a:cubicBezTo>
                      <a:pt x="80" y="60"/>
                      <a:pt x="80" y="60"/>
                      <a:pt x="80" y="60"/>
                    </a:cubicBezTo>
                    <a:cubicBezTo>
                      <a:pt x="80" y="60"/>
                      <a:pt x="80" y="60"/>
                      <a:pt x="80" y="60"/>
                    </a:cubicBezTo>
                    <a:cubicBezTo>
                      <a:pt x="80" y="60"/>
                      <a:pt x="80" y="60"/>
                      <a:pt x="80" y="60"/>
                    </a:cubicBezTo>
                    <a:cubicBezTo>
                      <a:pt x="80" y="60"/>
                      <a:pt x="80" y="60"/>
                      <a:pt x="80" y="60"/>
                    </a:cubicBezTo>
                    <a:close/>
                    <a:moveTo>
                      <a:pt x="14" y="62"/>
                    </a:moveTo>
                    <a:cubicBezTo>
                      <a:pt x="15" y="63"/>
                      <a:pt x="15" y="64"/>
                      <a:pt x="17" y="63"/>
                    </a:cubicBezTo>
                    <a:cubicBezTo>
                      <a:pt x="17" y="62"/>
                      <a:pt x="17" y="62"/>
                      <a:pt x="17" y="62"/>
                    </a:cubicBezTo>
                    <a:cubicBezTo>
                      <a:pt x="17" y="62"/>
                      <a:pt x="18" y="62"/>
                      <a:pt x="18" y="62"/>
                    </a:cubicBezTo>
                    <a:cubicBezTo>
                      <a:pt x="18" y="62"/>
                      <a:pt x="18" y="62"/>
                      <a:pt x="18" y="62"/>
                    </a:cubicBezTo>
                    <a:cubicBezTo>
                      <a:pt x="17" y="62"/>
                      <a:pt x="16" y="62"/>
                      <a:pt x="15" y="62"/>
                    </a:cubicBezTo>
                    <a:cubicBezTo>
                      <a:pt x="17" y="61"/>
                      <a:pt x="17" y="61"/>
                      <a:pt x="19" y="61"/>
                    </a:cubicBezTo>
                    <a:cubicBezTo>
                      <a:pt x="15" y="60"/>
                      <a:pt x="16" y="61"/>
                      <a:pt x="13" y="61"/>
                    </a:cubicBezTo>
                    <a:cubicBezTo>
                      <a:pt x="13" y="61"/>
                      <a:pt x="13" y="62"/>
                      <a:pt x="14" y="62"/>
                    </a:cubicBezTo>
                    <a:cubicBezTo>
                      <a:pt x="15" y="61"/>
                      <a:pt x="16" y="61"/>
                      <a:pt x="17" y="61"/>
                    </a:cubicBezTo>
                    <a:cubicBezTo>
                      <a:pt x="16" y="61"/>
                      <a:pt x="15" y="62"/>
                      <a:pt x="14" y="62"/>
                    </a:cubicBezTo>
                    <a:cubicBezTo>
                      <a:pt x="14" y="62"/>
                      <a:pt x="14" y="62"/>
                      <a:pt x="14" y="62"/>
                    </a:cubicBezTo>
                    <a:close/>
                    <a:moveTo>
                      <a:pt x="85" y="60"/>
                    </a:moveTo>
                    <a:cubicBezTo>
                      <a:pt x="85" y="60"/>
                      <a:pt x="85" y="60"/>
                      <a:pt x="85" y="60"/>
                    </a:cubicBezTo>
                    <a:cubicBezTo>
                      <a:pt x="85" y="60"/>
                      <a:pt x="85" y="60"/>
                      <a:pt x="85" y="60"/>
                    </a:cubicBezTo>
                    <a:cubicBezTo>
                      <a:pt x="85" y="60"/>
                      <a:pt x="85" y="60"/>
                      <a:pt x="85" y="60"/>
                    </a:cubicBezTo>
                    <a:cubicBezTo>
                      <a:pt x="85" y="60"/>
                      <a:pt x="85" y="60"/>
                      <a:pt x="85" y="60"/>
                    </a:cubicBezTo>
                    <a:close/>
                    <a:moveTo>
                      <a:pt x="86" y="60"/>
                    </a:moveTo>
                    <a:cubicBezTo>
                      <a:pt x="86" y="60"/>
                      <a:pt x="85" y="60"/>
                      <a:pt x="85" y="60"/>
                    </a:cubicBezTo>
                    <a:cubicBezTo>
                      <a:pt x="85" y="60"/>
                      <a:pt x="85" y="60"/>
                      <a:pt x="85" y="61"/>
                    </a:cubicBezTo>
                    <a:cubicBezTo>
                      <a:pt x="85" y="61"/>
                      <a:pt x="85" y="61"/>
                      <a:pt x="85" y="61"/>
                    </a:cubicBezTo>
                    <a:cubicBezTo>
                      <a:pt x="85" y="60"/>
                      <a:pt x="85" y="60"/>
                      <a:pt x="85" y="60"/>
                    </a:cubicBezTo>
                    <a:cubicBezTo>
                      <a:pt x="85" y="60"/>
                      <a:pt x="85" y="60"/>
                      <a:pt x="85" y="60"/>
                    </a:cubicBezTo>
                    <a:cubicBezTo>
                      <a:pt x="85" y="61"/>
                      <a:pt x="85" y="61"/>
                      <a:pt x="85" y="61"/>
                    </a:cubicBezTo>
                    <a:cubicBezTo>
                      <a:pt x="85" y="61"/>
                      <a:pt x="85" y="61"/>
                      <a:pt x="86" y="60"/>
                    </a:cubicBezTo>
                    <a:cubicBezTo>
                      <a:pt x="86" y="60"/>
                      <a:pt x="86" y="60"/>
                      <a:pt x="86" y="60"/>
                    </a:cubicBezTo>
                    <a:close/>
                    <a:moveTo>
                      <a:pt x="80" y="60"/>
                    </a:moveTo>
                    <a:cubicBezTo>
                      <a:pt x="80" y="60"/>
                      <a:pt x="80" y="60"/>
                      <a:pt x="80" y="60"/>
                    </a:cubicBezTo>
                    <a:cubicBezTo>
                      <a:pt x="80" y="60"/>
                      <a:pt x="80" y="60"/>
                      <a:pt x="80" y="60"/>
                    </a:cubicBezTo>
                    <a:cubicBezTo>
                      <a:pt x="80" y="60"/>
                      <a:pt x="80" y="60"/>
                      <a:pt x="80" y="60"/>
                    </a:cubicBezTo>
                    <a:cubicBezTo>
                      <a:pt x="80" y="60"/>
                      <a:pt x="80" y="60"/>
                      <a:pt x="80" y="60"/>
                    </a:cubicBezTo>
                    <a:close/>
                    <a:moveTo>
                      <a:pt x="13" y="60"/>
                    </a:moveTo>
                    <a:cubicBezTo>
                      <a:pt x="12" y="60"/>
                      <a:pt x="12" y="60"/>
                      <a:pt x="12" y="60"/>
                    </a:cubicBezTo>
                    <a:cubicBezTo>
                      <a:pt x="12" y="60"/>
                      <a:pt x="12" y="60"/>
                      <a:pt x="12" y="61"/>
                    </a:cubicBezTo>
                    <a:cubicBezTo>
                      <a:pt x="12" y="60"/>
                      <a:pt x="12" y="60"/>
                      <a:pt x="13" y="60"/>
                    </a:cubicBezTo>
                    <a:cubicBezTo>
                      <a:pt x="13" y="60"/>
                      <a:pt x="13" y="60"/>
                      <a:pt x="13" y="60"/>
                    </a:cubicBezTo>
                    <a:close/>
                    <a:moveTo>
                      <a:pt x="83" y="61"/>
                    </a:moveTo>
                    <a:cubicBezTo>
                      <a:pt x="83" y="61"/>
                      <a:pt x="83" y="61"/>
                      <a:pt x="83" y="61"/>
                    </a:cubicBezTo>
                    <a:cubicBezTo>
                      <a:pt x="83" y="61"/>
                      <a:pt x="83" y="61"/>
                      <a:pt x="83" y="61"/>
                    </a:cubicBezTo>
                    <a:cubicBezTo>
                      <a:pt x="83" y="61"/>
                      <a:pt x="83" y="61"/>
                      <a:pt x="83" y="61"/>
                    </a:cubicBezTo>
                    <a:cubicBezTo>
                      <a:pt x="83" y="61"/>
                      <a:pt x="83" y="61"/>
                      <a:pt x="83" y="61"/>
                    </a:cubicBezTo>
                    <a:cubicBezTo>
                      <a:pt x="83" y="61"/>
                      <a:pt x="83" y="61"/>
                      <a:pt x="83" y="61"/>
                    </a:cubicBezTo>
                    <a:close/>
                    <a:moveTo>
                      <a:pt x="82" y="61"/>
                    </a:moveTo>
                    <a:cubicBezTo>
                      <a:pt x="82" y="61"/>
                      <a:pt x="82" y="61"/>
                      <a:pt x="82" y="61"/>
                    </a:cubicBezTo>
                    <a:cubicBezTo>
                      <a:pt x="81" y="61"/>
                      <a:pt x="81" y="61"/>
                      <a:pt x="81" y="61"/>
                    </a:cubicBezTo>
                    <a:cubicBezTo>
                      <a:pt x="81" y="61"/>
                      <a:pt x="82" y="61"/>
                      <a:pt x="82" y="61"/>
                    </a:cubicBezTo>
                    <a:cubicBezTo>
                      <a:pt x="82" y="61"/>
                      <a:pt x="82" y="61"/>
                      <a:pt x="82" y="61"/>
                    </a:cubicBezTo>
                    <a:close/>
                    <a:moveTo>
                      <a:pt x="80" y="61"/>
                    </a:moveTo>
                    <a:cubicBezTo>
                      <a:pt x="80" y="61"/>
                      <a:pt x="80" y="61"/>
                      <a:pt x="80" y="61"/>
                    </a:cubicBezTo>
                    <a:cubicBezTo>
                      <a:pt x="80" y="61"/>
                      <a:pt x="80" y="61"/>
                      <a:pt x="80" y="61"/>
                    </a:cubicBezTo>
                    <a:cubicBezTo>
                      <a:pt x="80" y="61"/>
                      <a:pt x="80" y="61"/>
                      <a:pt x="80" y="61"/>
                    </a:cubicBezTo>
                    <a:cubicBezTo>
                      <a:pt x="80" y="61"/>
                      <a:pt x="80" y="61"/>
                      <a:pt x="80" y="61"/>
                    </a:cubicBezTo>
                    <a:close/>
                    <a:moveTo>
                      <a:pt x="72" y="61"/>
                    </a:moveTo>
                    <a:cubicBezTo>
                      <a:pt x="71" y="61"/>
                      <a:pt x="71" y="61"/>
                      <a:pt x="71" y="61"/>
                    </a:cubicBezTo>
                    <a:cubicBezTo>
                      <a:pt x="71" y="61"/>
                      <a:pt x="72" y="61"/>
                      <a:pt x="72" y="62"/>
                    </a:cubicBezTo>
                    <a:cubicBezTo>
                      <a:pt x="72" y="62"/>
                      <a:pt x="72" y="61"/>
                      <a:pt x="72" y="61"/>
                    </a:cubicBezTo>
                    <a:cubicBezTo>
                      <a:pt x="72" y="61"/>
                      <a:pt x="72" y="61"/>
                      <a:pt x="72" y="61"/>
                    </a:cubicBezTo>
                    <a:cubicBezTo>
                      <a:pt x="72" y="61"/>
                      <a:pt x="72" y="61"/>
                      <a:pt x="72" y="61"/>
                    </a:cubicBezTo>
                    <a:close/>
                    <a:moveTo>
                      <a:pt x="85" y="61"/>
                    </a:moveTo>
                    <a:cubicBezTo>
                      <a:pt x="84" y="61"/>
                      <a:pt x="84" y="61"/>
                      <a:pt x="84" y="61"/>
                    </a:cubicBezTo>
                    <a:cubicBezTo>
                      <a:pt x="84" y="61"/>
                      <a:pt x="84" y="61"/>
                      <a:pt x="84" y="61"/>
                    </a:cubicBezTo>
                    <a:cubicBezTo>
                      <a:pt x="84" y="61"/>
                      <a:pt x="84" y="61"/>
                      <a:pt x="84" y="61"/>
                    </a:cubicBezTo>
                    <a:cubicBezTo>
                      <a:pt x="84" y="61"/>
                      <a:pt x="84" y="61"/>
                      <a:pt x="84" y="61"/>
                    </a:cubicBezTo>
                    <a:cubicBezTo>
                      <a:pt x="84" y="61"/>
                      <a:pt x="84" y="61"/>
                      <a:pt x="84" y="61"/>
                    </a:cubicBezTo>
                    <a:cubicBezTo>
                      <a:pt x="84" y="61"/>
                      <a:pt x="84" y="61"/>
                      <a:pt x="85" y="61"/>
                    </a:cubicBezTo>
                    <a:cubicBezTo>
                      <a:pt x="85" y="61"/>
                      <a:pt x="85" y="61"/>
                      <a:pt x="85" y="61"/>
                    </a:cubicBezTo>
                    <a:close/>
                    <a:moveTo>
                      <a:pt x="73" y="61"/>
                    </a:moveTo>
                    <a:cubicBezTo>
                      <a:pt x="73" y="61"/>
                      <a:pt x="73" y="61"/>
                      <a:pt x="73" y="61"/>
                    </a:cubicBezTo>
                    <a:cubicBezTo>
                      <a:pt x="73" y="61"/>
                      <a:pt x="73" y="61"/>
                      <a:pt x="73" y="61"/>
                    </a:cubicBezTo>
                    <a:cubicBezTo>
                      <a:pt x="73" y="61"/>
                      <a:pt x="73" y="61"/>
                      <a:pt x="73" y="61"/>
                    </a:cubicBezTo>
                    <a:cubicBezTo>
                      <a:pt x="73" y="61"/>
                      <a:pt x="73" y="61"/>
                      <a:pt x="73" y="61"/>
                    </a:cubicBezTo>
                    <a:cubicBezTo>
                      <a:pt x="73" y="61"/>
                      <a:pt x="73" y="61"/>
                      <a:pt x="73" y="61"/>
                    </a:cubicBezTo>
                    <a:close/>
                    <a:moveTo>
                      <a:pt x="72" y="61"/>
                    </a:moveTo>
                    <a:cubicBezTo>
                      <a:pt x="72" y="61"/>
                      <a:pt x="73" y="61"/>
                      <a:pt x="73" y="61"/>
                    </a:cubicBezTo>
                    <a:cubicBezTo>
                      <a:pt x="73" y="61"/>
                      <a:pt x="73" y="61"/>
                      <a:pt x="73" y="61"/>
                    </a:cubicBezTo>
                    <a:cubicBezTo>
                      <a:pt x="72" y="61"/>
                      <a:pt x="72" y="61"/>
                      <a:pt x="72" y="61"/>
                    </a:cubicBezTo>
                    <a:cubicBezTo>
                      <a:pt x="72" y="61"/>
                      <a:pt x="72" y="61"/>
                      <a:pt x="72" y="61"/>
                    </a:cubicBezTo>
                    <a:close/>
                    <a:moveTo>
                      <a:pt x="21" y="61"/>
                    </a:moveTo>
                    <a:cubicBezTo>
                      <a:pt x="21" y="61"/>
                      <a:pt x="21" y="61"/>
                      <a:pt x="21" y="61"/>
                    </a:cubicBezTo>
                    <a:cubicBezTo>
                      <a:pt x="21" y="61"/>
                      <a:pt x="21" y="61"/>
                      <a:pt x="21" y="61"/>
                    </a:cubicBezTo>
                    <a:cubicBezTo>
                      <a:pt x="21" y="61"/>
                      <a:pt x="22" y="61"/>
                      <a:pt x="22" y="61"/>
                    </a:cubicBezTo>
                    <a:cubicBezTo>
                      <a:pt x="22" y="61"/>
                      <a:pt x="21" y="61"/>
                      <a:pt x="21" y="61"/>
                    </a:cubicBezTo>
                    <a:cubicBezTo>
                      <a:pt x="21" y="61"/>
                      <a:pt x="21" y="61"/>
                      <a:pt x="21" y="61"/>
                    </a:cubicBezTo>
                    <a:close/>
                    <a:moveTo>
                      <a:pt x="12" y="61"/>
                    </a:moveTo>
                    <a:cubicBezTo>
                      <a:pt x="12" y="61"/>
                      <a:pt x="12" y="61"/>
                      <a:pt x="12" y="61"/>
                    </a:cubicBezTo>
                    <a:cubicBezTo>
                      <a:pt x="12" y="61"/>
                      <a:pt x="12" y="61"/>
                      <a:pt x="12" y="61"/>
                    </a:cubicBezTo>
                    <a:cubicBezTo>
                      <a:pt x="12" y="61"/>
                      <a:pt x="12" y="61"/>
                      <a:pt x="12" y="61"/>
                    </a:cubicBezTo>
                    <a:cubicBezTo>
                      <a:pt x="12" y="61"/>
                      <a:pt x="12" y="61"/>
                      <a:pt x="12" y="61"/>
                    </a:cubicBezTo>
                    <a:cubicBezTo>
                      <a:pt x="12" y="61"/>
                      <a:pt x="12" y="61"/>
                      <a:pt x="12" y="61"/>
                    </a:cubicBezTo>
                    <a:close/>
                    <a:moveTo>
                      <a:pt x="38" y="64"/>
                    </a:moveTo>
                    <a:cubicBezTo>
                      <a:pt x="39" y="63"/>
                      <a:pt x="39" y="63"/>
                      <a:pt x="39" y="63"/>
                    </a:cubicBezTo>
                    <a:cubicBezTo>
                      <a:pt x="39" y="63"/>
                      <a:pt x="39" y="63"/>
                      <a:pt x="39" y="62"/>
                    </a:cubicBezTo>
                    <a:cubicBezTo>
                      <a:pt x="39" y="63"/>
                      <a:pt x="39" y="63"/>
                      <a:pt x="39" y="63"/>
                    </a:cubicBezTo>
                    <a:cubicBezTo>
                      <a:pt x="39" y="62"/>
                      <a:pt x="38" y="62"/>
                      <a:pt x="38" y="62"/>
                    </a:cubicBezTo>
                    <a:cubicBezTo>
                      <a:pt x="38" y="62"/>
                      <a:pt x="38" y="62"/>
                      <a:pt x="38" y="62"/>
                    </a:cubicBezTo>
                    <a:cubicBezTo>
                      <a:pt x="38" y="61"/>
                      <a:pt x="36" y="63"/>
                      <a:pt x="35" y="63"/>
                    </a:cubicBezTo>
                    <a:cubicBezTo>
                      <a:pt x="36" y="62"/>
                      <a:pt x="36" y="62"/>
                      <a:pt x="36" y="62"/>
                    </a:cubicBezTo>
                    <a:cubicBezTo>
                      <a:pt x="36" y="62"/>
                      <a:pt x="36" y="62"/>
                      <a:pt x="36" y="62"/>
                    </a:cubicBezTo>
                    <a:cubicBezTo>
                      <a:pt x="37" y="62"/>
                      <a:pt x="37" y="61"/>
                      <a:pt x="37" y="61"/>
                    </a:cubicBezTo>
                    <a:cubicBezTo>
                      <a:pt x="34" y="61"/>
                      <a:pt x="35" y="61"/>
                      <a:pt x="32" y="62"/>
                    </a:cubicBezTo>
                    <a:cubicBezTo>
                      <a:pt x="33" y="62"/>
                      <a:pt x="33" y="61"/>
                      <a:pt x="33" y="61"/>
                    </a:cubicBezTo>
                    <a:cubicBezTo>
                      <a:pt x="33" y="61"/>
                      <a:pt x="33" y="61"/>
                      <a:pt x="33" y="61"/>
                    </a:cubicBezTo>
                    <a:cubicBezTo>
                      <a:pt x="33" y="61"/>
                      <a:pt x="33" y="61"/>
                      <a:pt x="33" y="61"/>
                    </a:cubicBezTo>
                    <a:cubicBezTo>
                      <a:pt x="33" y="61"/>
                      <a:pt x="33" y="61"/>
                      <a:pt x="32" y="61"/>
                    </a:cubicBezTo>
                    <a:cubicBezTo>
                      <a:pt x="32" y="61"/>
                      <a:pt x="32" y="62"/>
                      <a:pt x="32" y="62"/>
                    </a:cubicBezTo>
                    <a:cubicBezTo>
                      <a:pt x="32" y="62"/>
                      <a:pt x="32" y="62"/>
                      <a:pt x="32" y="62"/>
                    </a:cubicBezTo>
                    <a:cubicBezTo>
                      <a:pt x="33" y="62"/>
                      <a:pt x="33" y="62"/>
                      <a:pt x="33" y="62"/>
                    </a:cubicBezTo>
                    <a:cubicBezTo>
                      <a:pt x="33" y="62"/>
                      <a:pt x="33" y="62"/>
                      <a:pt x="33" y="62"/>
                    </a:cubicBezTo>
                    <a:cubicBezTo>
                      <a:pt x="34" y="63"/>
                      <a:pt x="34" y="63"/>
                      <a:pt x="34" y="63"/>
                    </a:cubicBezTo>
                    <a:cubicBezTo>
                      <a:pt x="37" y="63"/>
                      <a:pt x="36" y="63"/>
                      <a:pt x="38" y="64"/>
                    </a:cubicBezTo>
                    <a:cubicBezTo>
                      <a:pt x="38" y="64"/>
                      <a:pt x="38" y="64"/>
                      <a:pt x="38" y="64"/>
                    </a:cubicBezTo>
                    <a:close/>
                    <a:moveTo>
                      <a:pt x="76" y="61"/>
                    </a:moveTo>
                    <a:cubicBezTo>
                      <a:pt x="77" y="61"/>
                      <a:pt x="77" y="62"/>
                      <a:pt x="78" y="62"/>
                    </a:cubicBezTo>
                    <a:cubicBezTo>
                      <a:pt x="78" y="62"/>
                      <a:pt x="78" y="62"/>
                      <a:pt x="78" y="62"/>
                    </a:cubicBezTo>
                    <a:cubicBezTo>
                      <a:pt x="78" y="62"/>
                      <a:pt x="78" y="62"/>
                      <a:pt x="77" y="62"/>
                    </a:cubicBezTo>
                    <a:cubicBezTo>
                      <a:pt x="77" y="62"/>
                      <a:pt x="77" y="62"/>
                      <a:pt x="78" y="62"/>
                    </a:cubicBezTo>
                    <a:cubicBezTo>
                      <a:pt x="77" y="62"/>
                      <a:pt x="77" y="62"/>
                      <a:pt x="77" y="62"/>
                    </a:cubicBezTo>
                    <a:cubicBezTo>
                      <a:pt x="77" y="62"/>
                      <a:pt x="76" y="61"/>
                      <a:pt x="76" y="61"/>
                    </a:cubicBezTo>
                    <a:cubicBezTo>
                      <a:pt x="76" y="61"/>
                      <a:pt x="76" y="61"/>
                      <a:pt x="76" y="61"/>
                    </a:cubicBezTo>
                    <a:close/>
                    <a:moveTo>
                      <a:pt x="84" y="61"/>
                    </a:moveTo>
                    <a:cubicBezTo>
                      <a:pt x="84" y="61"/>
                      <a:pt x="84" y="61"/>
                      <a:pt x="84" y="61"/>
                    </a:cubicBezTo>
                    <a:cubicBezTo>
                      <a:pt x="84" y="61"/>
                      <a:pt x="84" y="61"/>
                      <a:pt x="84" y="61"/>
                    </a:cubicBezTo>
                    <a:cubicBezTo>
                      <a:pt x="84" y="61"/>
                      <a:pt x="84" y="61"/>
                      <a:pt x="84" y="61"/>
                    </a:cubicBezTo>
                    <a:cubicBezTo>
                      <a:pt x="84" y="61"/>
                      <a:pt x="84" y="61"/>
                      <a:pt x="84" y="61"/>
                    </a:cubicBezTo>
                    <a:cubicBezTo>
                      <a:pt x="84" y="61"/>
                      <a:pt x="84" y="61"/>
                      <a:pt x="84" y="61"/>
                    </a:cubicBezTo>
                    <a:close/>
                    <a:moveTo>
                      <a:pt x="69" y="61"/>
                    </a:moveTo>
                    <a:cubicBezTo>
                      <a:pt x="70" y="61"/>
                      <a:pt x="70" y="61"/>
                      <a:pt x="70" y="61"/>
                    </a:cubicBezTo>
                    <a:cubicBezTo>
                      <a:pt x="70" y="61"/>
                      <a:pt x="71" y="61"/>
                      <a:pt x="71" y="62"/>
                    </a:cubicBezTo>
                    <a:cubicBezTo>
                      <a:pt x="70" y="61"/>
                      <a:pt x="70" y="61"/>
                      <a:pt x="70" y="61"/>
                    </a:cubicBezTo>
                    <a:cubicBezTo>
                      <a:pt x="70" y="61"/>
                      <a:pt x="70" y="61"/>
                      <a:pt x="70" y="61"/>
                    </a:cubicBezTo>
                    <a:cubicBezTo>
                      <a:pt x="70" y="61"/>
                      <a:pt x="70" y="61"/>
                      <a:pt x="70" y="62"/>
                    </a:cubicBezTo>
                    <a:cubicBezTo>
                      <a:pt x="70" y="62"/>
                      <a:pt x="70" y="61"/>
                      <a:pt x="69" y="61"/>
                    </a:cubicBezTo>
                    <a:cubicBezTo>
                      <a:pt x="69" y="61"/>
                      <a:pt x="69" y="61"/>
                      <a:pt x="69" y="61"/>
                    </a:cubicBezTo>
                    <a:close/>
                    <a:moveTo>
                      <a:pt x="60" y="61"/>
                    </a:moveTo>
                    <a:cubicBezTo>
                      <a:pt x="60" y="61"/>
                      <a:pt x="60" y="61"/>
                      <a:pt x="60" y="61"/>
                    </a:cubicBezTo>
                    <a:cubicBezTo>
                      <a:pt x="60" y="61"/>
                      <a:pt x="60" y="61"/>
                      <a:pt x="60" y="61"/>
                    </a:cubicBezTo>
                    <a:cubicBezTo>
                      <a:pt x="60" y="61"/>
                      <a:pt x="60" y="61"/>
                      <a:pt x="60" y="61"/>
                    </a:cubicBezTo>
                    <a:cubicBezTo>
                      <a:pt x="60" y="61"/>
                      <a:pt x="60" y="61"/>
                      <a:pt x="60" y="61"/>
                    </a:cubicBezTo>
                    <a:cubicBezTo>
                      <a:pt x="60" y="61"/>
                      <a:pt x="60" y="61"/>
                      <a:pt x="60" y="61"/>
                    </a:cubicBezTo>
                    <a:cubicBezTo>
                      <a:pt x="60" y="61"/>
                      <a:pt x="60" y="61"/>
                      <a:pt x="60" y="61"/>
                    </a:cubicBezTo>
                    <a:close/>
                    <a:moveTo>
                      <a:pt x="82" y="61"/>
                    </a:moveTo>
                    <a:cubicBezTo>
                      <a:pt x="82" y="61"/>
                      <a:pt x="82" y="61"/>
                      <a:pt x="82" y="61"/>
                    </a:cubicBezTo>
                    <a:cubicBezTo>
                      <a:pt x="82" y="61"/>
                      <a:pt x="82" y="61"/>
                      <a:pt x="82" y="61"/>
                    </a:cubicBezTo>
                    <a:cubicBezTo>
                      <a:pt x="82" y="61"/>
                      <a:pt x="82" y="61"/>
                      <a:pt x="82" y="61"/>
                    </a:cubicBezTo>
                    <a:cubicBezTo>
                      <a:pt x="82" y="61"/>
                      <a:pt x="82" y="61"/>
                      <a:pt x="82" y="61"/>
                    </a:cubicBezTo>
                    <a:close/>
                    <a:moveTo>
                      <a:pt x="74" y="61"/>
                    </a:moveTo>
                    <a:cubicBezTo>
                      <a:pt x="75" y="61"/>
                      <a:pt x="75" y="61"/>
                      <a:pt x="75" y="61"/>
                    </a:cubicBezTo>
                    <a:cubicBezTo>
                      <a:pt x="74" y="61"/>
                      <a:pt x="74" y="62"/>
                      <a:pt x="74" y="62"/>
                    </a:cubicBezTo>
                    <a:cubicBezTo>
                      <a:pt x="74" y="62"/>
                      <a:pt x="73" y="61"/>
                      <a:pt x="73" y="61"/>
                    </a:cubicBezTo>
                    <a:cubicBezTo>
                      <a:pt x="73" y="61"/>
                      <a:pt x="73" y="61"/>
                      <a:pt x="73" y="61"/>
                    </a:cubicBezTo>
                    <a:cubicBezTo>
                      <a:pt x="74" y="61"/>
                      <a:pt x="74" y="61"/>
                      <a:pt x="74" y="61"/>
                    </a:cubicBezTo>
                    <a:cubicBezTo>
                      <a:pt x="74" y="61"/>
                      <a:pt x="74" y="61"/>
                      <a:pt x="74" y="61"/>
                    </a:cubicBezTo>
                    <a:close/>
                    <a:moveTo>
                      <a:pt x="82" y="61"/>
                    </a:moveTo>
                    <a:cubicBezTo>
                      <a:pt x="82" y="61"/>
                      <a:pt x="82" y="61"/>
                      <a:pt x="82" y="61"/>
                    </a:cubicBezTo>
                    <a:cubicBezTo>
                      <a:pt x="82" y="61"/>
                      <a:pt x="82" y="61"/>
                      <a:pt x="82" y="61"/>
                    </a:cubicBezTo>
                    <a:cubicBezTo>
                      <a:pt x="82" y="61"/>
                      <a:pt x="82" y="61"/>
                      <a:pt x="82" y="61"/>
                    </a:cubicBezTo>
                    <a:cubicBezTo>
                      <a:pt x="82" y="61"/>
                      <a:pt x="82" y="61"/>
                      <a:pt x="82" y="61"/>
                    </a:cubicBezTo>
                    <a:close/>
                    <a:moveTo>
                      <a:pt x="69" y="61"/>
                    </a:moveTo>
                    <a:cubicBezTo>
                      <a:pt x="69" y="61"/>
                      <a:pt x="69" y="61"/>
                      <a:pt x="69" y="61"/>
                    </a:cubicBezTo>
                    <a:cubicBezTo>
                      <a:pt x="69" y="61"/>
                      <a:pt x="69" y="61"/>
                      <a:pt x="69" y="61"/>
                    </a:cubicBezTo>
                    <a:cubicBezTo>
                      <a:pt x="69" y="61"/>
                      <a:pt x="69" y="61"/>
                      <a:pt x="69" y="61"/>
                    </a:cubicBezTo>
                    <a:cubicBezTo>
                      <a:pt x="69" y="61"/>
                      <a:pt x="69" y="61"/>
                      <a:pt x="69" y="61"/>
                    </a:cubicBezTo>
                    <a:close/>
                    <a:moveTo>
                      <a:pt x="57" y="61"/>
                    </a:moveTo>
                    <a:cubicBezTo>
                      <a:pt x="57" y="61"/>
                      <a:pt x="57" y="61"/>
                      <a:pt x="57" y="61"/>
                    </a:cubicBezTo>
                    <a:cubicBezTo>
                      <a:pt x="57" y="61"/>
                      <a:pt x="57" y="61"/>
                      <a:pt x="57" y="61"/>
                    </a:cubicBezTo>
                    <a:cubicBezTo>
                      <a:pt x="57" y="61"/>
                      <a:pt x="57" y="61"/>
                      <a:pt x="57" y="61"/>
                    </a:cubicBezTo>
                    <a:cubicBezTo>
                      <a:pt x="57" y="61"/>
                      <a:pt x="57" y="61"/>
                      <a:pt x="57" y="61"/>
                    </a:cubicBezTo>
                    <a:close/>
                    <a:moveTo>
                      <a:pt x="83" y="61"/>
                    </a:moveTo>
                    <a:cubicBezTo>
                      <a:pt x="83" y="61"/>
                      <a:pt x="83" y="61"/>
                      <a:pt x="83" y="61"/>
                    </a:cubicBezTo>
                    <a:cubicBezTo>
                      <a:pt x="83" y="61"/>
                      <a:pt x="83" y="61"/>
                      <a:pt x="83" y="61"/>
                    </a:cubicBezTo>
                    <a:cubicBezTo>
                      <a:pt x="83" y="61"/>
                      <a:pt x="83" y="61"/>
                      <a:pt x="83" y="61"/>
                    </a:cubicBezTo>
                    <a:cubicBezTo>
                      <a:pt x="83" y="61"/>
                      <a:pt x="83" y="61"/>
                      <a:pt x="83" y="61"/>
                    </a:cubicBezTo>
                    <a:close/>
                    <a:moveTo>
                      <a:pt x="83" y="61"/>
                    </a:moveTo>
                    <a:cubicBezTo>
                      <a:pt x="83" y="61"/>
                      <a:pt x="83" y="61"/>
                      <a:pt x="83" y="61"/>
                    </a:cubicBezTo>
                    <a:cubicBezTo>
                      <a:pt x="83" y="61"/>
                      <a:pt x="84" y="61"/>
                      <a:pt x="84" y="61"/>
                    </a:cubicBezTo>
                    <a:cubicBezTo>
                      <a:pt x="84" y="62"/>
                      <a:pt x="84" y="62"/>
                      <a:pt x="84" y="62"/>
                    </a:cubicBezTo>
                    <a:cubicBezTo>
                      <a:pt x="83" y="62"/>
                      <a:pt x="83" y="62"/>
                      <a:pt x="83" y="61"/>
                    </a:cubicBezTo>
                    <a:cubicBezTo>
                      <a:pt x="83" y="61"/>
                      <a:pt x="83" y="61"/>
                      <a:pt x="83" y="61"/>
                    </a:cubicBezTo>
                    <a:close/>
                    <a:moveTo>
                      <a:pt x="24" y="62"/>
                    </a:moveTo>
                    <a:cubicBezTo>
                      <a:pt x="23" y="62"/>
                      <a:pt x="23" y="62"/>
                      <a:pt x="23" y="62"/>
                    </a:cubicBezTo>
                    <a:cubicBezTo>
                      <a:pt x="23" y="63"/>
                      <a:pt x="23" y="63"/>
                      <a:pt x="24" y="63"/>
                    </a:cubicBezTo>
                    <a:cubicBezTo>
                      <a:pt x="23" y="63"/>
                      <a:pt x="22" y="63"/>
                      <a:pt x="21" y="64"/>
                    </a:cubicBezTo>
                    <a:cubicBezTo>
                      <a:pt x="21" y="63"/>
                      <a:pt x="21" y="63"/>
                      <a:pt x="21" y="63"/>
                    </a:cubicBezTo>
                    <a:cubicBezTo>
                      <a:pt x="21" y="63"/>
                      <a:pt x="21" y="63"/>
                      <a:pt x="21" y="63"/>
                    </a:cubicBezTo>
                    <a:cubicBezTo>
                      <a:pt x="21" y="63"/>
                      <a:pt x="21" y="63"/>
                      <a:pt x="21" y="63"/>
                    </a:cubicBezTo>
                    <a:cubicBezTo>
                      <a:pt x="21" y="63"/>
                      <a:pt x="21" y="63"/>
                      <a:pt x="21" y="63"/>
                    </a:cubicBezTo>
                    <a:cubicBezTo>
                      <a:pt x="21" y="63"/>
                      <a:pt x="21" y="64"/>
                      <a:pt x="20" y="64"/>
                    </a:cubicBezTo>
                    <a:cubicBezTo>
                      <a:pt x="20" y="64"/>
                      <a:pt x="19" y="63"/>
                      <a:pt x="19" y="62"/>
                    </a:cubicBezTo>
                    <a:cubicBezTo>
                      <a:pt x="20" y="62"/>
                      <a:pt x="20" y="62"/>
                      <a:pt x="20" y="61"/>
                    </a:cubicBezTo>
                    <a:cubicBezTo>
                      <a:pt x="20" y="62"/>
                      <a:pt x="19" y="62"/>
                      <a:pt x="19" y="62"/>
                    </a:cubicBezTo>
                    <a:cubicBezTo>
                      <a:pt x="19" y="62"/>
                      <a:pt x="19" y="62"/>
                      <a:pt x="19" y="62"/>
                    </a:cubicBezTo>
                    <a:cubicBezTo>
                      <a:pt x="20" y="61"/>
                      <a:pt x="22" y="62"/>
                      <a:pt x="24" y="62"/>
                    </a:cubicBezTo>
                    <a:cubicBezTo>
                      <a:pt x="24" y="62"/>
                      <a:pt x="24" y="62"/>
                      <a:pt x="24" y="62"/>
                    </a:cubicBezTo>
                    <a:close/>
                    <a:moveTo>
                      <a:pt x="57" y="61"/>
                    </a:moveTo>
                    <a:cubicBezTo>
                      <a:pt x="57" y="61"/>
                      <a:pt x="57" y="62"/>
                      <a:pt x="57" y="62"/>
                    </a:cubicBezTo>
                    <a:cubicBezTo>
                      <a:pt x="57" y="62"/>
                      <a:pt x="57" y="62"/>
                      <a:pt x="57" y="62"/>
                    </a:cubicBezTo>
                    <a:cubicBezTo>
                      <a:pt x="57" y="62"/>
                      <a:pt x="57" y="62"/>
                      <a:pt x="57" y="61"/>
                    </a:cubicBezTo>
                    <a:cubicBezTo>
                      <a:pt x="57" y="61"/>
                      <a:pt x="57" y="61"/>
                      <a:pt x="57" y="61"/>
                    </a:cubicBezTo>
                    <a:close/>
                    <a:moveTo>
                      <a:pt x="81" y="61"/>
                    </a:moveTo>
                    <a:cubicBezTo>
                      <a:pt x="81" y="61"/>
                      <a:pt x="82" y="61"/>
                      <a:pt x="82" y="62"/>
                    </a:cubicBezTo>
                    <a:cubicBezTo>
                      <a:pt x="81" y="62"/>
                      <a:pt x="81" y="62"/>
                      <a:pt x="81" y="62"/>
                    </a:cubicBezTo>
                    <a:cubicBezTo>
                      <a:pt x="81" y="62"/>
                      <a:pt x="81" y="62"/>
                      <a:pt x="81" y="61"/>
                    </a:cubicBezTo>
                    <a:cubicBezTo>
                      <a:pt x="81" y="61"/>
                      <a:pt x="81" y="61"/>
                      <a:pt x="81" y="61"/>
                    </a:cubicBezTo>
                    <a:close/>
                    <a:moveTo>
                      <a:pt x="72" y="61"/>
                    </a:moveTo>
                    <a:cubicBezTo>
                      <a:pt x="72" y="61"/>
                      <a:pt x="72" y="62"/>
                      <a:pt x="72" y="62"/>
                    </a:cubicBezTo>
                    <a:cubicBezTo>
                      <a:pt x="72" y="62"/>
                      <a:pt x="72" y="62"/>
                      <a:pt x="72" y="62"/>
                    </a:cubicBezTo>
                    <a:cubicBezTo>
                      <a:pt x="72" y="62"/>
                      <a:pt x="72" y="62"/>
                      <a:pt x="72" y="62"/>
                    </a:cubicBezTo>
                    <a:cubicBezTo>
                      <a:pt x="72" y="62"/>
                      <a:pt x="72" y="62"/>
                      <a:pt x="72" y="61"/>
                    </a:cubicBezTo>
                    <a:cubicBezTo>
                      <a:pt x="72" y="61"/>
                      <a:pt x="72" y="61"/>
                      <a:pt x="72" y="61"/>
                    </a:cubicBezTo>
                    <a:close/>
                    <a:moveTo>
                      <a:pt x="75" y="61"/>
                    </a:moveTo>
                    <a:cubicBezTo>
                      <a:pt x="75" y="62"/>
                      <a:pt x="76" y="62"/>
                      <a:pt x="77" y="62"/>
                    </a:cubicBezTo>
                    <a:cubicBezTo>
                      <a:pt x="76" y="63"/>
                      <a:pt x="75" y="63"/>
                      <a:pt x="75" y="63"/>
                    </a:cubicBezTo>
                    <a:cubicBezTo>
                      <a:pt x="75" y="63"/>
                      <a:pt x="74" y="62"/>
                      <a:pt x="74" y="62"/>
                    </a:cubicBezTo>
                    <a:cubicBezTo>
                      <a:pt x="74" y="62"/>
                      <a:pt x="75" y="62"/>
                      <a:pt x="75" y="61"/>
                    </a:cubicBezTo>
                    <a:cubicBezTo>
                      <a:pt x="75" y="61"/>
                      <a:pt x="75" y="61"/>
                      <a:pt x="75" y="61"/>
                    </a:cubicBezTo>
                    <a:close/>
                    <a:moveTo>
                      <a:pt x="83" y="61"/>
                    </a:moveTo>
                    <a:cubicBezTo>
                      <a:pt x="83" y="61"/>
                      <a:pt x="83" y="62"/>
                      <a:pt x="83" y="62"/>
                    </a:cubicBezTo>
                    <a:cubicBezTo>
                      <a:pt x="83" y="62"/>
                      <a:pt x="83" y="62"/>
                      <a:pt x="83" y="62"/>
                    </a:cubicBezTo>
                    <a:cubicBezTo>
                      <a:pt x="83" y="62"/>
                      <a:pt x="83" y="62"/>
                      <a:pt x="83" y="62"/>
                    </a:cubicBezTo>
                    <a:cubicBezTo>
                      <a:pt x="83" y="62"/>
                      <a:pt x="83" y="62"/>
                      <a:pt x="83" y="62"/>
                    </a:cubicBezTo>
                    <a:cubicBezTo>
                      <a:pt x="83" y="62"/>
                      <a:pt x="83" y="61"/>
                      <a:pt x="83" y="61"/>
                    </a:cubicBezTo>
                    <a:cubicBezTo>
                      <a:pt x="83" y="61"/>
                      <a:pt x="83" y="61"/>
                      <a:pt x="83" y="61"/>
                    </a:cubicBezTo>
                    <a:close/>
                    <a:moveTo>
                      <a:pt x="18" y="62"/>
                    </a:moveTo>
                    <a:cubicBezTo>
                      <a:pt x="19" y="62"/>
                      <a:pt x="19" y="62"/>
                      <a:pt x="19" y="62"/>
                    </a:cubicBezTo>
                    <a:cubicBezTo>
                      <a:pt x="19" y="62"/>
                      <a:pt x="19" y="62"/>
                      <a:pt x="19" y="62"/>
                    </a:cubicBezTo>
                    <a:cubicBezTo>
                      <a:pt x="19" y="62"/>
                      <a:pt x="19" y="62"/>
                      <a:pt x="19" y="62"/>
                    </a:cubicBezTo>
                    <a:cubicBezTo>
                      <a:pt x="19" y="62"/>
                      <a:pt x="19" y="62"/>
                      <a:pt x="19" y="62"/>
                    </a:cubicBezTo>
                    <a:cubicBezTo>
                      <a:pt x="18" y="62"/>
                      <a:pt x="18" y="62"/>
                      <a:pt x="18" y="62"/>
                    </a:cubicBezTo>
                    <a:cubicBezTo>
                      <a:pt x="18" y="62"/>
                      <a:pt x="18" y="62"/>
                      <a:pt x="18" y="62"/>
                    </a:cubicBezTo>
                    <a:cubicBezTo>
                      <a:pt x="18" y="62"/>
                      <a:pt x="18" y="62"/>
                      <a:pt x="18" y="62"/>
                    </a:cubicBezTo>
                    <a:cubicBezTo>
                      <a:pt x="18" y="62"/>
                      <a:pt x="18" y="62"/>
                      <a:pt x="18" y="62"/>
                    </a:cubicBezTo>
                    <a:close/>
                    <a:moveTo>
                      <a:pt x="83" y="62"/>
                    </a:moveTo>
                    <a:cubicBezTo>
                      <a:pt x="83" y="62"/>
                      <a:pt x="83" y="62"/>
                      <a:pt x="83" y="62"/>
                    </a:cubicBezTo>
                    <a:cubicBezTo>
                      <a:pt x="83" y="62"/>
                      <a:pt x="83" y="62"/>
                      <a:pt x="84" y="62"/>
                    </a:cubicBezTo>
                    <a:cubicBezTo>
                      <a:pt x="84" y="62"/>
                      <a:pt x="84" y="62"/>
                      <a:pt x="83" y="62"/>
                    </a:cubicBezTo>
                    <a:cubicBezTo>
                      <a:pt x="83" y="62"/>
                      <a:pt x="83" y="62"/>
                      <a:pt x="83" y="62"/>
                    </a:cubicBezTo>
                    <a:cubicBezTo>
                      <a:pt x="83" y="62"/>
                      <a:pt x="83" y="62"/>
                      <a:pt x="83" y="62"/>
                    </a:cubicBezTo>
                    <a:close/>
                    <a:moveTo>
                      <a:pt x="86" y="62"/>
                    </a:moveTo>
                    <a:cubicBezTo>
                      <a:pt x="86" y="62"/>
                      <a:pt x="86" y="62"/>
                      <a:pt x="86" y="62"/>
                    </a:cubicBezTo>
                    <a:cubicBezTo>
                      <a:pt x="86" y="62"/>
                      <a:pt x="86" y="62"/>
                      <a:pt x="86" y="62"/>
                    </a:cubicBezTo>
                    <a:cubicBezTo>
                      <a:pt x="86" y="62"/>
                      <a:pt x="86" y="62"/>
                      <a:pt x="86" y="62"/>
                    </a:cubicBezTo>
                    <a:cubicBezTo>
                      <a:pt x="86" y="62"/>
                      <a:pt x="86" y="62"/>
                      <a:pt x="86" y="62"/>
                    </a:cubicBezTo>
                    <a:close/>
                    <a:moveTo>
                      <a:pt x="81" y="62"/>
                    </a:moveTo>
                    <a:cubicBezTo>
                      <a:pt x="81" y="62"/>
                      <a:pt x="81" y="62"/>
                      <a:pt x="81" y="62"/>
                    </a:cubicBezTo>
                    <a:cubicBezTo>
                      <a:pt x="81" y="62"/>
                      <a:pt x="81" y="62"/>
                      <a:pt x="81" y="62"/>
                    </a:cubicBezTo>
                    <a:cubicBezTo>
                      <a:pt x="81" y="62"/>
                      <a:pt x="81" y="62"/>
                      <a:pt x="81" y="62"/>
                    </a:cubicBezTo>
                    <a:cubicBezTo>
                      <a:pt x="81" y="62"/>
                      <a:pt x="81" y="62"/>
                      <a:pt x="81" y="62"/>
                    </a:cubicBezTo>
                    <a:close/>
                    <a:moveTo>
                      <a:pt x="58" y="62"/>
                    </a:moveTo>
                    <a:cubicBezTo>
                      <a:pt x="59" y="60"/>
                      <a:pt x="60" y="58"/>
                      <a:pt x="62" y="56"/>
                    </a:cubicBezTo>
                    <a:cubicBezTo>
                      <a:pt x="61" y="59"/>
                      <a:pt x="60" y="60"/>
                      <a:pt x="58" y="62"/>
                    </a:cubicBezTo>
                    <a:cubicBezTo>
                      <a:pt x="58" y="62"/>
                      <a:pt x="58" y="62"/>
                      <a:pt x="58" y="62"/>
                    </a:cubicBezTo>
                    <a:close/>
                    <a:moveTo>
                      <a:pt x="83" y="62"/>
                    </a:moveTo>
                    <a:cubicBezTo>
                      <a:pt x="83" y="62"/>
                      <a:pt x="83" y="62"/>
                      <a:pt x="83" y="62"/>
                    </a:cubicBezTo>
                    <a:cubicBezTo>
                      <a:pt x="83" y="62"/>
                      <a:pt x="83" y="62"/>
                      <a:pt x="83" y="62"/>
                    </a:cubicBezTo>
                    <a:cubicBezTo>
                      <a:pt x="83" y="62"/>
                      <a:pt x="83" y="62"/>
                      <a:pt x="83" y="62"/>
                    </a:cubicBezTo>
                    <a:cubicBezTo>
                      <a:pt x="83" y="62"/>
                      <a:pt x="83" y="62"/>
                      <a:pt x="83" y="62"/>
                    </a:cubicBezTo>
                    <a:cubicBezTo>
                      <a:pt x="83" y="62"/>
                      <a:pt x="83" y="62"/>
                      <a:pt x="83" y="62"/>
                    </a:cubicBezTo>
                    <a:close/>
                    <a:moveTo>
                      <a:pt x="72" y="62"/>
                    </a:moveTo>
                    <a:cubicBezTo>
                      <a:pt x="73" y="62"/>
                      <a:pt x="73" y="62"/>
                      <a:pt x="73" y="62"/>
                    </a:cubicBezTo>
                    <a:cubicBezTo>
                      <a:pt x="73" y="62"/>
                      <a:pt x="73" y="62"/>
                      <a:pt x="73" y="62"/>
                    </a:cubicBezTo>
                    <a:cubicBezTo>
                      <a:pt x="73" y="62"/>
                      <a:pt x="73" y="63"/>
                      <a:pt x="73" y="63"/>
                    </a:cubicBezTo>
                    <a:cubicBezTo>
                      <a:pt x="73" y="62"/>
                      <a:pt x="73" y="62"/>
                      <a:pt x="72" y="62"/>
                    </a:cubicBezTo>
                    <a:cubicBezTo>
                      <a:pt x="72" y="62"/>
                      <a:pt x="72" y="62"/>
                      <a:pt x="72" y="62"/>
                    </a:cubicBezTo>
                    <a:close/>
                    <a:moveTo>
                      <a:pt x="83" y="62"/>
                    </a:moveTo>
                    <a:cubicBezTo>
                      <a:pt x="82" y="62"/>
                      <a:pt x="82" y="62"/>
                      <a:pt x="82" y="62"/>
                    </a:cubicBezTo>
                    <a:cubicBezTo>
                      <a:pt x="82" y="62"/>
                      <a:pt x="82" y="62"/>
                      <a:pt x="82" y="62"/>
                    </a:cubicBezTo>
                    <a:cubicBezTo>
                      <a:pt x="82" y="63"/>
                      <a:pt x="82" y="63"/>
                      <a:pt x="82" y="63"/>
                    </a:cubicBezTo>
                    <a:cubicBezTo>
                      <a:pt x="82" y="62"/>
                      <a:pt x="82" y="62"/>
                      <a:pt x="83" y="62"/>
                    </a:cubicBezTo>
                    <a:cubicBezTo>
                      <a:pt x="83" y="62"/>
                      <a:pt x="83" y="62"/>
                      <a:pt x="83" y="62"/>
                    </a:cubicBezTo>
                    <a:cubicBezTo>
                      <a:pt x="83" y="62"/>
                      <a:pt x="83" y="62"/>
                      <a:pt x="83" y="62"/>
                    </a:cubicBezTo>
                    <a:close/>
                    <a:moveTo>
                      <a:pt x="67" y="62"/>
                    </a:moveTo>
                    <a:cubicBezTo>
                      <a:pt x="67" y="62"/>
                      <a:pt x="67" y="62"/>
                      <a:pt x="68" y="62"/>
                    </a:cubicBezTo>
                    <a:cubicBezTo>
                      <a:pt x="68" y="62"/>
                      <a:pt x="68" y="62"/>
                      <a:pt x="68" y="62"/>
                    </a:cubicBezTo>
                    <a:cubicBezTo>
                      <a:pt x="68" y="62"/>
                      <a:pt x="68" y="62"/>
                      <a:pt x="68" y="62"/>
                    </a:cubicBezTo>
                    <a:cubicBezTo>
                      <a:pt x="68" y="62"/>
                      <a:pt x="67" y="62"/>
                      <a:pt x="67" y="62"/>
                    </a:cubicBezTo>
                    <a:cubicBezTo>
                      <a:pt x="67" y="62"/>
                      <a:pt x="67" y="62"/>
                      <a:pt x="67" y="62"/>
                    </a:cubicBezTo>
                    <a:close/>
                    <a:moveTo>
                      <a:pt x="83" y="62"/>
                    </a:moveTo>
                    <a:cubicBezTo>
                      <a:pt x="83" y="62"/>
                      <a:pt x="83" y="62"/>
                      <a:pt x="83" y="62"/>
                    </a:cubicBezTo>
                    <a:cubicBezTo>
                      <a:pt x="83" y="62"/>
                      <a:pt x="83" y="62"/>
                      <a:pt x="83" y="62"/>
                    </a:cubicBezTo>
                    <a:cubicBezTo>
                      <a:pt x="83" y="62"/>
                      <a:pt x="83" y="62"/>
                      <a:pt x="83" y="62"/>
                    </a:cubicBezTo>
                    <a:cubicBezTo>
                      <a:pt x="83" y="62"/>
                      <a:pt x="83" y="62"/>
                      <a:pt x="83" y="62"/>
                    </a:cubicBezTo>
                    <a:cubicBezTo>
                      <a:pt x="83" y="62"/>
                      <a:pt x="83" y="62"/>
                      <a:pt x="83" y="62"/>
                    </a:cubicBezTo>
                    <a:close/>
                    <a:moveTo>
                      <a:pt x="80" y="62"/>
                    </a:moveTo>
                    <a:cubicBezTo>
                      <a:pt x="80" y="62"/>
                      <a:pt x="80" y="62"/>
                      <a:pt x="80" y="62"/>
                    </a:cubicBezTo>
                    <a:cubicBezTo>
                      <a:pt x="80" y="62"/>
                      <a:pt x="80" y="62"/>
                      <a:pt x="80" y="62"/>
                    </a:cubicBezTo>
                    <a:cubicBezTo>
                      <a:pt x="80" y="62"/>
                      <a:pt x="80" y="62"/>
                      <a:pt x="80" y="62"/>
                    </a:cubicBezTo>
                    <a:cubicBezTo>
                      <a:pt x="80" y="62"/>
                      <a:pt x="80" y="62"/>
                      <a:pt x="80" y="62"/>
                    </a:cubicBezTo>
                    <a:close/>
                    <a:moveTo>
                      <a:pt x="19" y="62"/>
                    </a:moveTo>
                    <a:cubicBezTo>
                      <a:pt x="19" y="62"/>
                      <a:pt x="19" y="62"/>
                      <a:pt x="19" y="62"/>
                    </a:cubicBezTo>
                    <a:cubicBezTo>
                      <a:pt x="19" y="62"/>
                      <a:pt x="19" y="62"/>
                      <a:pt x="19" y="63"/>
                    </a:cubicBezTo>
                    <a:cubicBezTo>
                      <a:pt x="19" y="62"/>
                      <a:pt x="19" y="62"/>
                      <a:pt x="19" y="62"/>
                    </a:cubicBezTo>
                    <a:cubicBezTo>
                      <a:pt x="19" y="62"/>
                      <a:pt x="19" y="62"/>
                      <a:pt x="19" y="62"/>
                    </a:cubicBezTo>
                    <a:close/>
                    <a:moveTo>
                      <a:pt x="77" y="62"/>
                    </a:moveTo>
                    <a:cubicBezTo>
                      <a:pt x="77" y="62"/>
                      <a:pt x="76" y="62"/>
                      <a:pt x="76" y="62"/>
                    </a:cubicBezTo>
                    <a:cubicBezTo>
                      <a:pt x="76" y="62"/>
                      <a:pt x="76" y="62"/>
                      <a:pt x="77" y="62"/>
                    </a:cubicBezTo>
                    <a:cubicBezTo>
                      <a:pt x="77" y="62"/>
                      <a:pt x="77" y="62"/>
                      <a:pt x="77" y="62"/>
                    </a:cubicBezTo>
                    <a:cubicBezTo>
                      <a:pt x="77" y="62"/>
                      <a:pt x="77" y="62"/>
                      <a:pt x="77" y="62"/>
                    </a:cubicBezTo>
                    <a:close/>
                    <a:moveTo>
                      <a:pt x="40" y="62"/>
                    </a:moveTo>
                    <a:cubicBezTo>
                      <a:pt x="39" y="62"/>
                      <a:pt x="39" y="62"/>
                      <a:pt x="39" y="62"/>
                    </a:cubicBezTo>
                    <a:cubicBezTo>
                      <a:pt x="39" y="62"/>
                      <a:pt x="39" y="63"/>
                      <a:pt x="39" y="63"/>
                    </a:cubicBezTo>
                    <a:cubicBezTo>
                      <a:pt x="40" y="63"/>
                      <a:pt x="40" y="63"/>
                      <a:pt x="40" y="62"/>
                    </a:cubicBezTo>
                    <a:cubicBezTo>
                      <a:pt x="40" y="62"/>
                      <a:pt x="40" y="62"/>
                      <a:pt x="40" y="62"/>
                    </a:cubicBezTo>
                    <a:cubicBezTo>
                      <a:pt x="40" y="62"/>
                      <a:pt x="40" y="62"/>
                      <a:pt x="40" y="62"/>
                    </a:cubicBezTo>
                    <a:close/>
                    <a:moveTo>
                      <a:pt x="19" y="62"/>
                    </a:moveTo>
                    <a:cubicBezTo>
                      <a:pt x="19" y="62"/>
                      <a:pt x="19" y="62"/>
                      <a:pt x="19" y="62"/>
                    </a:cubicBezTo>
                    <a:cubicBezTo>
                      <a:pt x="19" y="63"/>
                      <a:pt x="19" y="63"/>
                      <a:pt x="19" y="64"/>
                    </a:cubicBezTo>
                    <a:cubicBezTo>
                      <a:pt x="19" y="63"/>
                      <a:pt x="19" y="63"/>
                      <a:pt x="19" y="62"/>
                    </a:cubicBezTo>
                    <a:cubicBezTo>
                      <a:pt x="19" y="62"/>
                      <a:pt x="19" y="62"/>
                      <a:pt x="19" y="62"/>
                    </a:cubicBezTo>
                    <a:close/>
                    <a:moveTo>
                      <a:pt x="80" y="63"/>
                    </a:moveTo>
                    <a:cubicBezTo>
                      <a:pt x="79" y="62"/>
                      <a:pt x="79" y="62"/>
                      <a:pt x="79" y="62"/>
                    </a:cubicBezTo>
                    <a:cubicBezTo>
                      <a:pt x="79" y="63"/>
                      <a:pt x="79" y="63"/>
                      <a:pt x="79" y="63"/>
                    </a:cubicBezTo>
                    <a:cubicBezTo>
                      <a:pt x="79" y="63"/>
                      <a:pt x="79" y="63"/>
                      <a:pt x="80" y="63"/>
                    </a:cubicBezTo>
                    <a:cubicBezTo>
                      <a:pt x="80" y="63"/>
                      <a:pt x="80" y="63"/>
                      <a:pt x="80" y="63"/>
                    </a:cubicBezTo>
                    <a:close/>
                    <a:moveTo>
                      <a:pt x="31" y="63"/>
                    </a:moveTo>
                    <a:cubicBezTo>
                      <a:pt x="31" y="62"/>
                      <a:pt x="31" y="62"/>
                      <a:pt x="31" y="62"/>
                    </a:cubicBezTo>
                    <a:cubicBezTo>
                      <a:pt x="31" y="63"/>
                      <a:pt x="32" y="63"/>
                      <a:pt x="32" y="63"/>
                    </a:cubicBezTo>
                    <a:cubicBezTo>
                      <a:pt x="32" y="63"/>
                      <a:pt x="31" y="63"/>
                      <a:pt x="31" y="63"/>
                    </a:cubicBezTo>
                    <a:cubicBezTo>
                      <a:pt x="31" y="63"/>
                      <a:pt x="31" y="63"/>
                      <a:pt x="31" y="63"/>
                    </a:cubicBezTo>
                    <a:cubicBezTo>
                      <a:pt x="31" y="63"/>
                      <a:pt x="31" y="63"/>
                      <a:pt x="31" y="63"/>
                    </a:cubicBezTo>
                    <a:close/>
                    <a:moveTo>
                      <a:pt x="68" y="63"/>
                    </a:moveTo>
                    <a:cubicBezTo>
                      <a:pt x="68" y="63"/>
                      <a:pt x="68" y="62"/>
                      <a:pt x="68" y="62"/>
                    </a:cubicBezTo>
                    <a:cubicBezTo>
                      <a:pt x="68" y="63"/>
                      <a:pt x="69" y="63"/>
                      <a:pt x="69" y="63"/>
                    </a:cubicBezTo>
                    <a:cubicBezTo>
                      <a:pt x="68" y="63"/>
                      <a:pt x="68" y="63"/>
                      <a:pt x="68" y="63"/>
                    </a:cubicBezTo>
                    <a:cubicBezTo>
                      <a:pt x="68" y="63"/>
                      <a:pt x="68" y="63"/>
                      <a:pt x="68" y="63"/>
                    </a:cubicBezTo>
                    <a:close/>
                    <a:moveTo>
                      <a:pt x="82" y="63"/>
                    </a:moveTo>
                    <a:cubicBezTo>
                      <a:pt x="82" y="63"/>
                      <a:pt x="82" y="63"/>
                      <a:pt x="82" y="63"/>
                    </a:cubicBezTo>
                    <a:cubicBezTo>
                      <a:pt x="82" y="63"/>
                      <a:pt x="82" y="63"/>
                      <a:pt x="82" y="63"/>
                    </a:cubicBezTo>
                    <a:cubicBezTo>
                      <a:pt x="82" y="63"/>
                      <a:pt x="82" y="63"/>
                      <a:pt x="82" y="63"/>
                    </a:cubicBezTo>
                    <a:cubicBezTo>
                      <a:pt x="82" y="63"/>
                      <a:pt x="82" y="63"/>
                      <a:pt x="82" y="63"/>
                    </a:cubicBezTo>
                    <a:close/>
                    <a:moveTo>
                      <a:pt x="78" y="63"/>
                    </a:moveTo>
                    <a:cubicBezTo>
                      <a:pt x="78" y="63"/>
                      <a:pt x="78" y="63"/>
                      <a:pt x="78" y="63"/>
                    </a:cubicBezTo>
                    <a:cubicBezTo>
                      <a:pt x="78" y="63"/>
                      <a:pt x="78" y="63"/>
                      <a:pt x="78" y="63"/>
                    </a:cubicBezTo>
                    <a:cubicBezTo>
                      <a:pt x="78" y="63"/>
                      <a:pt x="78" y="63"/>
                      <a:pt x="78" y="63"/>
                    </a:cubicBezTo>
                    <a:cubicBezTo>
                      <a:pt x="78" y="63"/>
                      <a:pt x="78" y="63"/>
                      <a:pt x="78" y="63"/>
                    </a:cubicBezTo>
                    <a:close/>
                    <a:moveTo>
                      <a:pt x="79" y="63"/>
                    </a:moveTo>
                    <a:cubicBezTo>
                      <a:pt x="79" y="63"/>
                      <a:pt x="79" y="63"/>
                      <a:pt x="79" y="63"/>
                    </a:cubicBezTo>
                    <a:cubicBezTo>
                      <a:pt x="78" y="63"/>
                      <a:pt x="78" y="63"/>
                      <a:pt x="78" y="64"/>
                    </a:cubicBezTo>
                    <a:cubicBezTo>
                      <a:pt x="78" y="64"/>
                      <a:pt x="79" y="63"/>
                      <a:pt x="79" y="63"/>
                    </a:cubicBezTo>
                    <a:cubicBezTo>
                      <a:pt x="79" y="63"/>
                      <a:pt x="79" y="64"/>
                      <a:pt x="79" y="64"/>
                    </a:cubicBezTo>
                    <a:cubicBezTo>
                      <a:pt x="79" y="64"/>
                      <a:pt x="79" y="64"/>
                      <a:pt x="79" y="64"/>
                    </a:cubicBezTo>
                    <a:cubicBezTo>
                      <a:pt x="79" y="64"/>
                      <a:pt x="79" y="63"/>
                      <a:pt x="79" y="63"/>
                    </a:cubicBezTo>
                    <a:cubicBezTo>
                      <a:pt x="79" y="63"/>
                      <a:pt x="79" y="63"/>
                      <a:pt x="79" y="63"/>
                    </a:cubicBezTo>
                    <a:cubicBezTo>
                      <a:pt x="79" y="63"/>
                      <a:pt x="79" y="63"/>
                      <a:pt x="79" y="63"/>
                    </a:cubicBezTo>
                    <a:close/>
                    <a:moveTo>
                      <a:pt x="74" y="63"/>
                    </a:moveTo>
                    <a:cubicBezTo>
                      <a:pt x="74" y="63"/>
                      <a:pt x="74" y="63"/>
                      <a:pt x="74" y="63"/>
                    </a:cubicBezTo>
                    <a:cubicBezTo>
                      <a:pt x="74" y="63"/>
                      <a:pt x="74" y="63"/>
                      <a:pt x="74" y="63"/>
                    </a:cubicBezTo>
                    <a:cubicBezTo>
                      <a:pt x="74" y="63"/>
                      <a:pt x="74" y="63"/>
                      <a:pt x="74" y="63"/>
                    </a:cubicBezTo>
                    <a:cubicBezTo>
                      <a:pt x="74" y="63"/>
                      <a:pt x="74" y="63"/>
                      <a:pt x="74" y="63"/>
                    </a:cubicBezTo>
                    <a:cubicBezTo>
                      <a:pt x="74" y="63"/>
                      <a:pt x="74" y="63"/>
                      <a:pt x="74" y="63"/>
                    </a:cubicBezTo>
                    <a:close/>
                    <a:moveTo>
                      <a:pt x="88" y="63"/>
                    </a:moveTo>
                    <a:cubicBezTo>
                      <a:pt x="88" y="63"/>
                      <a:pt x="88" y="63"/>
                      <a:pt x="87" y="63"/>
                    </a:cubicBezTo>
                    <a:cubicBezTo>
                      <a:pt x="87" y="63"/>
                      <a:pt x="87" y="63"/>
                      <a:pt x="87" y="63"/>
                    </a:cubicBezTo>
                    <a:cubicBezTo>
                      <a:pt x="87" y="63"/>
                      <a:pt x="87" y="63"/>
                      <a:pt x="88" y="63"/>
                    </a:cubicBezTo>
                    <a:cubicBezTo>
                      <a:pt x="88" y="63"/>
                      <a:pt x="88" y="63"/>
                      <a:pt x="88" y="63"/>
                    </a:cubicBezTo>
                    <a:cubicBezTo>
                      <a:pt x="88" y="63"/>
                      <a:pt x="88" y="63"/>
                      <a:pt x="88" y="63"/>
                    </a:cubicBezTo>
                    <a:close/>
                    <a:moveTo>
                      <a:pt x="79" y="63"/>
                    </a:moveTo>
                    <a:cubicBezTo>
                      <a:pt x="79" y="63"/>
                      <a:pt x="79" y="63"/>
                      <a:pt x="79" y="63"/>
                    </a:cubicBezTo>
                    <a:cubicBezTo>
                      <a:pt x="79" y="63"/>
                      <a:pt x="79" y="63"/>
                      <a:pt x="79" y="63"/>
                    </a:cubicBezTo>
                    <a:cubicBezTo>
                      <a:pt x="79" y="63"/>
                      <a:pt x="79" y="63"/>
                      <a:pt x="79" y="63"/>
                    </a:cubicBezTo>
                    <a:cubicBezTo>
                      <a:pt x="79" y="63"/>
                      <a:pt x="79" y="63"/>
                      <a:pt x="79" y="63"/>
                    </a:cubicBezTo>
                    <a:close/>
                    <a:moveTo>
                      <a:pt x="12" y="63"/>
                    </a:moveTo>
                    <a:cubicBezTo>
                      <a:pt x="12" y="63"/>
                      <a:pt x="12" y="63"/>
                      <a:pt x="13" y="63"/>
                    </a:cubicBezTo>
                    <a:cubicBezTo>
                      <a:pt x="13" y="63"/>
                      <a:pt x="13" y="63"/>
                      <a:pt x="13" y="63"/>
                    </a:cubicBezTo>
                    <a:cubicBezTo>
                      <a:pt x="13" y="63"/>
                      <a:pt x="12" y="63"/>
                      <a:pt x="12" y="63"/>
                    </a:cubicBezTo>
                    <a:cubicBezTo>
                      <a:pt x="12" y="63"/>
                      <a:pt x="12" y="63"/>
                      <a:pt x="12" y="63"/>
                    </a:cubicBezTo>
                    <a:close/>
                    <a:moveTo>
                      <a:pt x="27" y="63"/>
                    </a:moveTo>
                    <a:cubicBezTo>
                      <a:pt x="26" y="63"/>
                      <a:pt x="26" y="63"/>
                      <a:pt x="25" y="63"/>
                    </a:cubicBezTo>
                    <a:cubicBezTo>
                      <a:pt x="25" y="63"/>
                      <a:pt x="26" y="63"/>
                      <a:pt x="26" y="63"/>
                    </a:cubicBezTo>
                    <a:cubicBezTo>
                      <a:pt x="26" y="63"/>
                      <a:pt x="26" y="63"/>
                      <a:pt x="26" y="63"/>
                    </a:cubicBezTo>
                    <a:cubicBezTo>
                      <a:pt x="26" y="63"/>
                      <a:pt x="26" y="63"/>
                      <a:pt x="26" y="63"/>
                    </a:cubicBezTo>
                    <a:cubicBezTo>
                      <a:pt x="26" y="64"/>
                      <a:pt x="26" y="65"/>
                      <a:pt x="27" y="65"/>
                    </a:cubicBezTo>
                    <a:cubicBezTo>
                      <a:pt x="27" y="65"/>
                      <a:pt x="27" y="65"/>
                      <a:pt x="27" y="65"/>
                    </a:cubicBezTo>
                    <a:cubicBezTo>
                      <a:pt x="27" y="65"/>
                      <a:pt x="27" y="64"/>
                      <a:pt x="27" y="64"/>
                    </a:cubicBezTo>
                    <a:cubicBezTo>
                      <a:pt x="27" y="64"/>
                      <a:pt x="27" y="65"/>
                      <a:pt x="28" y="65"/>
                    </a:cubicBezTo>
                    <a:cubicBezTo>
                      <a:pt x="29" y="64"/>
                      <a:pt x="29" y="64"/>
                      <a:pt x="30" y="64"/>
                    </a:cubicBezTo>
                    <a:cubicBezTo>
                      <a:pt x="30" y="64"/>
                      <a:pt x="30" y="64"/>
                      <a:pt x="30" y="64"/>
                    </a:cubicBezTo>
                    <a:cubicBezTo>
                      <a:pt x="31" y="64"/>
                      <a:pt x="31" y="64"/>
                      <a:pt x="31" y="64"/>
                    </a:cubicBezTo>
                    <a:cubicBezTo>
                      <a:pt x="30" y="64"/>
                      <a:pt x="29" y="63"/>
                      <a:pt x="28" y="64"/>
                    </a:cubicBezTo>
                    <a:cubicBezTo>
                      <a:pt x="27" y="63"/>
                      <a:pt x="27" y="63"/>
                      <a:pt x="27" y="63"/>
                    </a:cubicBezTo>
                    <a:cubicBezTo>
                      <a:pt x="27" y="63"/>
                      <a:pt x="27" y="63"/>
                      <a:pt x="27" y="63"/>
                    </a:cubicBezTo>
                    <a:close/>
                    <a:moveTo>
                      <a:pt x="71" y="63"/>
                    </a:moveTo>
                    <a:cubicBezTo>
                      <a:pt x="71" y="63"/>
                      <a:pt x="71" y="63"/>
                      <a:pt x="71" y="63"/>
                    </a:cubicBezTo>
                    <a:cubicBezTo>
                      <a:pt x="71" y="63"/>
                      <a:pt x="71" y="63"/>
                      <a:pt x="71" y="63"/>
                    </a:cubicBezTo>
                    <a:cubicBezTo>
                      <a:pt x="71" y="63"/>
                      <a:pt x="71" y="63"/>
                      <a:pt x="71" y="63"/>
                    </a:cubicBezTo>
                    <a:cubicBezTo>
                      <a:pt x="71" y="63"/>
                      <a:pt x="71" y="63"/>
                      <a:pt x="71" y="63"/>
                    </a:cubicBezTo>
                    <a:close/>
                    <a:moveTo>
                      <a:pt x="10" y="62"/>
                    </a:moveTo>
                    <a:cubicBezTo>
                      <a:pt x="10" y="62"/>
                      <a:pt x="10" y="62"/>
                      <a:pt x="10" y="62"/>
                    </a:cubicBezTo>
                    <a:cubicBezTo>
                      <a:pt x="10" y="63"/>
                      <a:pt x="10" y="63"/>
                      <a:pt x="10" y="63"/>
                    </a:cubicBezTo>
                    <a:cubicBezTo>
                      <a:pt x="10" y="62"/>
                      <a:pt x="8" y="59"/>
                      <a:pt x="8" y="58"/>
                    </a:cubicBezTo>
                    <a:cubicBezTo>
                      <a:pt x="8" y="58"/>
                      <a:pt x="8" y="59"/>
                      <a:pt x="9" y="60"/>
                    </a:cubicBezTo>
                    <a:cubicBezTo>
                      <a:pt x="8" y="59"/>
                      <a:pt x="7" y="58"/>
                      <a:pt x="7" y="58"/>
                    </a:cubicBezTo>
                    <a:cubicBezTo>
                      <a:pt x="8" y="60"/>
                      <a:pt x="9" y="61"/>
                      <a:pt x="10" y="63"/>
                    </a:cubicBezTo>
                    <a:cubicBezTo>
                      <a:pt x="10" y="63"/>
                      <a:pt x="10" y="63"/>
                      <a:pt x="10" y="63"/>
                    </a:cubicBezTo>
                    <a:cubicBezTo>
                      <a:pt x="10" y="63"/>
                      <a:pt x="10" y="63"/>
                      <a:pt x="10" y="62"/>
                    </a:cubicBezTo>
                    <a:cubicBezTo>
                      <a:pt x="10" y="62"/>
                      <a:pt x="10" y="62"/>
                      <a:pt x="10" y="62"/>
                    </a:cubicBezTo>
                    <a:close/>
                    <a:moveTo>
                      <a:pt x="77" y="63"/>
                    </a:moveTo>
                    <a:cubicBezTo>
                      <a:pt x="77" y="63"/>
                      <a:pt x="77" y="63"/>
                      <a:pt x="78" y="63"/>
                    </a:cubicBezTo>
                    <a:cubicBezTo>
                      <a:pt x="78" y="63"/>
                      <a:pt x="78" y="64"/>
                      <a:pt x="78" y="64"/>
                    </a:cubicBezTo>
                    <a:cubicBezTo>
                      <a:pt x="78" y="64"/>
                      <a:pt x="78" y="64"/>
                      <a:pt x="78" y="64"/>
                    </a:cubicBezTo>
                    <a:cubicBezTo>
                      <a:pt x="78" y="64"/>
                      <a:pt x="78" y="64"/>
                      <a:pt x="78" y="64"/>
                    </a:cubicBezTo>
                    <a:cubicBezTo>
                      <a:pt x="78" y="64"/>
                      <a:pt x="78" y="64"/>
                      <a:pt x="78" y="64"/>
                    </a:cubicBezTo>
                    <a:cubicBezTo>
                      <a:pt x="78" y="64"/>
                      <a:pt x="78" y="64"/>
                      <a:pt x="78" y="63"/>
                    </a:cubicBezTo>
                    <a:cubicBezTo>
                      <a:pt x="77" y="65"/>
                      <a:pt x="75" y="65"/>
                      <a:pt x="73" y="65"/>
                    </a:cubicBezTo>
                    <a:cubicBezTo>
                      <a:pt x="73" y="65"/>
                      <a:pt x="73" y="65"/>
                      <a:pt x="74" y="65"/>
                    </a:cubicBezTo>
                    <a:cubicBezTo>
                      <a:pt x="73" y="65"/>
                      <a:pt x="73" y="65"/>
                      <a:pt x="73" y="66"/>
                    </a:cubicBezTo>
                    <a:cubicBezTo>
                      <a:pt x="73" y="65"/>
                      <a:pt x="73" y="65"/>
                      <a:pt x="73" y="65"/>
                    </a:cubicBezTo>
                    <a:cubicBezTo>
                      <a:pt x="72" y="66"/>
                      <a:pt x="69" y="66"/>
                      <a:pt x="68" y="67"/>
                    </a:cubicBezTo>
                    <a:cubicBezTo>
                      <a:pt x="69" y="66"/>
                      <a:pt x="70" y="65"/>
                      <a:pt x="70" y="64"/>
                    </a:cubicBezTo>
                    <a:cubicBezTo>
                      <a:pt x="70" y="64"/>
                      <a:pt x="70" y="65"/>
                      <a:pt x="70" y="65"/>
                    </a:cubicBezTo>
                    <a:cubicBezTo>
                      <a:pt x="70" y="65"/>
                      <a:pt x="70" y="66"/>
                      <a:pt x="69" y="66"/>
                    </a:cubicBezTo>
                    <a:cubicBezTo>
                      <a:pt x="70" y="66"/>
                      <a:pt x="72" y="65"/>
                      <a:pt x="72" y="65"/>
                    </a:cubicBezTo>
                    <a:cubicBezTo>
                      <a:pt x="72" y="65"/>
                      <a:pt x="72" y="65"/>
                      <a:pt x="72" y="65"/>
                    </a:cubicBezTo>
                    <a:cubicBezTo>
                      <a:pt x="72" y="65"/>
                      <a:pt x="72" y="65"/>
                      <a:pt x="72" y="65"/>
                    </a:cubicBezTo>
                    <a:cubicBezTo>
                      <a:pt x="72" y="65"/>
                      <a:pt x="72" y="65"/>
                      <a:pt x="72"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5"/>
                      <a:pt x="73" y="65"/>
                      <a:pt x="73" y="65"/>
                    </a:cubicBezTo>
                    <a:cubicBezTo>
                      <a:pt x="73" y="64"/>
                      <a:pt x="73" y="64"/>
                      <a:pt x="73" y="64"/>
                    </a:cubicBezTo>
                    <a:cubicBezTo>
                      <a:pt x="73" y="64"/>
                      <a:pt x="73" y="64"/>
                      <a:pt x="73" y="64"/>
                    </a:cubicBezTo>
                    <a:cubicBezTo>
                      <a:pt x="73" y="64"/>
                      <a:pt x="73" y="64"/>
                      <a:pt x="73" y="64"/>
                    </a:cubicBezTo>
                    <a:cubicBezTo>
                      <a:pt x="74" y="63"/>
                      <a:pt x="75" y="64"/>
                      <a:pt x="75" y="64"/>
                    </a:cubicBezTo>
                    <a:cubicBezTo>
                      <a:pt x="75" y="64"/>
                      <a:pt x="75" y="64"/>
                      <a:pt x="75" y="64"/>
                    </a:cubicBezTo>
                    <a:cubicBezTo>
                      <a:pt x="75" y="64"/>
                      <a:pt x="75" y="64"/>
                      <a:pt x="76" y="64"/>
                    </a:cubicBezTo>
                    <a:cubicBezTo>
                      <a:pt x="76" y="64"/>
                      <a:pt x="75" y="64"/>
                      <a:pt x="75" y="63"/>
                    </a:cubicBezTo>
                    <a:cubicBezTo>
                      <a:pt x="76" y="63"/>
                      <a:pt x="76" y="63"/>
                      <a:pt x="77" y="63"/>
                    </a:cubicBezTo>
                    <a:cubicBezTo>
                      <a:pt x="77" y="63"/>
                      <a:pt x="77" y="63"/>
                      <a:pt x="77" y="63"/>
                    </a:cubicBezTo>
                    <a:close/>
                    <a:moveTo>
                      <a:pt x="25" y="63"/>
                    </a:moveTo>
                    <a:cubicBezTo>
                      <a:pt x="24" y="63"/>
                      <a:pt x="24" y="63"/>
                      <a:pt x="24" y="63"/>
                    </a:cubicBezTo>
                    <a:cubicBezTo>
                      <a:pt x="23" y="63"/>
                      <a:pt x="22" y="64"/>
                      <a:pt x="21" y="64"/>
                    </a:cubicBezTo>
                    <a:cubicBezTo>
                      <a:pt x="21" y="64"/>
                      <a:pt x="21" y="65"/>
                      <a:pt x="22" y="65"/>
                    </a:cubicBezTo>
                    <a:cubicBezTo>
                      <a:pt x="22" y="65"/>
                      <a:pt x="22" y="65"/>
                      <a:pt x="22" y="65"/>
                    </a:cubicBezTo>
                    <a:cubicBezTo>
                      <a:pt x="22" y="64"/>
                      <a:pt x="22" y="64"/>
                      <a:pt x="22" y="64"/>
                    </a:cubicBezTo>
                    <a:cubicBezTo>
                      <a:pt x="22" y="64"/>
                      <a:pt x="22" y="64"/>
                      <a:pt x="23" y="64"/>
                    </a:cubicBezTo>
                    <a:cubicBezTo>
                      <a:pt x="23" y="64"/>
                      <a:pt x="24" y="64"/>
                      <a:pt x="25" y="63"/>
                    </a:cubicBezTo>
                    <a:cubicBezTo>
                      <a:pt x="25" y="63"/>
                      <a:pt x="25" y="63"/>
                      <a:pt x="25" y="63"/>
                    </a:cubicBezTo>
                    <a:close/>
                    <a:moveTo>
                      <a:pt x="16" y="63"/>
                    </a:moveTo>
                    <a:cubicBezTo>
                      <a:pt x="16" y="63"/>
                      <a:pt x="17" y="63"/>
                      <a:pt x="17" y="63"/>
                    </a:cubicBezTo>
                    <a:cubicBezTo>
                      <a:pt x="17" y="63"/>
                      <a:pt x="17" y="63"/>
                      <a:pt x="17" y="63"/>
                    </a:cubicBezTo>
                    <a:cubicBezTo>
                      <a:pt x="17" y="63"/>
                      <a:pt x="16" y="63"/>
                      <a:pt x="16" y="63"/>
                    </a:cubicBezTo>
                    <a:cubicBezTo>
                      <a:pt x="16" y="63"/>
                      <a:pt x="16" y="63"/>
                      <a:pt x="16" y="63"/>
                    </a:cubicBezTo>
                    <a:close/>
                    <a:moveTo>
                      <a:pt x="14" y="63"/>
                    </a:moveTo>
                    <a:cubicBezTo>
                      <a:pt x="13" y="63"/>
                      <a:pt x="13" y="63"/>
                      <a:pt x="13" y="63"/>
                    </a:cubicBezTo>
                    <a:cubicBezTo>
                      <a:pt x="13" y="63"/>
                      <a:pt x="14" y="63"/>
                      <a:pt x="14" y="63"/>
                    </a:cubicBezTo>
                    <a:cubicBezTo>
                      <a:pt x="14" y="63"/>
                      <a:pt x="14" y="63"/>
                      <a:pt x="14" y="63"/>
                    </a:cubicBezTo>
                    <a:cubicBezTo>
                      <a:pt x="14" y="63"/>
                      <a:pt x="14" y="63"/>
                      <a:pt x="14" y="63"/>
                    </a:cubicBezTo>
                    <a:close/>
                    <a:moveTo>
                      <a:pt x="25" y="63"/>
                    </a:moveTo>
                    <a:cubicBezTo>
                      <a:pt x="25" y="63"/>
                      <a:pt x="25" y="63"/>
                      <a:pt x="25" y="63"/>
                    </a:cubicBezTo>
                    <a:cubicBezTo>
                      <a:pt x="25" y="63"/>
                      <a:pt x="25" y="63"/>
                      <a:pt x="25" y="63"/>
                    </a:cubicBezTo>
                    <a:cubicBezTo>
                      <a:pt x="25" y="63"/>
                      <a:pt x="25" y="63"/>
                      <a:pt x="25" y="64"/>
                    </a:cubicBezTo>
                    <a:cubicBezTo>
                      <a:pt x="25" y="64"/>
                      <a:pt x="25" y="64"/>
                      <a:pt x="25" y="64"/>
                    </a:cubicBezTo>
                    <a:cubicBezTo>
                      <a:pt x="25" y="64"/>
                      <a:pt x="25" y="64"/>
                      <a:pt x="25" y="63"/>
                    </a:cubicBezTo>
                    <a:cubicBezTo>
                      <a:pt x="25" y="64"/>
                      <a:pt x="24" y="64"/>
                      <a:pt x="24" y="64"/>
                    </a:cubicBezTo>
                    <a:cubicBezTo>
                      <a:pt x="24" y="64"/>
                      <a:pt x="23" y="65"/>
                      <a:pt x="23" y="65"/>
                    </a:cubicBezTo>
                    <a:cubicBezTo>
                      <a:pt x="23" y="65"/>
                      <a:pt x="23" y="65"/>
                      <a:pt x="23" y="65"/>
                    </a:cubicBezTo>
                    <a:cubicBezTo>
                      <a:pt x="24" y="64"/>
                      <a:pt x="24" y="64"/>
                      <a:pt x="25" y="63"/>
                    </a:cubicBezTo>
                    <a:cubicBezTo>
                      <a:pt x="25" y="63"/>
                      <a:pt x="25" y="63"/>
                      <a:pt x="25" y="63"/>
                    </a:cubicBezTo>
                    <a:close/>
                    <a:moveTo>
                      <a:pt x="68" y="63"/>
                    </a:moveTo>
                    <a:cubicBezTo>
                      <a:pt x="68" y="63"/>
                      <a:pt x="68" y="63"/>
                      <a:pt x="68" y="63"/>
                    </a:cubicBezTo>
                    <a:cubicBezTo>
                      <a:pt x="68" y="63"/>
                      <a:pt x="68" y="63"/>
                      <a:pt x="68" y="64"/>
                    </a:cubicBezTo>
                    <a:cubicBezTo>
                      <a:pt x="68" y="64"/>
                      <a:pt x="68" y="64"/>
                      <a:pt x="68" y="64"/>
                    </a:cubicBezTo>
                    <a:cubicBezTo>
                      <a:pt x="68" y="64"/>
                      <a:pt x="68" y="63"/>
                      <a:pt x="68" y="63"/>
                    </a:cubicBezTo>
                    <a:cubicBezTo>
                      <a:pt x="68" y="63"/>
                      <a:pt x="68" y="64"/>
                      <a:pt x="68" y="64"/>
                    </a:cubicBezTo>
                    <a:cubicBezTo>
                      <a:pt x="68" y="64"/>
                      <a:pt x="68" y="63"/>
                      <a:pt x="68" y="63"/>
                    </a:cubicBezTo>
                    <a:cubicBezTo>
                      <a:pt x="68" y="63"/>
                      <a:pt x="68" y="63"/>
                      <a:pt x="68" y="63"/>
                    </a:cubicBezTo>
                    <a:cubicBezTo>
                      <a:pt x="68" y="63"/>
                      <a:pt x="68" y="63"/>
                      <a:pt x="68" y="63"/>
                    </a:cubicBezTo>
                    <a:close/>
                    <a:moveTo>
                      <a:pt x="15" y="63"/>
                    </a:moveTo>
                    <a:cubicBezTo>
                      <a:pt x="15" y="63"/>
                      <a:pt x="15" y="63"/>
                      <a:pt x="15" y="63"/>
                    </a:cubicBezTo>
                    <a:cubicBezTo>
                      <a:pt x="15" y="64"/>
                      <a:pt x="16" y="65"/>
                      <a:pt x="16" y="65"/>
                    </a:cubicBezTo>
                    <a:cubicBezTo>
                      <a:pt x="16" y="65"/>
                      <a:pt x="16" y="65"/>
                      <a:pt x="16" y="65"/>
                    </a:cubicBezTo>
                    <a:cubicBezTo>
                      <a:pt x="17" y="66"/>
                      <a:pt x="18" y="66"/>
                      <a:pt x="20" y="66"/>
                    </a:cubicBezTo>
                    <a:cubicBezTo>
                      <a:pt x="20" y="66"/>
                      <a:pt x="20" y="65"/>
                      <a:pt x="20" y="65"/>
                    </a:cubicBezTo>
                    <a:cubicBezTo>
                      <a:pt x="19" y="65"/>
                      <a:pt x="18" y="66"/>
                      <a:pt x="17" y="66"/>
                    </a:cubicBezTo>
                    <a:cubicBezTo>
                      <a:pt x="18" y="65"/>
                      <a:pt x="19" y="65"/>
                      <a:pt x="19" y="65"/>
                    </a:cubicBezTo>
                    <a:cubicBezTo>
                      <a:pt x="19" y="65"/>
                      <a:pt x="19" y="65"/>
                      <a:pt x="19" y="65"/>
                    </a:cubicBezTo>
                    <a:cubicBezTo>
                      <a:pt x="19" y="65"/>
                      <a:pt x="19" y="65"/>
                      <a:pt x="18" y="65"/>
                    </a:cubicBezTo>
                    <a:cubicBezTo>
                      <a:pt x="19" y="65"/>
                      <a:pt x="19" y="65"/>
                      <a:pt x="19" y="65"/>
                    </a:cubicBezTo>
                    <a:cubicBezTo>
                      <a:pt x="16" y="64"/>
                      <a:pt x="18" y="65"/>
                      <a:pt x="15" y="63"/>
                    </a:cubicBezTo>
                    <a:cubicBezTo>
                      <a:pt x="15" y="63"/>
                      <a:pt x="15" y="63"/>
                      <a:pt x="15" y="63"/>
                    </a:cubicBezTo>
                    <a:close/>
                    <a:moveTo>
                      <a:pt x="96" y="63"/>
                    </a:moveTo>
                    <a:cubicBezTo>
                      <a:pt x="96" y="63"/>
                      <a:pt x="96" y="63"/>
                      <a:pt x="97" y="63"/>
                    </a:cubicBezTo>
                    <a:cubicBezTo>
                      <a:pt x="96" y="63"/>
                      <a:pt x="96" y="64"/>
                      <a:pt x="96" y="64"/>
                    </a:cubicBezTo>
                    <a:cubicBezTo>
                      <a:pt x="96" y="64"/>
                      <a:pt x="96" y="64"/>
                      <a:pt x="96" y="63"/>
                    </a:cubicBezTo>
                    <a:cubicBezTo>
                      <a:pt x="96" y="63"/>
                      <a:pt x="96" y="63"/>
                      <a:pt x="96" y="63"/>
                    </a:cubicBezTo>
                    <a:close/>
                    <a:moveTo>
                      <a:pt x="21" y="64"/>
                    </a:moveTo>
                    <a:cubicBezTo>
                      <a:pt x="21" y="64"/>
                      <a:pt x="21" y="64"/>
                      <a:pt x="21" y="63"/>
                    </a:cubicBezTo>
                    <a:cubicBezTo>
                      <a:pt x="21" y="64"/>
                      <a:pt x="21" y="64"/>
                      <a:pt x="21" y="64"/>
                    </a:cubicBezTo>
                    <a:cubicBezTo>
                      <a:pt x="21" y="64"/>
                      <a:pt x="21" y="64"/>
                      <a:pt x="21" y="64"/>
                    </a:cubicBezTo>
                    <a:cubicBezTo>
                      <a:pt x="21" y="64"/>
                      <a:pt x="21" y="64"/>
                      <a:pt x="21" y="64"/>
                    </a:cubicBezTo>
                    <a:close/>
                    <a:moveTo>
                      <a:pt x="73" y="64"/>
                    </a:moveTo>
                    <a:cubicBezTo>
                      <a:pt x="73" y="64"/>
                      <a:pt x="73" y="64"/>
                      <a:pt x="73" y="64"/>
                    </a:cubicBezTo>
                    <a:cubicBezTo>
                      <a:pt x="73" y="64"/>
                      <a:pt x="73" y="64"/>
                      <a:pt x="72" y="64"/>
                    </a:cubicBezTo>
                    <a:cubicBezTo>
                      <a:pt x="72" y="64"/>
                      <a:pt x="72" y="64"/>
                      <a:pt x="72" y="64"/>
                    </a:cubicBezTo>
                    <a:cubicBezTo>
                      <a:pt x="72" y="64"/>
                      <a:pt x="72" y="64"/>
                      <a:pt x="72" y="64"/>
                    </a:cubicBezTo>
                    <a:cubicBezTo>
                      <a:pt x="72" y="64"/>
                      <a:pt x="72" y="64"/>
                      <a:pt x="72" y="64"/>
                    </a:cubicBezTo>
                    <a:cubicBezTo>
                      <a:pt x="72" y="64"/>
                      <a:pt x="72" y="64"/>
                      <a:pt x="73" y="64"/>
                    </a:cubicBezTo>
                    <a:cubicBezTo>
                      <a:pt x="73" y="64"/>
                      <a:pt x="73" y="64"/>
                      <a:pt x="73" y="64"/>
                    </a:cubicBezTo>
                    <a:close/>
                    <a:moveTo>
                      <a:pt x="32" y="64"/>
                    </a:moveTo>
                    <a:cubicBezTo>
                      <a:pt x="31" y="64"/>
                      <a:pt x="30" y="65"/>
                      <a:pt x="29" y="65"/>
                    </a:cubicBezTo>
                    <a:cubicBezTo>
                      <a:pt x="29" y="66"/>
                      <a:pt x="30" y="66"/>
                      <a:pt x="30" y="66"/>
                    </a:cubicBezTo>
                    <a:cubicBezTo>
                      <a:pt x="31" y="65"/>
                      <a:pt x="31" y="64"/>
                      <a:pt x="32" y="64"/>
                    </a:cubicBezTo>
                    <a:cubicBezTo>
                      <a:pt x="32" y="64"/>
                      <a:pt x="32" y="64"/>
                      <a:pt x="32" y="64"/>
                    </a:cubicBezTo>
                    <a:cubicBezTo>
                      <a:pt x="32" y="64"/>
                      <a:pt x="32" y="64"/>
                      <a:pt x="32" y="64"/>
                    </a:cubicBezTo>
                    <a:close/>
                    <a:moveTo>
                      <a:pt x="73" y="64"/>
                    </a:moveTo>
                    <a:cubicBezTo>
                      <a:pt x="73" y="64"/>
                      <a:pt x="73" y="64"/>
                      <a:pt x="73" y="64"/>
                    </a:cubicBezTo>
                    <a:cubicBezTo>
                      <a:pt x="73" y="64"/>
                      <a:pt x="73" y="64"/>
                      <a:pt x="73" y="64"/>
                    </a:cubicBezTo>
                    <a:cubicBezTo>
                      <a:pt x="73" y="64"/>
                      <a:pt x="73" y="64"/>
                      <a:pt x="73" y="65"/>
                    </a:cubicBezTo>
                    <a:cubicBezTo>
                      <a:pt x="73" y="64"/>
                      <a:pt x="73" y="64"/>
                      <a:pt x="73" y="64"/>
                    </a:cubicBezTo>
                    <a:cubicBezTo>
                      <a:pt x="73" y="64"/>
                      <a:pt x="73" y="64"/>
                      <a:pt x="73" y="64"/>
                    </a:cubicBezTo>
                    <a:close/>
                    <a:moveTo>
                      <a:pt x="19" y="64"/>
                    </a:moveTo>
                    <a:cubicBezTo>
                      <a:pt x="19" y="64"/>
                      <a:pt x="19" y="64"/>
                      <a:pt x="19" y="65"/>
                    </a:cubicBezTo>
                    <a:cubicBezTo>
                      <a:pt x="19" y="64"/>
                      <a:pt x="19" y="64"/>
                      <a:pt x="19" y="64"/>
                    </a:cubicBezTo>
                    <a:cubicBezTo>
                      <a:pt x="19" y="64"/>
                      <a:pt x="19" y="64"/>
                      <a:pt x="19" y="64"/>
                    </a:cubicBezTo>
                    <a:cubicBezTo>
                      <a:pt x="19" y="64"/>
                      <a:pt x="19" y="64"/>
                      <a:pt x="19" y="64"/>
                    </a:cubicBezTo>
                    <a:cubicBezTo>
                      <a:pt x="19" y="64"/>
                      <a:pt x="19" y="64"/>
                      <a:pt x="19" y="64"/>
                    </a:cubicBezTo>
                    <a:close/>
                    <a:moveTo>
                      <a:pt x="21" y="64"/>
                    </a:moveTo>
                    <a:cubicBezTo>
                      <a:pt x="21" y="64"/>
                      <a:pt x="21" y="64"/>
                      <a:pt x="21" y="64"/>
                    </a:cubicBezTo>
                    <a:cubicBezTo>
                      <a:pt x="21" y="64"/>
                      <a:pt x="21" y="64"/>
                      <a:pt x="21" y="65"/>
                    </a:cubicBezTo>
                    <a:cubicBezTo>
                      <a:pt x="21" y="64"/>
                      <a:pt x="21" y="64"/>
                      <a:pt x="21" y="64"/>
                    </a:cubicBezTo>
                    <a:cubicBezTo>
                      <a:pt x="21" y="64"/>
                      <a:pt x="21" y="64"/>
                      <a:pt x="21" y="64"/>
                    </a:cubicBezTo>
                    <a:cubicBezTo>
                      <a:pt x="21" y="64"/>
                      <a:pt x="21" y="64"/>
                      <a:pt x="21" y="64"/>
                    </a:cubicBezTo>
                    <a:close/>
                    <a:moveTo>
                      <a:pt x="84" y="64"/>
                    </a:moveTo>
                    <a:cubicBezTo>
                      <a:pt x="84" y="64"/>
                      <a:pt x="84" y="64"/>
                      <a:pt x="84" y="64"/>
                    </a:cubicBezTo>
                    <a:cubicBezTo>
                      <a:pt x="84" y="64"/>
                      <a:pt x="84" y="65"/>
                      <a:pt x="84" y="65"/>
                    </a:cubicBezTo>
                    <a:cubicBezTo>
                      <a:pt x="84" y="65"/>
                      <a:pt x="84" y="65"/>
                      <a:pt x="84" y="65"/>
                    </a:cubicBezTo>
                    <a:cubicBezTo>
                      <a:pt x="84" y="65"/>
                      <a:pt x="84" y="64"/>
                      <a:pt x="84" y="64"/>
                    </a:cubicBezTo>
                    <a:cubicBezTo>
                      <a:pt x="84" y="64"/>
                      <a:pt x="84" y="64"/>
                      <a:pt x="84" y="64"/>
                    </a:cubicBezTo>
                    <a:close/>
                    <a:moveTo>
                      <a:pt x="70" y="64"/>
                    </a:moveTo>
                    <a:cubicBezTo>
                      <a:pt x="70" y="64"/>
                      <a:pt x="70" y="64"/>
                      <a:pt x="70" y="64"/>
                    </a:cubicBezTo>
                    <a:cubicBezTo>
                      <a:pt x="70" y="64"/>
                      <a:pt x="70" y="64"/>
                      <a:pt x="70" y="64"/>
                    </a:cubicBezTo>
                    <a:cubicBezTo>
                      <a:pt x="70" y="64"/>
                      <a:pt x="70" y="64"/>
                      <a:pt x="70" y="64"/>
                    </a:cubicBezTo>
                    <a:cubicBezTo>
                      <a:pt x="70" y="64"/>
                      <a:pt x="70" y="64"/>
                      <a:pt x="70" y="64"/>
                    </a:cubicBezTo>
                    <a:close/>
                    <a:moveTo>
                      <a:pt x="72" y="64"/>
                    </a:moveTo>
                    <a:cubicBezTo>
                      <a:pt x="72" y="64"/>
                      <a:pt x="72" y="64"/>
                      <a:pt x="72" y="64"/>
                    </a:cubicBezTo>
                    <a:cubicBezTo>
                      <a:pt x="72" y="64"/>
                      <a:pt x="72" y="64"/>
                      <a:pt x="72" y="64"/>
                    </a:cubicBezTo>
                    <a:cubicBezTo>
                      <a:pt x="72" y="64"/>
                      <a:pt x="72" y="64"/>
                      <a:pt x="72" y="64"/>
                    </a:cubicBezTo>
                    <a:cubicBezTo>
                      <a:pt x="72" y="64"/>
                      <a:pt x="72" y="64"/>
                      <a:pt x="72" y="64"/>
                    </a:cubicBezTo>
                    <a:cubicBezTo>
                      <a:pt x="72" y="64"/>
                      <a:pt x="72" y="64"/>
                      <a:pt x="72" y="64"/>
                    </a:cubicBezTo>
                    <a:close/>
                    <a:moveTo>
                      <a:pt x="67" y="64"/>
                    </a:moveTo>
                    <a:cubicBezTo>
                      <a:pt x="67" y="64"/>
                      <a:pt x="67" y="64"/>
                      <a:pt x="67" y="64"/>
                    </a:cubicBezTo>
                    <a:cubicBezTo>
                      <a:pt x="67" y="65"/>
                      <a:pt x="67" y="65"/>
                      <a:pt x="67" y="65"/>
                    </a:cubicBezTo>
                    <a:cubicBezTo>
                      <a:pt x="67" y="65"/>
                      <a:pt x="67" y="65"/>
                      <a:pt x="67" y="65"/>
                    </a:cubicBezTo>
                    <a:cubicBezTo>
                      <a:pt x="67" y="65"/>
                      <a:pt x="67" y="65"/>
                      <a:pt x="67" y="64"/>
                    </a:cubicBezTo>
                    <a:cubicBezTo>
                      <a:pt x="67" y="64"/>
                      <a:pt x="67" y="64"/>
                      <a:pt x="67" y="64"/>
                    </a:cubicBezTo>
                    <a:cubicBezTo>
                      <a:pt x="67" y="64"/>
                      <a:pt x="67" y="64"/>
                      <a:pt x="67" y="64"/>
                    </a:cubicBezTo>
                    <a:close/>
                    <a:moveTo>
                      <a:pt x="70" y="64"/>
                    </a:moveTo>
                    <a:cubicBezTo>
                      <a:pt x="70" y="64"/>
                      <a:pt x="70" y="64"/>
                      <a:pt x="70" y="64"/>
                    </a:cubicBezTo>
                    <a:cubicBezTo>
                      <a:pt x="70" y="64"/>
                      <a:pt x="70" y="64"/>
                      <a:pt x="70" y="65"/>
                    </a:cubicBezTo>
                    <a:cubicBezTo>
                      <a:pt x="70" y="65"/>
                      <a:pt x="70" y="64"/>
                      <a:pt x="70" y="64"/>
                    </a:cubicBezTo>
                    <a:cubicBezTo>
                      <a:pt x="70" y="64"/>
                      <a:pt x="70" y="64"/>
                      <a:pt x="70" y="64"/>
                    </a:cubicBezTo>
                    <a:close/>
                    <a:moveTo>
                      <a:pt x="81" y="64"/>
                    </a:moveTo>
                    <a:cubicBezTo>
                      <a:pt x="81" y="64"/>
                      <a:pt x="81" y="64"/>
                      <a:pt x="82" y="64"/>
                    </a:cubicBezTo>
                    <a:cubicBezTo>
                      <a:pt x="82" y="64"/>
                      <a:pt x="82" y="64"/>
                      <a:pt x="82" y="65"/>
                    </a:cubicBezTo>
                    <a:cubicBezTo>
                      <a:pt x="81" y="65"/>
                      <a:pt x="81" y="64"/>
                      <a:pt x="81" y="64"/>
                    </a:cubicBezTo>
                    <a:cubicBezTo>
                      <a:pt x="81" y="64"/>
                      <a:pt x="81" y="64"/>
                      <a:pt x="81" y="64"/>
                    </a:cubicBezTo>
                    <a:close/>
                    <a:moveTo>
                      <a:pt x="67" y="64"/>
                    </a:moveTo>
                    <a:cubicBezTo>
                      <a:pt x="66" y="64"/>
                      <a:pt x="66" y="64"/>
                      <a:pt x="66" y="64"/>
                    </a:cubicBezTo>
                    <a:cubicBezTo>
                      <a:pt x="66" y="65"/>
                      <a:pt x="66" y="65"/>
                      <a:pt x="66" y="65"/>
                    </a:cubicBezTo>
                    <a:cubicBezTo>
                      <a:pt x="67" y="65"/>
                      <a:pt x="67" y="64"/>
                      <a:pt x="67" y="64"/>
                    </a:cubicBezTo>
                    <a:cubicBezTo>
                      <a:pt x="67" y="64"/>
                      <a:pt x="67" y="64"/>
                      <a:pt x="67" y="64"/>
                    </a:cubicBezTo>
                    <a:close/>
                    <a:moveTo>
                      <a:pt x="35" y="65"/>
                    </a:moveTo>
                    <a:cubicBezTo>
                      <a:pt x="34" y="64"/>
                      <a:pt x="34" y="64"/>
                      <a:pt x="33" y="65"/>
                    </a:cubicBezTo>
                    <a:cubicBezTo>
                      <a:pt x="33" y="65"/>
                      <a:pt x="34" y="65"/>
                      <a:pt x="34" y="65"/>
                    </a:cubicBezTo>
                    <a:cubicBezTo>
                      <a:pt x="34" y="65"/>
                      <a:pt x="35" y="65"/>
                      <a:pt x="35" y="65"/>
                    </a:cubicBezTo>
                    <a:cubicBezTo>
                      <a:pt x="35" y="65"/>
                      <a:pt x="35" y="65"/>
                      <a:pt x="35" y="65"/>
                    </a:cubicBezTo>
                    <a:close/>
                    <a:moveTo>
                      <a:pt x="70" y="65"/>
                    </a:moveTo>
                    <a:cubicBezTo>
                      <a:pt x="70" y="65"/>
                      <a:pt x="70" y="65"/>
                      <a:pt x="71" y="65"/>
                    </a:cubicBezTo>
                    <a:cubicBezTo>
                      <a:pt x="70" y="65"/>
                      <a:pt x="70" y="65"/>
                      <a:pt x="70" y="65"/>
                    </a:cubicBezTo>
                    <a:cubicBezTo>
                      <a:pt x="70" y="65"/>
                      <a:pt x="70" y="65"/>
                      <a:pt x="70" y="65"/>
                    </a:cubicBezTo>
                    <a:cubicBezTo>
                      <a:pt x="70" y="65"/>
                      <a:pt x="70" y="65"/>
                      <a:pt x="70" y="65"/>
                    </a:cubicBezTo>
                    <a:close/>
                    <a:moveTo>
                      <a:pt x="59" y="65"/>
                    </a:moveTo>
                    <a:cubicBezTo>
                      <a:pt x="59" y="65"/>
                      <a:pt x="59" y="65"/>
                      <a:pt x="59" y="65"/>
                    </a:cubicBezTo>
                    <a:cubicBezTo>
                      <a:pt x="59" y="65"/>
                      <a:pt x="59" y="65"/>
                      <a:pt x="59" y="65"/>
                    </a:cubicBezTo>
                    <a:cubicBezTo>
                      <a:pt x="59" y="65"/>
                      <a:pt x="59" y="65"/>
                      <a:pt x="59" y="65"/>
                    </a:cubicBezTo>
                    <a:cubicBezTo>
                      <a:pt x="59" y="65"/>
                      <a:pt x="59" y="65"/>
                      <a:pt x="59" y="65"/>
                    </a:cubicBezTo>
                    <a:cubicBezTo>
                      <a:pt x="59" y="65"/>
                      <a:pt x="59" y="65"/>
                      <a:pt x="59" y="65"/>
                    </a:cubicBezTo>
                    <a:close/>
                    <a:moveTo>
                      <a:pt x="40" y="65"/>
                    </a:moveTo>
                    <a:cubicBezTo>
                      <a:pt x="34" y="64"/>
                      <a:pt x="36" y="66"/>
                      <a:pt x="34" y="66"/>
                    </a:cubicBezTo>
                    <a:cubicBezTo>
                      <a:pt x="35" y="66"/>
                      <a:pt x="35" y="67"/>
                      <a:pt x="36" y="67"/>
                    </a:cubicBezTo>
                    <a:cubicBezTo>
                      <a:pt x="37" y="66"/>
                      <a:pt x="37" y="66"/>
                      <a:pt x="38" y="65"/>
                    </a:cubicBezTo>
                    <a:cubicBezTo>
                      <a:pt x="37" y="66"/>
                      <a:pt x="37" y="67"/>
                      <a:pt x="36" y="67"/>
                    </a:cubicBezTo>
                    <a:cubicBezTo>
                      <a:pt x="36" y="68"/>
                      <a:pt x="38" y="68"/>
                      <a:pt x="38" y="68"/>
                    </a:cubicBezTo>
                    <a:cubicBezTo>
                      <a:pt x="39" y="68"/>
                      <a:pt x="40" y="67"/>
                      <a:pt x="40" y="67"/>
                    </a:cubicBezTo>
                    <a:cubicBezTo>
                      <a:pt x="39" y="66"/>
                      <a:pt x="39" y="66"/>
                      <a:pt x="38" y="65"/>
                    </a:cubicBezTo>
                    <a:cubicBezTo>
                      <a:pt x="39" y="66"/>
                      <a:pt x="39" y="66"/>
                      <a:pt x="40" y="67"/>
                    </a:cubicBezTo>
                    <a:cubicBezTo>
                      <a:pt x="40" y="66"/>
                      <a:pt x="41" y="66"/>
                      <a:pt x="41" y="66"/>
                    </a:cubicBezTo>
                    <a:cubicBezTo>
                      <a:pt x="41" y="66"/>
                      <a:pt x="41" y="65"/>
                      <a:pt x="40" y="65"/>
                    </a:cubicBezTo>
                    <a:cubicBezTo>
                      <a:pt x="40" y="65"/>
                      <a:pt x="40" y="65"/>
                      <a:pt x="40" y="65"/>
                    </a:cubicBezTo>
                    <a:close/>
                    <a:moveTo>
                      <a:pt x="23" y="65"/>
                    </a:moveTo>
                    <a:cubicBezTo>
                      <a:pt x="24" y="65"/>
                      <a:pt x="25" y="64"/>
                      <a:pt x="26" y="64"/>
                    </a:cubicBezTo>
                    <a:cubicBezTo>
                      <a:pt x="26" y="64"/>
                      <a:pt x="26" y="65"/>
                      <a:pt x="27" y="65"/>
                    </a:cubicBezTo>
                    <a:cubicBezTo>
                      <a:pt x="26" y="66"/>
                      <a:pt x="26" y="66"/>
                      <a:pt x="26" y="66"/>
                    </a:cubicBezTo>
                    <a:cubicBezTo>
                      <a:pt x="26" y="66"/>
                      <a:pt x="26" y="66"/>
                      <a:pt x="27" y="66"/>
                    </a:cubicBezTo>
                    <a:cubicBezTo>
                      <a:pt x="27" y="66"/>
                      <a:pt x="27" y="66"/>
                      <a:pt x="27" y="66"/>
                    </a:cubicBezTo>
                    <a:cubicBezTo>
                      <a:pt x="27" y="66"/>
                      <a:pt x="26" y="67"/>
                      <a:pt x="26" y="67"/>
                    </a:cubicBezTo>
                    <a:cubicBezTo>
                      <a:pt x="26" y="67"/>
                      <a:pt x="27" y="67"/>
                      <a:pt x="27" y="66"/>
                    </a:cubicBezTo>
                    <a:cubicBezTo>
                      <a:pt x="28" y="67"/>
                      <a:pt x="28" y="67"/>
                      <a:pt x="28" y="68"/>
                    </a:cubicBezTo>
                    <a:cubicBezTo>
                      <a:pt x="28" y="68"/>
                      <a:pt x="28" y="68"/>
                      <a:pt x="28" y="68"/>
                    </a:cubicBezTo>
                    <a:cubicBezTo>
                      <a:pt x="27" y="67"/>
                      <a:pt x="26" y="67"/>
                      <a:pt x="25" y="67"/>
                    </a:cubicBezTo>
                    <a:cubicBezTo>
                      <a:pt x="25" y="67"/>
                      <a:pt x="25" y="67"/>
                      <a:pt x="25" y="67"/>
                    </a:cubicBezTo>
                    <a:cubicBezTo>
                      <a:pt x="25" y="67"/>
                      <a:pt x="25" y="67"/>
                      <a:pt x="25" y="67"/>
                    </a:cubicBezTo>
                    <a:cubicBezTo>
                      <a:pt x="25" y="66"/>
                      <a:pt x="24" y="65"/>
                      <a:pt x="23" y="65"/>
                    </a:cubicBezTo>
                    <a:cubicBezTo>
                      <a:pt x="23" y="65"/>
                      <a:pt x="23" y="65"/>
                      <a:pt x="23" y="65"/>
                    </a:cubicBezTo>
                    <a:close/>
                    <a:moveTo>
                      <a:pt x="42" y="65"/>
                    </a:moveTo>
                    <a:cubicBezTo>
                      <a:pt x="41" y="65"/>
                      <a:pt x="41" y="65"/>
                      <a:pt x="40" y="65"/>
                    </a:cubicBezTo>
                    <a:cubicBezTo>
                      <a:pt x="41" y="65"/>
                      <a:pt x="41" y="65"/>
                      <a:pt x="41" y="66"/>
                    </a:cubicBezTo>
                    <a:cubicBezTo>
                      <a:pt x="41" y="66"/>
                      <a:pt x="42" y="65"/>
                      <a:pt x="42" y="65"/>
                    </a:cubicBezTo>
                    <a:cubicBezTo>
                      <a:pt x="42" y="65"/>
                      <a:pt x="41" y="66"/>
                      <a:pt x="41" y="66"/>
                    </a:cubicBezTo>
                    <a:cubicBezTo>
                      <a:pt x="41" y="66"/>
                      <a:pt x="41" y="66"/>
                      <a:pt x="41" y="66"/>
                    </a:cubicBezTo>
                    <a:cubicBezTo>
                      <a:pt x="42" y="66"/>
                      <a:pt x="42" y="66"/>
                      <a:pt x="42" y="65"/>
                    </a:cubicBezTo>
                    <a:cubicBezTo>
                      <a:pt x="42" y="65"/>
                      <a:pt x="42" y="65"/>
                      <a:pt x="42" y="65"/>
                    </a:cubicBezTo>
                    <a:cubicBezTo>
                      <a:pt x="42" y="65"/>
                      <a:pt x="42" y="65"/>
                      <a:pt x="42" y="65"/>
                    </a:cubicBezTo>
                    <a:cubicBezTo>
                      <a:pt x="42" y="65"/>
                      <a:pt x="42" y="65"/>
                      <a:pt x="42" y="65"/>
                    </a:cubicBezTo>
                    <a:cubicBezTo>
                      <a:pt x="42" y="65"/>
                      <a:pt x="42" y="65"/>
                      <a:pt x="42" y="65"/>
                    </a:cubicBezTo>
                    <a:cubicBezTo>
                      <a:pt x="42" y="65"/>
                      <a:pt x="42" y="65"/>
                      <a:pt x="42" y="65"/>
                    </a:cubicBezTo>
                    <a:cubicBezTo>
                      <a:pt x="42" y="65"/>
                      <a:pt x="42" y="65"/>
                      <a:pt x="42" y="65"/>
                    </a:cubicBezTo>
                    <a:cubicBezTo>
                      <a:pt x="42" y="65"/>
                      <a:pt x="42" y="65"/>
                      <a:pt x="42" y="65"/>
                    </a:cubicBezTo>
                    <a:cubicBezTo>
                      <a:pt x="42" y="65"/>
                      <a:pt x="42" y="65"/>
                      <a:pt x="42" y="65"/>
                    </a:cubicBezTo>
                    <a:close/>
                    <a:moveTo>
                      <a:pt x="42" y="65"/>
                    </a:moveTo>
                    <a:cubicBezTo>
                      <a:pt x="42" y="65"/>
                      <a:pt x="42" y="65"/>
                      <a:pt x="42" y="65"/>
                    </a:cubicBezTo>
                    <a:cubicBezTo>
                      <a:pt x="42" y="65"/>
                      <a:pt x="42" y="65"/>
                      <a:pt x="42" y="65"/>
                    </a:cubicBezTo>
                    <a:cubicBezTo>
                      <a:pt x="42" y="65"/>
                      <a:pt x="42" y="65"/>
                      <a:pt x="42" y="65"/>
                    </a:cubicBezTo>
                    <a:cubicBezTo>
                      <a:pt x="42" y="65"/>
                      <a:pt x="42" y="65"/>
                      <a:pt x="42" y="65"/>
                    </a:cubicBezTo>
                    <a:close/>
                    <a:moveTo>
                      <a:pt x="61" y="65"/>
                    </a:moveTo>
                    <a:cubicBezTo>
                      <a:pt x="61" y="65"/>
                      <a:pt x="61" y="65"/>
                      <a:pt x="61" y="65"/>
                    </a:cubicBezTo>
                    <a:cubicBezTo>
                      <a:pt x="61" y="65"/>
                      <a:pt x="61" y="65"/>
                      <a:pt x="61" y="65"/>
                    </a:cubicBezTo>
                    <a:cubicBezTo>
                      <a:pt x="61" y="65"/>
                      <a:pt x="61" y="65"/>
                      <a:pt x="61" y="65"/>
                    </a:cubicBezTo>
                    <a:cubicBezTo>
                      <a:pt x="61" y="65"/>
                      <a:pt x="61" y="65"/>
                      <a:pt x="61" y="65"/>
                    </a:cubicBezTo>
                    <a:cubicBezTo>
                      <a:pt x="61" y="65"/>
                      <a:pt x="61" y="65"/>
                      <a:pt x="61" y="65"/>
                    </a:cubicBezTo>
                    <a:close/>
                    <a:moveTo>
                      <a:pt x="20" y="65"/>
                    </a:moveTo>
                    <a:cubicBezTo>
                      <a:pt x="20" y="65"/>
                      <a:pt x="20" y="65"/>
                      <a:pt x="20" y="65"/>
                    </a:cubicBezTo>
                    <a:cubicBezTo>
                      <a:pt x="20" y="65"/>
                      <a:pt x="20" y="65"/>
                      <a:pt x="20" y="65"/>
                    </a:cubicBezTo>
                    <a:cubicBezTo>
                      <a:pt x="20" y="65"/>
                      <a:pt x="20" y="65"/>
                      <a:pt x="20" y="65"/>
                    </a:cubicBezTo>
                    <a:cubicBezTo>
                      <a:pt x="20" y="65"/>
                      <a:pt x="20" y="65"/>
                      <a:pt x="20" y="65"/>
                    </a:cubicBezTo>
                    <a:close/>
                    <a:moveTo>
                      <a:pt x="22" y="65"/>
                    </a:moveTo>
                    <a:cubicBezTo>
                      <a:pt x="22" y="65"/>
                      <a:pt x="22" y="65"/>
                      <a:pt x="23" y="65"/>
                    </a:cubicBezTo>
                    <a:cubicBezTo>
                      <a:pt x="23" y="65"/>
                      <a:pt x="23" y="65"/>
                      <a:pt x="23" y="65"/>
                    </a:cubicBezTo>
                    <a:cubicBezTo>
                      <a:pt x="23" y="65"/>
                      <a:pt x="22" y="65"/>
                      <a:pt x="22" y="66"/>
                    </a:cubicBezTo>
                    <a:cubicBezTo>
                      <a:pt x="22" y="65"/>
                      <a:pt x="22" y="65"/>
                      <a:pt x="22" y="65"/>
                    </a:cubicBezTo>
                    <a:cubicBezTo>
                      <a:pt x="22" y="65"/>
                      <a:pt x="22" y="65"/>
                      <a:pt x="22" y="65"/>
                    </a:cubicBezTo>
                    <a:close/>
                    <a:moveTo>
                      <a:pt x="29" y="65"/>
                    </a:moveTo>
                    <a:cubicBezTo>
                      <a:pt x="28" y="65"/>
                      <a:pt x="28" y="65"/>
                      <a:pt x="28" y="65"/>
                    </a:cubicBezTo>
                    <a:cubicBezTo>
                      <a:pt x="28" y="65"/>
                      <a:pt x="28" y="65"/>
                      <a:pt x="28" y="65"/>
                    </a:cubicBezTo>
                    <a:cubicBezTo>
                      <a:pt x="28" y="65"/>
                      <a:pt x="29" y="65"/>
                      <a:pt x="29" y="65"/>
                    </a:cubicBezTo>
                    <a:cubicBezTo>
                      <a:pt x="29" y="65"/>
                      <a:pt x="29" y="65"/>
                      <a:pt x="29" y="65"/>
                    </a:cubicBezTo>
                    <a:cubicBezTo>
                      <a:pt x="29" y="65"/>
                      <a:pt x="29" y="65"/>
                      <a:pt x="29" y="65"/>
                    </a:cubicBezTo>
                    <a:close/>
                    <a:moveTo>
                      <a:pt x="20" y="65"/>
                    </a:moveTo>
                    <a:cubicBezTo>
                      <a:pt x="20" y="65"/>
                      <a:pt x="20" y="65"/>
                      <a:pt x="20" y="65"/>
                    </a:cubicBezTo>
                    <a:cubicBezTo>
                      <a:pt x="20" y="65"/>
                      <a:pt x="20" y="66"/>
                      <a:pt x="20" y="66"/>
                    </a:cubicBezTo>
                    <a:cubicBezTo>
                      <a:pt x="20" y="66"/>
                      <a:pt x="20" y="66"/>
                      <a:pt x="20" y="66"/>
                    </a:cubicBezTo>
                    <a:cubicBezTo>
                      <a:pt x="20" y="66"/>
                      <a:pt x="20" y="65"/>
                      <a:pt x="20" y="65"/>
                    </a:cubicBezTo>
                    <a:cubicBezTo>
                      <a:pt x="20" y="65"/>
                      <a:pt x="20" y="65"/>
                      <a:pt x="20" y="65"/>
                    </a:cubicBezTo>
                    <a:close/>
                    <a:moveTo>
                      <a:pt x="38" y="69"/>
                    </a:moveTo>
                    <a:cubicBezTo>
                      <a:pt x="37" y="69"/>
                      <a:pt x="37" y="69"/>
                      <a:pt x="37" y="69"/>
                    </a:cubicBezTo>
                    <a:cubicBezTo>
                      <a:pt x="37" y="69"/>
                      <a:pt x="37" y="69"/>
                      <a:pt x="37" y="69"/>
                    </a:cubicBezTo>
                    <a:cubicBezTo>
                      <a:pt x="36" y="68"/>
                      <a:pt x="36" y="69"/>
                      <a:pt x="34" y="66"/>
                    </a:cubicBezTo>
                    <a:cubicBezTo>
                      <a:pt x="33" y="66"/>
                      <a:pt x="33" y="66"/>
                      <a:pt x="33" y="66"/>
                    </a:cubicBezTo>
                    <a:cubicBezTo>
                      <a:pt x="33" y="66"/>
                      <a:pt x="33" y="66"/>
                      <a:pt x="33" y="66"/>
                    </a:cubicBezTo>
                    <a:cubicBezTo>
                      <a:pt x="33" y="66"/>
                      <a:pt x="33" y="66"/>
                      <a:pt x="33" y="65"/>
                    </a:cubicBezTo>
                    <a:cubicBezTo>
                      <a:pt x="33" y="66"/>
                      <a:pt x="33" y="66"/>
                      <a:pt x="34" y="66"/>
                    </a:cubicBezTo>
                    <a:cubicBezTo>
                      <a:pt x="34" y="66"/>
                      <a:pt x="34" y="66"/>
                      <a:pt x="34" y="65"/>
                    </a:cubicBezTo>
                    <a:cubicBezTo>
                      <a:pt x="34" y="65"/>
                      <a:pt x="33" y="65"/>
                      <a:pt x="33" y="65"/>
                    </a:cubicBezTo>
                    <a:cubicBezTo>
                      <a:pt x="32" y="66"/>
                      <a:pt x="32" y="66"/>
                      <a:pt x="30" y="66"/>
                    </a:cubicBezTo>
                    <a:cubicBezTo>
                      <a:pt x="34" y="68"/>
                      <a:pt x="32" y="69"/>
                      <a:pt x="38" y="69"/>
                    </a:cubicBezTo>
                    <a:cubicBezTo>
                      <a:pt x="38" y="69"/>
                      <a:pt x="38" y="69"/>
                      <a:pt x="38" y="69"/>
                    </a:cubicBezTo>
                    <a:close/>
                    <a:moveTo>
                      <a:pt x="27" y="66"/>
                    </a:moveTo>
                    <a:cubicBezTo>
                      <a:pt x="27" y="66"/>
                      <a:pt x="27" y="66"/>
                      <a:pt x="28" y="66"/>
                    </a:cubicBezTo>
                    <a:cubicBezTo>
                      <a:pt x="28" y="66"/>
                      <a:pt x="28" y="66"/>
                      <a:pt x="28" y="66"/>
                    </a:cubicBezTo>
                    <a:cubicBezTo>
                      <a:pt x="28" y="66"/>
                      <a:pt x="28" y="66"/>
                      <a:pt x="28" y="66"/>
                    </a:cubicBezTo>
                    <a:cubicBezTo>
                      <a:pt x="27" y="66"/>
                      <a:pt x="27" y="66"/>
                      <a:pt x="27" y="66"/>
                    </a:cubicBezTo>
                    <a:cubicBezTo>
                      <a:pt x="27" y="66"/>
                      <a:pt x="27" y="66"/>
                      <a:pt x="27" y="66"/>
                    </a:cubicBezTo>
                    <a:close/>
                    <a:moveTo>
                      <a:pt x="44" y="66"/>
                    </a:moveTo>
                    <a:cubicBezTo>
                      <a:pt x="44" y="66"/>
                      <a:pt x="44" y="65"/>
                      <a:pt x="44" y="65"/>
                    </a:cubicBezTo>
                    <a:cubicBezTo>
                      <a:pt x="44" y="66"/>
                      <a:pt x="44" y="66"/>
                      <a:pt x="44" y="66"/>
                    </a:cubicBezTo>
                    <a:cubicBezTo>
                      <a:pt x="44" y="66"/>
                      <a:pt x="44" y="66"/>
                      <a:pt x="44" y="66"/>
                    </a:cubicBezTo>
                    <a:cubicBezTo>
                      <a:pt x="44" y="66"/>
                      <a:pt x="44" y="66"/>
                      <a:pt x="44" y="66"/>
                    </a:cubicBezTo>
                    <a:cubicBezTo>
                      <a:pt x="44" y="66"/>
                      <a:pt x="44" y="66"/>
                      <a:pt x="44" y="66"/>
                    </a:cubicBezTo>
                    <a:close/>
                    <a:moveTo>
                      <a:pt x="46" y="66"/>
                    </a:moveTo>
                    <a:cubicBezTo>
                      <a:pt x="47" y="66"/>
                      <a:pt x="47" y="66"/>
                      <a:pt x="47" y="66"/>
                    </a:cubicBezTo>
                    <a:cubicBezTo>
                      <a:pt x="47" y="66"/>
                      <a:pt x="46" y="66"/>
                      <a:pt x="46" y="67"/>
                    </a:cubicBezTo>
                    <a:cubicBezTo>
                      <a:pt x="47" y="66"/>
                      <a:pt x="47" y="66"/>
                      <a:pt x="48" y="66"/>
                    </a:cubicBezTo>
                    <a:cubicBezTo>
                      <a:pt x="48" y="66"/>
                      <a:pt x="48" y="66"/>
                      <a:pt x="48" y="66"/>
                    </a:cubicBezTo>
                    <a:cubicBezTo>
                      <a:pt x="47" y="66"/>
                      <a:pt x="47" y="67"/>
                      <a:pt x="46" y="67"/>
                    </a:cubicBezTo>
                    <a:cubicBezTo>
                      <a:pt x="47" y="67"/>
                      <a:pt x="47" y="67"/>
                      <a:pt x="47" y="67"/>
                    </a:cubicBezTo>
                    <a:cubicBezTo>
                      <a:pt x="47" y="67"/>
                      <a:pt x="47" y="67"/>
                      <a:pt x="47" y="67"/>
                    </a:cubicBezTo>
                    <a:cubicBezTo>
                      <a:pt x="47" y="67"/>
                      <a:pt x="47" y="67"/>
                      <a:pt x="47" y="67"/>
                    </a:cubicBezTo>
                    <a:cubicBezTo>
                      <a:pt x="47" y="67"/>
                      <a:pt x="47" y="68"/>
                      <a:pt x="47" y="68"/>
                    </a:cubicBezTo>
                    <a:cubicBezTo>
                      <a:pt x="46" y="68"/>
                      <a:pt x="45" y="67"/>
                      <a:pt x="45" y="67"/>
                    </a:cubicBezTo>
                    <a:cubicBezTo>
                      <a:pt x="45" y="67"/>
                      <a:pt x="46" y="66"/>
                      <a:pt x="46" y="66"/>
                    </a:cubicBezTo>
                    <a:cubicBezTo>
                      <a:pt x="46" y="66"/>
                      <a:pt x="46" y="66"/>
                      <a:pt x="46" y="66"/>
                    </a:cubicBezTo>
                    <a:close/>
                    <a:moveTo>
                      <a:pt x="20" y="66"/>
                    </a:moveTo>
                    <a:cubicBezTo>
                      <a:pt x="20" y="66"/>
                      <a:pt x="20" y="66"/>
                      <a:pt x="20" y="66"/>
                    </a:cubicBezTo>
                    <a:cubicBezTo>
                      <a:pt x="21" y="66"/>
                      <a:pt x="21" y="66"/>
                      <a:pt x="21" y="67"/>
                    </a:cubicBezTo>
                    <a:cubicBezTo>
                      <a:pt x="21" y="67"/>
                      <a:pt x="21" y="67"/>
                      <a:pt x="21" y="67"/>
                    </a:cubicBezTo>
                    <a:cubicBezTo>
                      <a:pt x="21" y="66"/>
                      <a:pt x="21" y="66"/>
                      <a:pt x="21" y="66"/>
                    </a:cubicBezTo>
                    <a:cubicBezTo>
                      <a:pt x="21" y="66"/>
                      <a:pt x="22" y="67"/>
                      <a:pt x="22" y="67"/>
                    </a:cubicBezTo>
                    <a:cubicBezTo>
                      <a:pt x="22" y="67"/>
                      <a:pt x="22" y="67"/>
                      <a:pt x="22" y="66"/>
                    </a:cubicBezTo>
                    <a:cubicBezTo>
                      <a:pt x="22" y="66"/>
                      <a:pt x="22" y="66"/>
                      <a:pt x="22" y="66"/>
                    </a:cubicBezTo>
                    <a:cubicBezTo>
                      <a:pt x="22" y="67"/>
                      <a:pt x="23" y="67"/>
                      <a:pt x="23" y="67"/>
                    </a:cubicBezTo>
                    <a:cubicBezTo>
                      <a:pt x="22" y="67"/>
                      <a:pt x="20" y="67"/>
                      <a:pt x="19" y="66"/>
                    </a:cubicBezTo>
                    <a:cubicBezTo>
                      <a:pt x="19" y="66"/>
                      <a:pt x="20" y="66"/>
                      <a:pt x="20" y="66"/>
                    </a:cubicBezTo>
                    <a:cubicBezTo>
                      <a:pt x="20" y="66"/>
                      <a:pt x="20" y="66"/>
                      <a:pt x="20" y="66"/>
                    </a:cubicBezTo>
                    <a:cubicBezTo>
                      <a:pt x="20" y="66"/>
                      <a:pt x="20" y="66"/>
                      <a:pt x="20" y="66"/>
                    </a:cubicBezTo>
                    <a:cubicBezTo>
                      <a:pt x="20" y="66"/>
                      <a:pt x="20" y="66"/>
                      <a:pt x="20" y="66"/>
                    </a:cubicBezTo>
                    <a:cubicBezTo>
                      <a:pt x="20" y="66"/>
                      <a:pt x="21" y="66"/>
                      <a:pt x="21" y="67"/>
                    </a:cubicBezTo>
                    <a:cubicBezTo>
                      <a:pt x="21" y="66"/>
                      <a:pt x="20" y="66"/>
                      <a:pt x="20" y="66"/>
                    </a:cubicBezTo>
                    <a:cubicBezTo>
                      <a:pt x="20" y="66"/>
                      <a:pt x="20" y="66"/>
                      <a:pt x="20" y="66"/>
                    </a:cubicBezTo>
                    <a:close/>
                    <a:moveTo>
                      <a:pt x="80" y="66"/>
                    </a:moveTo>
                    <a:cubicBezTo>
                      <a:pt x="80" y="65"/>
                      <a:pt x="80" y="66"/>
                      <a:pt x="81" y="66"/>
                    </a:cubicBezTo>
                    <a:cubicBezTo>
                      <a:pt x="81" y="66"/>
                      <a:pt x="81" y="66"/>
                      <a:pt x="80" y="67"/>
                    </a:cubicBezTo>
                    <a:cubicBezTo>
                      <a:pt x="80" y="66"/>
                      <a:pt x="80" y="66"/>
                      <a:pt x="79" y="66"/>
                    </a:cubicBezTo>
                    <a:cubicBezTo>
                      <a:pt x="79" y="66"/>
                      <a:pt x="79" y="66"/>
                      <a:pt x="80" y="66"/>
                    </a:cubicBezTo>
                    <a:cubicBezTo>
                      <a:pt x="80" y="66"/>
                      <a:pt x="80" y="66"/>
                      <a:pt x="80" y="66"/>
                    </a:cubicBezTo>
                    <a:close/>
                    <a:moveTo>
                      <a:pt x="29" y="66"/>
                    </a:moveTo>
                    <a:cubicBezTo>
                      <a:pt x="29" y="66"/>
                      <a:pt x="29" y="66"/>
                      <a:pt x="29" y="66"/>
                    </a:cubicBezTo>
                    <a:cubicBezTo>
                      <a:pt x="29" y="66"/>
                      <a:pt x="29" y="66"/>
                      <a:pt x="29" y="66"/>
                    </a:cubicBezTo>
                    <a:cubicBezTo>
                      <a:pt x="29" y="66"/>
                      <a:pt x="29" y="66"/>
                      <a:pt x="29" y="66"/>
                    </a:cubicBezTo>
                    <a:cubicBezTo>
                      <a:pt x="29" y="66"/>
                      <a:pt x="29" y="66"/>
                      <a:pt x="29" y="66"/>
                    </a:cubicBezTo>
                    <a:close/>
                    <a:moveTo>
                      <a:pt x="22" y="66"/>
                    </a:moveTo>
                    <a:cubicBezTo>
                      <a:pt x="22" y="66"/>
                      <a:pt x="23" y="65"/>
                      <a:pt x="23" y="65"/>
                    </a:cubicBezTo>
                    <a:cubicBezTo>
                      <a:pt x="23" y="66"/>
                      <a:pt x="23" y="66"/>
                      <a:pt x="23" y="66"/>
                    </a:cubicBezTo>
                    <a:cubicBezTo>
                      <a:pt x="23" y="66"/>
                      <a:pt x="23" y="66"/>
                      <a:pt x="22" y="66"/>
                    </a:cubicBezTo>
                    <a:cubicBezTo>
                      <a:pt x="22" y="66"/>
                      <a:pt x="22" y="66"/>
                      <a:pt x="22" y="66"/>
                    </a:cubicBezTo>
                    <a:close/>
                    <a:moveTo>
                      <a:pt x="59" y="66"/>
                    </a:moveTo>
                    <a:cubicBezTo>
                      <a:pt x="59" y="66"/>
                      <a:pt x="59" y="66"/>
                      <a:pt x="59" y="66"/>
                    </a:cubicBezTo>
                    <a:cubicBezTo>
                      <a:pt x="59" y="66"/>
                      <a:pt x="59" y="66"/>
                      <a:pt x="59" y="66"/>
                    </a:cubicBezTo>
                    <a:cubicBezTo>
                      <a:pt x="59" y="66"/>
                      <a:pt x="59" y="66"/>
                      <a:pt x="59" y="66"/>
                    </a:cubicBezTo>
                    <a:cubicBezTo>
                      <a:pt x="59" y="66"/>
                      <a:pt x="59" y="66"/>
                      <a:pt x="59" y="66"/>
                    </a:cubicBezTo>
                    <a:cubicBezTo>
                      <a:pt x="59" y="66"/>
                      <a:pt x="59" y="66"/>
                      <a:pt x="58" y="66"/>
                    </a:cubicBezTo>
                    <a:cubicBezTo>
                      <a:pt x="58" y="66"/>
                      <a:pt x="59" y="66"/>
                      <a:pt x="59" y="66"/>
                    </a:cubicBezTo>
                    <a:cubicBezTo>
                      <a:pt x="59" y="66"/>
                      <a:pt x="59" y="66"/>
                      <a:pt x="59" y="66"/>
                    </a:cubicBezTo>
                    <a:close/>
                    <a:moveTo>
                      <a:pt x="44" y="66"/>
                    </a:moveTo>
                    <a:cubicBezTo>
                      <a:pt x="44" y="66"/>
                      <a:pt x="44" y="66"/>
                      <a:pt x="44" y="66"/>
                    </a:cubicBezTo>
                    <a:cubicBezTo>
                      <a:pt x="44" y="66"/>
                      <a:pt x="44" y="66"/>
                      <a:pt x="43" y="66"/>
                    </a:cubicBezTo>
                    <a:cubicBezTo>
                      <a:pt x="44" y="66"/>
                      <a:pt x="44" y="66"/>
                      <a:pt x="44" y="66"/>
                    </a:cubicBezTo>
                    <a:cubicBezTo>
                      <a:pt x="44" y="66"/>
                      <a:pt x="44" y="66"/>
                      <a:pt x="44" y="66"/>
                    </a:cubicBezTo>
                    <a:cubicBezTo>
                      <a:pt x="44" y="66"/>
                      <a:pt x="44" y="66"/>
                      <a:pt x="44" y="66"/>
                    </a:cubicBezTo>
                    <a:close/>
                    <a:moveTo>
                      <a:pt x="44" y="66"/>
                    </a:moveTo>
                    <a:cubicBezTo>
                      <a:pt x="44" y="66"/>
                      <a:pt x="45" y="66"/>
                      <a:pt x="45" y="66"/>
                    </a:cubicBezTo>
                    <a:cubicBezTo>
                      <a:pt x="45" y="66"/>
                      <a:pt x="44" y="66"/>
                      <a:pt x="44" y="66"/>
                    </a:cubicBezTo>
                    <a:cubicBezTo>
                      <a:pt x="44" y="66"/>
                      <a:pt x="44" y="66"/>
                      <a:pt x="44" y="66"/>
                    </a:cubicBezTo>
                    <a:cubicBezTo>
                      <a:pt x="44" y="66"/>
                      <a:pt x="44" y="66"/>
                      <a:pt x="44" y="66"/>
                    </a:cubicBezTo>
                    <a:cubicBezTo>
                      <a:pt x="44" y="66"/>
                      <a:pt x="44" y="66"/>
                      <a:pt x="44" y="66"/>
                    </a:cubicBezTo>
                    <a:close/>
                    <a:moveTo>
                      <a:pt x="77" y="66"/>
                    </a:moveTo>
                    <a:cubicBezTo>
                      <a:pt x="77" y="66"/>
                      <a:pt x="77" y="66"/>
                      <a:pt x="77" y="66"/>
                    </a:cubicBezTo>
                    <a:cubicBezTo>
                      <a:pt x="77" y="66"/>
                      <a:pt x="77" y="66"/>
                      <a:pt x="77" y="66"/>
                    </a:cubicBezTo>
                    <a:cubicBezTo>
                      <a:pt x="77" y="66"/>
                      <a:pt x="77" y="66"/>
                      <a:pt x="77" y="66"/>
                    </a:cubicBezTo>
                    <a:cubicBezTo>
                      <a:pt x="77" y="66"/>
                      <a:pt x="77" y="66"/>
                      <a:pt x="77" y="66"/>
                    </a:cubicBezTo>
                    <a:cubicBezTo>
                      <a:pt x="77" y="66"/>
                      <a:pt x="77" y="66"/>
                      <a:pt x="77" y="66"/>
                    </a:cubicBezTo>
                    <a:close/>
                    <a:moveTo>
                      <a:pt x="60" y="67"/>
                    </a:moveTo>
                    <a:cubicBezTo>
                      <a:pt x="60" y="67"/>
                      <a:pt x="60" y="67"/>
                      <a:pt x="60" y="67"/>
                    </a:cubicBezTo>
                    <a:cubicBezTo>
                      <a:pt x="60" y="67"/>
                      <a:pt x="60" y="67"/>
                      <a:pt x="60" y="67"/>
                    </a:cubicBezTo>
                    <a:cubicBezTo>
                      <a:pt x="60" y="67"/>
                      <a:pt x="61" y="66"/>
                      <a:pt x="61" y="66"/>
                    </a:cubicBezTo>
                    <a:cubicBezTo>
                      <a:pt x="61" y="66"/>
                      <a:pt x="60" y="66"/>
                      <a:pt x="60" y="66"/>
                    </a:cubicBezTo>
                    <a:cubicBezTo>
                      <a:pt x="60" y="66"/>
                      <a:pt x="60" y="66"/>
                      <a:pt x="60" y="67"/>
                    </a:cubicBezTo>
                    <a:cubicBezTo>
                      <a:pt x="60" y="67"/>
                      <a:pt x="60" y="67"/>
                      <a:pt x="60" y="67"/>
                    </a:cubicBezTo>
                    <a:close/>
                    <a:moveTo>
                      <a:pt x="41" y="66"/>
                    </a:moveTo>
                    <a:cubicBezTo>
                      <a:pt x="41" y="66"/>
                      <a:pt x="41" y="66"/>
                      <a:pt x="41" y="66"/>
                    </a:cubicBezTo>
                    <a:cubicBezTo>
                      <a:pt x="41" y="66"/>
                      <a:pt x="40" y="67"/>
                      <a:pt x="40" y="67"/>
                    </a:cubicBezTo>
                    <a:cubicBezTo>
                      <a:pt x="41" y="68"/>
                      <a:pt x="41" y="68"/>
                      <a:pt x="42" y="69"/>
                    </a:cubicBezTo>
                    <a:cubicBezTo>
                      <a:pt x="40" y="67"/>
                      <a:pt x="41" y="66"/>
                      <a:pt x="38" y="68"/>
                    </a:cubicBezTo>
                    <a:cubicBezTo>
                      <a:pt x="40" y="69"/>
                      <a:pt x="43" y="71"/>
                      <a:pt x="45" y="70"/>
                    </a:cubicBezTo>
                    <a:cubicBezTo>
                      <a:pt x="45" y="70"/>
                      <a:pt x="45" y="69"/>
                      <a:pt x="44" y="69"/>
                    </a:cubicBezTo>
                    <a:cubicBezTo>
                      <a:pt x="45" y="69"/>
                      <a:pt x="45" y="69"/>
                      <a:pt x="45" y="69"/>
                    </a:cubicBezTo>
                    <a:cubicBezTo>
                      <a:pt x="45" y="69"/>
                      <a:pt x="45" y="69"/>
                      <a:pt x="45" y="69"/>
                    </a:cubicBezTo>
                    <a:cubicBezTo>
                      <a:pt x="45" y="69"/>
                      <a:pt x="45" y="69"/>
                      <a:pt x="45" y="69"/>
                    </a:cubicBezTo>
                    <a:cubicBezTo>
                      <a:pt x="45" y="69"/>
                      <a:pt x="45" y="69"/>
                      <a:pt x="45" y="69"/>
                    </a:cubicBezTo>
                    <a:cubicBezTo>
                      <a:pt x="45" y="69"/>
                      <a:pt x="45" y="69"/>
                      <a:pt x="45" y="69"/>
                    </a:cubicBezTo>
                    <a:cubicBezTo>
                      <a:pt x="45" y="69"/>
                      <a:pt x="45" y="69"/>
                      <a:pt x="45" y="69"/>
                    </a:cubicBezTo>
                    <a:cubicBezTo>
                      <a:pt x="44" y="68"/>
                      <a:pt x="43" y="67"/>
                      <a:pt x="43" y="66"/>
                    </a:cubicBezTo>
                    <a:cubicBezTo>
                      <a:pt x="42" y="66"/>
                      <a:pt x="42" y="66"/>
                      <a:pt x="42" y="66"/>
                    </a:cubicBezTo>
                    <a:cubicBezTo>
                      <a:pt x="42" y="67"/>
                      <a:pt x="44" y="68"/>
                      <a:pt x="44" y="70"/>
                    </a:cubicBezTo>
                    <a:cubicBezTo>
                      <a:pt x="44" y="69"/>
                      <a:pt x="42" y="67"/>
                      <a:pt x="41" y="66"/>
                    </a:cubicBezTo>
                    <a:cubicBezTo>
                      <a:pt x="41" y="66"/>
                      <a:pt x="41" y="66"/>
                      <a:pt x="41" y="66"/>
                    </a:cubicBezTo>
                    <a:close/>
                    <a:moveTo>
                      <a:pt x="44" y="66"/>
                    </a:moveTo>
                    <a:cubicBezTo>
                      <a:pt x="44" y="66"/>
                      <a:pt x="44" y="66"/>
                      <a:pt x="44" y="66"/>
                    </a:cubicBezTo>
                    <a:cubicBezTo>
                      <a:pt x="44" y="66"/>
                      <a:pt x="44" y="66"/>
                      <a:pt x="44" y="66"/>
                    </a:cubicBezTo>
                    <a:cubicBezTo>
                      <a:pt x="44" y="66"/>
                      <a:pt x="44" y="66"/>
                      <a:pt x="44" y="66"/>
                    </a:cubicBezTo>
                    <a:cubicBezTo>
                      <a:pt x="44" y="66"/>
                      <a:pt x="44" y="66"/>
                      <a:pt x="44" y="66"/>
                    </a:cubicBezTo>
                    <a:cubicBezTo>
                      <a:pt x="44" y="66"/>
                      <a:pt x="44" y="66"/>
                      <a:pt x="44" y="66"/>
                    </a:cubicBezTo>
                    <a:close/>
                    <a:moveTo>
                      <a:pt x="44" y="66"/>
                    </a:moveTo>
                    <a:cubicBezTo>
                      <a:pt x="43" y="66"/>
                      <a:pt x="43" y="66"/>
                      <a:pt x="43" y="66"/>
                    </a:cubicBezTo>
                    <a:cubicBezTo>
                      <a:pt x="43" y="66"/>
                      <a:pt x="43" y="66"/>
                      <a:pt x="43" y="66"/>
                    </a:cubicBezTo>
                    <a:cubicBezTo>
                      <a:pt x="43" y="66"/>
                      <a:pt x="43" y="67"/>
                      <a:pt x="43" y="67"/>
                    </a:cubicBezTo>
                    <a:cubicBezTo>
                      <a:pt x="44" y="67"/>
                      <a:pt x="44" y="67"/>
                      <a:pt x="44" y="66"/>
                    </a:cubicBezTo>
                    <a:cubicBezTo>
                      <a:pt x="44" y="66"/>
                      <a:pt x="44" y="66"/>
                      <a:pt x="44" y="66"/>
                    </a:cubicBezTo>
                    <a:cubicBezTo>
                      <a:pt x="44" y="66"/>
                      <a:pt x="44" y="66"/>
                      <a:pt x="44" y="66"/>
                    </a:cubicBezTo>
                    <a:close/>
                    <a:moveTo>
                      <a:pt x="28" y="66"/>
                    </a:moveTo>
                    <a:cubicBezTo>
                      <a:pt x="28" y="66"/>
                      <a:pt x="28" y="66"/>
                      <a:pt x="28" y="66"/>
                    </a:cubicBezTo>
                    <a:cubicBezTo>
                      <a:pt x="30" y="68"/>
                      <a:pt x="30" y="68"/>
                      <a:pt x="31" y="68"/>
                    </a:cubicBezTo>
                    <a:cubicBezTo>
                      <a:pt x="29" y="68"/>
                      <a:pt x="29" y="68"/>
                      <a:pt x="28" y="66"/>
                    </a:cubicBezTo>
                    <a:cubicBezTo>
                      <a:pt x="28" y="66"/>
                      <a:pt x="28" y="66"/>
                      <a:pt x="28" y="66"/>
                    </a:cubicBezTo>
                    <a:close/>
                    <a:moveTo>
                      <a:pt x="11" y="66"/>
                    </a:moveTo>
                    <a:cubicBezTo>
                      <a:pt x="11" y="66"/>
                      <a:pt x="13" y="66"/>
                      <a:pt x="13" y="66"/>
                    </a:cubicBezTo>
                    <a:cubicBezTo>
                      <a:pt x="13" y="66"/>
                      <a:pt x="12" y="66"/>
                      <a:pt x="12" y="66"/>
                    </a:cubicBezTo>
                    <a:cubicBezTo>
                      <a:pt x="13" y="66"/>
                      <a:pt x="13" y="66"/>
                      <a:pt x="14" y="66"/>
                    </a:cubicBezTo>
                    <a:cubicBezTo>
                      <a:pt x="14" y="66"/>
                      <a:pt x="14" y="66"/>
                      <a:pt x="14" y="66"/>
                    </a:cubicBezTo>
                    <a:cubicBezTo>
                      <a:pt x="11" y="67"/>
                      <a:pt x="11" y="68"/>
                      <a:pt x="8" y="68"/>
                    </a:cubicBezTo>
                    <a:cubicBezTo>
                      <a:pt x="8" y="68"/>
                      <a:pt x="9" y="68"/>
                      <a:pt x="10" y="67"/>
                    </a:cubicBezTo>
                    <a:cubicBezTo>
                      <a:pt x="9" y="68"/>
                      <a:pt x="8" y="68"/>
                      <a:pt x="7" y="68"/>
                    </a:cubicBezTo>
                    <a:cubicBezTo>
                      <a:pt x="8" y="68"/>
                      <a:pt x="8" y="68"/>
                      <a:pt x="9" y="67"/>
                    </a:cubicBezTo>
                    <a:cubicBezTo>
                      <a:pt x="8" y="67"/>
                      <a:pt x="7" y="68"/>
                      <a:pt x="7" y="68"/>
                    </a:cubicBezTo>
                    <a:cubicBezTo>
                      <a:pt x="9" y="66"/>
                      <a:pt x="9" y="66"/>
                      <a:pt x="12" y="65"/>
                    </a:cubicBezTo>
                    <a:cubicBezTo>
                      <a:pt x="12" y="66"/>
                      <a:pt x="11" y="66"/>
                      <a:pt x="11" y="66"/>
                    </a:cubicBezTo>
                    <a:cubicBezTo>
                      <a:pt x="11" y="66"/>
                      <a:pt x="11" y="66"/>
                      <a:pt x="11" y="66"/>
                    </a:cubicBezTo>
                    <a:close/>
                    <a:moveTo>
                      <a:pt x="78" y="66"/>
                    </a:moveTo>
                    <a:cubicBezTo>
                      <a:pt x="78" y="66"/>
                      <a:pt x="78" y="66"/>
                      <a:pt x="79" y="66"/>
                    </a:cubicBezTo>
                    <a:cubicBezTo>
                      <a:pt x="78" y="66"/>
                      <a:pt x="78" y="66"/>
                      <a:pt x="78" y="66"/>
                    </a:cubicBezTo>
                    <a:cubicBezTo>
                      <a:pt x="78" y="66"/>
                      <a:pt x="78" y="66"/>
                      <a:pt x="78" y="66"/>
                    </a:cubicBezTo>
                    <a:cubicBezTo>
                      <a:pt x="78" y="66"/>
                      <a:pt x="78" y="66"/>
                      <a:pt x="78" y="66"/>
                    </a:cubicBezTo>
                    <a:close/>
                    <a:moveTo>
                      <a:pt x="63" y="67"/>
                    </a:moveTo>
                    <a:cubicBezTo>
                      <a:pt x="63" y="66"/>
                      <a:pt x="63" y="66"/>
                      <a:pt x="63" y="66"/>
                    </a:cubicBezTo>
                    <a:cubicBezTo>
                      <a:pt x="63" y="66"/>
                      <a:pt x="63" y="67"/>
                      <a:pt x="63" y="67"/>
                    </a:cubicBezTo>
                    <a:cubicBezTo>
                      <a:pt x="63" y="67"/>
                      <a:pt x="63" y="67"/>
                      <a:pt x="63" y="67"/>
                    </a:cubicBezTo>
                    <a:cubicBezTo>
                      <a:pt x="63" y="67"/>
                      <a:pt x="63" y="67"/>
                      <a:pt x="63" y="67"/>
                    </a:cubicBezTo>
                    <a:cubicBezTo>
                      <a:pt x="63" y="67"/>
                      <a:pt x="63" y="67"/>
                      <a:pt x="63" y="67"/>
                    </a:cubicBezTo>
                    <a:close/>
                    <a:moveTo>
                      <a:pt x="65" y="67"/>
                    </a:moveTo>
                    <a:cubicBezTo>
                      <a:pt x="64" y="67"/>
                      <a:pt x="64" y="67"/>
                      <a:pt x="64" y="66"/>
                    </a:cubicBezTo>
                    <a:cubicBezTo>
                      <a:pt x="64" y="67"/>
                      <a:pt x="64" y="67"/>
                      <a:pt x="64" y="67"/>
                    </a:cubicBezTo>
                    <a:cubicBezTo>
                      <a:pt x="63" y="67"/>
                      <a:pt x="63" y="67"/>
                      <a:pt x="63" y="67"/>
                    </a:cubicBezTo>
                    <a:cubicBezTo>
                      <a:pt x="63" y="67"/>
                      <a:pt x="63" y="67"/>
                      <a:pt x="63" y="68"/>
                    </a:cubicBezTo>
                    <a:cubicBezTo>
                      <a:pt x="63" y="68"/>
                      <a:pt x="63" y="68"/>
                      <a:pt x="63" y="68"/>
                    </a:cubicBezTo>
                    <a:cubicBezTo>
                      <a:pt x="63" y="67"/>
                      <a:pt x="63" y="67"/>
                      <a:pt x="64" y="67"/>
                    </a:cubicBezTo>
                    <a:cubicBezTo>
                      <a:pt x="64" y="67"/>
                      <a:pt x="64" y="67"/>
                      <a:pt x="63" y="68"/>
                    </a:cubicBezTo>
                    <a:cubicBezTo>
                      <a:pt x="64" y="67"/>
                      <a:pt x="64" y="67"/>
                      <a:pt x="65" y="67"/>
                    </a:cubicBezTo>
                    <a:cubicBezTo>
                      <a:pt x="65" y="67"/>
                      <a:pt x="65" y="67"/>
                      <a:pt x="65" y="67"/>
                    </a:cubicBezTo>
                    <a:close/>
                    <a:moveTo>
                      <a:pt x="59" y="67"/>
                    </a:moveTo>
                    <a:cubicBezTo>
                      <a:pt x="58" y="67"/>
                      <a:pt x="58" y="67"/>
                      <a:pt x="58" y="67"/>
                    </a:cubicBezTo>
                    <a:cubicBezTo>
                      <a:pt x="58" y="67"/>
                      <a:pt x="58" y="67"/>
                      <a:pt x="58" y="67"/>
                    </a:cubicBezTo>
                    <a:cubicBezTo>
                      <a:pt x="58" y="67"/>
                      <a:pt x="58" y="67"/>
                      <a:pt x="59" y="67"/>
                    </a:cubicBezTo>
                    <a:cubicBezTo>
                      <a:pt x="59" y="67"/>
                      <a:pt x="59" y="67"/>
                      <a:pt x="59" y="67"/>
                    </a:cubicBezTo>
                    <a:close/>
                    <a:moveTo>
                      <a:pt x="45" y="67"/>
                    </a:moveTo>
                    <a:cubicBezTo>
                      <a:pt x="45" y="67"/>
                      <a:pt x="45" y="67"/>
                      <a:pt x="45" y="67"/>
                    </a:cubicBezTo>
                    <a:cubicBezTo>
                      <a:pt x="45" y="67"/>
                      <a:pt x="46" y="68"/>
                      <a:pt x="46" y="68"/>
                    </a:cubicBezTo>
                    <a:cubicBezTo>
                      <a:pt x="45" y="68"/>
                      <a:pt x="45" y="67"/>
                      <a:pt x="45" y="67"/>
                    </a:cubicBezTo>
                    <a:cubicBezTo>
                      <a:pt x="45" y="67"/>
                      <a:pt x="45" y="67"/>
                      <a:pt x="45" y="67"/>
                    </a:cubicBezTo>
                    <a:close/>
                    <a:moveTo>
                      <a:pt x="23" y="67"/>
                    </a:moveTo>
                    <a:cubicBezTo>
                      <a:pt x="23" y="67"/>
                      <a:pt x="23" y="67"/>
                      <a:pt x="23" y="67"/>
                    </a:cubicBezTo>
                    <a:cubicBezTo>
                      <a:pt x="23" y="67"/>
                      <a:pt x="23" y="67"/>
                      <a:pt x="24" y="67"/>
                    </a:cubicBezTo>
                    <a:cubicBezTo>
                      <a:pt x="24" y="67"/>
                      <a:pt x="24" y="67"/>
                      <a:pt x="23" y="67"/>
                    </a:cubicBezTo>
                    <a:cubicBezTo>
                      <a:pt x="23" y="67"/>
                      <a:pt x="23" y="67"/>
                      <a:pt x="23" y="67"/>
                    </a:cubicBezTo>
                    <a:cubicBezTo>
                      <a:pt x="23" y="67"/>
                      <a:pt x="23" y="67"/>
                      <a:pt x="23" y="67"/>
                    </a:cubicBezTo>
                    <a:close/>
                    <a:moveTo>
                      <a:pt x="63" y="67"/>
                    </a:moveTo>
                    <a:cubicBezTo>
                      <a:pt x="63" y="67"/>
                      <a:pt x="63" y="67"/>
                      <a:pt x="62" y="67"/>
                    </a:cubicBezTo>
                    <a:cubicBezTo>
                      <a:pt x="62" y="67"/>
                      <a:pt x="62" y="67"/>
                      <a:pt x="62" y="67"/>
                    </a:cubicBezTo>
                    <a:cubicBezTo>
                      <a:pt x="62" y="67"/>
                      <a:pt x="63" y="67"/>
                      <a:pt x="63" y="67"/>
                    </a:cubicBezTo>
                    <a:cubicBezTo>
                      <a:pt x="63" y="67"/>
                      <a:pt x="63" y="67"/>
                      <a:pt x="63" y="67"/>
                    </a:cubicBezTo>
                    <a:close/>
                    <a:moveTo>
                      <a:pt x="75" y="67"/>
                    </a:moveTo>
                    <a:cubicBezTo>
                      <a:pt x="75" y="67"/>
                      <a:pt x="75" y="67"/>
                      <a:pt x="75" y="67"/>
                    </a:cubicBezTo>
                    <a:cubicBezTo>
                      <a:pt x="75" y="67"/>
                      <a:pt x="75" y="67"/>
                      <a:pt x="75" y="67"/>
                    </a:cubicBezTo>
                    <a:cubicBezTo>
                      <a:pt x="75" y="67"/>
                      <a:pt x="75" y="67"/>
                      <a:pt x="75" y="67"/>
                    </a:cubicBezTo>
                    <a:cubicBezTo>
                      <a:pt x="75" y="67"/>
                      <a:pt x="75" y="67"/>
                      <a:pt x="75" y="67"/>
                    </a:cubicBezTo>
                    <a:cubicBezTo>
                      <a:pt x="75" y="67"/>
                      <a:pt x="75" y="67"/>
                      <a:pt x="75" y="67"/>
                    </a:cubicBezTo>
                    <a:close/>
                    <a:moveTo>
                      <a:pt x="44" y="67"/>
                    </a:moveTo>
                    <a:cubicBezTo>
                      <a:pt x="44" y="67"/>
                      <a:pt x="44" y="67"/>
                      <a:pt x="44" y="67"/>
                    </a:cubicBezTo>
                    <a:cubicBezTo>
                      <a:pt x="45" y="67"/>
                      <a:pt x="45" y="68"/>
                      <a:pt x="46" y="69"/>
                    </a:cubicBezTo>
                    <a:cubicBezTo>
                      <a:pt x="46" y="69"/>
                      <a:pt x="46" y="69"/>
                      <a:pt x="46" y="69"/>
                    </a:cubicBezTo>
                    <a:cubicBezTo>
                      <a:pt x="46" y="69"/>
                      <a:pt x="46" y="69"/>
                      <a:pt x="46" y="69"/>
                    </a:cubicBezTo>
                    <a:cubicBezTo>
                      <a:pt x="46" y="69"/>
                      <a:pt x="46" y="69"/>
                      <a:pt x="46" y="69"/>
                    </a:cubicBezTo>
                    <a:cubicBezTo>
                      <a:pt x="46" y="69"/>
                      <a:pt x="47" y="69"/>
                      <a:pt x="47" y="69"/>
                    </a:cubicBezTo>
                    <a:cubicBezTo>
                      <a:pt x="46" y="69"/>
                      <a:pt x="46" y="69"/>
                      <a:pt x="45" y="69"/>
                    </a:cubicBezTo>
                    <a:cubicBezTo>
                      <a:pt x="45" y="68"/>
                      <a:pt x="44" y="68"/>
                      <a:pt x="44" y="67"/>
                    </a:cubicBezTo>
                    <a:cubicBezTo>
                      <a:pt x="44" y="67"/>
                      <a:pt x="44" y="67"/>
                      <a:pt x="44" y="67"/>
                    </a:cubicBezTo>
                    <a:close/>
                    <a:moveTo>
                      <a:pt x="80" y="67"/>
                    </a:moveTo>
                    <a:cubicBezTo>
                      <a:pt x="80" y="67"/>
                      <a:pt x="79" y="67"/>
                      <a:pt x="79" y="66"/>
                    </a:cubicBezTo>
                    <a:cubicBezTo>
                      <a:pt x="79" y="67"/>
                      <a:pt x="79" y="67"/>
                      <a:pt x="79" y="67"/>
                    </a:cubicBezTo>
                    <a:cubicBezTo>
                      <a:pt x="79" y="67"/>
                      <a:pt x="79" y="67"/>
                      <a:pt x="79" y="67"/>
                    </a:cubicBezTo>
                    <a:cubicBezTo>
                      <a:pt x="80" y="67"/>
                      <a:pt x="80" y="67"/>
                      <a:pt x="80" y="67"/>
                    </a:cubicBezTo>
                    <a:cubicBezTo>
                      <a:pt x="80" y="67"/>
                      <a:pt x="80" y="67"/>
                      <a:pt x="80" y="67"/>
                    </a:cubicBezTo>
                    <a:close/>
                    <a:moveTo>
                      <a:pt x="60" y="67"/>
                    </a:moveTo>
                    <a:cubicBezTo>
                      <a:pt x="60" y="67"/>
                      <a:pt x="60" y="67"/>
                      <a:pt x="60" y="67"/>
                    </a:cubicBezTo>
                    <a:cubicBezTo>
                      <a:pt x="60" y="67"/>
                      <a:pt x="60" y="67"/>
                      <a:pt x="60" y="67"/>
                    </a:cubicBezTo>
                    <a:cubicBezTo>
                      <a:pt x="60" y="67"/>
                      <a:pt x="60" y="67"/>
                      <a:pt x="60" y="67"/>
                    </a:cubicBezTo>
                    <a:cubicBezTo>
                      <a:pt x="60" y="67"/>
                      <a:pt x="60" y="67"/>
                      <a:pt x="60" y="67"/>
                    </a:cubicBezTo>
                    <a:close/>
                    <a:moveTo>
                      <a:pt x="76" y="67"/>
                    </a:moveTo>
                    <a:cubicBezTo>
                      <a:pt x="76" y="67"/>
                      <a:pt x="76" y="67"/>
                      <a:pt x="76" y="67"/>
                    </a:cubicBezTo>
                    <a:cubicBezTo>
                      <a:pt x="76" y="67"/>
                      <a:pt x="76" y="67"/>
                      <a:pt x="76" y="67"/>
                    </a:cubicBezTo>
                    <a:cubicBezTo>
                      <a:pt x="76" y="67"/>
                      <a:pt x="76" y="67"/>
                      <a:pt x="76" y="67"/>
                    </a:cubicBezTo>
                    <a:cubicBezTo>
                      <a:pt x="76" y="67"/>
                      <a:pt x="76" y="67"/>
                      <a:pt x="76" y="67"/>
                    </a:cubicBezTo>
                    <a:close/>
                    <a:moveTo>
                      <a:pt x="61" y="67"/>
                    </a:moveTo>
                    <a:cubicBezTo>
                      <a:pt x="61" y="67"/>
                      <a:pt x="61" y="67"/>
                      <a:pt x="61" y="67"/>
                    </a:cubicBezTo>
                    <a:cubicBezTo>
                      <a:pt x="61" y="67"/>
                      <a:pt x="61" y="67"/>
                      <a:pt x="60" y="68"/>
                    </a:cubicBezTo>
                    <a:cubicBezTo>
                      <a:pt x="61" y="67"/>
                      <a:pt x="61" y="67"/>
                      <a:pt x="61" y="67"/>
                    </a:cubicBezTo>
                    <a:cubicBezTo>
                      <a:pt x="61" y="67"/>
                      <a:pt x="61" y="67"/>
                      <a:pt x="61" y="67"/>
                    </a:cubicBezTo>
                    <a:close/>
                    <a:moveTo>
                      <a:pt x="62" y="67"/>
                    </a:moveTo>
                    <a:cubicBezTo>
                      <a:pt x="62" y="67"/>
                      <a:pt x="62" y="67"/>
                      <a:pt x="62" y="67"/>
                    </a:cubicBezTo>
                    <a:cubicBezTo>
                      <a:pt x="62" y="67"/>
                      <a:pt x="62" y="67"/>
                      <a:pt x="62" y="68"/>
                    </a:cubicBezTo>
                    <a:cubicBezTo>
                      <a:pt x="62" y="68"/>
                      <a:pt x="63" y="68"/>
                      <a:pt x="63" y="67"/>
                    </a:cubicBezTo>
                    <a:cubicBezTo>
                      <a:pt x="63" y="67"/>
                      <a:pt x="62" y="67"/>
                      <a:pt x="62" y="68"/>
                    </a:cubicBezTo>
                    <a:cubicBezTo>
                      <a:pt x="62" y="67"/>
                      <a:pt x="62" y="67"/>
                      <a:pt x="63" y="67"/>
                    </a:cubicBezTo>
                    <a:cubicBezTo>
                      <a:pt x="62" y="67"/>
                      <a:pt x="62" y="67"/>
                      <a:pt x="62" y="67"/>
                    </a:cubicBezTo>
                    <a:cubicBezTo>
                      <a:pt x="62" y="67"/>
                      <a:pt x="62" y="67"/>
                      <a:pt x="62" y="67"/>
                    </a:cubicBezTo>
                    <a:close/>
                    <a:moveTo>
                      <a:pt x="60" y="67"/>
                    </a:moveTo>
                    <a:cubicBezTo>
                      <a:pt x="59" y="67"/>
                      <a:pt x="59" y="67"/>
                      <a:pt x="59" y="67"/>
                    </a:cubicBezTo>
                    <a:cubicBezTo>
                      <a:pt x="59" y="67"/>
                      <a:pt x="59" y="67"/>
                      <a:pt x="59" y="68"/>
                    </a:cubicBezTo>
                    <a:cubicBezTo>
                      <a:pt x="59" y="68"/>
                      <a:pt x="59" y="68"/>
                      <a:pt x="59" y="67"/>
                    </a:cubicBezTo>
                    <a:cubicBezTo>
                      <a:pt x="59" y="67"/>
                      <a:pt x="59" y="67"/>
                      <a:pt x="60" y="67"/>
                    </a:cubicBezTo>
                    <a:cubicBezTo>
                      <a:pt x="60" y="67"/>
                      <a:pt x="60" y="67"/>
                      <a:pt x="59" y="67"/>
                    </a:cubicBezTo>
                    <a:cubicBezTo>
                      <a:pt x="59" y="67"/>
                      <a:pt x="60" y="67"/>
                      <a:pt x="60" y="67"/>
                    </a:cubicBezTo>
                    <a:cubicBezTo>
                      <a:pt x="60" y="67"/>
                      <a:pt x="60" y="67"/>
                      <a:pt x="60" y="67"/>
                    </a:cubicBezTo>
                    <a:close/>
                    <a:moveTo>
                      <a:pt x="25" y="67"/>
                    </a:moveTo>
                    <a:cubicBezTo>
                      <a:pt x="25" y="67"/>
                      <a:pt x="24" y="67"/>
                      <a:pt x="24" y="67"/>
                    </a:cubicBezTo>
                    <a:cubicBezTo>
                      <a:pt x="24" y="67"/>
                      <a:pt x="24" y="67"/>
                      <a:pt x="24" y="68"/>
                    </a:cubicBezTo>
                    <a:cubicBezTo>
                      <a:pt x="25" y="68"/>
                      <a:pt x="26" y="68"/>
                      <a:pt x="27" y="68"/>
                    </a:cubicBezTo>
                    <a:cubicBezTo>
                      <a:pt x="27" y="68"/>
                      <a:pt x="26" y="68"/>
                      <a:pt x="26" y="68"/>
                    </a:cubicBezTo>
                    <a:cubicBezTo>
                      <a:pt x="26" y="68"/>
                      <a:pt x="26" y="68"/>
                      <a:pt x="26" y="68"/>
                    </a:cubicBezTo>
                    <a:cubicBezTo>
                      <a:pt x="26" y="68"/>
                      <a:pt x="25" y="68"/>
                      <a:pt x="25" y="67"/>
                    </a:cubicBezTo>
                    <a:cubicBezTo>
                      <a:pt x="25" y="67"/>
                      <a:pt x="25" y="67"/>
                      <a:pt x="25" y="67"/>
                    </a:cubicBezTo>
                    <a:close/>
                    <a:moveTo>
                      <a:pt x="79" y="68"/>
                    </a:moveTo>
                    <a:cubicBezTo>
                      <a:pt x="79" y="68"/>
                      <a:pt x="79" y="67"/>
                      <a:pt x="78" y="67"/>
                    </a:cubicBezTo>
                    <a:cubicBezTo>
                      <a:pt x="78" y="67"/>
                      <a:pt x="78" y="68"/>
                      <a:pt x="78" y="68"/>
                    </a:cubicBezTo>
                    <a:cubicBezTo>
                      <a:pt x="78" y="68"/>
                      <a:pt x="78" y="67"/>
                      <a:pt x="78" y="67"/>
                    </a:cubicBezTo>
                    <a:cubicBezTo>
                      <a:pt x="78" y="67"/>
                      <a:pt x="78" y="68"/>
                      <a:pt x="77" y="68"/>
                    </a:cubicBezTo>
                    <a:cubicBezTo>
                      <a:pt x="78" y="68"/>
                      <a:pt x="79" y="68"/>
                      <a:pt x="79" y="68"/>
                    </a:cubicBezTo>
                    <a:cubicBezTo>
                      <a:pt x="79" y="68"/>
                      <a:pt x="79" y="68"/>
                      <a:pt x="79" y="68"/>
                    </a:cubicBezTo>
                    <a:close/>
                    <a:moveTo>
                      <a:pt x="70" y="68"/>
                    </a:moveTo>
                    <a:cubicBezTo>
                      <a:pt x="71" y="68"/>
                      <a:pt x="71" y="68"/>
                      <a:pt x="71" y="67"/>
                    </a:cubicBezTo>
                    <a:cubicBezTo>
                      <a:pt x="71" y="68"/>
                      <a:pt x="71" y="68"/>
                      <a:pt x="71" y="68"/>
                    </a:cubicBezTo>
                    <a:cubicBezTo>
                      <a:pt x="71" y="68"/>
                      <a:pt x="70" y="68"/>
                      <a:pt x="70" y="68"/>
                    </a:cubicBezTo>
                    <a:cubicBezTo>
                      <a:pt x="70" y="68"/>
                      <a:pt x="70" y="68"/>
                      <a:pt x="70" y="68"/>
                    </a:cubicBezTo>
                    <a:close/>
                    <a:moveTo>
                      <a:pt x="59" y="68"/>
                    </a:moveTo>
                    <a:cubicBezTo>
                      <a:pt x="59" y="68"/>
                      <a:pt x="59" y="68"/>
                      <a:pt x="59" y="68"/>
                    </a:cubicBezTo>
                    <a:cubicBezTo>
                      <a:pt x="58" y="68"/>
                      <a:pt x="58" y="68"/>
                      <a:pt x="58" y="68"/>
                    </a:cubicBezTo>
                    <a:cubicBezTo>
                      <a:pt x="58" y="68"/>
                      <a:pt x="58" y="68"/>
                      <a:pt x="59" y="68"/>
                    </a:cubicBezTo>
                    <a:cubicBezTo>
                      <a:pt x="59" y="68"/>
                      <a:pt x="59" y="68"/>
                      <a:pt x="59" y="68"/>
                    </a:cubicBezTo>
                    <a:close/>
                    <a:moveTo>
                      <a:pt x="60" y="68"/>
                    </a:moveTo>
                    <a:cubicBezTo>
                      <a:pt x="60" y="68"/>
                      <a:pt x="60" y="68"/>
                      <a:pt x="60" y="67"/>
                    </a:cubicBezTo>
                    <a:cubicBezTo>
                      <a:pt x="60" y="68"/>
                      <a:pt x="60" y="68"/>
                      <a:pt x="60" y="68"/>
                    </a:cubicBezTo>
                    <a:cubicBezTo>
                      <a:pt x="60" y="68"/>
                      <a:pt x="60" y="68"/>
                      <a:pt x="60" y="68"/>
                    </a:cubicBezTo>
                    <a:cubicBezTo>
                      <a:pt x="60" y="68"/>
                      <a:pt x="60" y="68"/>
                      <a:pt x="60" y="68"/>
                    </a:cubicBezTo>
                    <a:cubicBezTo>
                      <a:pt x="60" y="68"/>
                      <a:pt x="60" y="68"/>
                      <a:pt x="60" y="68"/>
                    </a:cubicBezTo>
                    <a:close/>
                    <a:moveTo>
                      <a:pt x="20" y="68"/>
                    </a:moveTo>
                    <a:cubicBezTo>
                      <a:pt x="19" y="68"/>
                      <a:pt x="19" y="68"/>
                      <a:pt x="19" y="68"/>
                    </a:cubicBezTo>
                    <a:cubicBezTo>
                      <a:pt x="18" y="68"/>
                      <a:pt x="17" y="68"/>
                      <a:pt x="17" y="69"/>
                    </a:cubicBezTo>
                    <a:cubicBezTo>
                      <a:pt x="18" y="68"/>
                      <a:pt x="19" y="68"/>
                      <a:pt x="21" y="68"/>
                    </a:cubicBezTo>
                    <a:cubicBezTo>
                      <a:pt x="20" y="68"/>
                      <a:pt x="20" y="68"/>
                      <a:pt x="20" y="68"/>
                    </a:cubicBezTo>
                    <a:cubicBezTo>
                      <a:pt x="20" y="68"/>
                      <a:pt x="20" y="68"/>
                      <a:pt x="20" y="68"/>
                    </a:cubicBezTo>
                    <a:close/>
                    <a:moveTo>
                      <a:pt x="69" y="68"/>
                    </a:moveTo>
                    <a:cubicBezTo>
                      <a:pt x="70" y="68"/>
                      <a:pt x="70" y="68"/>
                      <a:pt x="71" y="68"/>
                    </a:cubicBezTo>
                    <a:cubicBezTo>
                      <a:pt x="70" y="68"/>
                      <a:pt x="70" y="68"/>
                      <a:pt x="69" y="68"/>
                    </a:cubicBezTo>
                    <a:cubicBezTo>
                      <a:pt x="69" y="68"/>
                      <a:pt x="69" y="68"/>
                      <a:pt x="69" y="68"/>
                    </a:cubicBezTo>
                    <a:close/>
                    <a:moveTo>
                      <a:pt x="69" y="68"/>
                    </a:moveTo>
                    <a:cubicBezTo>
                      <a:pt x="68" y="68"/>
                      <a:pt x="68" y="69"/>
                      <a:pt x="68" y="69"/>
                    </a:cubicBezTo>
                    <a:cubicBezTo>
                      <a:pt x="68" y="69"/>
                      <a:pt x="69" y="69"/>
                      <a:pt x="70" y="69"/>
                    </a:cubicBezTo>
                    <a:cubicBezTo>
                      <a:pt x="69" y="68"/>
                      <a:pt x="69" y="68"/>
                      <a:pt x="69" y="68"/>
                    </a:cubicBezTo>
                    <a:cubicBezTo>
                      <a:pt x="69" y="68"/>
                      <a:pt x="69" y="68"/>
                      <a:pt x="69" y="68"/>
                    </a:cubicBezTo>
                    <a:close/>
                    <a:moveTo>
                      <a:pt x="46" y="68"/>
                    </a:moveTo>
                    <a:cubicBezTo>
                      <a:pt x="46" y="68"/>
                      <a:pt x="46" y="68"/>
                      <a:pt x="46" y="68"/>
                    </a:cubicBezTo>
                    <a:cubicBezTo>
                      <a:pt x="46" y="68"/>
                      <a:pt x="46" y="68"/>
                      <a:pt x="46" y="68"/>
                    </a:cubicBezTo>
                    <a:cubicBezTo>
                      <a:pt x="46" y="68"/>
                      <a:pt x="46" y="68"/>
                      <a:pt x="46" y="68"/>
                    </a:cubicBezTo>
                    <a:cubicBezTo>
                      <a:pt x="46" y="68"/>
                      <a:pt x="46" y="68"/>
                      <a:pt x="46" y="68"/>
                    </a:cubicBezTo>
                    <a:close/>
                    <a:moveTo>
                      <a:pt x="47" y="68"/>
                    </a:moveTo>
                    <a:cubicBezTo>
                      <a:pt x="47" y="68"/>
                      <a:pt x="47" y="68"/>
                      <a:pt x="48" y="68"/>
                    </a:cubicBezTo>
                    <a:cubicBezTo>
                      <a:pt x="48" y="68"/>
                      <a:pt x="48" y="69"/>
                      <a:pt x="48" y="69"/>
                    </a:cubicBezTo>
                    <a:cubicBezTo>
                      <a:pt x="47" y="69"/>
                      <a:pt x="47" y="68"/>
                      <a:pt x="47" y="68"/>
                    </a:cubicBezTo>
                    <a:cubicBezTo>
                      <a:pt x="47" y="68"/>
                      <a:pt x="47" y="68"/>
                      <a:pt x="47" y="68"/>
                    </a:cubicBezTo>
                    <a:close/>
                    <a:moveTo>
                      <a:pt x="60" y="68"/>
                    </a:moveTo>
                    <a:cubicBezTo>
                      <a:pt x="60" y="68"/>
                      <a:pt x="60" y="68"/>
                      <a:pt x="60" y="68"/>
                    </a:cubicBezTo>
                    <a:cubicBezTo>
                      <a:pt x="60" y="68"/>
                      <a:pt x="59" y="68"/>
                      <a:pt x="59" y="68"/>
                    </a:cubicBezTo>
                    <a:cubicBezTo>
                      <a:pt x="59" y="68"/>
                      <a:pt x="59" y="68"/>
                      <a:pt x="59" y="68"/>
                    </a:cubicBezTo>
                    <a:cubicBezTo>
                      <a:pt x="59" y="68"/>
                      <a:pt x="59" y="68"/>
                      <a:pt x="59" y="68"/>
                    </a:cubicBezTo>
                    <a:cubicBezTo>
                      <a:pt x="59" y="68"/>
                      <a:pt x="59" y="68"/>
                      <a:pt x="60" y="68"/>
                    </a:cubicBezTo>
                    <a:cubicBezTo>
                      <a:pt x="60" y="68"/>
                      <a:pt x="60" y="68"/>
                      <a:pt x="60" y="68"/>
                    </a:cubicBezTo>
                    <a:cubicBezTo>
                      <a:pt x="60" y="68"/>
                      <a:pt x="60" y="68"/>
                      <a:pt x="60" y="68"/>
                    </a:cubicBezTo>
                    <a:close/>
                    <a:moveTo>
                      <a:pt x="46" y="68"/>
                    </a:moveTo>
                    <a:cubicBezTo>
                      <a:pt x="46" y="68"/>
                      <a:pt x="46" y="68"/>
                      <a:pt x="47" y="68"/>
                    </a:cubicBezTo>
                    <a:cubicBezTo>
                      <a:pt x="47" y="69"/>
                      <a:pt x="47" y="69"/>
                      <a:pt x="48" y="69"/>
                    </a:cubicBezTo>
                    <a:cubicBezTo>
                      <a:pt x="47" y="69"/>
                      <a:pt x="47" y="69"/>
                      <a:pt x="46" y="68"/>
                    </a:cubicBezTo>
                    <a:cubicBezTo>
                      <a:pt x="46" y="68"/>
                      <a:pt x="46" y="68"/>
                      <a:pt x="46" y="68"/>
                    </a:cubicBezTo>
                    <a:close/>
                    <a:moveTo>
                      <a:pt x="24" y="69"/>
                    </a:moveTo>
                    <a:cubicBezTo>
                      <a:pt x="24" y="69"/>
                      <a:pt x="24" y="69"/>
                      <a:pt x="24" y="69"/>
                    </a:cubicBezTo>
                    <a:cubicBezTo>
                      <a:pt x="24" y="69"/>
                      <a:pt x="24" y="69"/>
                      <a:pt x="23" y="69"/>
                    </a:cubicBezTo>
                    <a:cubicBezTo>
                      <a:pt x="24" y="69"/>
                      <a:pt x="24" y="69"/>
                      <a:pt x="24" y="69"/>
                    </a:cubicBezTo>
                    <a:cubicBezTo>
                      <a:pt x="24" y="69"/>
                      <a:pt x="24" y="69"/>
                      <a:pt x="24" y="69"/>
                    </a:cubicBezTo>
                    <a:close/>
                    <a:moveTo>
                      <a:pt x="82" y="69"/>
                    </a:moveTo>
                    <a:cubicBezTo>
                      <a:pt x="82" y="69"/>
                      <a:pt x="82" y="69"/>
                      <a:pt x="82" y="69"/>
                    </a:cubicBezTo>
                    <a:cubicBezTo>
                      <a:pt x="82" y="69"/>
                      <a:pt x="83" y="70"/>
                      <a:pt x="83" y="70"/>
                    </a:cubicBezTo>
                    <a:cubicBezTo>
                      <a:pt x="83" y="70"/>
                      <a:pt x="83" y="70"/>
                      <a:pt x="82" y="70"/>
                    </a:cubicBezTo>
                    <a:cubicBezTo>
                      <a:pt x="82" y="70"/>
                      <a:pt x="82" y="70"/>
                      <a:pt x="82" y="70"/>
                    </a:cubicBezTo>
                    <a:cubicBezTo>
                      <a:pt x="82" y="69"/>
                      <a:pt x="81" y="69"/>
                      <a:pt x="80" y="69"/>
                    </a:cubicBezTo>
                    <a:cubicBezTo>
                      <a:pt x="80" y="69"/>
                      <a:pt x="82" y="69"/>
                      <a:pt x="82" y="69"/>
                    </a:cubicBezTo>
                    <a:cubicBezTo>
                      <a:pt x="82" y="69"/>
                      <a:pt x="82" y="69"/>
                      <a:pt x="82" y="69"/>
                    </a:cubicBezTo>
                    <a:cubicBezTo>
                      <a:pt x="82" y="69"/>
                      <a:pt x="82" y="69"/>
                      <a:pt x="82" y="69"/>
                    </a:cubicBezTo>
                    <a:close/>
                    <a:moveTo>
                      <a:pt x="29" y="69"/>
                    </a:moveTo>
                    <a:cubicBezTo>
                      <a:pt x="29" y="69"/>
                      <a:pt x="28" y="69"/>
                      <a:pt x="28" y="69"/>
                    </a:cubicBezTo>
                    <a:cubicBezTo>
                      <a:pt x="27" y="69"/>
                      <a:pt x="27" y="69"/>
                      <a:pt x="27" y="69"/>
                    </a:cubicBezTo>
                    <a:cubicBezTo>
                      <a:pt x="27" y="69"/>
                      <a:pt x="28" y="69"/>
                      <a:pt x="28" y="69"/>
                    </a:cubicBezTo>
                    <a:cubicBezTo>
                      <a:pt x="28" y="69"/>
                      <a:pt x="28" y="69"/>
                      <a:pt x="28" y="69"/>
                    </a:cubicBezTo>
                    <a:cubicBezTo>
                      <a:pt x="28" y="69"/>
                      <a:pt x="28" y="69"/>
                      <a:pt x="28" y="69"/>
                    </a:cubicBezTo>
                    <a:cubicBezTo>
                      <a:pt x="28" y="69"/>
                      <a:pt x="28" y="69"/>
                      <a:pt x="29" y="69"/>
                    </a:cubicBezTo>
                    <a:cubicBezTo>
                      <a:pt x="28" y="70"/>
                      <a:pt x="28" y="70"/>
                      <a:pt x="27" y="70"/>
                    </a:cubicBezTo>
                    <a:cubicBezTo>
                      <a:pt x="28" y="70"/>
                      <a:pt x="29" y="70"/>
                      <a:pt x="29" y="69"/>
                    </a:cubicBezTo>
                    <a:cubicBezTo>
                      <a:pt x="29" y="69"/>
                      <a:pt x="29" y="69"/>
                      <a:pt x="29" y="69"/>
                    </a:cubicBezTo>
                    <a:close/>
                    <a:moveTo>
                      <a:pt x="30" y="69"/>
                    </a:moveTo>
                    <a:cubicBezTo>
                      <a:pt x="30" y="69"/>
                      <a:pt x="30" y="69"/>
                      <a:pt x="29" y="69"/>
                    </a:cubicBezTo>
                    <a:cubicBezTo>
                      <a:pt x="29" y="69"/>
                      <a:pt x="29" y="70"/>
                      <a:pt x="29" y="70"/>
                    </a:cubicBezTo>
                    <a:cubicBezTo>
                      <a:pt x="29" y="70"/>
                      <a:pt x="30" y="70"/>
                      <a:pt x="30" y="69"/>
                    </a:cubicBezTo>
                    <a:cubicBezTo>
                      <a:pt x="30" y="69"/>
                      <a:pt x="30" y="69"/>
                      <a:pt x="30" y="69"/>
                    </a:cubicBezTo>
                    <a:close/>
                    <a:moveTo>
                      <a:pt x="38" y="69"/>
                    </a:moveTo>
                    <a:cubicBezTo>
                      <a:pt x="38" y="69"/>
                      <a:pt x="38" y="69"/>
                      <a:pt x="37" y="69"/>
                    </a:cubicBezTo>
                    <a:cubicBezTo>
                      <a:pt x="38" y="69"/>
                      <a:pt x="39" y="69"/>
                      <a:pt x="40" y="70"/>
                    </a:cubicBezTo>
                    <a:cubicBezTo>
                      <a:pt x="39" y="70"/>
                      <a:pt x="38" y="69"/>
                      <a:pt x="38" y="69"/>
                    </a:cubicBezTo>
                    <a:cubicBezTo>
                      <a:pt x="38" y="69"/>
                      <a:pt x="38" y="69"/>
                      <a:pt x="38" y="69"/>
                    </a:cubicBezTo>
                    <a:close/>
                    <a:moveTo>
                      <a:pt x="34" y="70"/>
                    </a:moveTo>
                    <a:cubicBezTo>
                      <a:pt x="34" y="70"/>
                      <a:pt x="34" y="70"/>
                      <a:pt x="34" y="70"/>
                    </a:cubicBezTo>
                    <a:cubicBezTo>
                      <a:pt x="34" y="70"/>
                      <a:pt x="34" y="70"/>
                      <a:pt x="34" y="70"/>
                    </a:cubicBezTo>
                    <a:cubicBezTo>
                      <a:pt x="34" y="70"/>
                      <a:pt x="34" y="70"/>
                      <a:pt x="34" y="70"/>
                    </a:cubicBezTo>
                    <a:close/>
                    <a:moveTo>
                      <a:pt x="29" y="70"/>
                    </a:moveTo>
                    <a:cubicBezTo>
                      <a:pt x="29" y="70"/>
                      <a:pt x="29" y="70"/>
                      <a:pt x="29" y="70"/>
                    </a:cubicBezTo>
                    <a:cubicBezTo>
                      <a:pt x="28" y="70"/>
                      <a:pt x="28" y="70"/>
                      <a:pt x="28" y="70"/>
                    </a:cubicBezTo>
                    <a:cubicBezTo>
                      <a:pt x="28" y="70"/>
                      <a:pt x="28" y="70"/>
                      <a:pt x="29" y="70"/>
                    </a:cubicBezTo>
                    <a:cubicBezTo>
                      <a:pt x="29" y="70"/>
                      <a:pt x="29" y="70"/>
                      <a:pt x="29" y="70"/>
                    </a:cubicBezTo>
                    <a:close/>
                    <a:moveTo>
                      <a:pt x="73" y="70"/>
                    </a:moveTo>
                    <a:cubicBezTo>
                      <a:pt x="73" y="70"/>
                      <a:pt x="73" y="70"/>
                      <a:pt x="73" y="70"/>
                    </a:cubicBezTo>
                    <a:cubicBezTo>
                      <a:pt x="73" y="70"/>
                      <a:pt x="73" y="70"/>
                      <a:pt x="73" y="70"/>
                    </a:cubicBezTo>
                    <a:cubicBezTo>
                      <a:pt x="73" y="70"/>
                      <a:pt x="73" y="70"/>
                      <a:pt x="73" y="70"/>
                    </a:cubicBezTo>
                    <a:close/>
                    <a:moveTo>
                      <a:pt x="70" y="71"/>
                    </a:moveTo>
                    <a:cubicBezTo>
                      <a:pt x="72" y="71"/>
                      <a:pt x="73" y="70"/>
                      <a:pt x="74" y="72"/>
                    </a:cubicBezTo>
                    <a:cubicBezTo>
                      <a:pt x="73" y="71"/>
                      <a:pt x="73" y="71"/>
                      <a:pt x="72" y="71"/>
                    </a:cubicBezTo>
                    <a:cubicBezTo>
                      <a:pt x="72" y="71"/>
                      <a:pt x="72" y="71"/>
                      <a:pt x="72" y="71"/>
                    </a:cubicBezTo>
                    <a:cubicBezTo>
                      <a:pt x="72" y="71"/>
                      <a:pt x="71" y="71"/>
                      <a:pt x="70" y="71"/>
                    </a:cubicBezTo>
                    <a:cubicBezTo>
                      <a:pt x="70" y="71"/>
                      <a:pt x="70" y="71"/>
                      <a:pt x="70" y="71"/>
                    </a:cubicBezTo>
                    <a:close/>
                    <a:moveTo>
                      <a:pt x="43" y="71"/>
                    </a:moveTo>
                    <a:cubicBezTo>
                      <a:pt x="43" y="71"/>
                      <a:pt x="43" y="71"/>
                      <a:pt x="43" y="71"/>
                    </a:cubicBezTo>
                    <a:cubicBezTo>
                      <a:pt x="43" y="71"/>
                      <a:pt x="43" y="71"/>
                      <a:pt x="42" y="71"/>
                    </a:cubicBezTo>
                    <a:cubicBezTo>
                      <a:pt x="43" y="71"/>
                      <a:pt x="43" y="71"/>
                      <a:pt x="43" y="71"/>
                    </a:cubicBezTo>
                    <a:cubicBezTo>
                      <a:pt x="43" y="71"/>
                      <a:pt x="43" y="71"/>
                      <a:pt x="43" y="71"/>
                    </a:cubicBezTo>
                    <a:close/>
                    <a:moveTo>
                      <a:pt x="44" y="71"/>
                    </a:moveTo>
                    <a:cubicBezTo>
                      <a:pt x="44" y="71"/>
                      <a:pt x="44" y="71"/>
                      <a:pt x="44" y="71"/>
                    </a:cubicBezTo>
                    <a:cubicBezTo>
                      <a:pt x="44" y="71"/>
                      <a:pt x="43" y="71"/>
                      <a:pt x="43" y="72"/>
                    </a:cubicBezTo>
                    <a:cubicBezTo>
                      <a:pt x="43" y="71"/>
                      <a:pt x="44" y="71"/>
                      <a:pt x="44" y="71"/>
                    </a:cubicBezTo>
                    <a:cubicBezTo>
                      <a:pt x="44" y="71"/>
                      <a:pt x="44" y="71"/>
                      <a:pt x="44" y="71"/>
                    </a:cubicBezTo>
                    <a:cubicBezTo>
                      <a:pt x="44" y="71"/>
                      <a:pt x="44" y="71"/>
                      <a:pt x="44" y="71"/>
                    </a:cubicBezTo>
                    <a:cubicBezTo>
                      <a:pt x="44" y="71"/>
                      <a:pt x="44" y="71"/>
                      <a:pt x="44" y="71"/>
                    </a:cubicBezTo>
                    <a:close/>
                    <a:moveTo>
                      <a:pt x="29" y="71"/>
                    </a:moveTo>
                    <a:cubicBezTo>
                      <a:pt x="29" y="71"/>
                      <a:pt x="30" y="71"/>
                      <a:pt x="30" y="71"/>
                    </a:cubicBezTo>
                    <a:cubicBezTo>
                      <a:pt x="29" y="71"/>
                      <a:pt x="29" y="72"/>
                      <a:pt x="29" y="72"/>
                    </a:cubicBezTo>
                    <a:cubicBezTo>
                      <a:pt x="29" y="71"/>
                      <a:pt x="29" y="71"/>
                      <a:pt x="29" y="71"/>
                    </a:cubicBezTo>
                    <a:cubicBezTo>
                      <a:pt x="29" y="71"/>
                      <a:pt x="29" y="71"/>
                      <a:pt x="29" y="71"/>
                    </a:cubicBezTo>
                    <a:close/>
                    <a:moveTo>
                      <a:pt x="63" y="72"/>
                    </a:moveTo>
                    <a:cubicBezTo>
                      <a:pt x="64" y="72"/>
                      <a:pt x="64" y="73"/>
                      <a:pt x="65" y="73"/>
                    </a:cubicBezTo>
                    <a:cubicBezTo>
                      <a:pt x="64" y="73"/>
                      <a:pt x="63" y="72"/>
                      <a:pt x="63" y="72"/>
                    </a:cubicBezTo>
                    <a:cubicBezTo>
                      <a:pt x="63" y="72"/>
                      <a:pt x="63" y="72"/>
                      <a:pt x="63" y="72"/>
                    </a:cubicBezTo>
                    <a:close/>
                    <a:moveTo>
                      <a:pt x="70" y="72"/>
                    </a:moveTo>
                    <a:cubicBezTo>
                      <a:pt x="70" y="72"/>
                      <a:pt x="70" y="72"/>
                      <a:pt x="70" y="72"/>
                    </a:cubicBezTo>
                    <a:cubicBezTo>
                      <a:pt x="71" y="72"/>
                      <a:pt x="71" y="73"/>
                      <a:pt x="71" y="73"/>
                    </a:cubicBezTo>
                    <a:cubicBezTo>
                      <a:pt x="71" y="73"/>
                      <a:pt x="70" y="73"/>
                      <a:pt x="70" y="72"/>
                    </a:cubicBezTo>
                    <a:cubicBezTo>
                      <a:pt x="70" y="72"/>
                      <a:pt x="70" y="72"/>
                      <a:pt x="70" y="72"/>
                    </a:cubicBezTo>
                    <a:cubicBezTo>
                      <a:pt x="70" y="72"/>
                      <a:pt x="70" y="72"/>
                      <a:pt x="70" y="72"/>
                    </a:cubicBezTo>
                    <a:cubicBezTo>
                      <a:pt x="70" y="72"/>
                      <a:pt x="70" y="72"/>
                      <a:pt x="70" y="72"/>
                    </a:cubicBezTo>
                    <a:close/>
                    <a:moveTo>
                      <a:pt x="63" y="72"/>
                    </a:moveTo>
                    <a:cubicBezTo>
                      <a:pt x="63" y="72"/>
                      <a:pt x="63" y="72"/>
                      <a:pt x="63" y="72"/>
                    </a:cubicBezTo>
                    <a:cubicBezTo>
                      <a:pt x="63" y="72"/>
                      <a:pt x="63" y="72"/>
                      <a:pt x="63" y="72"/>
                    </a:cubicBezTo>
                    <a:cubicBezTo>
                      <a:pt x="63" y="72"/>
                      <a:pt x="63" y="72"/>
                      <a:pt x="63" y="72"/>
                    </a:cubicBezTo>
                    <a:cubicBezTo>
                      <a:pt x="63" y="72"/>
                      <a:pt x="63" y="72"/>
                      <a:pt x="63" y="72"/>
                    </a:cubicBezTo>
                    <a:close/>
                    <a:moveTo>
                      <a:pt x="28" y="72"/>
                    </a:moveTo>
                    <a:cubicBezTo>
                      <a:pt x="28" y="72"/>
                      <a:pt x="28" y="72"/>
                      <a:pt x="28" y="72"/>
                    </a:cubicBezTo>
                    <a:cubicBezTo>
                      <a:pt x="28" y="72"/>
                      <a:pt x="28" y="72"/>
                      <a:pt x="28" y="72"/>
                    </a:cubicBezTo>
                    <a:cubicBezTo>
                      <a:pt x="28" y="72"/>
                      <a:pt x="28" y="72"/>
                      <a:pt x="28" y="72"/>
                    </a:cubicBezTo>
                    <a:cubicBezTo>
                      <a:pt x="28" y="72"/>
                      <a:pt x="28" y="72"/>
                      <a:pt x="28" y="72"/>
                    </a:cubicBezTo>
                    <a:close/>
                    <a:moveTo>
                      <a:pt x="59" y="73"/>
                    </a:moveTo>
                    <a:cubicBezTo>
                      <a:pt x="59" y="72"/>
                      <a:pt x="58" y="72"/>
                      <a:pt x="58" y="72"/>
                    </a:cubicBezTo>
                    <a:cubicBezTo>
                      <a:pt x="58" y="72"/>
                      <a:pt x="59" y="72"/>
                      <a:pt x="59" y="73"/>
                    </a:cubicBezTo>
                    <a:cubicBezTo>
                      <a:pt x="59" y="73"/>
                      <a:pt x="59" y="73"/>
                      <a:pt x="59" y="73"/>
                    </a:cubicBezTo>
                    <a:cubicBezTo>
                      <a:pt x="59" y="73"/>
                      <a:pt x="59" y="73"/>
                      <a:pt x="59" y="73"/>
                    </a:cubicBezTo>
                    <a:close/>
                    <a:moveTo>
                      <a:pt x="59" y="73"/>
                    </a:moveTo>
                    <a:cubicBezTo>
                      <a:pt x="59" y="73"/>
                      <a:pt x="59" y="73"/>
                      <a:pt x="59" y="73"/>
                    </a:cubicBezTo>
                    <a:cubicBezTo>
                      <a:pt x="59" y="73"/>
                      <a:pt x="59" y="73"/>
                      <a:pt x="59" y="73"/>
                    </a:cubicBezTo>
                    <a:cubicBezTo>
                      <a:pt x="59" y="73"/>
                      <a:pt x="59" y="73"/>
                      <a:pt x="59" y="73"/>
                    </a:cubicBezTo>
                    <a:cubicBezTo>
                      <a:pt x="59" y="73"/>
                      <a:pt x="59" y="73"/>
                      <a:pt x="59" y="73"/>
                    </a:cubicBezTo>
                    <a:close/>
                    <a:moveTo>
                      <a:pt x="71" y="73"/>
                    </a:moveTo>
                    <a:cubicBezTo>
                      <a:pt x="71" y="73"/>
                      <a:pt x="71" y="73"/>
                      <a:pt x="71" y="73"/>
                    </a:cubicBezTo>
                    <a:cubicBezTo>
                      <a:pt x="71" y="73"/>
                      <a:pt x="71" y="73"/>
                      <a:pt x="71" y="73"/>
                    </a:cubicBezTo>
                    <a:cubicBezTo>
                      <a:pt x="71" y="73"/>
                      <a:pt x="71" y="73"/>
                      <a:pt x="71" y="73"/>
                    </a:cubicBezTo>
                    <a:cubicBezTo>
                      <a:pt x="71" y="73"/>
                      <a:pt x="71" y="73"/>
                      <a:pt x="71" y="73"/>
                    </a:cubicBezTo>
                    <a:close/>
                    <a:moveTo>
                      <a:pt x="61" y="73"/>
                    </a:moveTo>
                    <a:cubicBezTo>
                      <a:pt x="61" y="73"/>
                      <a:pt x="61" y="73"/>
                      <a:pt x="61" y="73"/>
                    </a:cubicBezTo>
                    <a:cubicBezTo>
                      <a:pt x="61" y="73"/>
                      <a:pt x="61" y="73"/>
                      <a:pt x="61" y="74"/>
                    </a:cubicBezTo>
                    <a:cubicBezTo>
                      <a:pt x="61" y="74"/>
                      <a:pt x="61" y="73"/>
                      <a:pt x="61" y="73"/>
                    </a:cubicBezTo>
                    <a:cubicBezTo>
                      <a:pt x="61" y="73"/>
                      <a:pt x="61" y="73"/>
                      <a:pt x="61" y="7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80">
                <a:extLst>
                  <a:ext uri="{FF2B5EF4-FFF2-40B4-BE49-F238E27FC236}">
                    <a16:creationId xmlns:a16="http://schemas.microsoft.com/office/drawing/2014/main" id="{550DE170-D336-4415-852D-79FCE3E312F7}"/>
                  </a:ext>
                </a:extLst>
              </p:cNvPr>
              <p:cNvSpPr>
                <a:spLocks noEditPoints="1"/>
              </p:cNvSpPr>
              <p:nvPr/>
            </p:nvSpPr>
            <p:spPr bwMode="auto">
              <a:xfrm>
                <a:off x="4716690" y="2174393"/>
                <a:ext cx="57518" cy="67194"/>
              </a:xfrm>
              <a:custGeom>
                <a:avLst/>
                <a:gdLst/>
                <a:ahLst/>
                <a:cxnLst>
                  <a:cxn ang="0">
                    <a:pos x="14" y="50"/>
                  </a:cxn>
                  <a:cxn ang="0">
                    <a:pos x="8" y="49"/>
                  </a:cxn>
                  <a:cxn ang="0">
                    <a:pos x="7" y="45"/>
                  </a:cxn>
                  <a:cxn ang="0">
                    <a:pos x="3" y="41"/>
                  </a:cxn>
                  <a:cxn ang="0">
                    <a:pos x="5" y="39"/>
                  </a:cxn>
                  <a:cxn ang="0">
                    <a:pos x="8" y="39"/>
                  </a:cxn>
                  <a:cxn ang="0">
                    <a:pos x="2" y="35"/>
                  </a:cxn>
                  <a:cxn ang="0">
                    <a:pos x="6" y="34"/>
                  </a:cxn>
                  <a:cxn ang="0">
                    <a:pos x="13" y="36"/>
                  </a:cxn>
                  <a:cxn ang="0">
                    <a:pos x="9" y="33"/>
                  </a:cxn>
                  <a:cxn ang="0">
                    <a:pos x="3" y="31"/>
                  </a:cxn>
                  <a:cxn ang="0">
                    <a:pos x="2" y="28"/>
                  </a:cxn>
                  <a:cxn ang="0">
                    <a:pos x="8" y="27"/>
                  </a:cxn>
                  <a:cxn ang="0">
                    <a:pos x="4" y="22"/>
                  </a:cxn>
                  <a:cxn ang="0">
                    <a:pos x="9" y="19"/>
                  </a:cxn>
                  <a:cxn ang="0">
                    <a:pos x="10" y="17"/>
                  </a:cxn>
                  <a:cxn ang="0">
                    <a:pos x="13" y="17"/>
                  </a:cxn>
                  <a:cxn ang="0">
                    <a:pos x="10" y="13"/>
                  </a:cxn>
                  <a:cxn ang="0">
                    <a:pos x="14" y="10"/>
                  </a:cxn>
                  <a:cxn ang="0">
                    <a:pos x="18" y="9"/>
                  </a:cxn>
                  <a:cxn ang="0">
                    <a:pos x="18" y="4"/>
                  </a:cxn>
                  <a:cxn ang="0">
                    <a:pos x="24" y="1"/>
                  </a:cxn>
                  <a:cxn ang="0">
                    <a:pos x="24" y="6"/>
                  </a:cxn>
                  <a:cxn ang="0">
                    <a:pos x="29" y="6"/>
                  </a:cxn>
                  <a:cxn ang="0">
                    <a:pos x="27" y="10"/>
                  </a:cxn>
                  <a:cxn ang="0">
                    <a:pos x="33" y="10"/>
                  </a:cxn>
                  <a:cxn ang="0">
                    <a:pos x="35" y="14"/>
                  </a:cxn>
                  <a:cxn ang="0">
                    <a:pos x="33" y="17"/>
                  </a:cxn>
                  <a:cxn ang="0">
                    <a:pos x="38" y="19"/>
                  </a:cxn>
                  <a:cxn ang="0">
                    <a:pos x="39" y="24"/>
                  </a:cxn>
                  <a:cxn ang="0">
                    <a:pos x="41" y="27"/>
                  </a:cxn>
                  <a:cxn ang="0">
                    <a:pos x="43" y="33"/>
                  </a:cxn>
                  <a:cxn ang="0">
                    <a:pos x="42" y="39"/>
                  </a:cxn>
                  <a:cxn ang="0">
                    <a:pos x="40" y="44"/>
                  </a:cxn>
                  <a:cxn ang="0">
                    <a:pos x="39" y="48"/>
                  </a:cxn>
                  <a:cxn ang="0">
                    <a:pos x="32" y="51"/>
                  </a:cxn>
                  <a:cxn ang="0">
                    <a:pos x="26" y="51"/>
                  </a:cxn>
                  <a:cxn ang="0">
                    <a:pos x="32" y="10"/>
                  </a:cxn>
                  <a:cxn ang="0">
                    <a:pos x="14" y="11"/>
                  </a:cxn>
                  <a:cxn ang="0">
                    <a:pos x="32" y="13"/>
                  </a:cxn>
                  <a:cxn ang="0">
                    <a:pos x="12" y="13"/>
                  </a:cxn>
                  <a:cxn ang="0">
                    <a:pos x="27" y="18"/>
                  </a:cxn>
                  <a:cxn ang="0">
                    <a:pos x="28" y="17"/>
                  </a:cxn>
                  <a:cxn ang="0">
                    <a:pos x="34" y="19"/>
                  </a:cxn>
                  <a:cxn ang="0">
                    <a:pos x="37" y="20"/>
                  </a:cxn>
                  <a:cxn ang="0">
                    <a:pos x="37" y="21"/>
                  </a:cxn>
                  <a:cxn ang="0">
                    <a:pos x="36" y="28"/>
                  </a:cxn>
                  <a:cxn ang="0">
                    <a:pos x="28" y="30"/>
                  </a:cxn>
                  <a:cxn ang="0">
                    <a:pos x="24" y="29"/>
                  </a:cxn>
                  <a:cxn ang="0">
                    <a:pos x="31" y="28"/>
                  </a:cxn>
                  <a:cxn ang="0">
                    <a:pos x="37" y="27"/>
                  </a:cxn>
                  <a:cxn ang="0">
                    <a:pos x="9" y="30"/>
                  </a:cxn>
                  <a:cxn ang="0">
                    <a:pos x="11" y="30"/>
                  </a:cxn>
                  <a:cxn ang="0">
                    <a:pos x="12" y="31"/>
                  </a:cxn>
                  <a:cxn ang="0">
                    <a:pos x="5" y="31"/>
                  </a:cxn>
                  <a:cxn ang="0">
                    <a:pos x="14" y="36"/>
                  </a:cxn>
                  <a:cxn ang="0">
                    <a:pos x="14" y="37"/>
                  </a:cxn>
                  <a:cxn ang="0">
                    <a:pos x="9" y="40"/>
                  </a:cxn>
                  <a:cxn ang="0">
                    <a:pos x="6" y="41"/>
                  </a:cxn>
                  <a:cxn ang="0">
                    <a:pos x="4" y="42"/>
                  </a:cxn>
                  <a:cxn ang="0">
                    <a:pos x="7" y="43"/>
                  </a:cxn>
                  <a:cxn ang="0">
                    <a:pos x="9" y="46"/>
                  </a:cxn>
                  <a:cxn ang="0">
                    <a:pos x="8" y="46"/>
                  </a:cxn>
                </a:cxnLst>
                <a:rect l="0" t="0" r="r" b="b"/>
                <a:pathLst>
                  <a:path w="45" h="53">
                    <a:moveTo>
                      <a:pt x="25" y="53"/>
                    </a:moveTo>
                    <a:cubicBezTo>
                      <a:pt x="23" y="53"/>
                      <a:pt x="22" y="53"/>
                      <a:pt x="21" y="53"/>
                    </a:cubicBezTo>
                    <a:cubicBezTo>
                      <a:pt x="21" y="52"/>
                      <a:pt x="21" y="52"/>
                      <a:pt x="21" y="51"/>
                    </a:cubicBezTo>
                    <a:cubicBezTo>
                      <a:pt x="20" y="51"/>
                      <a:pt x="20" y="51"/>
                      <a:pt x="19" y="52"/>
                    </a:cubicBezTo>
                    <a:cubicBezTo>
                      <a:pt x="19" y="52"/>
                      <a:pt x="19" y="52"/>
                      <a:pt x="19" y="51"/>
                    </a:cubicBezTo>
                    <a:cubicBezTo>
                      <a:pt x="19" y="51"/>
                      <a:pt x="19" y="51"/>
                      <a:pt x="19" y="51"/>
                    </a:cubicBezTo>
                    <a:cubicBezTo>
                      <a:pt x="19" y="51"/>
                      <a:pt x="20" y="51"/>
                      <a:pt x="20" y="51"/>
                    </a:cubicBezTo>
                    <a:cubicBezTo>
                      <a:pt x="20" y="51"/>
                      <a:pt x="20" y="51"/>
                      <a:pt x="20" y="51"/>
                    </a:cubicBezTo>
                    <a:cubicBezTo>
                      <a:pt x="20" y="51"/>
                      <a:pt x="20" y="51"/>
                      <a:pt x="20" y="51"/>
                    </a:cubicBezTo>
                    <a:cubicBezTo>
                      <a:pt x="19" y="51"/>
                      <a:pt x="19" y="51"/>
                      <a:pt x="19" y="51"/>
                    </a:cubicBezTo>
                    <a:cubicBezTo>
                      <a:pt x="19" y="51"/>
                      <a:pt x="19" y="51"/>
                      <a:pt x="19" y="51"/>
                    </a:cubicBezTo>
                    <a:cubicBezTo>
                      <a:pt x="19" y="51"/>
                      <a:pt x="19" y="51"/>
                      <a:pt x="19" y="51"/>
                    </a:cubicBezTo>
                    <a:cubicBezTo>
                      <a:pt x="19" y="51"/>
                      <a:pt x="19" y="51"/>
                      <a:pt x="19" y="51"/>
                    </a:cubicBezTo>
                    <a:cubicBezTo>
                      <a:pt x="19" y="51"/>
                      <a:pt x="19" y="51"/>
                      <a:pt x="18" y="51"/>
                    </a:cubicBezTo>
                    <a:cubicBezTo>
                      <a:pt x="18" y="51"/>
                      <a:pt x="18" y="51"/>
                      <a:pt x="18" y="51"/>
                    </a:cubicBezTo>
                    <a:cubicBezTo>
                      <a:pt x="18" y="51"/>
                      <a:pt x="18" y="51"/>
                      <a:pt x="18" y="51"/>
                    </a:cubicBezTo>
                    <a:cubicBezTo>
                      <a:pt x="18" y="51"/>
                      <a:pt x="18" y="51"/>
                      <a:pt x="18" y="51"/>
                    </a:cubicBezTo>
                    <a:cubicBezTo>
                      <a:pt x="18" y="51"/>
                      <a:pt x="18" y="51"/>
                      <a:pt x="18" y="51"/>
                    </a:cubicBezTo>
                    <a:cubicBezTo>
                      <a:pt x="18" y="51"/>
                      <a:pt x="18" y="51"/>
                      <a:pt x="18" y="51"/>
                    </a:cubicBezTo>
                    <a:cubicBezTo>
                      <a:pt x="18" y="51"/>
                      <a:pt x="18" y="51"/>
                      <a:pt x="18" y="51"/>
                    </a:cubicBezTo>
                    <a:cubicBezTo>
                      <a:pt x="18" y="51"/>
                      <a:pt x="18" y="51"/>
                      <a:pt x="18" y="51"/>
                    </a:cubicBezTo>
                    <a:cubicBezTo>
                      <a:pt x="18" y="51"/>
                      <a:pt x="18" y="51"/>
                      <a:pt x="18" y="51"/>
                    </a:cubicBezTo>
                    <a:cubicBezTo>
                      <a:pt x="18" y="51"/>
                      <a:pt x="18" y="51"/>
                      <a:pt x="18" y="51"/>
                    </a:cubicBezTo>
                    <a:cubicBezTo>
                      <a:pt x="18" y="51"/>
                      <a:pt x="18" y="50"/>
                      <a:pt x="18" y="50"/>
                    </a:cubicBezTo>
                    <a:cubicBezTo>
                      <a:pt x="18" y="51"/>
                      <a:pt x="18" y="51"/>
                      <a:pt x="18" y="51"/>
                    </a:cubicBezTo>
                    <a:cubicBezTo>
                      <a:pt x="18" y="51"/>
                      <a:pt x="18" y="51"/>
                      <a:pt x="18" y="51"/>
                    </a:cubicBezTo>
                    <a:cubicBezTo>
                      <a:pt x="18" y="51"/>
                      <a:pt x="17" y="51"/>
                      <a:pt x="17" y="51"/>
                    </a:cubicBezTo>
                    <a:cubicBezTo>
                      <a:pt x="17" y="52"/>
                      <a:pt x="17" y="52"/>
                      <a:pt x="17" y="52"/>
                    </a:cubicBezTo>
                    <a:cubicBezTo>
                      <a:pt x="17" y="52"/>
                      <a:pt x="17" y="51"/>
                      <a:pt x="17" y="51"/>
                    </a:cubicBezTo>
                    <a:cubicBezTo>
                      <a:pt x="17" y="51"/>
                      <a:pt x="17" y="51"/>
                      <a:pt x="16" y="51"/>
                    </a:cubicBezTo>
                    <a:cubicBezTo>
                      <a:pt x="16" y="51"/>
                      <a:pt x="16" y="51"/>
                      <a:pt x="16" y="51"/>
                    </a:cubicBezTo>
                    <a:cubicBezTo>
                      <a:pt x="16" y="51"/>
                      <a:pt x="16" y="51"/>
                      <a:pt x="16" y="51"/>
                    </a:cubicBezTo>
                    <a:cubicBezTo>
                      <a:pt x="16" y="51"/>
                      <a:pt x="15" y="52"/>
                      <a:pt x="15" y="52"/>
                    </a:cubicBezTo>
                    <a:cubicBezTo>
                      <a:pt x="15" y="52"/>
                      <a:pt x="15" y="51"/>
                      <a:pt x="15" y="51"/>
                    </a:cubicBezTo>
                    <a:cubicBezTo>
                      <a:pt x="15" y="51"/>
                      <a:pt x="15" y="51"/>
                      <a:pt x="15" y="51"/>
                    </a:cubicBezTo>
                    <a:cubicBezTo>
                      <a:pt x="15" y="51"/>
                      <a:pt x="15" y="51"/>
                      <a:pt x="15" y="51"/>
                    </a:cubicBezTo>
                    <a:cubicBezTo>
                      <a:pt x="15" y="52"/>
                      <a:pt x="15" y="52"/>
                      <a:pt x="15" y="52"/>
                    </a:cubicBezTo>
                    <a:cubicBezTo>
                      <a:pt x="15" y="51"/>
                      <a:pt x="15" y="51"/>
                      <a:pt x="15" y="51"/>
                    </a:cubicBezTo>
                    <a:cubicBezTo>
                      <a:pt x="15" y="51"/>
                      <a:pt x="14" y="51"/>
                      <a:pt x="14" y="51"/>
                    </a:cubicBezTo>
                    <a:cubicBezTo>
                      <a:pt x="15" y="51"/>
                      <a:pt x="15" y="51"/>
                      <a:pt x="14" y="51"/>
                    </a:cubicBezTo>
                    <a:cubicBezTo>
                      <a:pt x="14" y="51"/>
                      <a:pt x="14" y="51"/>
                      <a:pt x="14" y="51"/>
                    </a:cubicBezTo>
                    <a:cubicBezTo>
                      <a:pt x="14" y="51"/>
                      <a:pt x="14" y="51"/>
                      <a:pt x="14" y="51"/>
                    </a:cubicBezTo>
                    <a:cubicBezTo>
                      <a:pt x="14" y="51"/>
                      <a:pt x="14" y="51"/>
                      <a:pt x="14" y="51"/>
                    </a:cubicBezTo>
                    <a:cubicBezTo>
                      <a:pt x="14" y="51"/>
                      <a:pt x="14" y="51"/>
                      <a:pt x="14" y="51"/>
                    </a:cubicBezTo>
                    <a:cubicBezTo>
                      <a:pt x="14" y="50"/>
                      <a:pt x="14" y="50"/>
                      <a:pt x="14" y="50"/>
                    </a:cubicBezTo>
                    <a:cubicBezTo>
                      <a:pt x="14" y="50"/>
                      <a:pt x="14" y="50"/>
                      <a:pt x="14" y="50"/>
                    </a:cubicBezTo>
                    <a:cubicBezTo>
                      <a:pt x="14" y="50"/>
                      <a:pt x="14" y="50"/>
                      <a:pt x="14" y="50"/>
                    </a:cubicBezTo>
                    <a:cubicBezTo>
                      <a:pt x="14" y="50"/>
                      <a:pt x="14" y="50"/>
                      <a:pt x="14" y="50"/>
                    </a:cubicBezTo>
                    <a:cubicBezTo>
                      <a:pt x="14" y="50"/>
                      <a:pt x="14" y="50"/>
                      <a:pt x="14" y="50"/>
                    </a:cubicBezTo>
                    <a:cubicBezTo>
                      <a:pt x="14" y="50"/>
                      <a:pt x="14" y="50"/>
                      <a:pt x="14" y="50"/>
                    </a:cubicBezTo>
                    <a:cubicBezTo>
                      <a:pt x="14" y="50"/>
                      <a:pt x="13" y="51"/>
                      <a:pt x="13" y="51"/>
                    </a:cubicBezTo>
                    <a:cubicBezTo>
                      <a:pt x="13" y="51"/>
                      <a:pt x="13" y="50"/>
                      <a:pt x="13" y="50"/>
                    </a:cubicBezTo>
                    <a:cubicBezTo>
                      <a:pt x="13" y="50"/>
                      <a:pt x="13" y="50"/>
                      <a:pt x="13" y="50"/>
                    </a:cubicBezTo>
                    <a:cubicBezTo>
                      <a:pt x="13" y="50"/>
                      <a:pt x="14" y="50"/>
                      <a:pt x="14" y="50"/>
                    </a:cubicBezTo>
                    <a:cubicBezTo>
                      <a:pt x="14" y="50"/>
                      <a:pt x="14" y="50"/>
                      <a:pt x="13" y="50"/>
                    </a:cubicBezTo>
                    <a:cubicBezTo>
                      <a:pt x="14" y="50"/>
                      <a:pt x="14" y="50"/>
                      <a:pt x="14" y="50"/>
                    </a:cubicBezTo>
                    <a:cubicBezTo>
                      <a:pt x="14" y="50"/>
                      <a:pt x="13" y="50"/>
                      <a:pt x="12" y="51"/>
                    </a:cubicBezTo>
                    <a:cubicBezTo>
                      <a:pt x="12" y="51"/>
                      <a:pt x="12" y="51"/>
                      <a:pt x="12" y="51"/>
                    </a:cubicBezTo>
                    <a:cubicBezTo>
                      <a:pt x="13" y="50"/>
                      <a:pt x="13" y="50"/>
                      <a:pt x="13" y="50"/>
                    </a:cubicBezTo>
                    <a:cubicBezTo>
                      <a:pt x="13" y="50"/>
                      <a:pt x="13" y="50"/>
                      <a:pt x="13" y="50"/>
                    </a:cubicBezTo>
                    <a:cubicBezTo>
                      <a:pt x="13" y="50"/>
                      <a:pt x="12" y="50"/>
                      <a:pt x="12" y="50"/>
                    </a:cubicBezTo>
                    <a:cubicBezTo>
                      <a:pt x="12" y="50"/>
                      <a:pt x="12" y="50"/>
                      <a:pt x="12" y="50"/>
                    </a:cubicBezTo>
                    <a:cubicBezTo>
                      <a:pt x="12" y="50"/>
                      <a:pt x="11" y="50"/>
                      <a:pt x="11" y="50"/>
                    </a:cubicBezTo>
                    <a:cubicBezTo>
                      <a:pt x="11" y="50"/>
                      <a:pt x="12" y="50"/>
                      <a:pt x="12" y="50"/>
                    </a:cubicBezTo>
                    <a:cubicBezTo>
                      <a:pt x="12" y="50"/>
                      <a:pt x="12" y="50"/>
                      <a:pt x="12" y="50"/>
                    </a:cubicBezTo>
                    <a:cubicBezTo>
                      <a:pt x="12" y="50"/>
                      <a:pt x="12" y="50"/>
                      <a:pt x="12" y="50"/>
                    </a:cubicBezTo>
                    <a:cubicBezTo>
                      <a:pt x="11" y="50"/>
                      <a:pt x="11" y="50"/>
                      <a:pt x="10" y="50"/>
                    </a:cubicBezTo>
                    <a:cubicBezTo>
                      <a:pt x="10" y="50"/>
                      <a:pt x="10" y="50"/>
                      <a:pt x="10" y="50"/>
                    </a:cubicBezTo>
                    <a:cubicBezTo>
                      <a:pt x="10" y="50"/>
                      <a:pt x="10" y="50"/>
                      <a:pt x="10" y="50"/>
                    </a:cubicBezTo>
                    <a:cubicBezTo>
                      <a:pt x="11" y="49"/>
                      <a:pt x="9" y="50"/>
                      <a:pt x="9" y="50"/>
                    </a:cubicBezTo>
                    <a:cubicBezTo>
                      <a:pt x="9" y="50"/>
                      <a:pt x="10" y="50"/>
                      <a:pt x="10" y="49"/>
                    </a:cubicBezTo>
                    <a:cubicBezTo>
                      <a:pt x="10" y="49"/>
                      <a:pt x="10" y="49"/>
                      <a:pt x="9" y="49"/>
                    </a:cubicBezTo>
                    <a:cubicBezTo>
                      <a:pt x="9" y="49"/>
                      <a:pt x="10" y="49"/>
                      <a:pt x="10" y="49"/>
                    </a:cubicBezTo>
                    <a:cubicBezTo>
                      <a:pt x="10" y="49"/>
                      <a:pt x="9" y="49"/>
                      <a:pt x="9" y="49"/>
                    </a:cubicBezTo>
                    <a:cubicBezTo>
                      <a:pt x="10" y="49"/>
                      <a:pt x="10" y="49"/>
                      <a:pt x="10" y="49"/>
                    </a:cubicBezTo>
                    <a:cubicBezTo>
                      <a:pt x="10" y="49"/>
                      <a:pt x="10" y="49"/>
                      <a:pt x="9" y="49"/>
                    </a:cubicBezTo>
                    <a:cubicBezTo>
                      <a:pt x="9" y="49"/>
                      <a:pt x="9" y="49"/>
                      <a:pt x="9" y="49"/>
                    </a:cubicBezTo>
                    <a:cubicBezTo>
                      <a:pt x="9" y="49"/>
                      <a:pt x="9" y="49"/>
                      <a:pt x="9" y="49"/>
                    </a:cubicBezTo>
                    <a:cubicBezTo>
                      <a:pt x="9" y="49"/>
                      <a:pt x="9" y="49"/>
                      <a:pt x="9" y="49"/>
                    </a:cubicBezTo>
                    <a:cubicBezTo>
                      <a:pt x="9" y="49"/>
                      <a:pt x="8" y="50"/>
                      <a:pt x="8" y="50"/>
                    </a:cubicBezTo>
                    <a:cubicBezTo>
                      <a:pt x="8" y="50"/>
                      <a:pt x="8" y="50"/>
                      <a:pt x="8" y="49"/>
                    </a:cubicBezTo>
                    <a:cubicBezTo>
                      <a:pt x="8" y="50"/>
                      <a:pt x="8" y="50"/>
                      <a:pt x="8" y="50"/>
                    </a:cubicBezTo>
                    <a:cubicBezTo>
                      <a:pt x="8" y="49"/>
                      <a:pt x="9" y="49"/>
                      <a:pt x="9" y="49"/>
                    </a:cubicBezTo>
                    <a:cubicBezTo>
                      <a:pt x="9" y="49"/>
                      <a:pt x="8" y="49"/>
                      <a:pt x="8" y="49"/>
                    </a:cubicBezTo>
                    <a:cubicBezTo>
                      <a:pt x="8" y="49"/>
                      <a:pt x="8" y="49"/>
                      <a:pt x="9" y="49"/>
                    </a:cubicBezTo>
                    <a:cubicBezTo>
                      <a:pt x="8" y="49"/>
                      <a:pt x="8" y="49"/>
                      <a:pt x="7" y="49"/>
                    </a:cubicBezTo>
                    <a:cubicBezTo>
                      <a:pt x="7" y="49"/>
                      <a:pt x="7" y="49"/>
                      <a:pt x="7" y="49"/>
                    </a:cubicBezTo>
                    <a:cubicBezTo>
                      <a:pt x="8" y="49"/>
                      <a:pt x="8" y="49"/>
                      <a:pt x="8" y="49"/>
                    </a:cubicBezTo>
                    <a:cubicBezTo>
                      <a:pt x="8" y="49"/>
                      <a:pt x="8" y="49"/>
                      <a:pt x="8" y="49"/>
                    </a:cubicBezTo>
                    <a:cubicBezTo>
                      <a:pt x="8" y="48"/>
                      <a:pt x="8" y="48"/>
                      <a:pt x="9" y="48"/>
                    </a:cubicBezTo>
                    <a:cubicBezTo>
                      <a:pt x="9" y="48"/>
                      <a:pt x="9" y="48"/>
                      <a:pt x="9" y="48"/>
                    </a:cubicBezTo>
                    <a:cubicBezTo>
                      <a:pt x="9" y="48"/>
                      <a:pt x="8" y="48"/>
                      <a:pt x="8" y="48"/>
                    </a:cubicBezTo>
                    <a:cubicBezTo>
                      <a:pt x="8" y="48"/>
                      <a:pt x="8" y="48"/>
                      <a:pt x="8" y="48"/>
                    </a:cubicBezTo>
                    <a:cubicBezTo>
                      <a:pt x="8" y="48"/>
                      <a:pt x="8" y="48"/>
                      <a:pt x="8" y="48"/>
                    </a:cubicBezTo>
                    <a:cubicBezTo>
                      <a:pt x="8" y="48"/>
                      <a:pt x="8" y="48"/>
                      <a:pt x="8" y="48"/>
                    </a:cubicBezTo>
                    <a:cubicBezTo>
                      <a:pt x="8" y="48"/>
                      <a:pt x="8" y="48"/>
                      <a:pt x="8" y="49"/>
                    </a:cubicBezTo>
                    <a:cubicBezTo>
                      <a:pt x="8" y="49"/>
                      <a:pt x="8" y="49"/>
                      <a:pt x="8" y="49"/>
                    </a:cubicBezTo>
                    <a:cubicBezTo>
                      <a:pt x="8" y="49"/>
                      <a:pt x="8" y="49"/>
                      <a:pt x="8" y="49"/>
                    </a:cubicBezTo>
                    <a:cubicBezTo>
                      <a:pt x="8" y="49"/>
                      <a:pt x="7" y="49"/>
                      <a:pt x="7" y="49"/>
                    </a:cubicBezTo>
                    <a:cubicBezTo>
                      <a:pt x="8" y="48"/>
                      <a:pt x="8" y="48"/>
                      <a:pt x="8" y="48"/>
                    </a:cubicBezTo>
                    <a:cubicBezTo>
                      <a:pt x="8" y="48"/>
                      <a:pt x="7" y="48"/>
                      <a:pt x="6" y="48"/>
                    </a:cubicBezTo>
                    <a:cubicBezTo>
                      <a:pt x="6" y="48"/>
                      <a:pt x="6" y="48"/>
                      <a:pt x="7" y="48"/>
                    </a:cubicBezTo>
                    <a:cubicBezTo>
                      <a:pt x="6" y="48"/>
                      <a:pt x="6" y="48"/>
                      <a:pt x="6" y="48"/>
                    </a:cubicBezTo>
                    <a:cubicBezTo>
                      <a:pt x="6" y="48"/>
                      <a:pt x="6" y="48"/>
                      <a:pt x="7" y="48"/>
                    </a:cubicBezTo>
                    <a:cubicBezTo>
                      <a:pt x="6" y="48"/>
                      <a:pt x="6" y="48"/>
                      <a:pt x="6" y="48"/>
                    </a:cubicBezTo>
                    <a:cubicBezTo>
                      <a:pt x="6" y="48"/>
                      <a:pt x="6" y="48"/>
                      <a:pt x="7" y="48"/>
                    </a:cubicBezTo>
                    <a:cubicBezTo>
                      <a:pt x="6" y="48"/>
                      <a:pt x="6" y="48"/>
                      <a:pt x="6" y="48"/>
                    </a:cubicBezTo>
                    <a:cubicBezTo>
                      <a:pt x="6" y="48"/>
                      <a:pt x="6" y="48"/>
                      <a:pt x="6" y="48"/>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5" y="47"/>
                    </a:cubicBezTo>
                    <a:cubicBezTo>
                      <a:pt x="5" y="47"/>
                      <a:pt x="5" y="47"/>
                      <a:pt x="4" y="47"/>
                    </a:cubicBezTo>
                    <a:cubicBezTo>
                      <a:pt x="4" y="47"/>
                      <a:pt x="5" y="47"/>
                      <a:pt x="5" y="47"/>
                    </a:cubicBezTo>
                    <a:cubicBezTo>
                      <a:pt x="5" y="47"/>
                      <a:pt x="4" y="47"/>
                      <a:pt x="4" y="47"/>
                    </a:cubicBezTo>
                    <a:cubicBezTo>
                      <a:pt x="4" y="47"/>
                      <a:pt x="4" y="47"/>
                      <a:pt x="5" y="47"/>
                    </a:cubicBezTo>
                    <a:cubicBezTo>
                      <a:pt x="5" y="46"/>
                      <a:pt x="4" y="46"/>
                      <a:pt x="4" y="46"/>
                    </a:cubicBezTo>
                    <a:cubicBezTo>
                      <a:pt x="4" y="46"/>
                      <a:pt x="5" y="46"/>
                      <a:pt x="5" y="46"/>
                    </a:cubicBezTo>
                    <a:cubicBezTo>
                      <a:pt x="5" y="46"/>
                      <a:pt x="5" y="46"/>
                      <a:pt x="4" y="46"/>
                    </a:cubicBezTo>
                    <a:cubicBezTo>
                      <a:pt x="5" y="46"/>
                      <a:pt x="5" y="46"/>
                      <a:pt x="5" y="46"/>
                    </a:cubicBezTo>
                    <a:cubicBezTo>
                      <a:pt x="5" y="46"/>
                      <a:pt x="5" y="46"/>
                      <a:pt x="5" y="46"/>
                    </a:cubicBezTo>
                    <a:cubicBezTo>
                      <a:pt x="5" y="46"/>
                      <a:pt x="5" y="46"/>
                      <a:pt x="5" y="46"/>
                    </a:cubicBezTo>
                    <a:cubicBezTo>
                      <a:pt x="4" y="46"/>
                      <a:pt x="4" y="45"/>
                      <a:pt x="4" y="45"/>
                    </a:cubicBezTo>
                    <a:cubicBezTo>
                      <a:pt x="4" y="45"/>
                      <a:pt x="5" y="46"/>
                      <a:pt x="6" y="46"/>
                    </a:cubicBezTo>
                    <a:cubicBezTo>
                      <a:pt x="5" y="45"/>
                      <a:pt x="5" y="45"/>
                      <a:pt x="5" y="45"/>
                    </a:cubicBezTo>
                    <a:cubicBezTo>
                      <a:pt x="5" y="45"/>
                      <a:pt x="5" y="45"/>
                      <a:pt x="5" y="45"/>
                    </a:cubicBezTo>
                    <a:cubicBezTo>
                      <a:pt x="5" y="45"/>
                      <a:pt x="5" y="45"/>
                      <a:pt x="5" y="45"/>
                    </a:cubicBezTo>
                    <a:cubicBezTo>
                      <a:pt x="5" y="45"/>
                      <a:pt x="5" y="45"/>
                      <a:pt x="5" y="45"/>
                    </a:cubicBezTo>
                    <a:cubicBezTo>
                      <a:pt x="5" y="45"/>
                      <a:pt x="5" y="45"/>
                      <a:pt x="5" y="45"/>
                    </a:cubicBezTo>
                    <a:cubicBezTo>
                      <a:pt x="6" y="45"/>
                      <a:pt x="6" y="46"/>
                      <a:pt x="6" y="46"/>
                    </a:cubicBezTo>
                    <a:cubicBezTo>
                      <a:pt x="6" y="46"/>
                      <a:pt x="6" y="46"/>
                      <a:pt x="6" y="46"/>
                    </a:cubicBezTo>
                    <a:cubicBezTo>
                      <a:pt x="6" y="46"/>
                      <a:pt x="6" y="46"/>
                      <a:pt x="6" y="45"/>
                    </a:cubicBezTo>
                    <a:cubicBezTo>
                      <a:pt x="6" y="45"/>
                      <a:pt x="6" y="46"/>
                      <a:pt x="7" y="46"/>
                    </a:cubicBezTo>
                    <a:cubicBezTo>
                      <a:pt x="7" y="46"/>
                      <a:pt x="6" y="45"/>
                      <a:pt x="6" y="45"/>
                    </a:cubicBezTo>
                    <a:cubicBezTo>
                      <a:pt x="6" y="45"/>
                      <a:pt x="6" y="45"/>
                      <a:pt x="6" y="45"/>
                    </a:cubicBezTo>
                    <a:cubicBezTo>
                      <a:pt x="7" y="45"/>
                      <a:pt x="7" y="45"/>
                      <a:pt x="7" y="46"/>
                    </a:cubicBezTo>
                    <a:cubicBezTo>
                      <a:pt x="7" y="46"/>
                      <a:pt x="7" y="46"/>
                      <a:pt x="7" y="46"/>
                    </a:cubicBezTo>
                    <a:cubicBezTo>
                      <a:pt x="7" y="45"/>
                      <a:pt x="7" y="45"/>
                      <a:pt x="7" y="45"/>
                    </a:cubicBezTo>
                    <a:cubicBezTo>
                      <a:pt x="7" y="45"/>
                      <a:pt x="7" y="45"/>
                      <a:pt x="7" y="45"/>
                    </a:cubicBezTo>
                    <a:cubicBezTo>
                      <a:pt x="7" y="45"/>
                      <a:pt x="7" y="45"/>
                      <a:pt x="7" y="45"/>
                    </a:cubicBezTo>
                    <a:cubicBezTo>
                      <a:pt x="7" y="45"/>
                      <a:pt x="7" y="45"/>
                      <a:pt x="7" y="45"/>
                    </a:cubicBezTo>
                    <a:cubicBezTo>
                      <a:pt x="7" y="45"/>
                      <a:pt x="7" y="45"/>
                      <a:pt x="7" y="45"/>
                    </a:cubicBezTo>
                    <a:cubicBezTo>
                      <a:pt x="7" y="45"/>
                      <a:pt x="7" y="45"/>
                      <a:pt x="7" y="45"/>
                    </a:cubicBezTo>
                    <a:cubicBezTo>
                      <a:pt x="7" y="45"/>
                      <a:pt x="7" y="45"/>
                      <a:pt x="7" y="44"/>
                    </a:cubicBezTo>
                    <a:cubicBezTo>
                      <a:pt x="7" y="45"/>
                      <a:pt x="6" y="45"/>
                      <a:pt x="5" y="45"/>
                    </a:cubicBezTo>
                    <a:cubicBezTo>
                      <a:pt x="6" y="45"/>
                      <a:pt x="6" y="45"/>
                      <a:pt x="6" y="45"/>
                    </a:cubicBezTo>
                    <a:cubicBezTo>
                      <a:pt x="6" y="45"/>
                      <a:pt x="6" y="45"/>
                      <a:pt x="5" y="45"/>
                    </a:cubicBezTo>
                    <a:cubicBezTo>
                      <a:pt x="6" y="44"/>
                      <a:pt x="6" y="44"/>
                      <a:pt x="7" y="44"/>
                    </a:cubicBezTo>
                    <a:cubicBezTo>
                      <a:pt x="6" y="44"/>
                      <a:pt x="5" y="45"/>
                      <a:pt x="5" y="45"/>
                    </a:cubicBezTo>
                    <a:cubicBezTo>
                      <a:pt x="5" y="45"/>
                      <a:pt x="5" y="45"/>
                      <a:pt x="5" y="45"/>
                    </a:cubicBezTo>
                    <a:cubicBezTo>
                      <a:pt x="5" y="45"/>
                      <a:pt x="5" y="45"/>
                      <a:pt x="5" y="45"/>
                    </a:cubicBezTo>
                    <a:cubicBezTo>
                      <a:pt x="5" y="44"/>
                      <a:pt x="5" y="44"/>
                      <a:pt x="5" y="44"/>
                    </a:cubicBezTo>
                    <a:cubicBezTo>
                      <a:pt x="5" y="44"/>
                      <a:pt x="5" y="44"/>
                      <a:pt x="5" y="44"/>
                    </a:cubicBezTo>
                    <a:cubicBezTo>
                      <a:pt x="5" y="44"/>
                      <a:pt x="5" y="44"/>
                      <a:pt x="5" y="44"/>
                    </a:cubicBezTo>
                    <a:cubicBezTo>
                      <a:pt x="5" y="44"/>
                      <a:pt x="6" y="44"/>
                      <a:pt x="6" y="44"/>
                    </a:cubicBezTo>
                    <a:cubicBezTo>
                      <a:pt x="5" y="44"/>
                      <a:pt x="4" y="44"/>
                      <a:pt x="4" y="44"/>
                    </a:cubicBezTo>
                    <a:cubicBezTo>
                      <a:pt x="4" y="44"/>
                      <a:pt x="4" y="44"/>
                      <a:pt x="5" y="44"/>
                    </a:cubicBezTo>
                    <a:cubicBezTo>
                      <a:pt x="4" y="44"/>
                      <a:pt x="4" y="44"/>
                      <a:pt x="3" y="44"/>
                    </a:cubicBezTo>
                    <a:cubicBezTo>
                      <a:pt x="4" y="44"/>
                      <a:pt x="4" y="44"/>
                      <a:pt x="4" y="44"/>
                    </a:cubicBezTo>
                    <a:cubicBezTo>
                      <a:pt x="4" y="44"/>
                      <a:pt x="4" y="44"/>
                      <a:pt x="4" y="44"/>
                    </a:cubicBezTo>
                    <a:cubicBezTo>
                      <a:pt x="4" y="44"/>
                      <a:pt x="4" y="44"/>
                      <a:pt x="4" y="44"/>
                    </a:cubicBezTo>
                    <a:cubicBezTo>
                      <a:pt x="4" y="44"/>
                      <a:pt x="4" y="44"/>
                      <a:pt x="4" y="44"/>
                    </a:cubicBezTo>
                    <a:cubicBezTo>
                      <a:pt x="4" y="44"/>
                      <a:pt x="3" y="44"/>
                      <a:pt x="3" y="44"/>
                    </a:cubicBezTo>
                    <a:cubicBezTo>
                      <a:pt x="3" y="44"/>
                      <a:pt x="3" y="44"/>
                      <a:pt x="3" y="44"/>
                    </a:cubicBezTo>
                    <a:cubicBezTo>
                      <a:pt x="3" y="44"/>
                      <a:pt x="3" y="44"/>
                      <a:pt x="3" y="44"/>
                    </a:cubicBezTo>
                    <a:cubicBezTo>
                      <a:pt x="5" y="43"/>
                      <a:pt x="3" y="43"/>
                      <a:pt x="2" y="43"/>
                    </a:cubicBezTo>
                    <a:cubicBezTo>
                      <a:pt x="2" y="43"/>
                      <a:pt x="3" y="43"/>
                      <a:pt x="3" y="43"/>
                    </a:cubicBezTo>
                    <a:cubicBezTo>
                      <a:pt x="2" y="43"/>
                      <a:pt x="2" y="43"/>
                      <a:pt x="1" y="42"/>
                    </a:cubicBezTo>
                    <a:cubicBezTo>
                      <a:pt x="1" y="42"/>
                      <a:pt x="1" y="42"/>
                      <a:pt x="2" y="42"/>
                    </a:cubicBezTo>
                    <a:cubicBezTo>
                      <a:pt x="1" y="42"/>
                      <a:pt x="1" y="42"/>
                      <a:pt x="1" y="42"/>
                    </a:cubicBezTo>
                    <a:cubicBezTo>
                      <a:pt x="1" y="42"/>
                      <a:pt x="1" y="42"/>
                      <a:pt x="1" y="42"/>
                    </a:cubicBezTo>
                    <a:cubicBezTo>
                      <a:pt x="1" y="42"/>
                      <a:pt x="1" y="42"/>
                      <a:pt x="1" y="42"/>
                    </a:cubicBezTo>
                    <a:cubicBezTo>
                      <a:pt x="1" y="42"/>
                      <a:pt x="1" y="42"/>
                      <a:pt x="1" y="42"/>
                    </a:cubicBezTo>
                    <a:cubicBezTo>
                      <a:pt x="1" y="42"/>
                      <a:pt x="1" y="42"/>
                      <a:pt x="1" y="42"/>
                    </a:cubicBezTo>
                    <a:cubicBezTo>
                      <a:pt x="1" y="42"/>
                      <a:pt x="2" y="42"/>
                      <a:pt x="2" y="42"/>
                    </a:cubicBezTo>
                    <a:cubicBezTo>
                      <a:pt x="2" y="41"/>
                      <a:pt x="1" y="41"/>
                      <a:pt x="1" y="41"/>
                    </a:cubicBezTo>
                    <a:cubicBezTo>
                      <a:pt x="1" y="41"/>
                      <a:pt x="2" y="41"/>
                      <a:pt x="2" y="41"/>
                    </a:cubicBezTo>
                    <a:cubicBezTo>
                      <a:pt x="2" y="41"/>
                      <a:pt x="2" y="41"/>
                      <a:pt x="2" y="41"/>
                    </a:cubicBezTo>
                    <a:cubicBezTo>
                      <a:pt x="2" y="41"/>
                      <a:pt x="2" y="41"/>
                      <a:pt x="2" y="41"/>
                    </a:cubicBezTo>
                    <a:cubicBezTo>
                      <a:pt x="2" y="41"/>
                      <a:pt x="2" y="41"/>
                      <a:pt x="2" y="41"/>
                    </a:cubicBezTo>
                    <a:cubicBezTo>
                      <a:pt x="2" y="41"/>
                      <a:pt x="2" y="41"/>
                      <a:pt x="2" y="41"/>
                    </a:cubicBezTo>
                    <a:cubicBezTo>
                      <a:pt x="2" y="41"/>
                      <a:pt x="3" y="42"/>
                      <a:pt x="3" y="42"/>
                    </a:cubicBezTo>
                    <a:cubicBezTo>
                      <a:pt x="3" y="42"/>
                      <a:pt x="3" y="42"/>
                      <a:pt x="3" y="42"/>
                    </a:cubicBezTo>
                    <a:cubicBezTo>
                      <a:pt x="3" y="42"/>
                      <a:pt x="3" y="42"/>
                      <a:pt x="3" y="42"/>
                    </a:cubicBezTo>
                    <a:cubicBezTo>
                      <a:pt x="2" y="41"/>
                      <a:pt x="2" y="41"/>
                      <a:pt x="2" y="41"/>
                    </a:cubicBezTo>
                    <a:cubicBezTo>
                      <a:pt x="2" y="41"/>
                      <a:pt x="2" y="41"/>
                      <a:pt x="2" y="41"/>
                    </a:cubicBezTo>
                    <a:cubicBezTo>
                      <a:pt x="2" y="41"/>
                      <a:pt x="2" y="41"/>
                      <a:pt x="2" y="41"/>
                    </a:cubicBezTo>
                    <a:cubicBezTo>
                      <a:pt x="3" y="41"/>
                      <a:pt x="3" y="41"/>
                      <a:pt x="3" y="42"/>
                    </a:cubicBezTo>
                    <a:cubicBezTo>
                      <a:pt x="3" y="41"/>
                      <a:pt x="3" y="41"/>
                      <a:pt x="3" y="41"/>
                    </a:cubicBezTo>
                    <a:cubicBezTo>
                      <a:pt x="3" y="41"/>
                      <a:pt x="3" y="41"/>
                      <a:pt x="3" y="41"/>
                    </a:cubicBezTo>
                    <a:cubicBezTo>
                      <a:pt x="3" y="41"/>
                      <a:pt x="3" y="41"/>
                      <a:pt x="3" y="41"/>
                    </a:cubicBezTo>
                    <a:cubicBezTo>
                      <a:pt x="3" y="41"/>
                      <a:pt x="3" y="41"/>
                      <a:pt x="3" y="41"/>
                    </a:cubicBezTo>
                    <a:cubicBezTo>
                      <a:pt x="4" y="41"/>
                      <a:pt x="4" y="41"/>
                      <a:pt x="4" y="41"/>
                    </a:cubicBezTo>
                    <a:cubicBezTo>
                      <a:pt x="4" y="41"/>
                      <a:pt x="4" y="41"/>
                      <a:pt x="4" y="41"/>
                    </a:cubicBezTo>
                    <a:cubicBezTo>
                      <a:pt x="4" y="41"/>
                      <a:pt x="4" y="41"/>
                      <a:pt x="4" y="41"/>
                    </a:cubicBezTo>
                    <a:cubicBezTo>
                      <a:pt x="5" y="41"/>
                      <a:pt x="5" y="41"/>
                      <a:pt x="5" y="41"/>
                    </a:cubicBezTo>
                    <a:cubicBezTo>
                      <a:pt x="4" y="40"/>
                      <a:pt x="4" y="41"/>
                      <a:pt x="3" y="41"/>
                    </a:cubicBezTo>
                    <a:cubicBezTo>
                      <a:pt x="3" y="41"/>
                      <a:pt x="3" y="41"/>
                      <a:pt x="3" y="41"/>
                    </a:cubicBezTo>
                    <a:cubicBezTo>
                      <a:pt x="3" y="41"/>
                      <a:pt x="2" y="41"/>
                      <a:pt x="2" y="41"/>
                    </a:cubicBezTo>
                    <a:cubicBezTo>
                      <a:pt x="3" y="40"/>
                      <a:pt x="4" y="40"/>
                      <a:pt x="4" y="40"/>
                    </a:cubicBezTo>
                    <a:cubicBezTo>
                      <a:pt x="4" y="40"/>
                      <a:pt x="3" y="40"/>
                      <a:pt x="2" y="40"/>
                    </a:cubicBezTo>
                    <a:cubicBezTo>
                      <a:pt x="2" y="40"/>
                      <a:pt x="2" y="40"/>
                      <a:pt x="2" y="40"/>
                    </a:cubicBezTo>
                    <a:cubicBezTo>
                      <a:pt x="2" y="40"/>
                      <a:pt x="2" y="40"/>
                      <a:pt x="1" y="40"/>
                    </a:cubicBezTo>
                    <a:cubicBezTo>
                      <a:pt x="1" y="40"/>
                      <a:pt x="2" y="40"/>
                      <a:pt x="2" y="40"/>
                    </a:cubicBezTo>
                    <a:cubicBezTo>
                      <a:pt x="2" y="40"/>
                      <a:pt x="1" y="40"/>
                      <a:pt x="1" y="40"/>
                    </a:cubicBezTo>
                    <a:cubicBezTo>
                      <a:pt x="2" y="40"/>
                      <a:pt x="2" y="40"/>
                      <a:pt x="2" y="40"/>
                    </a:cubicBezTo>
                    <a:cubicBezTo>
                      <a:pt x="2" y="40"/>
                      <a:pt x="2" y="40"/>
                      <a:pt x="2" y="40"/>
                    </a:cubicBezTo>
                    <a:cubicBezTo>
                      <a:pt x="2" y="40"/>
                      <a:pt x="2" y="40"/>
                      <a:pt x="3" y="40"/>
                    </a:cubicBezTo>
                    <a:cubicBezTo>
                      <a:pt x="2" y="40"/>
                      <a:pt x="1" y="39"/>
                      <a:pt x="0" y="39"/>
                    </a:cubicBezTo>
                    <a:cubicBezTo>
                      <a:pt x="0" y="39"/>
                      <a:pt x="1" y="39"/>
                      <a:pt x="1" y="39"/>
                    </a:cubicBezTo>
                    <a:cubicBezTo>
                      <a:pt x="1" y="39"/>
                      <a:pt x="1" y="39"/>
                      <a:pt x="0" y="39"/>
                    </a:cubicBezTo>
                    <a:cubicBezTo>
                      <a:pt x="1" y="39"/>
                      <a:pt x="1" y="39"/>
                      <a:pt x="1" y="39"/>
                    </a:cubicBezTo>
                    <a:cubicBezTo>
                      <a:pt x="1" y="39"/>
                      <a:pt x="0" y="39"/>
                      <a:pt x="0" y="38"/>
                    </a:cubicBezTo>
                    <a:cubicBezTo>
                      <a:pt x="1" y="38"/>
                      <a:pt x="1" y="39"/>
                      <a:pt x="2" y="39"/>
                    </a:cubicBezTo>
                    <a:cubicBezTo>
                      <a:pt x="2" y="39"/>
                      <a:pt x="2" y="39"/>
                      <a:pt x="2" y="39"/>
                    </a:cubicBezTo>
                    <a:cubicBezTo>
                      <a:pt x="1" y="39"/>
                      <a:pt x="1" y="38"/>
                      <a:pt x="0" y="38"/>
                    </a:cubicBezTo>
                    <a:cubicBezTo>
                      <a:pt x="0" y="38"/>
                      <a:pt x="0" y="38"/>
                      <a:pt x="0" y="38"/>
                    </a:cubicBezTo>
                    <a:cubicBezTo>
                      <a:pt x="1" y="38"/>
                      <a:pt x="1" y="38"/>
                      <a:pt x="1" y="38"/>
                    </a:cubicBezTo>
                    <a:cubicBezTo>
                      <a:pt x="1" y="38"/>
                      <a:pt x="1" y="38"/>
                      <a:pt x="1" y="38"/>
                    </a:cubicBezTo>
                    <a:cubicBezTo>
                      <a:pt x="1" y="38"/>
                      <a:pt x="1" y="38"/>
                      <a:pt x="2" y="38"/>
                    </a:cubicBezTo>
                    <a:cubicBezTo>
                      <a:pt x="2" y="38"/>
                      <a:pt x="2" y="38"/>
                      <a:pt x="2" y="38"/>
                    </a:cubicBezTo>
                    <a:cubicBezTo>
                      <a:pt x="2" y="38"/>
                      <a:pt x="2" y="38"/>
                      <a:pt x="2" y="38"/>
                    </a:cubicBezTo>
                    <a:cubicBezTo>
                      <a:pt x="2" y="38"/>
                      <a:pt x="2" y="38"/>
                      <a:pt x="2" y="38"/>
                    </a:cubicBezTo>
                    <a:cubicBezTo>
                      <a:pt x="2" y="38"/>
                      <a:pt x="2" y="38"/>
                      <a:pt x="2" y="38"/>
                    </a:cubicBezTo>
                    <a:cubicBezTo>
                      <a:pt x="2" y="38"/>
                      <a:pt x="2" y="38"/>
                      <a:pt x="3" y="39"/>
                    </a:cubicBezTo>
                    <a:cubicBezTo>
                      <a:pt x="3" y="39"/>
                      <a:pt x="3" y="38"/>
                      <a:pt x="2" y="38"/>
                    </a:cubicBezTo>
                    <a:cubicBezTo>
                      <a:pt x="2" y="38"/>
                      <a:pt x="2" y="38"/>
                      <a:pt x="2" y="38"/>
                    </a:cubicBezTo>
                    <a:cubicBezTo>
                      <a:pt x="2" y="38"/>
                      <a:pt x="2" y="38"/>
                      <a:pt x="2" y="38"/>
                    </a:cubicBezTo>
                    <a:cubicBezTo>
                      <a:pt x="2" y="38"/>
                      <a:pt x="2" y="38"/>
                      <a:pt x="2" y="38"/>
                    </a:cubicBezTo>
                    <a:cubicBezTo>
                      <a:pt x="2" y="38"/>
                      <a:pt x="2" y="38"/>
                      <a:pt x="2" y="38"/>
                    </a:cubicBezTo>
                    <a:cubicBezTo>
                      <a:pt x="3" y="38"/>
                      <a:pt x="3" y="38"/>
                      <a:pt x="3" y="38"/>
                    </a:cubicBezTo>
                    <a:cubicBezTo>
                      <a:pt x="3" y="38"/>
                      <a:pt x="3" y="38"/>
                      <a:pt x="3" y="38"/>
                    </a:cubicBezTo>
                    <a:cubicBezTo>
                      <a:pt x="3" y="38"/>
                      <a:pt x="3" y="39"/>
                      <a:pt x="4" y="39"/>
                    </a:cubicBezTo>
                    <a:cubicBezTo>
                      <a:pt x="4" y="39"/>
                      <a:pt x="3" y="38"/>
                      <a:pt x="3" y="38"/>
                    </a:cubicBezTo>
                    <a:cubicBezTo>
                      <a:pt x="4" y="39"/>
                      <a:pt x="5" y="40"/>
                      <a:pt x="6" y="40"/>
                    </a:cubicBezTo>
                    <a:cubicBezTo>
                      <a:pt x="5" y="40"/>
                      <a:pt x="5" y="40"/>
                      <a:pt x="5" y="40"/>
                    </a:cubicBezTo>
                    <a:cubicBezTo>
                      <a:pt x="5" y="40"/>
                      <a:pt x="5" y="40"/>
                      <a:pt x="5" y="40"/>
                    </a:cubicBezTo>
                    <a:cubicBezTo>
                      <a:pt x="5" y="40"/>
                      <a:pt x="5" y="39"/>
                      <a:pt x="5" y="39"/>
                    </a:cubicBezTo>
                    <a:cubicBezTo>
                      <a:pt x="5" y="39"/>
                      <a:pt x="5" y="40"/>
                      <a:pt x="5" y="40"/>
                    </a:cubicBezTo>
                    <a:cubicBezTo>
                      <a:pt x="5" y="40"/>
                      <a:pt x="5" y="40"/>
                      <a:pt x="5" y="40"/>
                    </a:cubicBezTo>
                    <a:cubicBezTo>
                      <a:pt x="5" y="39"/>
                      <a:pt x="5" y="39"/>
                      <a:pt x="4" y="39"/>
                    </a:cubicBezTo>
                    <a:cubicBezTo>
                      <a:pt x="5" y="39"/>
                      <a:pt x="5" y="39"/>
                      <a:pt x="5" y="39"/>
                    </a:cubicBezTo>
                    <a:cubicBezTo>
                      <a:pt x="5" y="39"/>
                      <a:pt x="5" y="39"/>
                      <a:pt x="5" y="39"/>
                    </a:cubicBezTo>
                    <a:cubicBezTo>
                      <a:pt x="5" y="39"/>
                      <a:pt x="5" y="39"/>
                      <a:pt x="5" y="39"/>
                    </a:cubicBezTo>
                    <a:cubicBezTo>
                      <a:pt x="5" y="39"/>
                      <a:pt x="5" y="39"/>
                      <a:pt x="5" y="39"/>
                    </a:cubicBezTo>
                    <a:cubicBezTo>
                      <a:pt x="5" y="39"/>
                      <a:pt x="5" y="39"/>
                      <a:pt x="6" y="40"/>
                    </a:cubicBezTo>
                    <a:cubicBezTo>
                      <a:pt x="5" y="40"/>
                      <a:pt x="5" y="39"/>
                      <a:pt x="5" y="39"/>
                    </a:cubicBezTo>
                    <a:cubicBezTo>
                      <a:pt x="6" y="39"/>
                      <a:pt x="6" y="40"/>
                      <a:pt x="6" y="40"/>
                    </a:cubicBezTo>
                    <a:cubicBezTo>
                      <a:pt x="6" y="39"/>
                      <a:pt x="6" y="39"/>
                      <a:pt x="6" y="39"/>
                    </a:cubicBezTo>
                    <a:cubicBezTo>
                      <a:pt x="6" y="39"/>
                      <a:pt x="6" y="40"/>
                      <a:pt x="6" y="40"/>
                    </a:cubicBezTo>
                    <a:cubicBezTo>
                      <a:pt x="6" y="40"/>
                      <a:pt x="6" y="40"/>
                      <a:pt x="6" y="40"/>
                    </a:cubicBezTo>
                    <a:cubicBezTo>
                      <a:pt x="6" y="40"/>
                      <a:pt x="6" y="40"/>
                      <a:pt x="6" y="40"/>
                    </a:cubicBezTo>
                    <a:cubicBezTo>
                      <a:pt x="7" y="40"/>
                      <a:pt x="7" y="40"/>
                      <a:pt x="7" y="40"/>
                    </a:cubicBezTo>
                    <a:cubicBezTo>
                      <a:pt x="7" y="40"/>
                      <a:pt x="6" y="40"/>
                      <a:pt x="6" y="39"/>
                    </a:cubicBezTo>
                    <a:cubicBezTo>
                      <a:pt x="6" y="39"/>
                      <a:pt x="6" y="39"/>
                      <a:pt x="6" y="39"/>
                    </a:cubicBezTo>
                    <a:cubicBezTo>
                      <a:pt x="7" y="39"/>
                      <a:pt x="7" y="40"/>
                      <a:pt x="7" y="40"/>
                    </a:cubicBezTo>
                    <a:cubicBezTo>
                      <a:pt x="7" y="40"/>
                      <a:pt x="7" y="40"/>
                      <a:pt x="7" y="40"/>
                    </a:cubicBezTo>
                    <a:cubicBezTo>
                      <a:pt x="7" y="40"/>
                      <a:pt x="7" y="40"/>
                      <a:pt x="7" y="40"/>
                    </a:cubicBezTo>
                    <a:cubicBezTo>
                      <a:pt x="7" y="40"/>
                      <a:pt x="7" y="40"/>
                      <a:pt x="7" y="40"/>
                    </a:cubicBezTo>
                    <a:cubicBezTo>
                      <a:pt x="7" y="40"/>
                      <a:pt x="7" y="40"/>
                      <a:pt x="7" y="40"/>
                    </a:cubicBezTo>
                    <a:cubicBezTo>
                      <a:pt x="7" y="40"/>
                      <a:pt x="7" y="40"/>
                      <a:pt x="7" y="40"/>
                    </a:cubicBezTo>
                    <a:cubicBezTo>
                      <a:pt x="7" y="40"/>
                      <a:pt x="8" y="40"/>
                      <a:pt x="8" y="40"/>
                    </a:cubicBezTo>
                    <a:cubicBezTo>
                      <a:pt x="8" y="40"/>
                      <a:pt x="8" y="40"/>
                      <a:pt x="7" y="40"/>
                    </a:cubicBezTo>
                    <a:cubicBezTo>
                      <a:pt x="7" y="40"/>
                      <a:pt x="7" y="40"/>
                      <a:pt x="7" y="40"/>
                    </a:cubicBezTo>
                    <a:cubicBezTo>
                      <a:pt x="8" y="40"/>
                      <a:pt x="8" y="40"/>
                      <a:pt x="8" y="40"/>
                    </a:cubicBezTo>
                    <a:cubicBezTo>
                      <a:pt x="8" y="40"/>
                      <a:pt x="8" y="40"/>
                      <a:pt x="8" y="40"/>
                    </a:cubicBezTo>
                    <a:cubicBezTo>
                      <a:pt x="8" y="40"/>
                      <a:pt x="8" y="40"/>
                      <a:pt x="9" y="40"/>
                    </a:cubicBezTo>
                    <a:cubicBezTo>
                      <a:pt x="8" y="40"/>
                      <a:pt x="8" y="40"/>
                      <a:pt x="8" y="40"/>
                    </a:cubicBezTo>
                    <a:cubicBezTo>
                      <a:pt x="8" y="40"/>
                      <a:pt x="8" y="40"/>
                      <a:pt x="8" y="40"/>
                    </a:cubicBezTo>
                    <a:cubicBezTo>
                      <a:pt x="8" y="40"/>
                      <a:pt x="8" y="40"/>
                      <a:pt x="8" y="40"/>
                    </a:cubicBezTo>
                    <a:cubicBezTo>
                      <a:pt x="8" y="40"/>
                      <a:pt x="8" y="40"/>
                      <a:pt x="8" y="40"/>
                    </a:cubicBezTo>
                    <a:cubicBezTo>
                      <a:pt x="8" y="40"/>
                      <a:pt x="9" y="40"/>
                      <a:pt x="9" y="40"/>
                    </a:cubicBezTo>
                    <a:cubicBezTo>
                      <a:pt x="9" y="40"/>
                      <a:pt x="9" y="40"/>
                      <a:pt x="9" y="40"/>
                    </a:cubicBezTo>
                    <a:cubicBezTo>
                      <a:pt x="9" y="40"/>
                      <a:pt x="9" y="40"/>
                      <a:pt x="9" y="40"/>
                    </a:cubicBezTo>
                    <a:cubicBezTo>
                      <a:pt x="9" y="40"/>
                      <a:pt x="9" y="39"/>
                      <a:pt x="9" y="39"/>
                    </a:cubicBezTo>
                    <a:cubicBezTo>
                      <a:pt x="9" y="39"/>
                      <a:pt x="9" y="39"/>
                      <a:pt x="9" y="39"/>
                    </a:cubicBezTo>
                    <a:cubicBezTo>
                      <a:pt x="9" y="39"/>
                      <a:pt x="9" y="39"/>
                      <a:pt x="9" y="39"/>
                    </a:cubicBezTo>
                    <a:cubicBezTo>
                      <a:pt x="9" y="39"/>
                      <a:pt x="9" y="39"/>
                      <a:pt x="8" y="39"/>
                    </a:cubicBezTo>
                    <a:cubicBezTo>
                      <a:pt x="8" y="39"/>
                      <a:pt x="8" y="39"/>
                      <a:pt x="8" y="39"/>
                    </a:cubicBezTo>
                    <a:cubicBezTo>
                      <a:pt x="8" y="39"/>
                      <a:pt x="8" y="39"/>
                      <a:pt x="8" y="39"/>
                    </a:cubicBezTo>
                    <a:cubicBezTo>
                      <a:pt x="8" y="39"/>
                      <a:pt x="8" y="39"/>
                      <a:pt x="8" y="39"/>
                    </a:cubicBezTo>
                    <a:cubicBezTo>
                      <a:pt x="8" y="39"/>
                      <a:pt x="9" y="39"/>
                      <a:pt x="9" y="39"/>
                    </a:cubicBezTo>
                    <a:cubicBezTo>
                      <a:pt x="8" y="39"/>
                      <a:pt x="8" y="39"/>
                      <a:pt x="8" y="39"/>
                    </a:cubicBezTo>
                    <a:cubicBezTo>
                      <a:pt x="8" y="39"/>
                      <a:pt x="8" y="39"/>
                      <a:pt x="9" y="39"/>
                    </a:cubicBezTo>
                    <a:cubicBezTo>
                      <a:pt x="9" y="39"/>
                      <a:pt x="8" y="39"/>
                      <a:pt x="8" y="39"/>
                    </a:cubicBezTo>
                    <a:cubicBezTo>
                      <a:pt x="8" y="39"/>
                      <a:pt x="8" y="39"/>
                      <a:pt x="8" y="39"/>
                    </a:cubicBezTo>
                    <a:cubicBezTo>
                      <a:pt x="8" y="39"/>
                      <a:pt x="8" y="39"/>
                      <a:pt x="8" y="39"/>
                    </a:cubicBezTo>
                    <a:cubicBezTo>
                      <a:pt x="8" y="39"/>
                      <a:pt x="7" y="39"/>
                      <a:pt x="7" y="39"/>
                    </a:cubicBezTo>
                    <a:cubicBezTo>
                      <a:pt x="7" y="39"/>
                      <a:pt x="7" y="39"/>
                      <a:pt x="7" y="39"/>
                    </a:cubicBezTo>
                    <a:cubicBezTo>
                      <a:pt x="7" y="39"/>
                      <a:pt x="7" y="39"/>
                      <a:pt x="7" y="39"/>
                    </a:cubicBezTo>
                    <a:cubicBezTo>
                      <a:pt x="7" y="39"/>
                      <a:pt x="7" y="39"/>
                      <a:pt x="8" y="39"/>
                    </a:cubicBezTo>
                    <a:cubicBezTo>
                      <a:pt x="8" y="39"/>
                      <a:pt x="8" y="39"/>
                      <a:pt x="7" y="39"/>
                    </a:cubicBezTo>
                    <a:cubicBezTo>
                      <a:pt x="8" y="39"/>
                      <a:pt x="8" y="38"/>
                      <a:pt x="8" y="38"/>
                    </a:cubicBezTo>
                    <a:cubicBezTo>
                      <a:pt x="8" y="38"/>
                      <a:pt x="8" y="38"/>
                      <a:pt x="8" y="38"/>
                    </a:cubicBezTo>
                    <a:cubicBezTo>
                      <a:pt x="8" y="38"/>
                      <a:pt x="7" y="39"/>
                      <a:pt x="7" y="39"/>
                    </a:cubicBezTo>
                    <a:cubicBezTo>
                      <a:pt x="7" y="39"/>
                      <a:pt x="7" y="38"/>
                      <a:pt x="7" y="38"/>
                    </a:cubicBezTo>
                    <a:cubicBezTo>
                      <a:pt x="7" y="38"/>
                      <a:pt x="7" y="39"/>
                      <a:pt x="6" y="39"/>
                    </a:cubicBezTo>
                    <a:cubicBezTo>
                      <a:pt x="6" y="39"/>
                      <a:pt x="6" y="39"/>
                      <a:pt x="6" y="39"/>
                    </a:cubicBezTo>
                    <a:cubicBezTo>
                      <a:pt x="6" y="39"/>
                      <a:pt x="6" y="39"/>
                      <a:pt x="6" y="39"/>
                    </a:cubicBezTo>
                    <a:cubicBezTo>
                      <a:pt x="6" y="39"/>
                      <a:pt x="6" y="39"/>
                      <a:pt x="6" y="39"/>
                    </a:cubicBezTo>
                    <a:cubicBezTo>
                      <a:pt x="6" y="39"/>
                      <a:pt x="6" y="39"/>
                      <a:pt x="6" y="39"/>
                    </a:cubicBezTo>
                    <a:cubicBezTo>
                      <a:pt x="6" y="38"/>
                      <a:pt x="7" y="38"/>
                      <a:pt x="7" y="38"/>
                    </a:cubicBezTo>
                    <a:cubicBezTo>
                      <a:pt x="7" y="38"/>
                      <a:pt x="7" y="38"/>
                      <a:pt x="6" y="38"/>
                    </a:cubicBezTo>
                    <a:cubicBezTo>
                      <a:pt x="6" y="38"/>
                      <a:pt x="6" y="38"/>
                      <a:pt x="6" y="38"/>
                    </a:cubicBezTo>
                    <a:cubicBezTo>
                      <a:pt x="6" y="38"/>
                      <a:pt x="6" y="38"/>
                      <a:pt x="7" y="38"/>
                    </a:cubicBezTo>
                    <a:cubicBezTo>
                      <a:pt x="6" y="38"/>
                      <a:pt x="6" y="39"/>
                      <a:pt x="6" y="38"/>
                    </a:cubicBezTo>
                    <a:cubicBezTo>
                      <a:pt x="6" y="38"/>
                      <a:pt x="6" y="38"/>
                      <a:pt x="6" y="38"/>
                    </a:cubicBezTo>
                    <a:cubicBezTo>
                      <a:pt x="6" y="38"/>
                      <a:pt x="6" y="38"/>
                      <a:pt x="5" y="38"/>
                    </a:cubicBezTo>
                    <a:cubicBezTo>
                      <a:pt x="5" y="38"/>
                      <a:pt x="6" y="38"/>
                      <a:pt x="6" y="38"/>
                    </a:cubicBezTo>
                    <a:cubicBezTo>
                      <a:pt x="5" y="38"/>
                      <a:pt x="5" y="38"/>
                      <a:pt x="5" y="38"/>
                    </a:cubicBezTo>
                    <a:cubicBezTo>
                      <a:pt x="5" y="38"/>
                      <a:pt x="5" y="38"/>
                      <a:pt x="6" y="38"/>
                    </a:cubicBezTo>
                    <a:cubicBezTo>
                      <a:pt x="5" y="38"/>
                      <a:pt x="5" y="38"/>
                      <a:pt x="5" y="38"/>
                    </a:cubicBezTo>
                    <a:cubicBezTo>
                      <a:pt x="5" y="38"/>
                      <a:pt x="5" y="38"/>
                      <a:pt x="5" y="38"/>
                    </a:cubicBezTo>
                    <a:cubicBezTo>
                      <a:pt x="5" y="38"/>
                      <a:pt x="5" y="38"/>
                      <a:pt x="5" y="38"/>
                    </a:cubicBezTo>
                    <a:cubicBezTo>
                      <a:pt x="5" y="38"/>
                      <a:pt x="6" y="37"/>
                      <a:pt x="6" y="37"/>
                    </a:cubicBezTo>
                    <a:cubicBezTo>
                      <a:pt x="6" y="37"/>
                      <a:pt x="6" y="37"/>
                      <a:pt x="6" y="37"/>
                    </a:cubicBezTo>
                    <a:cubicBezTo>
                      <a:pt x="5" y="37"/>
                      <a:pt x="5" y="37"/>
                      <a:pt x="4" y="37"/>
                    </a:cubicBezTo>
                    <a:cubicBezTo>
                      <a:pt x="4" y="37"/>
                      <a:pt x="4" y="37"/>
                      <a:pt x="4" y="37"/>
                    </a:cubicBezTo>
                    <a:cubicBezTo>
                      <a:pt x="4" y="37"/>
                      <a:pt x="4" y="37"/>
                      <a:pt x="4" y="37"/>
                    </a:cubicBezTo>
                    <a:cubicBezTo>
                      <a:pt x="4" y="37"/>
                      <a:pt x="4" y="37"/>
                      <a:pt x="4" y="37"/>
                    </a:cubicBezTo>
                    <a:cubicBezTo>
                      <a:pt x="4" y="37"/>
                      <a:pt x="4" y="37"/>
                      <a:pt x="4" y="37"/>
                    </a:cubicBezTo>
                    <a:cubicBezTo>
                      <a:pt x="4" y="37"/>
                      <a:pt x="4" y="37"/>
                      <a:pt x="4" y="37"/>
                    </a:cubicBezTo>
                    <a:cubicBezTo>
                      <a:pt x="4" y="37"/>
                      <a:pt x="4" y="37"/>
                      <a:pt x="3" y="37"/>
                    </a:cubicBezTo>
                    <a:cubicBezTo>
                      <a:pt x="3" y="37"/>
                      <a:pt x="3" y="37"/>
                      <a:pt x="3" y="37"/>
                    </a:cubicBezTo>
                    <a:cubicBezTo>
                      <a:pt x="3" y="37"/>
                      <a:pt x="4" y="37"/>
                      <a:pt x="4" y="37"/>
                    </a:cubicBezTo>
                    <a:cubicBezTo>
                      <a:pt x="4" y="37"/>
                      <a:pt x="3" y="37"/>
                      <a:pt x="3" y="37"/>
                    </a:cubicBezTo>
                    <a:cubicBezTo>
                      <a:pt x="3" y="37"/>
                      <a:pt x="3" y="37"/>
                      <a:pt x="3" y="37"/>
                    </a:cubicBezTo>
                    <a:cubicBezTo>
                      <a:pt x="3" y="37"/>
                      <a:pt x="3" y="37"/>
                      <a:pt x="4" y="37"/>
                    </a:cubicBezTo>
                    <a:cubicBezTo>
                      <a:pt x="3" y="37"/>
                      <a:pt x="3" y="37"/>
                      <a:pt x="3" y="36"/>
                    </a:cubicBezTo>
                    <a:cubicBezTo>
                      <a:pt x="4" y="36"/>
                      <a:pt x="4" y="36"/>
                      <a:pt x="4" y="36"/>
                    </a:cubicBezTo>
                    <a:cubicBezTo>
                      <a:pt x="3" y="36"/>
                      <a:pt x="2" y="36"/>
                      <a:pt x="2" y="36"/>
                    </a:cubicBezTo>
                    <a:cubicBezTo>
                      <a:pt x="2" y="36"/>
                      <a:pt x="2" y="36"/>
                      <a:pt x="2" y="36"/>
                    </a:cubicBezTo>
                    <a:cubicBezTo>
                      <a:pt x="2" y="36"/>
                      <a:pt x="2" y="36"/>
                      <a:pt x="2" y="35"/>
                    </a:cubicBezTo>
                    <a:cubicBezTo>
                      <a:pt x="2" y="35"/>
                      <a:pt x="2" y="35"/>
                      <a:pt x="2" y="35"/>
                    </a:cubicBezTo>
                    <a:cubicBezTo>
                      <a:pt x="2" y="35"/>
                      <a:pt x="2" y="35"/>
                      <a:pt x="2" y="35"/>
                    </a:cubicBezTo>
                    <a:cubicBezTo>
                      <a:pt x="2" y="35"/>
                      <a:pt x="2" y="35"/>
                      <a:pt x="2" y="35"/>
                    </a:cubicBezTo>
                    <a:cubicBezTo>
                      <a:pt x="2" y="35"/>
                      <a:pt x="2" y="35"/>
                      <a:pt x="1" y="35"/>
                    </a:cubicBezTo>
                    <a:cubicBezTo>
                      <a:pt x="2" y="35"/>
                      <a:pt x="2" y="35"/>
                      <a:pt x="3" y="35"/>
                    </a:cubicBezTo>
                    <a:cubicBezTo>
                      <a:pt x="2" y="35"/>
                      <a:pt x="2" y="35"/>
                      <a:pt x="1" y="35"/>
                    </a:cubicBezTo>
                    <a:cubicBezTo>
                      <a:pt x="2" y="35"/>
                      <a:pt x="2" y="35"/>
                      <a:pt x="2" y="35"/>
                    </a:cubicBezTo>
                    <a:cubicBezTo>
                      <a:pt x="2" y="35"/>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ubicBezTo>
                      <a:pt x="2" y="34"/>
                      <a:pt x="2" y="33"/>
                      <a:pt x="2" y="33"/>
                    </a:cubicBezTo>
                    <a:cubicBezTo>
                      <a:pt x="2" y="33"/>
                      <a:pt x="2" y="33"/>
                      <a:pt x="2" y="33"/>
                    </a:cubicBezTo>
                    <a:cubicBezTo>
                      <a:pt x="2" y="33"/>
                      <a:pt x="2" y="33"/>
                      <a:pt x="2" y="33"/>
                    </a:cubicBezTo>
                    <a:cubicBezTo>
                      <a:pt x="2" y="33"/>
                      <a:pt x="2" y="33"/>
                      <a:pt x="2" y="33"/>
                    </a:cubicBezTo>
                    <a:cubicBezTo>
                      <a:pt x="2" y="33"/>
                      <a:pt x="2" y="33"/>
                      <a:pt x="2" y="32"/>
                    </a:cubicBezTo>
                    <a:cubicBezTo>
                      <a:pt x="2" y="33"/>
                      <a:pt x="2" y="33"/>
                      <a:pt x="2" y="33"/>
                    </a:cubicBezTo>
                    <a:cubicBezTo>
                      <a:pt x="2" y="32"/>
                      <a:pt x="2" y="32"/>
                      <a:pt x="2" y="32"/>
                    </a:cubicBezTo>
                    <a:cubicBezTo>
                      <a:pt x="2" y="32"/>
                      <a:pt x="2" y="32"/>
                      <a:pt x="2" y="32"/>
                    </a:cubicBezTo>
                    <a:cubicBezTo>
                      <a:pt x="2" y="32"/>
                      <a:pt x="2" y="32"/>
                      <a:pt x="3" y="33"/>
                    </a:cubicBezTo>
                    <a:cubicBezTo>
                      <a:pt x="2" y="32"/>
                      <a:pt x="2" y="32"/>
                      <a:pt x="2" y="32"/>
                    </a:cubicBezTo>
                    <a:cubicBezTo>
                      <a:pt x="2" y="32"/>
                      <a:pt x="3" y="33"/>
                      <a:pt x="3" y="33"/>
                    </a:cubicBezTo>
                    <a:cubicBezTo>
                      <a:pt x="3" y="33"/>
                      <a:pt x="3" y="33"/>
                      <a:pt x="3" y="32"/>
                    </a:cubicBezTo>
                    <a:cubicBezTo>
                      <a:pt x="3" y="33"/>
                      <a:pt x="3" y="33"/>
                      <a:pt x="3" y="33"/>
                    </a:cubicBezTo>
                    <a:cubicBezTo>
                      <a:pt x="3" y="33"/>
                      <a:pt x="3" y="33"/>
                      <a:pt x="3" y="32"/>
                    </a:cubicBezTo>
                    <a:cubicBezTo>
                      <a:pt x="3" y="32"/>
                      <a:pt x="3" y="32"/>
                      <a:pt x="3" y="32"/>
                    </a:cubicBezTo>
                    <a:cubicBezTo>
                      <a:pt x="3" y="33"/>
                      <a:pt x="4" y="33"/>
                      <a:pt x="4" y="34"/>
                    </a:cubicBezTo>
                    <a:cubicBezTo>
                      <a:pt x="4" y="34"/>
                      <a:pt x="4" y="33"/>
                      <a:pt x="4" y="33"/>
                    </a:cubicBezTo>
                    <a:cubicBezTo>
                      <a:pt x="4" y="33"/>
                      <a:pt x="4" y="34"/>
                      <a:pt x="4" y="34"/>
                    </a:cubicBezTo>
                    <a:cubicBezTo>
                      <a:pt x="4" y="33"/>
                      <a:pt x="4" y="33"/>
                      <a:pt x="4" y="33"/>
                    </a:cubicBezTo>
                    <a:cubicBezTo>
                      <a:pt x="4" y="33"/>
                      <a:pt x="5" y="34"/>
                      <a:pt x="5" y="34"/>
                    </a:cubicBezTo>
                    <a:cubicBezTo>
                      <a:pt x="5" y="34"/>
                      <a:pt x="4" y="33"/>
                      <a:pt x="4" y="33"/>
                    </a:cubicBezTo>
                    <a:cubicBezTo>
                      <a:pt x="5" y="34"/>
                      <a:pt x="5" y="34"/>
                      <a:pt x="6" y="35"/>
                    </a:cubicBezTo>
                    <a:cubicBezTo>
                      <a:pt x="6" y="35"/>
                      <a:pt x="6" y="35"/>
                      <a:pt x="6" y="35"/>
                    </a:cubicBezTo>
                    <a:cubicBezTo>
                      <a:pt x="6" y="35"/>
                      <a:pt x="6" y="35"/>
                      <a:pt x="6" y="35"/>
                    </a:cubicBezTo>
                    <a:cubicBezTo>
                      <a:pt x="6" y="34"/>
                      <a:pt x="6" y="34"/>
                      <a:pt x="6" y="34"/>
                    </a:cubicBezTo>
                    <a:cubicBezTo>
                      <a:pt x="6" y="34"/>
                      <a:pt x="6" y="34"/>
                      <a:pt x="6" y="34"/>
                    </a:cubicBezTo>
                    <a:cubicBezTo>
                      <a:pt x="6" y="34"/>
                      <a:pt x="6" y="34"/>
                      <a:pt x="6" y="34"/>
                    </a:cubicBezTo>
                    <a:cubicBezTo>
                      <a:pt x="6" y="34"/>
                      <a:pt x="6" y="34"/>
                      <a:pt x="6" y="34"/>
                    </a:cubicBezTo>
                    <a:cubicBezTo>
                      <a:pt x="6" y="34"/>
                      <a:pt x="6" y="34"/>
                      <a:pt x="6" y="34"/>
                    </a:cubicBezTo>
                    <a:cubicBezTo>
                      <a:pt x="6" y="34"/>
                      <a:pt x="6" y="34"/>
                      <a:pt x="6" y="35"/>
                    </a:cubicBezTo>
                    <a:cubicBezTo>
                      <a:pt x="6" y="34"/>
                      <a:pt x="6" y="34"/>
                      <a:pt x="6" y="34"/>
                    </a:cubicBezTo>
                    <a:cubicBezTo>
                      <a:pt x="6" y="34"/>
                      <a:pt x="6" y="34"/>
                      <a:pt x="6" y="34"/>
                    </a:cubicBezTo>
                    <a:cubicBezTo>
                      <a:pt x="7" y="35"/>
                      <a:pt x="7" y="35"/>
                      <a:pt x="7" y="35"/>
                    </a:cubicBezTo>
                    <a:cubicBezTo>
                      <a:pt x="7" y="35"/>
                      <a:pt x="7" y="34"/>
                      <a:pt x="7" y="34"/>
                    </a:cubicBezTo>
                    <a:cubicBezTo>
                      <a:pt x="7" y="34"/>
                      <a:pt x="7" y="34"/>
                      <a:pt x="7" y="34"/>
                    </a:cubicBezTo>
                    <a:cubicBezTo>
                      <a:pt x="7" y="34"/>
                      <a:pt x="7" y="34"/>
                      <a:pt x="7" y="34"/>
                    </a:cubicBezTo>
                    <a:cubicBezTo>
                      <a:pt x="7" y="34"/>
                      <a:pt x="7" y="34"/>
                      <a:pt x="7" y="34"/>
                    </a:cubicBezTo>
                    <a:cubicBezTo>
                      <a:pt x="7" y="34"/>
                      <a:pt x="7" y="35"/>
                      <a:pt x="8" y="35"/>
                    </a:cubicBezTo>
                    <a:cubicBezTo>
                      <a:pt x="8" y="35"/>
                      <a:pt x="8" y="35"/>
                      <a:pt x="8" y="35"/>
                    </a:cubicBezTo>
                    <a:cubicBezTo>
                      <a:pt x="8" y="35"/>
                      <a:pt x="8" y="35"/>
                      <a:pt x="8" y="36"/>
                    </a:cubicBezTo>
                    <a:cubicBezTo>
                      <a:pt x="8" y="35"/>
                      <a:pt x="8" y="35"/>
                      <a:pt x="8" y="35"/>
                    </a:cubicBezTo>
                    <a:cubicBezTo>
                      <a:pt x="8" y="35"/>
                      <a:pt x="8" y="35"/>
                      <a:pt x="8" y="36"/>
                    </a:cubicBezTo>
                    <a:cubicBezTo>
                      <a:pt x="9" y="36"/>
                      <a:pt x="9" y="36"/>
                      <a:pt x="9" y="36"/>
                    </a:cubicBezTo>
                    <a:cubicBezTo>
                      <a:pt x="9" y="35"/>
                      <a:pt x="8" y="35"/>
                      <a:pt x="8" y="35"/>
                    </a:cubicBezTo>
                    <a:cubicBezTo>
                      <a:pt x="8"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10" y="35"/>
                    </a:cubicBezTo>
                    <a:cubicBezTo>
                      <a:pt x="10" y="35"/>
                      <a:pt x="9" y="35"/>
                      <a:pt x="9" y="35"/>
                    </a:cubicBezTo>
                    <a:cubicBezTo>
                      <a:pt x="9" y="35"/>
                      <a:pt x="10" y="35"/>
                      <a:pt x="10" y="35"/>
                    </a:cubicBezTo>
                    <a:cubicBezTo>
                      <a:pt x="10" y="35"/>
                      <a:pt x="10" y="36"/>
                      <a:pt x="10" y="36"/>
                    </a:cubicBezTo>
                    <a:cubicBezTo>
                      <a:pt x="10" y="36"/>
                      <a:pt x="10" y="35"/>
                      <a:pt x="10" y="35"/>
                    </a:cubicBezTo>
                    <a:cubicBezTo>
                      <a:pt x="10" y="35"/>
                      <a:pt x="11" y="35"/>
                      <a:pt x="11" y="35"/>
                    </a:cubicBezTo>
                    <a:cubicBezTo>
                      <a:pt x="11" y="35"/>
                      <a:pt x="11" y="35"/>
                      <a:pt x="11" y="35"/>
                    </a:cubicBezTo>
                    <a:cubicBezTo>
                      <a:pt x="11" y="35"/>
                      <a:pt x="11" y="35"/>
                      <a:pt x="11" y="36"/>
                    </a:cubicBezTo>
                    <a:cubicBezTo>
                      <a:pt x="11" y="36"/>
                      <a:pt x="11" y="35"/>
                      <a:pt x="11" y="35"/>
                    </a:cubicBezTo>
                    <a:cubicBezTo>
                      <a:pt x="11" y="36"/>
                      <a:pt x="11" y="36"/>
                      <a:pt x="11" y="36"/>
                    </a:cubicBezTo>
                    <a:cubicBezTo>
                      <a:pt x="11" y="36"/>
                      <a:pt x="11" y="36"/>
                      <a:pt x="11" y="36"/>
                    </a:cubicBezTo>
                    <a:cubicBezTo>
                      <a:pt x="11" y="36"/>
                      <a:pt x="11" y="36"/>
                      <a:pt x="11" y="36"/>
                    </a:cubicBezTo>
                    <a:cubicBezTo>
                      <a:pt x="11" y="36"/>
                      <a:pt x="11" y="36"/>
                      <a:pt x="11" y="36"/>
                    </a:cubicBezTo>
                    <a:cubicBezTo>
                      <a:pt x="12" y="36"/>
                      <a:pt x="12" y="36"/>
                      <a:pt x="12" y="36"/>
                    </a:cubicBezTo>
                    <a:cubicBezTo>
                      <a:pt x="12" y="36"/>
                      <a:pt x="11" y="36"/>
                      <a:pt x="11" y="35"/>
                    </a:cubicBezTo>
                    <a:cubicBezTo>
                      <a:pt x="12" y="36"/>
                      <a:pt x="12" y="36"/>
                      <a:pt x="12" y="36"/>
                    </a:cubicBezTo>
                    <a:cubicBezTo>
                      <a:pt x="12" y="36"/>
                      <a:pt x="12" y="36"/>
                      <a:pt x="12" y="36"/>
                    </a:cubicBezTo>
                    <a:cubicBezTo>
                      <a:pt x="12" y="36"/>
                      <a:pt x="12" y="36"/>
                      <a:pt x="12" y="36"/>
                    </a:cubicBezTo>
                    <a:cubicBezTo>
                      <a:pt x="12" y="36"/>
                      <a:pt x="12" y="36"/>
                      <a:pt x="12" y="36"/>
                    </a:cubicBezTo>
                    <a:cubicBezTo>
                      <a:pt x="12" y="36"/>
                      <a:pt x="12" y="36"/>
                      <a:pt x="12" y="35"/>
                    </a:cubicBezTo>
                    <a:cubicBezTo>
                      <a:pt x="12" y="36"/>
                      <a:pt x="12" y="36"/>
                      <a:pt x="12" y="36"/>
                    </a:cubicBezTo>
                    <a:cubicBezTo>
                      <a:pt x="12" y="36"/>
                      <a:pt x="12" y="36"/>
                      <a:pt x="12" y="36"/>
                    </a:cubicBezTo>
                    <a:cubicBezTo>
                      <a:pt x="12"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3" y="36"/>
                      <a:pt x="13" y="36"/>
                      <a:pt x="13" y="36"/>
                    </a:cubicBezTo>
                    <a:cubicBezTo>
                      <a:pt x="14" y="35"/>
                      <a:pt x="14" y="35"/>
                      <a:pt x="14" y="35"/>
                    </a:cubicBezTo>
                    <a:cubicBezTo>
                      <a:pt x="14" y="35"/>
                      <a:pt x="14" y="35"/>
                      <a:pt x="13" y="36"/>
                    </a:cubicBezTo>
                    <a:cubicBezTo>
                      <a:pt x="13" y="35"/>
                      <a:pt x="13" y="35"/>
                      <a:pt x="13" y="35"/>
                    </a:cubicBezTo>
                    <a:cubicBezTo>
                      <a:pt x="13" y="35"/>
                      <a:pt x="13" y="35"/>
                      <a:pt x="13" y="35"/>
                    </a:cubicBezTo>
                    <a:cubicBezTo>
                      <a:pt x="13" y="35"/>
                      <a:pt x="14" y="35"/>
                      <a:pt x="14" y="35"/>
                    </a:cubicBezTo>
                    <a:cubicBezTo>
                      <a:pt x="13" y="35"/>
                      <a:pt x="13" y="35"/>
                      <a:pt x="12" y="35"/>
                    </a:cubicBezTo>
                    <a:cubicBezTo>
                      <a:pt x="13" y="35"/>
                      <a:pt x="13" y="35"/>
                      <a:pt x="13" y="35"/>
                    </a:cubicBezTo>
                    <a:cubicBezTo>
                      <a:pt x="13" y="35"/>
                      <a:pt x="12" y="35"/>
                      <a:pt x="12" y="35"/>
                    </a:cubicBezTo>
                    <a:cubicBezTo>
                      <a:pt x="12" y="35"/>
                      <a:pt x="12" y="35"/>
                      <a:pt x="12" y="35"/>
                    </a:cubicBezTo>
                    <a:cubicBezTo>
                      <a:pt x="12" y="35"/>
                      <a:pt x="12" y="35"/>
                      <a:pt x="12" y="35"/>
                    </a:cubicBezTo>
                    <a:cubicBezTo>
                      <a:pt x="12" y="35"/>
                      <a:pt x="12" y="35"/>
                      <a:pt x="13" y="35"/>
                    </a:cubicBezTo>
                    <a:cubicBezTo>
                      <a:pt x="12" y="35"/>
                      <a:pt x="12" y="35"/>
                      <a:pt x="12" y="35"/>
                    </a:cubicBezTo>
                    <a:cubicBezTo>
                      <a:pt x="12" y="35"/>
                      <a:pt x="12" y="35"/>
                      <a:pt x="12" y="35"/>
                    </a:cubicBezTo>
                    <a:cubicBezTo>
                      <a:pt x="12" y="35"/>
                      <a:pt x="12"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5"/>
                      <a:pt x="11" y="35"/>
                      <a:pt x="11" y="35"/>
                    </a:cubicBezTo>
                    <a:cubicBezTo>
                      <a:pt x="11" y="34"/>
                      <a:pt x="11" y="34"/>
                      <a:pt x="11" y="34"/>
                    </a:cubicBezTo>
                    <a:cubicBezTo>
                      <a:pt x="11" y="34"/>
                      <a:pt x="10" y="34"/>
                      <a:pt x="10" y="34"/>
                    </a:cubicBezTo>
                    <a:cubicBezTo>
                      <a:pt x="10" y="34"/>
                      <a:pt x="10" y="34"/>
                      <a:pt x="11" y="34"/>
                    </a:cubicBezTo>
                    <a:cubicBezTo>
                      <a:pt x="11" y="34"/>
                      <a:pt x="10" y="34"/>
                      <a:pt x="10" y="34"/>
                    </a:cubicBezTo>
                    <a:cubicBezTo>
                      <a:pt x="10" y="34"/>
                      <a:pt x="10" y="34"/>
                      <a:pt x="10" y="34"/>
                    </a:cubicBezTo>
                    <a:cubicBezTo>
                      <a:pt x="10" y="34"/>
                      <a:pt x="10" y="34"/>
                      <a:pt x="10" y="34"/>
                    </a:cubicBezTo>
                    <a:cubicBezTo>
                      <a:pt x="10" y="34"/>
                      <a:pt x="10" y="34"/>
                      <a:pt x="10" y="34"/>
                    </a:cubicBezTo>
                    <a:cubicBezTo>
                      <a:pt x="10" y="34"/>
                      <a:pt x="10" y="34"/>
                      <a:pt x="9"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4"/>
                      <a:pt x="10" y="34"/>
                      <a:pt x="10" y="34"/>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9" y="33"/>
                      <a:pt x="9" y="33"/>
                    </a:cubicBezTo>
                    <a:cubicBezTo>
                      <a:pt x="9"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7" y="33"/>
                      <a:pt x="7" y="33"/>
                      <a:pt x="7" y="33"/>
                    </a:cubicBezTo>
                    <a:cubicBezTo>
                      <a:pt x="7" y="33"/>
                      <a:pt x="7" y="33"/>
                      <a:pt x="7" y="33"/>
                    </a:cubicBezTo>
                    <a:cubicBezTo>
                      <a:pt x="7" y="33"/>
                      <a:pt x="7" y="33"/>
                      <a:pt x="7" y="33"/>
                    </a:cubicBezTo>
                    <a:cubicBezTo>
                      <a:pt x="7" y="33"/>
                      <a:pt x="7" y="33"/>
                      <a:pt x="7" y="33"/>
                    </a:cubicBezTo>
                    <a:cubicBezTo>
                      <a:pt x="6" y="33"/>
                      <a:pt x="6" y="33"/>
                      <a:pt x="6" y="33"/>
                    </a:cubicBezTo>
                    <a:cubicBezTo>
                      <a:pt x="6" y="33"/>
                      <a:pt x="6" y="33"/>
                      <a:pt x="6" y="33"/>
                    </a:cubicBezTo>
                    <a:cubicBezTo>
                      <a:pt x="6" y="33"/>
                      <a:pt x="6" y="33"/>
                      <a:pt x="6" y="33"/>
                    </a:cubicBezTo>
                    <a:cubicBezTo>
                      <a:pt x="6" y="33"/>
                      <a:pt x="6" y="33"/>
                      <a:pt x="6" y="33"/>
                    </a:cubicBezTo>
                    <a:cubicBezTo>
                      <a:pt x="6" y="33"/>
                      <a:pt x="6" y="33"/>
                      <a:pt x="6" y="33"/>
                    </a:cubicBezTo>
                    <a:cubicBezTo>
                      <a:pt x="6" y="33"/>
                      <a:pt x="6" y="33"/>
                      <a:pt x="6" y="33"/>
                    </a:cubicBezTo>
                    <a:cubicBezTo>
                      <a:pt x="6" y="33"/>
                      <a:pt x="6" y="33"/>
                      <a:pt x="6" y="33"/>
                    </a:cubicBezTo>
                    <a:cubicBezTo>
                      <a:pt x="6" y="33"/>
                      <a:pt x="6" y="33"/>
                      <a:pt x="6" y="33"/>
                    </a:cubicBezTo>
                    <a:cubicBezTo>
                      <a:pt x="6" y="33"/>
                      <a:pt x="6" y="33"/>
                      <a:pt x="5" y="33"/>
                    </a:cubicBezTo>
                    <a:cubicBezTo>
                      <a:pt x="5" y="33"/>
                      <a:pt x="6" y="33"/>
                      <a:pt x="6" y="33"/>
                    </a:cubicBezTo>
                    <a:cubicBezTo>
                      <a:pt x="5" y="33"/>
                      <a:pt x="5" y="33"/>
                      <a:pt x="5" y="33"/>
                    </a:cubicBezTo>
                    <a:cubicBezTo>
                      <a:pt x="5" y="33"/>
                      <a:pt x="5" y="33"/>
                      <a:pt x="5" y="33"/>
                    </a:cubicBezTo>
                    <a:cubicBezTo>
                      <a:pt x="5" y="33"/>
                      <a:pt x="5" y="33"/>
                      <a:pt x="5" y="33"/>
                    </a:cubicBezTo>
                    <a:cubicBezTo>
                      <a:pt x="5" y="33"/>
                      <a:pt x="5" y="33"/>
                      <a:pt x="4" y="33"/>
                    </a:cubicBezTo>
                    <a:cubicBezTo>
                      <a:pt x="4" y="33"/>
                      <a:pt x="5" y="33"/>
                      <a:pt x="5" y="32"/>
                    </a:cubicBezTo>
                    <a:cubicBezTo>
                      <a:pt x="4" y="32"/>
                      <a:pt x="4" y="32"/>
                      <a:pt x="4" y="32"/>
                    </a:cubicBezTo>
                    <a:cubicBezTo>
                      <a:pt x="4" y="32"/>
                      <a:pt x="4" y="32"/>
                      <a:pt x="4" y="32"/>
                    </a:cubicBezTo>
                    <a:cubicBezTo>
                      <a:pt x="4" y="32"/>
                      <a:pt x="4" y="32"/>
                      <a:pt x="4" y="32"/>
                    </a:cubicBezTo>
                    <a:cubicBezTo>
                      <a:pt x="4" y="32"/>
                      <a:pt x="4" y="32"/>
                      <a:pt x="4" y="32"/>
                    </a:cubicBezTo>
                    <a:cubicBezTo>
                      <a:pt x="4" y="32"/>
                      <a:pt x="4" y="32"/>
                      <a:pt x="4" y="32"/>
                    </a:cubicBezTo>
                    <a:cubicBezTo>
                      <a:pt x="4" y="32"/>
                      <a:pt x="4" y="32"/>
                      <a:pt x="4" y="32"/>
                    </a:cubicBezTo>
                    <a:cubicBezTo>
                      <a:pt x="4" y="32"/>
                      <a:pt x="4" y="32"/>
                      <a:pt x="3" y="32"/>
                    </a:cubicBezTo>
                    <a:cubicBezTo>
                      <a:pt x="4" y="32"/>
                      <a:pt x="4" y="32"/>
                      <a:pt x="4" y="31"/>
                    </a:cubicBezTo>
                    <a:cubicBezTo>
                      <a:pt x="4" y="31"/>
                      <a:pt x="4" y="31"/>
                      <a:pt x="4" y="31"/>
                    </a:cubicBezTo>
                    <a:cubicBezTo>
                      <a:pt x="4" y="31"/>
                      <a:pt x="4" y="31"/>
                      <a:pt x="4" y="31"/>
                    </a:cubicBezTo>
                    <a:cubicBezTo>
                      <a:pt x="4" y="31"/>
                      <a:pt x="4" y="31"/>
                      <a:pt x="4" y="31"/>
                    </a:cubicBezTo>
                    <a:cubicBezTo>
                      <a:pt x="4" y="31"/>
                      <a:pt x="4" y="31"/>
                      <a:pt x="4" y="31"/>
                    </a:cubicBezTo>
                    <a:cubicBezTo>
                      <a:pt x="4" y="31"/>
                      <a:pt x="3" y="31"/>
                      <a:pt x="3" y="31"/>
                    </a:cubicBezTo>
                    <a:cubicBezTo>
                      <a:pt x="3" y="31"/>
                      <a:pt x="3" y="31"/>
                      <a:pt x="4" y="31"/>
                    </a:cubicBezTo>
                    <a:cubicBezTo>
                      <a:pt x="4" y="31"/>
                      <a:pt x="4" y="31"/>
                      <a:pt x="4" y="31"/>
                    </a:cubicBezTo>
                    <a:cubicBezTo>
                      <a:pt x="4" y="31"/>
                      <a:pt x="3" y="31"/>
                      <a:pt x="3" y="31"/>
                    </a:cubicBezTo>
                    <a:cubicBezTo>
                      <a:pt x="3" y="31"/>
                      <a:pt x="4" y="31"/>
                      <a:pt x="4" y="31"/>
                    </a:cubicBezTo>
                    <a:cubicBezTo>
                      <a:pt x="4" y="31"/>
                      <a:pt x="3" y="31"/>
                      <a:pt x="3" y="31"/>
                    </a:cubicBezTo>
                    <a:cubicBezTo>
                      <a:pt x="4" y="31"/>
                      <a:pt x="4" y="31"/>
                      <a:pt x="4" y="31"/>
                    </a:cubicBezTo>
                    <a:cubicBezTo>
                      <a:pt x="4" y="31"/>
                      <a:pt x="3" y="31"/>
                      <a:pt x="3" y="31"/>
                    </a:cubicBezTo>
                    <a:cubicBezTo>
                      <a:pt x="3" y="31"/>
                      <a:pt x="3" y="31"/>
                      <a:pt x="3" y="31"/>
                    </a:cubicBezTo>
                    <a:cubicBezTo>
                      <a:pt x="3" y="31"/>
                      <a:pt x="3" y="31"/>
                      <a:pt x="3" y="31"/>
                    </a:cubicBezTo>
                    <a:cubicBezTo>
                      <a:pt x="3" y="31"/>
                      <a:pt x="3" y="31"/>
                      <a:pt x="3" y="31"/>
                    </a:cubicBezTo>
                    <a:cubicBezTo>
                      <a:pt x="3" y="31"/>
                      <a:pt x="2" y="31"/>
                      <a:pt x="2" y="31"/>
                    </a:cubicBezTo>
                    <a:cubicBezTo>
                      <a:pt x="2" y="31"/>
                      <a:pt x="3" y="31"/>
                      <a:pt x="3" y="31"/>
                    </a:cubicBezTo>
                    <a:cubicBezTo>
                      <a:pt x="3" y="31"/>
                      <a:pt x="2" y="31"/>
                      <a:pt x="2" y="31"/>
                    </a:cubicBezTo>
                    <a:cubicBezTo>
                      <a:pt x="2" y="31"/>
                      <a:pt x="2" y="31"/>
                      <a:pt x="2" y="31"/>
                    </a:cubicBezTo>
                    <a:cubicBezTo>
                      <a:pt x="2" y="31"/>
                      <a:pt x="2" y="31"/>
                      <a:pt x="2" y="31"/>
                    </a:cubicBezTo>
                    <a:cubicBezTo>
                      <a:pt x="2" y="31"/>
                      <a:pt x="3" y="31"/>
                      <a:pt x="3" y="30"/>
                    </a:cubicBezTo>
                    <a:cubicBezTo>
                      <a:pt x="2" y="30"/>
                      <a:pt x="2" y="31"/>
                      <a:pt x="1" y="31"/>
                    </a:cubicBezTo>
                    <a:cubicBezTo>
                      <a:pt x="2" y="31"/>
                      <a:pt x="2" y="30"/>
                      <a:pt x="2" y="30"/>
                    </a:cubicBezTo>
                    <a:cubicBezTo>
                      <a:pt x="2" y="30"/>
                      <a:pt x="2" y="30"/>
                      <a:pt x="2" y="30"/>
                    </a:cubicBezTo>
                    <a:cubicBezTo>
                      <a:pt x="2" y="30"/>
                      <a:pt x="2" y="30"/>
                      <a:pt x="2" y="30"/>
                    </a:cubicBezTo>
                    <a:cubicBezTo>
                      <a:pt x="2" y="30"/>
                      <a:pt x="1" y="30"/>
                      <a:pt x="1" y="30"/>
                    </a:cubicBezTo>
                    <a:cubicBezTo>
                      <a:pt x="2" y="30"/>
                      <a:pt x="2" y="30"/>
                      <a:pt x="2" y="30"/>
                    </a:cubicBezTo>
                    <a:cubicBezTo>
                      <a:pt x="2" y="30"/>
                      <a:pt x="2" y="30"/>
                      <a:pt x="2" y="30"/>
                    </a:cubicBezTo>
                    <a:cubicBezTo>
                      <a:pt x="2" y="30"/>
                      <a:pt x="2" y="30"/>
                      <a:pt x="2" y="30"/>
                    </a:cubicBezTo>
                    <a:cubicBezTo>
                      <a:pt x="2" y="30"/>
                      <a:pt x="1" y="30"/>
                      <a:pt x="1" y="30"/>
                    </a:cubicBezTo>
                    <a:cubicBezTo>
                      <a:pt x="1" y="30"/>
                      <a:pt x="2" y="30"/>
                      <a:pt x="2" y="30"/>
                    </a:cubicBezTo>
                    <a:cubicBezTo>
                      <a:pt x="1" y="30"/>
                      <a:pt x="1" y="30"/>
                      <a:pt x="1" y="30"/>
                    </a:cubicBezTo>
                    <a:cubicBezTo>
                      <a:pt x="1" y="30"/>
                      <a:pt x="1" y="30"/>
                      <a:pt x="1" y="30"/>
                    </a:cubicBezTo>
                    <a:cubicBezTo>
                      <a:pt x="1" y="30"/>
                      <a:pt x="1" y="30"/>
                      <a:pt x="1" y="29"/>
                    </a:cubicBezTo>
                    <a:cubicBezTo>
                      <a:pt x="1" y="29"/>
                      <a:pt x="1" y="29"/>
                      <a:pt x="1" y="29"/>
                    </a:cubicBezTo>
                    <a:cubicBezTo>
                      <a:pt x="1" y="29"/>
                      <a:pt x="1" y="29"/>
                      <a:pt x="1" y="29"/>
                    </a:cubicBezTo>
                    <a:cubicBezTo>
                      <a:pt x="1" y="29"/>
                      <a:pt x="1" y="29"/>
                      <a:pt x="0" y="29"/>
                    </a:cubicBezTo>
                    <a:cubicBezTo>
                      <a:pt x="1" y="29"/>
                      <a:pt x="1" y="29"/>
                      <a:pt x="1" y="29"/>
                    </a:cubicBezTo>
                    <a:cubicBezTo>
                      <a:pt x="1" y="29"/>
                      <a:pt x="1" y="29"/>
                      <a:pt x="1" y="29"/>
                    </a:cubicBezTo>
                    <a:cubicBezTo>
                      <a:pt x="1" y="29"/>
                      <a:pt x="1" y="29"/>
                      <a:pt x="1" y="29"/>
                    </a:cubicBezTo>
                    <a:cubicBezTo>
                      <a:pt x="1" y="29"/>
                      <a:pt x="0" y="29"/>
                      <a:pt x="0" y="29"/>
                    </a:cubicBezTo>
                    <a:cubicBezTo>
                      <a:pt x="0" y="29"/>
                      <a:pt x="1" y="29"/>
                      <a:pt x="1" y="29"/>
                    </a:cubicBezTo>
                    <a:cubicBezTo>
                      <a:pt x="1" y="29"/>
                      <a:pt x="1" y="29"/>
                      <a:pt x="0" y="28"/>
                    </a:cubicBezTo>
                    <a:cubicBezTo>
                      <a:pt x="0" y="28"/>
                      <a:pt x="1" y="28"/>
                      <a:pt x="1" y="28"/>
                    </a:cubicBezTo>
                    <a:cubicBezTo>
                      <a:pt x="1" y="28"/>
                      <a:pt x="1" y="28"/>
                      <a:pt x="1" y="28"/>
                    </a:cubicBezTo>
                    <a:cubicBezTo>
                      <a:pt x="1" y="28"/>
                      <a:pt x="1" y="28"/>
                      <a:pt x="1" y="28"/>
                    </a:cubicBezTo>
                    <a:cubicBezTo>
                      <a:pt x="1" y="28"/>
                      <a:pt x="1" y="28"/>
                      <a:pt x="1" y="28"/>
                    </a:cubicBezTo>
                    <a:cubicBezTo>
                      <a:pt x="1" y="28"/>
                      <a:pt x="1" y="28"/>
                      <a:pt x="1" y="28"/>
                    </a:cubicBezTo>
                    <a:cubicBezTo>
                      <a:pt x="1" y="28"/>
                      <a:pt x="1" y="28"/>
                      <a:pt x="0" y="27"/>
                    </a:cubicBezTo>
                    <a:cubicBezTo>
                      <a:pt x="0" y="27"/>
                      <a:pt x="0" y="27"/>
                      <a:pt x="0" y="27"/>
                    </a:cubicBezTo>
                    <a:cubicBezTo>
                      <a:pt x="1" y="27"/>
                      <a:pt x="1" y="27"/>
                      <a:pt x="1" y="27"/>
                    </a:cubicBezTo>
                    <a:cubicBezTo>
                      <a:pt x="1" y="27"/>
                      <a:pt x="1" y="27"/>
                      <a:pt x="1" y="27"/>
                    </a:cubicBezTo>
                    <a:cubicBezTo>
                      <a:pt x="1" y="27"/>
                      <a:pt x="1" y="27"/>
                      <a:pt x="1" y="28"/>
                    </a:cubicBezTo>
                    <a:cubicBezTo>
                      <a:pt x="1" y="27"/>
                      <a:pt x="1" y="27"/>
                      <a:pt x="1" y="27"/>
                    </a:cubicBezTo>
                    <a:cubicBezTo>
                      <a:pt x="1" y="27"/>
                      <a:pt x="1" y="28"/>
                      <a:pt x="2" y="28"/>
                    </a:cubicBezTo>
                    <a:cubicBezTo>
                      <a:pt x="2" y="28"/>
                      <a:pt x="2" y="28"/>
                      <a:pt x="2" y="28"/>
                    </a:cubicBezTo>
                    <a:cubicBezTo>
                      <a:pt x="2" y="28"/>
                      <a:pt x="2" y="28"/>
                      <a:pt x="2" y="28"/>
                    </a:cubicBezTo>
                    <a:cubicBezTo>
                      <a:pt x="2" y="28"/>
                      <a:pt x="2" y="28"/>
                      <a:pt x="2" y="28"/>
                    </a:cubicBezTo>
                    <a:cubicBezTo>
                      <a:pt x="2" y="28"/>
                      <a:pt x="3" y="29"/>
                      <a:pt x="4" y="29"/>
                    </a:cubicBezTo>
                    <a:cubicBezTo>
                      <a:pt x="3" y="29"/>
                      <a:pt x="3" y="28"/>
                      <a:pt x="3" y="28"/>
                    </a:cubicBezTo>
                    <a:cubicBezTo>
                      <a:pt x="3" y="28"/>
                      <a:pt x="3" y="29"/>
                      <a:pt x="4" y="29"/>
                    </a:cubicBezTo>
                    <a:cubicBezTo>
                      <a:pt x="4" y="29"/>
                      <a:pt x="4" y="29"/>
                      <a:pt x="3" y="29"/>
                    </a:cubicBezTo>
                    <a:cubicBezTo>
                      <a:pt x="3" y="29"/>
                      <a:pt x="4" y="29"/>
                      <a:pt x="4" y="29"/>
                    </a:cubicBezTo>
                    <a:cubicBezTo>
                      <a:pt x="4" y="29"/>
                      <a:pt x="4" y="29"/>
                      <a:pt x="4" y="29"/>
                    </a:cubicBezTo>
                    <a:cubicBezTo>
                      <a:pt x="4" y="29"/>
                      <a:pt x="4" y="29"/>
                      <a:pt x="4" y="28"/>
                    </a:cubicBezTo>
                    <a:cubicBezTo>
                      <a:pt x="4" y="28"/>
                      <a:pt x="4" y="28"/>
                      <a:pt x="4" y="28"/>
                    </a:cubicBezTo>
                    <a:cubicBezTo>
                      <a:pt x="4" y="28"/>
                      <a:pt x="4" y="28"/>
                      <a:pt x="4" y="28"/>
                    </a:cubicBezTo>
                    <a:cubicBezTo>
                      <a:pt x="4" y="28"/>
                      <a:pt x="4" y="29"/>
                      <a:pt x="4" y="29"/>
                    </a:cubicBezTo>
                    <a:cubicBezTo>
                      <a:pt x="4" y="29"/>
                      <a:pt x="4" y="28"/>
                      <a:pt x="4" y="28"/>
                    </a:cubicBezTo>
                    <a:cubicBezTo>
                      <a:pt x="4" y="29"/>
                      <a:pt x="4" y="29"/>
                      <a:pt x="5" y="30"/>
                    </a:cubicBezTo>
                    <a:cubicBezTo>
                      <a:pt x="5" y="29"/>
                      <a:pt x="4" y="29"/>
                      <a:pt x="4" y="29"/>
                    </a:cubicBezTo>
                    <a:cubicBezTo>
                      <a:pt x="5" y="29"/>
                      <a:pt x="5" y="29"/>
                      <a:pt x="5" y="29"/>
                    </a:cubicBezTo>
                    <a:cubicBezTo>
                      <a:pt x="5" y="29"/>
                      <a:pt x="5" y="29"/>
                      <a:pt x="5" y="29"/>
                    </a:cubicBezTo>
                    <a:cubicBezTo>
                      <a:pt x="5" y="29"/>
                      <a:pt x="5" y="29"/>
                      <a:pt x="5" y="29"/>
                    </a:cubicBezTo>
                    <a:cubicBezTo>
                      <a:pt x="5" y="29"/>
                      <a:pt x="5" y="29"/>
                      <a:pt x="5" y="29"/>
                    </a:cubicBezTo>
                    <a:cubicBezTo>
                      <a:pt x="5" y="29"/>
                      <a:pt x="5" y="29"/>
                      <a:pt x="5" y="29"/>
                    </a:cubicBezTo>
                    <a:cubicBezTo>
                      <a:pt x="5" y="29"/>
                      <a:pt x="5" y="29"/>
                      <a:pt x="5" y="29"/>
                    </a:cubicBezTo>
                    <a:cubicBezTo>
                      <a:pt x="5" y="29"/>
                      <a:pt x="6" y="30"/>
                      <a:pt x="6" y="30"/>
                    </a:cubicBezTo>
                    <a:cubicBezTo>
                      <a:pt x="6" y="30"/>
                      <a:pt x="6" y="30"/>
                      <a:pt x="6" y="30"/>
                    </a:cubicBezTo>
                    <a:cubicBezTo>
                      <a:pt x="6" y="30"/>
                      <a:pt x="6" y="30"/>
                      <a:pt x="6" y="30"/>
                    </a:cubicBezTo>
                    <a:cubicBezTo>
                      <a:pt x="6" y="30"/>
                      <a:pt x="6" y="30"/>
                      <a:pt x="6" y="30"/>
                    </a:cubicBezTo>
                    <a:cubicBezTo>
                      <a:pt x="6" y="30"/>
                      <a:pt x="6" y="30"/>
                      <a:pt x="6" y="30"/>
                    </a:cubicBezTo>
                    <a:cubicBezTo>
                      <a:pt x="6" y="30"/>
                      <a:pt x="6" y="29"/>
                      <a:pt x="6" y="29"/>
                    </a:cubicBezTo>
                    <a:cubicBezTo>
                      <a:pt x="6" y="29"/>
                      <a:pt x="6" y="30"/>
                      <a:pt x="6" y="30"/>
                    </a:cubicBezTo>
                    <a:cubicBezTo>
                      <a:pt x="6" y="30"/>
                      <a:pt x="6" y="30"/>
                      <a:pt x="6" y="30"/>
                    </a:cubicBezTo>
                    <a:cubicBezTo>
                      <a:pt x="6" y="29"/>
                      <a:pt x="6" y="29"/>
                      <a:pt x="6" y="29"/>
                    </a:cubicBezTo>
                    <a:cubicBezTo>
                      <a:pt x="6" y="29"/>
                      <a:pt x="6" y="29"/>
                      <a:pt x="7" y="29"/>
                    </a:cubicBezTo>
                    <a:cubicBezTo>
                      <a:pt x="7" y="29"/>
                      <a:pt x="6" y="29"/>
                      <a:pt x="6" y="28"/>
                    </a:cubicBezTo>
                    <a:cubicBezTo>
                      <a:pt x="6" y="28"/>
                      <a:pt x="6" y="28"/>
                      <a:pt x="7" y="28"/>
                    </a:cubicBezTo>
                    <a:cubicBezTo>
                      <a:pt x="6" y="28"/>
                      <a:pt x="6" y="28"/>
                      <a:pt x="6" y="28"/>
                    </a:cubicBezTo>
                    <a:cubicBezTo>
                      <a:pt x="6" y="28"/>
                      <a:pt x="7" y="28"/>
                      <a:pt x="7" y="28"/>
                    </a:cubicBezTo>
                    <a:cubicBezTo>
                      <a:pt x="7" y="28"/>
                      <a:pt x="7" y="28"/>
                      <a:pt x="7" y="28"/>
                    </a:cubicBezTo>
                    <a:cubicBezTo>
                      <a:pt x="7" y="28"/>
                      <a:pt x="8" y="28"/>
                      <a:pt x="8" y="28"/>
                    </a:cubicBezTo>
                    <a:cubicBezTo>
                      <a:pt x="8" y="28"/>
                      <a:pt x="8" y="28"/>
                      <a:pt x="8" y="28"/>
                    </a:cubicBezTo>
                    <a:cubicBezTo>
                      <a:pt x="8" y="28"/>
                      <a:pt x="8" y="28"/>
                      <a:pt x="8" y="28"/>
                    </a:cubicBezTo>
                    <a:cubicBezTo>
                      <a:pt x="8" y="28"/>
                      <a:pt x="8" y="28"/>
                      <a:pt x="8" y="28"/>
                    </a:cubicBezTo>
                    <a:cubicBezTo>
                      <a:pt x="8" y="28"/>
                      <a:pt x="8" y="28"/>
                      <a:pt x="8" y="28"/>
                    </a:cubicBezTo>
                    <a:cubicBezTo>
                      <a:pt x="8" y="28"/>
                      <a:pt x="8" y="29"/>
                      <a:pt x="8" y="29"/>
                    </a:cubicBezTo>
                    <a:cubicBezTo>
                      <a:pt x="8" y="28"/>
                      <a:pt x="8" y="28"/>
                      <a:pt x="8" y="28"/>
                    </a:cubicBezTo>
                    <a:cubicBezTo>
                      <a:pt x="8" y="28"/>
                      <a:pt x="8" y="28"/>
                      <a:pt x="8" y="29"/>
                    </a:cubicBezTo>
                    <a:cubicBezTo>
                      <a:pt x="9" y="28"/>
                      <a:pt x="10" y="28"/>
                      <a:pt x="10" y="28"/>
                    </a:cubicBezTo>
                    <a:cubicBezTo>
                      <a:pt x="10" y="28"/>
                      <a:pt x="9" y="28"/>
                      <a:pt x="9" y="28"/>
                    </a:cubicBezTo>
                    <a:cubicBezTo>
                      <a:pt x="9" y="28"/>
                      <a:pt x="8" y="28"/>
                      <a:pt x="8" y="28"/>
                    </a:cubicBezTo>
                    <a:cubicBezTo>
                      <a:pt x="8" y="28"/>
                      <a:pt x="8" y="28"/>
                      <a:pt x="9" y="28"/>
                    </a:cubicBezTo>
                    <a:cubicBezTo>
                      <a:pt x="8" y="27"/>
                      <a:pt x="8" y="27"/>
                      <a:pt x="8" y="27"/>
                    </a:cubicBezTo>
                    <a:cubicBezTo>
                      <a:pt x="8" y="27"/>
                      <a:pt x="8" y="27"/>
                      <a:pt x="8" y="27"/>
                    </a:cubicBezTo>
                    <a:cubicBezTo>
                      <a:pt x="8" y="27"/>
                      <a:pt x="7" y="27"/>
                      <a:pt x="7" y="27"/>
                    </a:cubicBezTo>
                    <a:cubicBezTo>
                      <a:pt x="7" y="27"/>
                      <a:pt x="8" y="27"/>
                      <a:pt x="8" y="27"/>
                    </a:cubicBezTo>
                    <a:cubicBezTo>
                      <a:pt x="8" y="27"/>
                      <a:pt x="8" y="27"/>
                      <a:pt x="8" y="27"/>
                    </a:cubicBezTo>
                    <a:cubicBezTo>
                      <a:pt x="8" y="27"/>
                      <a:pt x="8" y="27"/>
                      <a:pt x="8" y="27"/>
                    </a:cubicBezTo>
                    <a:cubicBezTo>
                      <a:pt x="8" y="27"/>
                      <a:pt x="8" y="27"/>
                      <a:pt x="8" y="27"/>
                    </a:cubicBezTo>
                    <a:cubicBezTo>
                      <a:pt x="8" y="26"/>
                      <a:pt x="8" y="26"/>
                      <a:pt x="7" y="26"/>
                    </a:cubicBezTo>
                    <a:cubicBezTo>
                      <a:pt x="7" y="26"/>
                      <a:pt x="7" y="26"/>
                      <a:pt x="7" y="26"/>
                    </a:cubicBezTo>
                    <a:cubicBezTo>
                      <a:pt x="7" y="26"/>
                      <a:pt x="8" y="26"/>
                      <a:pt x="8" y="26"/>
                    </a:cubicBezTo>
                    <a:cubicBezTo>
                      <a:pt x="7" y="26"/>
                      <a:pt x="7" y="26"/>
                      <a:pt x="7" y="26"/>
                    </a:cubicBezTo>
                    <a:cubicBezTo>
                      <a:pt x="7" y="26"/>
                      <a:pt x="7" y="26"/>
                      <a:pt x="7" y="26"/>
                    </a:cubicBezTo>
                    <a:cubicBezTo>
                      <a:pt x="7" y="25"/>
                      <a:pt x="7" y="26"/>
                      <a:pt x="7" y="26"/>
                    </a:cubicBezTo>
                    <a:cubicBezTo>
                      <a:pt x="7" y="26"/>
                      <a:pt x="7" y="26"/>
                      <a:pt x="7" y="25"/>
                    </a:cubicBezTo>
                    <a:cubicBezTo>
                      <a:pt x="7" y="25"/>
                      <a:pt x="7" y="25"/>
                      <a:pt x="7" y="25"/>
                    </a:cubicBezTo>
                    <a:cubicBezTo>
                      <a:pt x="7" y="25"/>
                      <a:pt x="7" y="25"/>
                      <a:pt x="7" y="25"/>
                    </a:cubicBezTo>
                    <a:cubicBezTo>
                      <a:pt x="7" y="25"/>
                      <a:pt x="7" y="25"/>
                      <a:pt x="6" y="25"/>
                    </a:cubicBezTo>
                    <a:cubicBezTo>
                      <a:pt x="7" y="25"/>
                      <a:pt x="7" y="25"/>
                      <a:pt x="7" y="25"/>
                    </a:cubicBezTo>
                    <a:cubicBezTo>
                      <a:pt x="7" y="25"/>
                      <a:pt x="7" y="25"/>
                      <a:pt x="7" y="25"/>
                    </a:cubicBezTo>
                    <a:cubicBezTo>
                      <a:pt x="7" y="25"/>
                      <a:pt x="7" y="25"/>
                      <a:pt x="7" y="25"/>
                    </a:cubicBezTo>
                    <a:cubicBezTo>
                      <a:pt x="7" y="25"/>
                      <a:pt x="7" y="25"/>
                      <a:pt x="7" y="25"/>
                    </a:cubicBezTo>
                    <a:cubicBezTo>
                      <a:pt x="7" y="25"/>
                      <a:pt x="7" y="25"/>
                      <a:pt x="7" y="25"/>
                    </a:cubicBezTo>
                    <a:cubicBezTo>
                      <a:pt x="7" y="25"/>
                      <a:pt x="7" y="25"/>
                      <a:pt x="7" y="25"/>
                    </a:cubicBezTo>
                    <a:cubicBezTo>
                      <a:pt x="7" y="25"/>
                      <a:pt x="7" y="25"/>
                      <a:pt x="7" y="25"/>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6" y="25"/>
                      <a:pt x="5" y="25"/>
                      <a:pt x="5" y="25"/>
                    </a:cubicBezTo>
                    <a:cubicBezTo>
                      <a:pt x="5" y="25"/>
                      <a:pt x="5" y="25"/>
                      <a:pt x="5" y="25"/>
                    </a:cubicBezTo>
                    <a:cubicBezTo>
                      <a:pt x="5" y="25"/>
                      <a:pt x="5" y="25"/>
                      <a:pt x="5" y="25"/>
                    </a:cubicBezTo>
                    <a:cubicBezTo>
                      <a:pt x="5" y="25"/>
                      <a:pt x="4" y="25"/>
                      <a:pt x="4" y="25"/>
                    </a:cubicBezTo>
                    <a:cubicBezTo>
                      <a:pt x="4" y="25"/>
                      <a:pt x="5" y="24"/>
                      <a:pt x="5" y="24"/>
                    </a:cubicBezTo>
                    <a:cubicBezTo>
                      <a:pt x="5" y="24"/>
                      <a:pt x="4" y="23"/>
                      <a:pt x="4" y="23"/>
                    </a:cubicBezTo>
                    <a:cubicBezTo>
                      <a:pt x="5" y="23"/>
                      <a:pt x="5" y="23"/>
                      <a:pt x="5" y="23"/>
                    </a:cubicBezTo>
                    <a:cubicBezTo>
                      <a:pt x="5" y="23"/>
                      <a:pt x="5" y="23"/>
                      <a:pt x="5" y="23"/>
                    </a:cubicBezTo>
                    <a:cubicBezTo>
                      <a:pt x="5" y="23"/>
                      <a:pt x="5" y="23"/>
                      <a:pt x="5" y="23"/>
                    </a:cubicBezTo>
                    <a:cubicBezTo>
                      <a:pt x="5" y="23"/>
                      <a:pt x="5" y="23"/>
                      <a:pt x="5" y="22"/>
                    </a:cubicBezTo>
                    <a:cubicBezTo>
                      <a:pt x="5" y="22"/>
                      <a:pt x="4" y="22"/>
                      <a:pt x="4" y="22"/>
                    </a:cubicBezTo>
                    <a:cubicBezTo>
                      <a:pt x="4" y="22"/>
                      <a:pt x="5" y="22"/>
                      <a:pt x="5" y="22"/>
                    </a:cubicBezTo>
                    <a:cubicBezTo>
                      <a:pt x="5" y="22"/>
                      <a:pt x="5" y="22"/>
                      <a:pt x="5" y="22"/>
                    </a:cubicBezTo>
                    <a:cubicBezTo>
                      <a:pt x="5" y="22"/>
                      <a:pt x="5" y="22"/>
                      <a:pt x="4" y="22"/>
                    </a:cubicBezTo>
                    <a:cubicBezTo>
                      <a:pt x="4" y="22"/>
                      <a:pt x="4" y="22"/>
                      <a:pt x="4" y="22"/>
                    </a:cubicBezTo>
                    <a:cubicBezTo>
                      <a:pt x="4" y="22"/>
                      <a:pt x="5" y="22"/>
                      <a:pt x="5" y="22"/>
                    </a:cubicBezTo>
                    <a:cubicBezTo>
                      <a:pt x="5" y="22"/>
                      <a:pt x="4" y="22"/>
                      <a:pt x="4" y="22"/>
                    </a:cubicBezTo>
                    <a:cubicBezTo>
                      <a:pt x="5" y="22"/>
                      <a:pt x="5" y="22"/>
                      <a:pt x="5" y="22"/>
                    </a:cubicBezTo>
                    <a:cubicBezTo>
                      <a:pt x="5" y="22"/>
                      <a:pt x="4" y="22"/>
                      <a:pt x="4" y="22"/>
                    </a:cubicBezTo>
                    <a:cubicBezTo>
                      <a:pt x="4" y="22"/>
                      <a:pt x="4" y="22"/>
                      <a:pt x="5" y="22"/>
                    </a:cubicBezTo>
                    <a:cubicBezTo>
                      <a:pt x="4" y="22"/>
                      <a:pt x="4" y="22"/>
                      <a:pt x="4" y="22"/>
                    </a:cubicBezTo>
                    <a:cubicBezTo>
                      <a:pt x="5" y="22"/>
                      <a:pt x="5" y="22"/>
                      <a:pt x="5" y="22"/>
                    </a:cubicBezTo>
                    <a:cubicBezTo>
                      <a:pt x="4" y="21"/>
                      <a:pt x="4" y="21"/>
                      <a:pt x="4" y="21"/>
                    </a:cubicBezTo>
                    <a:cubicBezTo>
                      <a:pt x="4" y="21"/>
                      <a:pt x="4" y="21"/>
                      <a:pt x="4" y="21"/>
                    </a:cubicBezTo>
                    <a:cubicBezTo>
                      <a:pt x="4" y="21"/>
                      <a:pt x="4" y="21"/>
                      <a:pt x="4" y="21"/>
                    </a:cubicBezTo>
                    <a:cubicBezTo>
                      <a:pt x="4" y="21"/>
                      <a:pt x="5" y="21"/>
                      <a:pt x="5" y="21"/>
                    </a:cubicBezTo>
                    <a:cubicBezTo>
                      <a:pt x="5" y="21"/>
                      <a:pt x="5" y="21"/>
                      <a:pt x="5" y="21"/>
                    </a:cubicBezTo>
                    <a:cubicBezTo>
                      <a:pt x="5" y="21"/>
                      <a:pt x="5" y="21"/>
                      <a:pt x="5" y="21"/>
                    </a:cubicBezTo>
                    <a:cubicBezTo>
                      <a:pt x="5" y="21"/>
                      <a:pt x="5" y="21"/>
                      <a:pt x="5" y="20"/>
                    </a:cubicBezTo>
                    <a:cubicBezTo>
                      <a:pt x="5" y="20"/>
                      <a:pt x="5" y="20"/>
                      <a:pt x="5" y="20"/>
                    </a:cubicBezTo>
                    <a:cubicBezTo>
                      <a:pt x="5" y="20"/>
                      <a:pt x="5" y="21"/>
                      <a:pt x="5" y="21"/>
                    </a:cubicBezTo>
                    <a:cubicBezTo>
                      <a:pt x="5" y="21"/>
                      <a:pt x="5" y="21"/>
                      <a:pt x="5" y="20"/>
                    </a:cubicBezTo>
                    <a:cubicBezTo>
                      <a:pt x="5" y="20"/>
                      <a:pt x="5" y="20"/>
                      <a:pt x="6" y="20"/>
                    </a:cubicBezTo>
                    <a:cubicBezTo>
                      <a:pt x="6" y="20"/>
                      <a:pt x="5" y="20"/>
                      <a:pt x="5" y="20"/>
                    </a:cubicBezTo>
                    <a:cubicBezTo>
                      <a:pt x="5" y="20"/>
                      <a:pt x="5" y="20"/>
                      <a:pt x="6" y="20"/>
                    </a:cubicBezTo>
                    <a:cubicBezTo>
                      <a:pt x="5" y="20"/>
                      <a:pt x="5" y="20"/>
                      <a:pt x="5" y="20"/>
                    </a:cubicBezTo>
                    <a:cubicBezTo>
                      <a:pt x="5" y="20"/>
                      <a:pt x="5" y="20"/>
                      <a:pt x="5" y="20"/>
                    </a:cubicBezTo>
                    <a:cubicBezTo>
                      <a:pt x="5" y="20"/>
                      <a:pt x="5" y="20"/>
                      <a:pt x="5" y="20"/>
                    </a:cubicBezTo>
                    <a:cubicBezTo>
                      <a:pt x="6" y="20"/>
                      <a:pt x="6" y="20"/>
                      <a:pt x="7" y="20"/>
                    </a:cubicBezTo>
                    <a:cubicBezTo>
                      <a:pt x="7" y="20"/>
                      <a:pt x="7" y="19"/>
                      <a:pt x="6" y="19"/>
                    </a:cubicBezTo>
                    <a:cubicBezTo>
                      <a:pt x="7" y="19"/>
                      <a:pt x="7" y="19"/>
                      <a:pt x="7" y="20"/>
                    </a:cubicBezTo>
                    <a:cubicBezTo>
                      <a:pt x="7" y="20"/>
                      <a:pt x="7" y="19"/>
                      <a:pt x="7" y="19"/>
                    </a:cubicBezTo>
                    <a:cubicBezTo>
                      <a:pt x="7" y="19"/>
                      <a:pt x="7" y="19"/>
                      <a:pt x="7" y="19"/>
                    </a:cubicBezTo>
                    <a:cubicBezTo>
                      <a:pt x="7" y="19"/>
                      <a:pt x="7" y="19"/>
                      <a:pt x="7" y="19"/>
                    </a:cubicBezTo>
                    <a:cubicBezTo>
                      <a:pt x="7" y="19"/>
                      <a:pt x="8" y="20"/>
                      <a:pt x="8" y="20"/>
                    </a:cubicBezTo>
                    <a:cubicBezTo>
                      <a:pt x="8" y="20"/>
                      <a:pt x="8" y="20"/>
                      <a:pt x="8" y="20"/>
                    </a:cubicBezTo>
                    <a:cubicBezTo>
                      <a:pt x="8" y="20"/>
                      <a:pt x="8" y="20"/>
                      <a:pt x="8" y="19"/>
                    </a:cubicBezTo>
                    <a:cubicBezTo>
                      <a:pt x="8" y="19"/>
                      <a:pt x="8" y="19"/>
                      <a:pt x="8" y="19"/>
                    </a:cubicBezTo>
                    <a:cubicBezTo>
                      <a:pt x="8" y="19"/>
                      <a:pt x="8" y="19"/>
                      <a:pt x="8" y="19"/>
                    </a:cubicBezTo>
                    <a:cubicBezTo>
                      <a:pt x="8" y="19"/>
                      <a:pt x="8" y="19"/>
                      <a:pt x="8" y="19"/>
                    </a:cubicBezTo>
                    <a:cubicBezTo>
                      <a:pt x="8" y="19"/>
                      <a:pt x="8" y="20"/>
                      <a:pt x="8" y="20"/>
                    </a:cubicBezTo>
                    <a:cubicBezTo>
                      <a:pt x="8" y="20"/>
                      <a:pt x="8" y="20"/>
                      <a:pt x="8" y="20"/>
                    </a:cubicBezTo>
                    <a:cubicBezTo>
                      <a:pt x="8" y="20"/>
                      <a:pt x="8" y="19"/>
                      <a:pt x="8" y="19"/>
                    </a:cubicBezTo>
                    <a:cubicBezTo>
                      <a:pt x="8" y="19"/>
                      <a:pt x="8" y="20"/>
                      <a:pt x="8" y="20"/>
                    </a:cubicBezTo>
                    <a:cubicBezTo>
                      <a:pt x="8" y="20"/>
                      <a:pt x="8" y="19"/>
                      <a:pt x="8" y="19"/>
                    </a:cubicBezTo>
                    <a:cubicBezTo>
                      <a:pt x="8" y="19"/>
                      <a:pt x="8" y="19"/>
                      <a:pt x="8" y="19"/>
                    </a:cubicBezTo>
                    <a:cubicBezTo>
                      <a:pt x="8" y="19"/>
                      <a:pt x="8" y="19"/>
                      <a:pt x="8" y="19"/>
                    </a:cubicBezTo>
                    <a:cubicBezTo>
                      <a:pt x="9" y="19"/>
                      <a:pt x="9" y="19"/>
                      <a:pt x="9" y="20"/>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10" y="19"/>
                    </a:cubicBezTo>
                    <a:cubicBezTo>
                      <a:pt x="9" y="18"/>
                      <a:pt x="9" y="18"/>
                      <a:pt x="8" y="19"/>
                    </a:cubicBezTo>
                    <a:cubicBezTo>
                      <a:pt x="8" y="19"/>
                      <a:pt x="8" y="18"/>
                      <a:pt x="8" y="18"/>
                    </a:cubicBezTo>
                    <a:cubicBezTo>
                      <a:pt x="8" y="18"/>
                      <a:pt x="8" y="18"/>
                      <a:pt x="8" y="18"/>
                    </a:cubicBezTo>
                    <a:cubicBezTo>
                      <a:pt x="8" y="18"/>
                      <a:pt x="8" y="18"/>
                      <a:pt x="9" y="18"/>
                    </a:cubicBezTo>
                    <a:cubicBezTo>
                      <a:pt x="8" y="18"/>
                      <a:pt x="8" y="18"/>
                      <a:pt x="8" y="18"/>
                    </a:cubicBezTo>
                    <a:cubicBezTo>
                      <a:pt x="8" y="18"/>
                      <a:pt x="8" y="18"/>
                      <a:pt x="8" y="18"/>
                    </a:cubicBezTo>
                    <a:cubicBezTo>
                      <a:pt x="8" y="18"/>
                      <a:pt x="8" y="18"/>
                      <a:pt x="8" y="18"/>
                    </a:cubicBezTo>
                    <a:cubicBezTo>
                      <a:pt x="8" y="18"/>
                      <a:pt x="8" y="18"/>
                      <a:pt x="8" y="18"/>
                    </a:cubicBezTo>
                    <a:cubicBezTo>
                      <a:pt x="8" y="18"/>
                      <a:pt x="7" y="18"/>
                      <a:pt x="7" y="18"/>
                    </a:cubicBezTo>
                    <a:cubicBezTo>
                      <a:pt x="7" y="18"/>
                      <a:pt x="8" y="18"/>
                      <a:pt x="8" y="18"/>
                    </a:cubicBezTo>
                    <a:cubicBezTo>
                      <a:pt x="8" y="17"/>
                      <a:pt x="7" y="17"/>
                      <a:pt x="7" y="17"/>
                    </a:cubicBezTo>
                    <a:cubicBezTo>
                      <a:pt x="7" y="17"/>
                      <a:pt x="7" y="17"/>
                      <a:pt x="7" y="17"/>
                    </a:cubicBezTo>
                    <a:cubicBezTo>
                      <a:pt x="7" y="17"/>
                      <a:pt x="7" y="17"/>
                      <a:pt x="6" y="17"/>
                    </a:cubicBezTo>
                    <a:cubicBezTo>
                      <a:pt x="7" y="17"/>
                      <a:pt x="7" y="17"/>
                      <a:pt x="7" y="17"/>
                    </a:cubicBezTo>
                    <a:cubicBezTo>
                      <a:pt x="7" y="17"/>
                      <a:pt x="7" y="17"/>
                      <a:pt x="6" y="17"/>
                    </a:cubicBezTo>
                    <a:cubicBezTo>
                      <a:pt x="6" y="17"/>
                      <a:pt x="6" y="17"/>
                      <a:pt x="7" y="17"/>
                    </a:cubicBezTo>
                    <a:cubicBezTo>
                      <a:pt x="6" y="16"/>
                      <a:pt x="6" y="16"/>
                      <a:pt x="6" y="16"/>
                    </a:cubicBezTo>
                    <a:cubicBezTo>
                      <a:pt x="7" y="16"/>
                      <a:pt x="7" y="16"/>
                      <a:pt x="7" y="17"/>
                    </a:cubicBezTo>
                    <a:cubicBezTo>
                      <a:pt x="7" y="16"/>
                      <a:pt x="7" y="16"/>
                      <a:pt x="7" y="16"/>
                    </a:cubicBezTo>
                    <a:cubicBezTo>
                      <a:pt x="7" y="16"/>
                      <a:pt x="8" y="16"/>
                      <a:pt x="8" y="16"/>
                    </a:cubicBezTo>
                    <a:cubicBezTo>
                      <a:pt x="8" y="16"/>
                      <a:pt x="7" y="16"/>
                      <a:pt x="7" y="15"/>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9" y="17"/>
                    </a:cubicBezTo>
                    <a:cubicBezTo>
                      <a:pt x="9" y="16"/>
                      <a:pt x="9" y="16"/>
                      <a:pt x="8" y="16"/>
                    </a:cubicBezTo>
                    <a:cubicBezTo>
                      <a:pt x="9" y="16"/>
                      <a:pt x="9" y="16"/>
                      <a:pt x="9" y="17"/>
                    </a:cubicBezTo>
                    <a:cubicBezTo>
                      <a:pt x="9" y="17"/>
                      <a:pt x="9" y="17"/>
                      <a:pt x="9" y="17"/>
                    </a:cubicBezTo>
                    <a:cubicBezTo>
                      <a:pt x="9" y="17"/>
                      <a:pt x="9" y="17"/>
                      <a:pt x="9" y="17"/>
                    </a:cubicBezTo>
                    <a:cubicBezTo>
                      <a:pt x="9" y="17"/>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10" y="16"/>
                      <a:pt x="10" y="17"/>
                      <a:pt x="10" y="17"/>
                    </a:cubicBezTo>
                    <a:cubicBezTo>
                      <a:pt x="10" y="17"/>
                      <a:pt x="10" y="17"/>
                      <a:pt x="10" y="17"/>
                    </a:cubicBezTo>
                    <a:cubicBezTo>
                      <a:pt x="10" y="17"/>
                      <a:pt x="10" y="17"/>
                      <a:pt x="10" y="16"/>
                    </a:cubicBezTo>
                    <a:cubicBezTo>
                      <a:pt x="10" y="16"/>
                      <a:pt x="10" y="17"/>
                      <a:pt x="10" y="17"/>
                    </a:cubicBezTo>
                    <a:cubicBezTo>
                      <a:pt x="10" y="17"/>
                      <a:pt x="10" y="16"/>
                      <a:pt x="10" y="16"/>
                    </a:cubicBezTo>
                    <a:cubicBezTo>
                      <a:pt x="10" y="16"/>
                      <a:pt x="10" y="16"/>
                      <a:pt x="10" y="16"/>
                    </a:cubicBezTo>
                    <a:cubicBezTo>
                      <a:pt x="10" y="17"/>
                      <a:pt x="10" y="17"/>
                      <a:pt x="10" y="17"/>
                    </a:cubicBezTo>
                    <a:cubicBezTo>
                      <a:pt x="10" y="17"/>
                      <a:pt x="10" y="17"/>
                      <a:pt x="10" y="17"/>
                    </a:cubicBezTo>
                    <a:cubicBezTo>
                      <a:pt x="10" y="17"/>
                      <a:pt x="10" y="17"/>
                      <a:pt x="10" y="17"/>
                    </a:cubicBezTo>
                    <a:cubicBezTo>
                      <a:pt x="10"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1" y="17"/>
                      <a:pt x="11" y="17"/>
                      <a:pt x="11" y="17"/>
                    </a:cubicBezTo>
                    <a:cubicBezTo>
                      <a:pt x="12" y="17"/>
                      <a:pt x="12" y="17"/>
                      <a:pt x="11" y="17"/>
                    </a:cubicBezTo>
                    <a:cubicBezTo>
                      <a:pt x="11" y="17"/>
                      <a:pt x="11" y="17"/>
                      <a:pt x="11" y="17"/>
                    </a:cubicBezTo>
                    <a:cubicBezTo>
                      <a:pt x="12" y="17"/>
                      <a:pt x="12" y="17"/>
                      <a:pt x="12" y="17"/>
                    </a:cubicBezTo>
                    <a:cubicBezTo>
                      <a:pt x="12" y="17"/>
                      <a:pt x="12" y="17"/>
                      <a:pt x="12" y="17"/>
                    </a:cubicBezTo>
                    <a:cubicBezTo>
                      <a:pt x="12" y="18"/>
                      <a:pt x="12" y="18"/>
                      <a:pt x="13" y="18"/>
                    </a:cubicBezTo>
                    <a:cubicBezTo>
                      <a:pt x="12" y="18"/>
                      <a:pt x="12" y="17"/>
                      <a:pt x="12" y="17"/>
                    </a:cubicBezTo>
                    <a:cubicBezTo>
                      <a:pt x="12" y="17"/>
                      <a:pt x="12" y="17"/>
                      <a:pt x="12" y="17"/>
                    </a:cubicBezTo>
                    <a:cubicBezTo>
                      <a:pt x="12" y="17"/>
                      <a:pt x="12" y="17"/>
                      <a:pt x="13" y="17"/>
                    </a:cubicBezTo>
                    <a:cubicBezTo>
                      <a:pt x="12" y="17"/>
                      <a:pt x="12" y="17"/>
                      <a:pt x="12" y="17"/>
                    </a:cubicBezTo>
                    <a:cubicBezTo>
                      <a:pt x="12" y="17"/>
                      <a:pt x="12" y="17"/>
                      <a:pt x="12" y="17"/>
                    </a:cubicBezTo>
                    <a:cubicBezTo>
                      <a:pt x="12" y="17"/>
                      <a:pt x="12" y="17"/>
                      <a:pt x="12" y="17"/>
                    </a:cubicBezTo>
                    <a:cubicBezTo>
                      <a:pt x="13" y="17"/>
                      <a:pt x="13" y="17"/>
                      <a:pt x="13" y="17"/>
                    </a:cubicBezTo>
                    <a:cubicBezTo>
                      <a:pt x="13" y="17"/>
                      <a:pt x="13" y="17"/>
                      <a:pt x="13" y="17"/>
                    </a:cubicBezTo>
                    <a:cubicBezTo>
                      <a:pt x="13" y="18"/>
                      <a:pt x="13" y="18"/>
                      <a:pt x="13" y="18"/>
                    </a:cubicBezTo>
                    <a:cubicBezTo>
                      <a:pt x="13" y="18"/>
                      <a:pt x="13" y="17"/>
                      <a:pt x="14" y="17"/>
                    </a:cubicBezTo>
                    <a:cubicBezTo>
                      <a:pt x="14" y="17"/>
                      <a:pt x="14" y="17"/>
                      <a:pt x="14" y="18"/>
                    </a:cubicBezTo>
                    <a:cubicBezTo>
                      <a:pt x="14" y="18"/>
                      <a:pt x="14" y="18"/>
                      <a:pt x="14" y="18"/>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4" y="17"/>
                    </a:cubicBezTo>
                    <a:cubicBezTo>
                      <a:pt x="14" y="17"/>
                      <a:pt x="14" y="17"/>
                      <a:pt x="13" y="17"/>
                    </a:cubicBezTo>
                    <a:cubicBezTo>
                      <a:pt x="14" y="17"/>
                      <a:pt x="14" y="16"/>
                      <a:pt x="14" y="16"/>
                    </a:cubicBezTo>
                    <a:cubicBezTo>
                      <a:pt x="13" y="16"/>
                      <a:pt x="13" y="17"/>
                      <a:pt x="13" y="17"/>
                    </a:cubicBezTo>
                    <a:cubicBezTo>
                      <a:pt x="13" y="16"/>
                      <a:pt x="13" y="16"/>
                      <a:pt x="14" y="16"/>
                    </a:cubicBezTo>
                    <a:cubicBezTo>
                      <a:pt x="14" y="16"/>
                      <a:pt x="14" y="16"/>
                      <a:pt x="14" y="16"/>
                    </a:cubicBezTo>
                    <a:cubicBezTo>
                      <a:pt x="14" y="16"/>
                      <a:pt x="14" y="16"/>
                      <a:pt x="14" y="16"/>
                    </a:cubicBezTo>
                    <a:cubicBezTo>
                      <a:pt x="14" y="16"/>
                      <a:pt x="14" y="16"/>
                      <a:pt x="14" y="16"/>
                    </a:cubicBezTo>
                    <a:cubicBezTo>
                      <a:pt x="13" y="16"/>
                      <a:pt x="13" y="16"/>
                      <a:pt x="13" y="17"/>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3" y="16"/>
                    </a:cubicBezTo>
                    <a:cubicBezTo>
                      <a:pt x="13" y="16"/>
                      <a:pt x="13" y="16"/>
                      <a:pt x="12" y="16"/>
                    </a:cubicBezTo>
                    <a:cubicBezTo>
                      <a:pt x="12" y="16"/>
                      <a:pt x="13" y="16"/>
                      <a:pt x="13" y="16"/>
                    </a:cubicBezTo>
                    <a:cubicBezTo>
                      <a:pt x="12" y="16"/>
                      <a:pt x="12" y="16"/>
                      <a:pt x="12" y="16"/>
                    </a:cubicBezTo>
                    <a:cubicBezTo>
                      <a:pt x="12" y="16"/>
                      <a:pt x="12" y="16"/>
                      <a:pt x="12" y="16"/>
                    </a:cubicBezTo>
                    <a:cubicBezTo>
                      <a:pt x="12" y="16"/>
                      <a:pt x="12" y="16"/>
                      <a:pt x="12" y="16"/>
                    </a:cubicBezTo>
                    <a:cubicBezTo>
                      <a:pt x="12" y="16"/>
                      <a:pt x="12" y="16"/>
                      <a:pt x="12" y="16"/>
                    </a:cubicBezTo>
                    <a:cubicBezTo>
                      <a:pt x="12" y="16"/>
                      <a:pt x="12" y="16"/>
                      <a:pt x="11" y="16"/>
                    </a:cubicBezTo>
                    <a:cubicBezTo>
                      <a:pt x="11" y="16"/>
                      <a:pt x="12" y="16"/>
                      <a:pt x="12" y="15"/>
                    </a:cubicBezTo>
                    <a:cubicBezTo>
                      <a:pt x="11" y="15"/>
                      <a:pt x="11" y="16"/>
                      <a:pt x="11" y="16"/>
                    </a:cubicBezTo>
                    <a:cubicBezTo>
                      <a:pt x="11" y="15"/>
                      <a:pt x="12" y="15"/>
                      <a:pt x="12" y="15"/>
                    </a:cubicBezTo>
                    <a:cubicBezTo>
                      <a:pt x="11" y="15"/>
                      <a:pt x="11" y="15"/>
                      <a:pt x="11" y="15"/>
                    </a:cubicBezTo>
                    <a:cubicBezTo>
                      <a:pt x="11" y="15"/>
                      <a:pt x="11" y="15"/>
                      <a:pt x="11" y="15"/>
                    </a:cubicBezTo>
                    <a:cubicBezTo>
                      <a:pt x="11" y="15"/>
                      <a:pt x="11" y="15"/>
                      <a:pt x="10" y="15"/>
                    </a:cubicBezTo>
                    <a:cubicBezTo>
                      <a:pt x="10" y="15"/>
                      <a:pt x="11" y="15"/>
                      <a:pt x="11" y="15"/>
                    </a:cubicBezTo>
                    <a:cubicBezTo>
                      <a:pt x="11" y="15"/>
                      <a:pt x="11" y="15"/>
                      <a:pt x="10" y="15"/>
                    </a:cubicBezTo>
                    <a:cubicBezTo>
                      <a:pt x="11" y="15"/>
                      <a:pt x="11" y="15"/>
                      <a:pt x="11" y="15"/>
                    </a:cubicBezTo>
                    <a:cubicBezTo>
                      <a:pt x="11" y="15"/>
                      <a:pt x="11" y="15"/>
                      <a:pt x="11" y="15"/>
                    </a:cubicBezTo>
                    <a:cubicBezTo>
                      <a:pt x="11" y="15"/>
                      <a:pt x="11" y="15"/>
                      <a:pt x="11" y="15"/>
                    </a:cubicBezTo>
                    <a:cubicBezTo>
                      <a:pt x="11" y="15"/>
                      <a:pt x="10" y="15"/>
                      <a:pt x="10" y="15"/>
                    </a:cubicBezTo>
                    <a:cubicBezTo>
                      <a:pt x="10" y="15"/>
                      <a:pt x="11" y="15"/>
                      <a:pt x="12" y="15"/>
                    </a:cubicBezTo>
                    <a:cubicBezTo>
                      <a:pt x="12" y="15"/>
                      <a:pt x="11" y="15"/>
                      <a:pt x="11" y="15"/>
                    </a:cubicBezTo>
                    <a:cubicBezTo>
                      <a:pt x="11" y="15"/>
                      <a:pt x="11" y="15"/>
                      <a:pt x="10" y="15"/>
                    </a:cubicBezTo>
                    <a:cubicBezTo>
                      <a:pt x="11" y="15"/>
                      <a:pt x="11" y="15"/>
                      <a:pt x="11" y="15"/>
                    </a:cubicBezTo>
                    <a:cubicBezTo>
                      <a:pt x="11" y="15"/>
                      <a:pt x="10" y="14"/>
                      <a:pt x="10" y="14"/>
                    </a:cubicBezTo>
                    <a:cubicBezTo>
                      <a:pt x="10" y="14"/>
                      <a:pt x="11" y="14"/>
                      <a:pt x="11" y="14"/>
                    </a:cubicBezTo>
                    <a:cubicBezTo>
                      <a:pt x="11" y="14"/>
                      <a:pt x="11" y="14"/>
                      <a:pt x="11" y="14"/>
                    </a:cubicBezTo>
                    <a:cubicBezTo>
                      <a:pt x="11" y="14"/>
                      <a:pt x="11" y="14"/>
                      <a:pt x="11" y="14"/>
                    </a:cubicBezTo>
                    <a:cubicBezTo>
                      <a:pt x="11" y="14"/>
                      <a:pt x="11" y="14"/>
                      <a:pt x="11" y="14"/>
                    </a:cubicBezTo>
                    <a:cubicBezTo>
                      <a:pt x="11" y="14"/>
                      <a:pt x="10" y="14"/>
                      <a:pt x="10" y="14"/>
                    </a:cubicBezTo>
                    <a:cubicBezTo>
                      <a:pt x="10" y="14"/>
                      <a:pt x="11" y="14"/>
                      <a:pt x="11" y="14"/>
                    </a:cubicBezTo>
                    <a:cubicBezTo>
                      <a:pt x="11" y="14"/>
                      <a:pt x="10" y="14"/>
                      <a:pt x="10" y="14"/>
                    </a:cubicBezTo>
                    <a:cubicBezTo>
                      <a:pt x="10" y="13"/>
                      <a:pt x="9" y="13"/>
                      <a:pt x="9" y="13"/>
                    </a:cubicBezTo>
                    <a:cubicBezTo>
                      <a:pt x="9" y="13"/>
                      <a:pt x="9" y="13"/>
                      <a:pt x="9" y="13"/>
                    </a:cubicBezTo>
                    <a:cubicBezTo>
                      <a:pt x="9" y="13"/>
                      <a:pt x="9" y="13"/>
                      <a:pt x="9" y="13"/>
                    </a:cubicBezTo>
                    <a:cubicBezTo>
                      <a:pt x="9" y="13"/>
                      <a:pt x="9" y="13"/>
                      <a:pt x="9" y="13"/>
                    </a:cubicBezTo>
                    <a:cubicBezTo>
                      <a:pt x="9" y="12"/>
                      <a:pt x="9" y="12"/>
                      <a:pt x="9" y="12"/>
                    </a:cubicBezTo>
                    <a:cubicBezTo>
                      <a:pt x="9" y="12"/>
                      <a:pt x="9" y="12"/>
                      <a:pt x="10" y="13"/>
                    </a:cubicBezTo>
                    <a:cubicBezTo>
                      <a:pt x="10" y="12"/>
                      <a:pt x="10" y="12"/>
                      <a:pt x="10" y="12"/>
                    </a:cubicBezTo>
                    <a:cubicBezTo>
                      <a:pt x="10" y="12"/>
                      <a:pt x="10" y="13"/>
                      <a:pt x="10" y="13"/>
                    </a:cubicBezTo>
                    <a:cubicBezTo>
                      <a:pt x="10" y="13"/>
                      <a:pt x="10" y="13"/>
                      <a:pt x="10" y="12"/>
                    </a:cubicBezTo>
                    <a:cubicBezTo>
                      <a:pt x="10" y="12"/>
                      <a:pt x="10" y="12"/>
                      <a:pt x="10" y="13"/>
                    </a:cubicBezTo>
                    <a:cubicBezTo>
                      <a:pt x="10" y="12"/>
                      <a:pt x="10" y="12"/>
                      <a:pt x="10" y="12"/>
                    </a:cubicBezTo>
                    <a:cubicBezTo>
                      <a:pt x="10" y="13"/>
                      <a:pt x="10" y="13"/>
                      <a:pt x="11" y="13"/>
                    </a:cubicBezTo>
                    <a:cubicBezTo>
                      <a:pt x="11" y="13"/>
                      <a:pt x="11" y="13"/>
                      <a:pt x="11" y="13"/>
                    </a:cubicBezTo>
                    <a:cubicBezTo>
                      <a:pt x="11" y="13"/>
                      <a:pt x="11" y="13"/>
                      <a:pt x="11" y="13"/>
                    </a:cubicBezTo>
                    <a:cubicBezTo>
                      <a:pt x="11" y="13"/>
                      <a:pt x="11" y="13"/>
                      <a:pt x="11" y="13"/>
                    </a:cubicBezTo>
                    <a:cubicBezTo>
                      <a:pt x="11" y="13"/>
                      <a:pt x="11" y="13"/>
                      <a:pt x="11" y="12"/>
                    </a:cubicBezTo>
                    <a:cubicBezTo>
                      <a:pt x="11" y="13"/>
                      <a:pt x="11"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1" y="13"/>
                      <a:pt x="11" y="13"/>
                    </a:cubicBezTo>
                    <a:cubicBezTo>
                      <a:pt x="11" y="12"/>
                      <a:pt x="11" y="12"/>
                      <a:pt x="12" y="12"/>
                    </a:cubicBezTo>
                    <a:cubicBezTo>
                      <a:pt x="11" y="12"/>
                      <a:pt x="11" y="12"/>
                      <a:pt x="11" y="12"/>
                    </a:cubicBezTo>
                    <a:cubicBezTo>
                      <a:pt x="12" y="12"/>
                      <a:pt x="12" y="12"/>
                      <a:pt x="12" y="12"/>
                    </a:cubicBezTo>
                    <a:cubicBezTo>
                      <a:pt x="12" y="12"/>
                      <a:pt x="11" y="12"/>
                      <a:pt x="11" y="12"/>
                    </a:cubicBezTo>
                    <a:cubicBezTo>
                      <a:pt x="11" y="12"/>
                      <a:pt x="11" y="12"/>
                      <a:pt x="11" y="12"/>
                    </a:cubicBezTo>
                    <a:cubicBezTo>
                      <a:pt x="11" y="12"/>
                      <a:pt x="11" y="12"/>
                      <a:pt x="11" y="12"/>
                    </a:cubicBezTo>
                    <a:cubicBezTo>
                      <a:pt x="12" y="12"/>
                      <a:pt x="12" y="12"/>
                      <a:pt x="12" y="12"/>
                    </a:cubicBezTo>
                    <a:cubicBezTo>
                      <a:pt x="12" y="12"/>
                      <a:pt x="11" y="12"/>
                      <a:pt x="11" y="12"/>
                    </a:cubicBezTo>
                    <a:cubicBezTo>
                      <a:pt x="11" y="12"/>
                      <a:pt x="12" y="12"/>
                      <a:pt x="12" y="12"/>
                    </a:cubicBezTo>
                    <a:cubicBezTo>
                      <a:pt x="12" y="11"/>
                      <a:pt x="11" y="11"/>
                      <a:pt x="11" y="11"/>
                    </a:cubicBezTo>
                    <a:cubicBezTo>
                      <a:pt x="11" y="11"/>
                      <a:pt x="11" y="11"/>
                      <a:pt x="11" y="11"/>
                    </a:cubicBezTo>
                    <a:cubicBezTo>
                      <a:pt x="11" y="11"/>
                      <a:pt x="11" y="11"/>
                      <a:pt x="11" y="11"/>
                    </a:cubicBezTo>
                    <a:cubicBezTo>
                      <a:pt x="11" y="11"/>
                      <a:pt x="11" y="11"/>
                      <a:pt x="11" y="11"/>
                    </a:cubicBezTo>
                    <a:cubicBezTo>
                      <a:pt x="11" y="11"/>
                      <a:pt x="12" y="11"/>
                      <a:pt x="12" y="11"/>
                    </a:cubicBezTo>
                    <a:cubicBezTo>
                      <a:pt x="12" y="11"/>
                      <a:pt x="12" y="11"/>
                      <a:pt x="12" y="11"/>
                    </a:cubicBezTo>
                    <a:cubicBezTo>
                      <a:pt x="12" y="11"/>
                      <a:pt x="12" y="11"/>
                      <a:pt x="12" y="11"/>
                    </a:cubicBezTo>
                    <a:cubicBezTo>
                      <a:pt x="12" y="11"/>
                      <a:pt x="12" y="11"/>
                      <a:pt x="12" y="10"/>
                    </a:cubicBezTo>
                    <a:cubicBezTo>
                      <a:pt x="12" y="10"/>
                      <a:pt x="12" y="10"/>
                      <a:pt x="12" y="11"/>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3" y="10"/>
                      <a:pt x="13" y="10"/>
                      <a:pt x="13" y="10"/>
                    </a:cubicBezTo>
                    <a:cubicBezTo>
                      <a:pt x="13" y="10"/>
                      <a:pt x="13" y="10"/>
                      <a:pt x="13" y="10"/>
                    </a:cubicBezTo>
                    <a:cubicBezTo>
                      <a:pt x="13" y="10"/>
                      <a:pt x="13" y="10"/>
                      <a:pt x="13" y="10"/>
                    </a:cubicBezTo>
                    <a:cubicBezTo>
                      <a:pt x="13" y="10"/>
                      <a:pt x="13" y="11"/>
                      <a:pt x="13" y="11"/>
                    </a:cubicBezTo>
                    <a:cubicBezTo>
                      <a:pt x="13" y="10"/>
                      <a:pt x="13" y="10"/>
                      <a:pt x="13" y="10"/>
                    </a:cubicBezTo>
                    <a:cubicBezTo>
                      <a:pt x="13" y="10"/>
                      <a:pt x="13" y="10"/>
                      <a:pt x="13" y="10"/>
                    </a:cubicBezTo>
                    <a:cubicBezTo>
                      <a:pt x="13" y="10"/>
                      <a:pt x="13" y="10"/>
                      <a:pt x="13" y="10"/>
                    </a:cubicBezTo>
                    <a:cubicBezTo>
                      <a:pt x="13" y="10"/>
                      <a:pt x="13" y="10"/>
                      <a:pt x="13" y="10"/>
                    </a:cubicBezTo>
                    <a:cubicBezTo>
                      <a:pt x="14" y="10"/>
                      <a:pt x="14" y="10"/>
                      <a:pt x="14" y="10"/>
                    </a:cubicBezTo>
                    <a:cubicBezTo>
                      <a:pt x="14" y="10"/>
                      <a:pt x="14" y="10"/>
                      <a:pt x="13" y="10"/>
                    </a:cubicBezTo>
                    <a:cubicBezTo>
                      <a:pt x="14" y="10"/>
                      <a:pt x="13" y="10"/>
                      <a:pt x="13" y="10"/>
                    </a:cubicBezTo>
                    <a:cubicBezTo>
                      <a:pt x="13" y="10"/>
                      <a:pt x="13" y="10"/>
                      <a:pt x="14" y="10"/>
                    </a:cubicBezTo>
                    <a:cubicBezTo>
                      <a:pt x="13" y="9"/>
                      <a:pt x="13" y="9"/>
                      <a:pt x="12" y="9"/>
                    </a:cubicBezTo>
                    <a:cubicBezTo>
                      <a:pt x="12" y="9"/>
                      <a:pt x="13" y="9"/>
                      <a:pt x="13" y="9"/>
                    </a:cubicBezTo>
                    <a:cubicBezTo>
                      <a:pt x="13" y="9"/>
                      <a:pt x="11" y="9"/>
                      <a:pt x="11" y="9"/>
                    </a:cubicBezTo>
                    <a:cubicBezTo>
                      <a:pt x="11" y="9"/>
                      <a:pt x="12" y="9"/>
                      <a:pt x="12" y="9"/>
                    </a:cubicBezTo>
                    <a:cubicBezTo>
                      <a:pt x="12" y="9"/>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3" y="8"/>
                      <a:pt x="13" y="8"/>
                    </a:cubicBezTo>
                    <a:cubicBezTo>
                      <a:pt x="13" y="8"/>
                      <a:pt x="13" y="8"/>
                      <a:pt x="12"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8"/>
                      <a:pt x="13" y="8"/>
                    </a:cubicBezTo>
                    <a:cubicBezTo>
                      <a:pt x="13" y="8"/>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4" y="7"/>
                      <a:pt x="14" y="7"/>
                      <a:pt x="14" y="8"/>
                    </a:cubicBezTo>
                    <a:cubicBezTo>
                      <a:pt x="14" y="7"/>
                      <a:pt x="14" y="7"/>
                      <a:pt x="14" y="7"/>
                    </a:cubicBezTo>
                    <a:cubicBezTo>
                      <a:pt x="14" y="7"/>
                      <a:pt x="15" y="7"/>
                      <a:pt x="15" y="7"/>
                    </a:cubicBezTo>
                    <a:cubicBezTo>
                      <a:pt x="15" y="7"/>
                      <a:pt x="15" y="7"/>
                      <a:pt x="15" y="7"/>
                    </a:cubicBezTo>
                    <a:cubicBezTo>
                      <a:pt x="15" y="7"/>
                      <a:pt x="15" y="8"/>
                      <a:pt x="15" y="8"/>
                    </a:cubicBezTo>
                    <a:cubicBezTo>
                      <a:pt x="16" y="9"/>
                      <a:pt x="15" y="8"/>
                      <a:pt x="16" y="7"/>
                    </a:cubicBezTo>
                    <a:cubicBezTo>
                      <a:pt x="16" y="8"/>
                      <a:pt x="15" y="8"/>
                      <a:pt x="16" y="9"/>
                    </a:cubicBezTo>
                    <a:cubicBezTo>
                      <a:pt x="16" y="8"/>
                      <a:pt x="16" y="8"/>
                      <a:pt x="16" y="8"/>
                    </a:cubicBezTo>
                    <a:cubicBezTo>
                      <a:pt x="16" y="8"/>
                      <a:pt x="16" y="8"/>
                      <a:pt x="16" y="8"/>
                    </a:cubicBezTo>
                    <a:cubicBezTo>
                      <a:pt x="16" y="8"/>
                      <a:pt x="16" y="8"/>
                      <a:pt x="16" y="8"/>
                    </a:cubicBezTo>
                    <a:cubicBezTo>
                      <a:pt x="16" y="8"/>
                      <a:pt x="17" y="10"/>
                      <a:pt x="16" y="8"/>
                    </a:cubicBezTo>
                    <a:cubicBezTo>
                      <a:pt x="17" y="8"/>
                      <a:pt x="17" y="8"/>
                      <a:pt x="17" y="8"/>
                    </a:cubicBezTo>
                    <a:cubicBezTo>
                      <a:pt x="17" y="8"/>
                      <a:pt x="17" y="9"/>
                      <a:pt x="17" y="9"/>
                    </a:cubicBezTo>
                    <a:cubicBezTo>
                      <a:pt x="17" y="9"/>
                      <a:pt x="17" y="8"/>
                      <a:pt x="17" y="8"/>
                    </a:cubicBezTo>
                    <a:cubicBezTo>
                      <a:pt x="17" y="9"/>
                      <a:pt x="17" y="9"/>
                      <a:pt x="18" y="9"/>
                    </a:cubicBezTo>
                    <a:cubicBezTo>
                      <a:pt x="18" y="9"/>
                      <a:pt x="18" y="9"/>
                      <a:pt x="18" y="9"/>
                    </a:cubicBezTo>
                    <a:cubicBezTo>
                      <a:pt x="18" y="9"/>
                      <a:pt x="18" y="9"/>
                      <a:pt x="18" y="9"/>
                    </a:cubicBezTo>
                    <a:cubicBezTo>
                      <a:pt x="18" y="9"/>
                      <a:pt x="18" y="9"/>
                      <a:pt x="18" y="9"/>
                    </a:cubicBezTo>
                    <a:cubicBezTo>
                      <a:pt x="18" y="9"/>
                      <a:pt x="18" y="9"/>
                      <a:pt x="18" y="10"/>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9"/>
                    </a:cubicBezTo>
                    <a:cubicBezTo>
                      <a:pt x="18" y="9"/>
                      <a:pt x="18" y="9"/>
                      <a:pt x="18" y="8"/>
                    </a:cubicBezTo>
                    <a:cubicBezTo>
                      <a:pt x="18" y="8"/>
                      <a:pt x="19" y="8"/>
                      <a:pt x="19" y="8"/>
                    </a:cubicBezTo>
                    <a:cubicBezTo>
                      <a:pt x="19" y="8"/>
                      <a:pt x="19" y="8"/>
                      <a:pt x="19" y="8"/>
                    </a:cubicBezTo>
                    <a:cubicBezTo>
                      <a:pt x="19" y="8"/>
                      <a:pt x="19" y="8"/>
                      <a:pt x="19" y="7"/>
                    </a:cubicBezTo>
                    <a:cubicBezTo>
                      <a:pt x="19" y="7"/>
                      <a:pt x="19" y="7"/>
                      <a:pt x="19" y="7"/>
                    </a:cubicBezTo>
                    <a:cubicBezTo>
                      <a:pt x="19" y="7"/>
                      <a:pt x="20" y="7"/>
                      <a:pt x="20" y="7"/>
                    </a:cubicBezTo>
                    <a:cubicBezTo>
                      <a:pt x="19" y="7"/>
                      <a:pt x="19" y="7"/>
                      <a:pt x="19" y="7"/>
                    </a:cubicBezTo>
                    <a:cubicBezTo>
                      <a:pt x="19" y="7"/>
                      <a:pt x="20" y="7"/>
                      <a:pt x="20" y="7"/>
                    </a:cubicBezTo>
                    <a:cubicBezTo>
                      <a:pt x="19" y="7"/>
                      <a:pt x="19" y="7"/>
                      <a:pt x="19" y="7"/>
                    </a:cubicBezTo>
                    <a:cubicBezTo>
                      <a:pt x="19" y="7"/>
                      <a:pt x="20" y="7"/>
                      <a:pt x="20" y="7"/>
                    </a:cubicBezTo>
                    <a:cubicBezTo>
                      <a:pt x="20" y="7"/>
                      <a:pt x="20" y="7"/>
                      <a:pt x="20" y="7"/>
                    </a:cubicBezTo>
                    <a:cubicBezTo>
                      <a:pt x="20" y="7"/>
                      <a:pt x="20" y="7"/>
                      <a:pt x="20" y="7"/>
                    </a:cubicBezTo>
                    <a:cubicBezTo>
                      <a:pt x="20" y="7"/>
                      <a:pt x="20" y="7"/>
                      <a:pt x="20" y="7"/>
                    </a:cubicBezTo>
                    <a:cubicBezTo>
                      <a:pt x="20" y="7"/>
                      <a:pt x="20" y="7"/>
                      <a:pt x="21" y="7"/>
                    </a:cubicBezTo>
                    <a:cubicBezTo>
                      <a:pt x="20" y="7"/>
                      <a:pt x="20" y="6"/>
                      <a:pt x="19" y="6"/>
                    </a:cubicBezTo>
                    <a:cubicBezTo>
                      <a:pt x="19" y="6"/>
                      <a:pt x="20" y="6"/>
                      <a:pt x="20" y="6"/>
                    </a:cubicBezTo>
                    <a:cubicBezTo>
                      <a:pt x="20" y="6"/>
                      <a:pt x="19" y="6"/>
                      <a:pt x="19" y="6"/>
                    </a:cubicBezTo>
                    <a:cubicBezTo>
                      <a:pt x="19" y="6"/>
                      <a:pt x="20" y="6"/>
                      <a:pt x="20" y="6"/>
                    </a:cubicBezTo>
                    <a:cubicBezTo>
                      <a:pt x="20" y="6"/>
                      <a:pt x="19" y="6"/>
                      <a:pt x="19" y="6"/>
                    </a:cubicBezTo>
                    <a:cubicBezTo>
                      <a:pt x="19" y="6"/>
                      <a:pt x="19" y="6"/>
                      <a:pt x="19" y="6"/>
                    </a:cubicBezTo>
                    <a:cubicBezTo>
                      <a:pt x="19" y="6"/>
                      <a:pt x="19" y="6"/>
                      <a:pt x="19" y="6"/>
                    </a:cubicBezTo>
                    <a:cubicBezTo>
                      <a:pt x="19" y="6"/>
                      <a:pt x="20" y="6"/>
                      <a:pt x="20" y="6"/>
                    </a:cubicBezTo>
                    <a:cubicBezTo>
                      <a:pt x="20" y="6"/>
                      <a:pt x="20" y="6"/>
                      <a:pt x="20" y="6"/>
                    </a:cubicBezTo>
                    <a:cubicBezTo>
                      <a:pt x="20" y="6"/>
                      <a:pt x="20" y="6"/>
                      <a:pt x="20" y="6"/>
                    </a:cubicBezTo>
                    <a:cubicBezTo>
                      <a:pt x="20" y="6"/>
                      <a:pt x="19" y="6"/>
                      <a:pt x="19" y="6"/>
                    </a:cubicBezTo>
                    <a:cubicBezTo>
                      <a:pt x="19" y="6"/>
                      <a:pt x="20" y="6"/>
                      <a:pt x="20" y="6"/>
                    </a:cubicBezTo>
                    <a:cubicBezTo>
                      <a:pt x="19" y="6"/>
                      <a:pt x="19" y="5"/>
                      <a:pt x="19" y="5"/>
                    </a:cubicBezTo>
                    <a:cubicBezTo>
                      <a:pt x="19" y="5"/>
                      <a:pt x="19" y="5"/>
                      <a:pt x="19" y="5"/>
                    </a:cubicBezTo>
                    <a:cubicBezTo>
                      <a:pt x="19" y="5"/>
                      <a:pt x="19" y="5"/>
                      <a:pt x="18" y="5"/>
                    </a:cubicBezTo>
                    <a:cubicBezTo>
                      <a:pt x="19" y="5"/>
                      <a:pt x="19" y="5"/>
                      <a:pt x="19" y="5"/>
                    </a:cubicBezTo>
                    <a:cubicBezTo>
                      <a:pt x="19" y="5"/>
                      <a:pt x="19" y="5"/>
                      <a:pt x="19" y="5"/>
                    </a:cubicBezTo>
                    <a:cubicBezTo>
                      <a:pt x="19" y="5"/>
                      <a:pt x="19" y="5"/>
                      <a:pt x="19" y="5"/>
                    </a:cubicBezTo>
                    <a:cubicBezTo>
                      <a:pt x="19" y="5"/>
                      <a:pt x="18" y="5"/>
                      <a:pt x="18" y="5"/>
                    </a:cubicBezTo>
                    <a:cubicBezTo>
                      <a:pt x="18" y="5"/>
                      <a:pt x="19" y="5"/>
                      <a:pt x="19" y="5"/>
                    </a:cubicBezTo>
                    <a:cubicBezTo>
                      <a:pt x="19" y="5"/>
                      <a:pt x="19" y="5"/>
                      <a:pt x="18" y="5"/>
                    </a:cubicBezTo>
                    <a:cubicBezTo>
                      <a:pt x="18" y="5"/>
                      <a:pt x="19" y="5"/>
                      <a:pt x="19" y="5"/>
                    </a:cubicBezTo>
                    <a:cubicBezTo>
                      <a:pt x="19"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8" y="4"/>
                    </a:cubicBezTo>
                    <a:cubicBezTo>
                      <a:pt x="18" y="4"/>
                      <a:pt x="18" y="4"/>
                      <a:pt x="17" y="3"/>
                    </a:cubicBezTo>
                    <a:cubicBezTo>
                      <a:pt x="18" y="3"/>
                      <a:pt x="18" y="3"/>
                      <a:pt x="18" y="4"/>
                    </a:cubicBezTo>
                    <a:cubicBezTo>
                      <a:pt x="18" y="3"/>
                      <a:pt x="18" y="3"/>
                      <a:pt x="18" y="3"/>
                    </a:cubicBezTo>
                    <a:cubicBezTo>
                      <a:pt x="18" y="3"/>
                      <a:pt x="18" y="3"/>
                      <a:pt x="18" y="3"/>
                    </a:cubicBezTo>
                    <a:cubicBezTo>
                      <a:pt x="18" y="3"/>
                      <a:pt x="18" y="3"/>
                      <a:pt x="18" y="3"/>
                    </a:cubicBezTo>
                    <a:cubicBezTo>
                      <a:pt x="18" y="3"/>
                      <a:pt x="18" y="3"/>
                      <a:pt x="18" y="3"/>
                    </a:cubicBezTo>
                    <a:cubicBezTo>
                      <a:pt x="18" y="3"/>
                      <a:pt x="18" y="2"/>
                      <a:pt x="18" y="2"/>
                    </a:cubicBezTo>
                    <a:cubicBezTo>
                      <a:pt x="18" y="2"/>
                      <a:pt x="18" y="2"/>
                      <a:pt x="19" y="2"/>
                    </a:cubicBezTo>
                    <a:cubicBezTo>
                      <a:pt x="19" y="2"/>
                      <a:pt x="19" y="2"/>
                      <a:pt x="18" y="2"/>
                    </a:cubicBezTo>
                    <a:cubicBezTo>
                      <a:pt x="18" y="2"/>
                      <a:pt x="19" y="2"/>
                      <a:pt x="19" y="2"/>
                    </a:cubicBezTo>
                    <a:cubicBezTo>
                      <a:pt x="19" y="2"/>
                      <a:pt x="19" y="2"/>
                      <a:pt x="19" y="2"/>
                    </a:cubicBezTo>
                    <a:cubicBezTo>
                      <a:pt x="19" y="2"/>
                      <a:pt x="19" y="2"/>
                      <a:pt x="19" y="2"/>
                    </a:cubicBezTo>
                    <a:cubicBezTo>
                      <a:pt x="19" y="2"/>
                      <a:pt x="19" y="2"/>
                      <a:pt x="19" y="1"/>
                    </a:cubicBezTo>
                    <a:cubicBezTo>
                      <a:pt x="19" y="2"/>
                      <a:pt x="19" y="2"/>
                      <a:pt x="19" y="2"/>
                    </a:cubicBezTo>
                    <a:cubicBezTo>
                      <a:pt x="19" y="2"/>
                      <a:pt x="19" y="2"/>
                      <a:pt x="19" y="2"/>
                    </a:cubicBezTo>
                    <a:cubicBezTo>
                      <a:pt x="19" y="2"/>
                      <a:pt x="19" y="2"/>
                      <a:pt x="19" y="2"/>
                    </a:cubicBezTo>
                    <a:cubicBezTo>
                      <a:pt x="19" y="2"/>
                      <a:pt x="20" y="2"/>
                      <a:pt x="19" y="1"/>
                    </a:cubicBezTo>
                    <a:cubicBezTo>
                      <a:pt x="19" y="1"/>
                      <a:pt x="19" y="1"/>
                      <a:pt x="19" y="1"/>
                    </a:cubicBezTo>
                    <a:cubicBezTo>
                      <a:pt x="20" y="1"/>
                      <a:pt x="20" y="2"/>
                      <a:pt x="20" y="2"/>
                    </a:cubicBezTo>
                    <a:cubicBezTo>
                      <a:pt x="20" y="2"/>
                      <a:pt x="20" y="1"/>
                      <a:pt x="20" y="1"/>
                    </a:cubicBezTo>
                    <a:cubicBezTo>
                      <a:pt x="20" y="1"/>
                      <a:pt x="20" y="1"/>
                      <a:pt x="20" y="1"/>
                    </a:cubicBezTo>
                    <a:cubicBezTo>
                      <a:pt x="20" y="1"/>
                      <a:pt x="20" y="1"/>
                      <a:pt x="20" y="1"/>
                    </a:cubicBezTo>
                    <a:cubicBezTo>
                      <a:pt x="20" y="1"/>
                      <a:pt x="20" y="1"/>
                      <a:pt x="20" y="2"/>
                    </a:cubicBezTo>
                    <a:cubicBezTo>
                      <a:pt x="21" y="1"/>
                      <a:pt x="21" y="1"/>
                      <a:pt x="21" y="1"/>
                    </a:cubicBezTo>
                    <a:cubicBezTo>
                      <a:pt x="21" y="1"/>
                      <a:pt x="21" y="1"/>
                      <a:pt x="21" y="1"/>
                    </a:cubicBezTo>
                    <a:cubicBezTo>
                      <a:pt x="21" y="1"/>
                      <a:pt x="21" y="1"/>
                      <a:pt x="21" y="1"/>
                    </a:cubicBezTo>
                    <a:cubicBezTo>
                      <a:pt x="21" y="1"/>
                      <a:pt x="21" y="1"/>
                      <a:pt x="21" y="2"/>
                    </a:cubicBezTo>
                    <a:cubicBezTo>
                      <a:pt x="21" y="2"/>
                      <a:pt x="21" y="1"/>
                      <a:pt x="21" y="1"/>
                    </a:cubicBezTo>
                    <a:cubicBezTo>
                      <a:pt x="21" y="1"/>
                      <a:pt x="21" y="1"/>
                      <a:pt x="21" y="1"/>
                    </a:cubicBezTo>
                    <a:cubicBezTo>
                      <a:pt x="21" y="1"/>
                      <a:pt x="22" y="1"/>
                      <a:pt x="22" y="1"/>
                    </a:cubicBezTo>
                    <a:cubicBezTo>
                      <a:pt x="22" y="1"/>
                      <a:pt x="22" y="1"/>
                      <a:pt x="22" y="1"/>
                    </a:cubicBezTo>
                    <a:cubicBezTo>
                      <a:pt x="22" y="1"/>
                      <a:pt x="22" y="1"/>
                      <a:pt x="22" y="1"/>
                    </a:cubicBezTo>
                    <a:cubicBezTo>
                      <a:pt x="21" y="1"/>
                      <a:pt x="21" y="0"/>
                      <a:pt x="21" y="0"/>
                    </a:cubicBezTo>
                    <a:cubicBezTo>
                      <a:pt x="22" y="1"/>
                      <a:pt x="23" y="1"/>
                      <a:pt x="24" y="1"/>
                    </a:cubicBezTo>
                    <a:cubicBezTo>
                      <a:pt x="23" y="1"/>
                      <a:pt x="23" y="1"/>
                      <a:pt x="23" y="1"/>
                    </a:cubicBezTo>
                    <a:cubicBezTo>
                      <a:pt x="23" y="1"/>
                      <a:pt x="23" y="1"/>
                      <a:pt x="23" y="2"/>
                    </a:cubicBezTo>
                    <a:cubicBezTo>
                      <a:pt x="23" y="1"/>
                      <a:pt x="24" y="1"/>
                      <a:pt x="24" y="1"/>
                    </a:cubicBezTo>
                    <a:cubicBezTo>
                      <a:pt x="24" y="1"/>
                      <a:pt x="24" y="2"/>
                      <a:pt x="24" y="2"/>
                    </a:cubicBezTo>
                    <a:cubicBezTo>
                      <a:pt x="24" y="2"/>
                      <a:pt x="24" y="2"/>
                      <a:pt x="24" y="1"/>
                    </a:cubicBezTo>
                    <a:cubicBezTo>
                      <a:pt x="24" y="1"/>
                      <a:pt x="24" y="1"/>
                      <a:pt x="24" y="1"/>
                    </a:cubicBezTo>
                    <a:cubicBezTo>
                      <a:pt x="25" y="1"/>
                      <a:pt x="25" y="1"/>
                      <a:pt x="25" y="1"/>
                    </a:cubicBezTo>
                    <a:cubicBezTo>
                      <a:pt x="25" y="1"/>
                      <a:pt x="25" y="2"/>
                      <a:pt x="24" y="2"/>
                    </a:cubicBezTo>
                    <a:cubicBezTo>
                      <a:pt x="24" y="2"/>
                      <a:pt x="25" y="2"/>
                      <a:pt x="25" y="2"/>
                    </a:cubicBezTo>
                    <a:cubicBezTo>
                      <a:pt x="25" y="2"/>
                      <a:pt x="25" y="2"/>
                      <a:pt x="25" y="2"/>
                    </a:cubicBezTo>
                    <a:cubicBezTo>
                      <a:pt x="25" y="2"/>
                      <a:pt x="25" y="2"/>
                      <a:pt x="25" y="2"/>
                    </a:cubicBezTo>
                    <a:cubicBezTo>
                      <a:pt x="25" y="2"/>
                      <a:pt x="25" y="2"/>
                      <a:pt x="25" y="1"/>
                    </a:cubicBezTo>
                    <a:cubicBezTo>
                      <a:pt x="25" y="2"/>
                      <a:pt x="25" y="2"/>
                      <a:pt x="25" y="2"/>
                    </a:cubicBezTo>
                    <a:cubicBezTo>
                      <a:pt x="25" y="2"/>
                      <a:pt x="25" y="1"/>
                      <a:pt x="25" y="1"/>
                    </a:cubicBezTo>
                    <a:cubicBezTo>
                      <a:pt x="25" y="2"/>
                      <a:pt x="25" y="2"/>
                      <a:pt x="25" y="3"/>
                    </a:cubicBezTo>
                    <a:cubicBezTo>
                      <a:pt x="25" y="2"/>
                      <a:pt x="25" y="2"/>
                      <a:pt x="26" y="2"/>
                    </a:cubicBezTo>
                    <a:cubicBezTo>
                      <a:pt x="25" y="2"/>
                      <a:pt x="25" y="2"/>
                      <a:pt x="25" y="2"/>
                    </a:cubicBezTo>
                    <a:cubicBezTo>
                      <a:pt x="25" y="2"/>
                      <a:pt x="25" y="2"/>
                      <a:pt x="25" y="2"/>
                    </a:cubicBezTo>
                    <a:cubicBezTo>
                      <a:pt x="25" y="2"/>
                      <a:pt x="25" y="3"/>
                      <a:pt x="25" y="3"/>
                    </a:cubicBezTo>
                    <a:cubicBezTo>
                      <a:pt x="25" y="3"/>
                      <a:pt x="25" y="3"/>
                      <a:pt x="25" y="3"/>
                    </a:cubicBezTo>
                    <a:cubicBezTo>
                      <a:pt x="26" y="2"/>
                      <a:pt x="26" y="2"/>
                      <a:pt x="27" y="2"/>
                    </a:cubicBezTo>
                    <a:cubicBezTo>
                      <a:pt x="26" y="2"/>
                      <a:pt x="26" y="3"/>
                      <a:pt x="26" y="3"/>
                    </a:cubicBezTo>
                    <a:cubicBezTo>
                      <a:pt x="26" y="3"/>
                      <a:pt x="26" y="3"/>
                      <a:pt x="26" y="3"/>
                    </a:cubicBezTo>
                    <a:cubicBezTo>
                      <a:pt x="26" y="3"/>
                      <a:pt x="26" y="3"/>
                      <a:pt x="26" y="3"/>
                    </a:cubicBezTo>
                    <a:cubicBezTo>
                      <a:pt x="26" y="3"/>
                      <a:pt x="26" y="3"/>
                      <a:pt x="26" y="3"/>
                    </a:cubicBezTo>
                    <a:cubicBezTo>
                      <a:pt x="26" y="3"/>
                      <a:pt x="26" y="3"/>
                      <a:pt x="26" y="3"/>
                    </a:cubicBezTo>
                    <a:cubicBezTo>
                      <a:pt x="26" y="3"/>
                      <a:pt x="26" y="3"/>
                      <a:pt x="26" y="4"/>
                    </a:cubicBezTo>
                    <a:cubicBezTo>
                      <a:pt x="26" y="4"/>
                      <a:pt x="27" y="4"/>
                      <a:pt x="27" y="4"/>
                    </a:cubicBezTo>
                    <a:cubicBezTo>
                      <a:pt x="27" y="3"/>
                      <a:pt x="27" y="3"/>
                      <a:pt x="27" y="3"/>
                    </a:cubicBezTo>
                    <a:cubicBezTo>
                      <a:pt x="27" y="3"/>
                      <a:pt x="27" y="3"/>
                      <a:pt x="27" y="4"/>
                    </a:cubicBezTo>
                    <a:cubicBezTo>
                      <a:pt x="27" y="4"/>
                      <a:pt x="27" y="4"/>
                      <a:pt x="27" y="4"/>
                    </a:cubicBezTo>
                    <a:cubicBezTo>
                      <a:pt x="27" y="4"/>
                      <a:pt x="27"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6" y="5"/>
                    </a:cubicBezTo>
                    <a:cubicBezTo>
                      <a:pt x="26" y="5"/>
                      <a:pt x="26" y="5"/>
                      <a:pt x="25" y="5"/>
                    </a:cubicBezTo>
                    <a:cubicBezTo>
                      <a:pt x="26" y="6"/>
                      <a:pt x="26" y="6"/>
                      <a:pt x="26" y="6"/>
                    </a:cubicBezTo>
                    <a:cubicBezTo>
                      <a:pt x="25" y="6"/>
                      <a:pt x="25" y="6"/>
                      <a:pt x="25" y="6"/>
                    </a:cubicBezTo>
                    <a:cubicBezTo>
                      <a:pt x="25" y="6"/>
                      <a:pt x="25" y="6"/>
                      <a:pt x="25" y="6"/>
                    </a:cubicBezTo>
                    <a:cubicBezTo>
                      <a:pt x="25" y="6"/>
                      <a:pt x="25" y="6"/>
                      <a:pt x="26" y="6"/>
                    </a:cubicBezTo>
                    <a:cubicBezTo>
                      <a:pt x="25" y="6"/>
                      <a:pt x="25" y="6"/>
                      <a:pt x="25" y="6"/>
                    </a:cubicBezTo>
                    <a:cubicBezTo>
                      <a:pt x="25" y="6"/>
                      <a:pt x="25" y="6"/>
                      <a:pt x="25" y="6"/>
                    </a:cubicBezTo>
                    <a:cubicBezTo>
                      <a:pt x="25" y="6"/>
                      <a:pt x="25" y="6"/>
                      <a:pt x="24" y="6"/>
                    </a:cubicBezTo>
                    <a:cubicBezTo>
                      <a:pt x="25" y="6"/>
                      <a:pt x="25" y="6"/>
                      <a:pt x="25" y="6"/>
                    </a:cubicBezTo>
                    <a:cubicBezTo>
                      <a:pt x="25" y="6"/>
                      <a:pt x="25" y="6"/>
                      <a:pt x="24" y="6"/>
                    </a:cubicBezTo>
                    <a:cubicBezTo>
                      <a:pt x="24" y="6"/>
                      <a:pt x="24" y="6"/>
                      <a:pt x="24" y="6"/>
                    </a:cubicBezTo>
                    <a:cubicBezTo>
                      <a:pt x="24" y="6"/>
                      <a:pt x="24" y="6"/>
                      <a:pt x="24" y="6"/>
                    </a:cubicBezTo>
                    <a:cubicBezTo>
                      <a:pt x="24" y="6"/>
                      <a:pt x="25" y="6"/>
                      <a:pt x="25" y="6"/>
                    </a:cubicBezTo>
                    <a:cubicBezTo>
                      <a:pt x="25" y="7"/>
                      <a:pt x="25" y="7"/>
                      <a:pt x="25" y="7"/>
                    </a:cubicBezTo>
                    <a:cubicBezTo>
                      <a:pt x="25" y="7"/>
                      <a:pt x="25" y="7"/>
                      <a:pt x="25" y="7"/>
                    </a:cubicBezTo>
                    <a:cubicBezTo>
                      <a:pt x="25" y="7"/>
                      <a:pt x="25" y="7"/>
                      <a:pt x="24" y="7"/>
                    </a:cubicBezTo>
                    <a:cubicBezTo>
                      <a:pt x="24" y="7"/>
                      <a:pt x="24" y="7"/>
                      <a:pt x="24"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7"/>
                      <a:pt x="25" y="7"/>
                    </a:cubicBezTo>
                    <a:cubicBezTo>
                      <a:pt x="25" y="7"/>
                      <a:pt x="25" y="8"/>
                      <a:pt x="25" y="8"/>
                    </a:cubicBezTo>
                    <a:cubicBezTo>
                      <a:pt x="25" y="8"/>
                      <a:pt x="25" y="8"/>
                      <a:pt x="26" y="8"/>
                    </a:cubicBezTo>
                    <a:cubicBezTo>
                      <a:pt x="26" y="8"/>
                      <a:pt x="25" y="8"/>
                      <a:pt x="25" y="8"/>
                    </a:cubicBezTo>
                    <a:cubicBezTo>
                      <a:pt x="25" y="8"/>
                      <a:pt x="25" y="8"/>
                      <a:pt x="25" y="8"/>
                    </a:cubicBezTo>
                    <a:cubicBezTo>
                      <a:pt x="25" y="8"/>
                      <a:pt x="25" y="8"/>
                      <a:pt x="25" y="8"/>
                    </a:cubicBezTo>
                    <a:cubicBezTo>
                      <a:pt x="26" y="8"/>
                      <a:pt x="26" y="8"/>
                      <a:pt x="26" y="8"/>
                    </a:cubicBezTo>
                    <a:cubicBezTo>
                      <a:pt x="26" y="8"/>
                      <a:pt x="26" y="8"/>
                      <a:pt x="26" y="7"/>
                    </a:cubicBezTo>
                    <a:cubicBezTo>
                      <a:pt x="26" y="7"/>
                      <a:pt x="26" y="7"/>
                      <a:pt x="26" y="7"/>
                    </a:cubicBezTo>
                    <a:cubicBezTo>
                      <a:pt x="26" y="7"/>
                      <a:pt x="26" y="7"/>
                      <a:pt x="26" y="8"/>
                    </a:cubicBezTo>
                    <a:cubicBezTo>
                      <a:pt x="26" y="8"/>
                      <a:pt x="26" y="8"/>
                      <a:pt x="26" y="8"/>
                    </a:cubicBezTo>
                    <a:cubicBezTo>
                      <a:pt x="26" y="7"/>
                      <a:pt x="26" y="7"/>
                      <a:pt x="26" y="7"/>
                    </a:cubicBezTo>
                    <a:cubicBezTo>
                      <a:pt x="26" y="7"/>
                      <a:pt x="26" y="7"/>
                      <a:pt x="26" y="7"/>
                    </a:cubicBezTo>
                    <a:cubicBezTo>
                      <a:pt x="26" y="7"/>
                      <a:pt x="26" y="7"/>
                      <a:pt x="26" y="7"/>
                    </a:cubicBezTo>
                    <a:cubicBezTo>
                      <a:pt x="26" y="7"/>
                      <a:pt x="26" y="7"/>
                      <a:pt x="26" y="8"/>
                    </a:cubicBezTo>
                    <a:cubicBezTo>
                      <a:pt x="26" y="8"/>
                      <a:pt x="26" y="8"/>
                      <a:pt x="26" y="8"/>
                    </a:cubicBezTo>
                    <a:cubicBezTo>
                      <a:pt x="26" y="7"/>
                      <a:pt x="27" y="7"/>
                      <a:pt x="27" y="7"/>
                    </a:cubicBezTo>
                    <a:cubicBezTo>
                      <a:pt x="27" y="8"/>
                      <a:pt x="26" y="8"/>
                      <a:pt x="27" y="8"/>
                    </a:cubicBezTo>
                    <a:cubicBezTo>
                      <a:pt x="27" y="8"/>
                      <a:pt x="27" y="7"/>
                      <a:pt x="27" y="7"/>
                    </a:cubicBezTo>
                    <a:cubicBezTo>
                      <a:pt x="27" y="7"/>
                      <a:pt x="27" y="8"/>
                      <a:pt x="27" y="8"/>
                    </a:cubicBezTo>
                    <a:cubicBezTo>
                      <a:pt x="27" y="8"/>
                      <a:pt x="27" y="7"/>
                      <a:pt x="27" y="6"/>
                    </a:cubicBezTo>
                    <a:cubicBezTo>
                      <a:pt x="27" y="6"/>
                      <a:pt x="27" y="6"/>
                      <a:pt x="27" y="6"/>
                    </a:cubicBezTo>
                    <a:cubicBezTo>
                      <a:pt x="27" y="6"/>
                      <a:pt x="27" y="7"/>
                      <a:pt x="27" y="7"/>
                    </a:cubicBezTo>
                    <a:cubicBezTo>
                      <a:pt x="27" y="6"/>
                      <a:pt x="27" y="6"/>
                      <a:pt x="27" y="6"/>
                    </a:cubicBezTo>
                    <a:cubicBezTo>
                      <a:pt x="27" y="7"/>
                      <a:pt x="27" y="7"/>
                      <a:pt x="27" y="7"/>
                    </a:cubicBezTo>
                    <a:cubicBezTo>
                      <a:pt x="28" y="7"/>
                      <a:pt x="28" y="7"/>
                      <a:pt x="28" y="6"/>
                    </a:cubicBezTo>
                    <a:cubicBezTo>
                      <a:pt x="28" y="6"/>
                      <a:pt x="28" y="6"/>
                      <a:pt x="28" y="6"/>
                    </a:cubicBezTo>
                    <a:cubicBezTo>
                      <a:pt x="28" y="7"/>
                      <a:pt x="28" y="7"/>
                      <a:pt x="28" y="7"/>
                    </a:cubicBezTo>
                    <a:cubicBezTo>
                      <a:pt x="28" y="7"/>
                      <a:pt x="28" y="7"/>
                      <a:pt x="29" y="6"/>
                    </a:cubicBezTo>
                    <a:cubicBezTo>
                      <a:pt x="29" y="6"/>
                      <a:pt x="29" y="6"/>
                      <a:pt x="29" y="6"/>
                    </a:cubicBezTo>
                    <a:cubicBezTo>
                      <a:pt x="29" y="6"/>
                      <a:pt x="29" y="6"/>
                      <a:pt x="29" y="6"/>
                    </a:cubicBezTo>
                    <a:cubicBezTo>
                      <a:pt x="29" y="6"/>
                      <a:pt x="29" y="6"/>
                      <a:pt x="29" y="6"/>
                    </a:cubicBezTo>
                    <a:cubicBezTo>
                      <a:pt x="29" y="6"/>
                      <a:pt x="29" y="7"/>
                      <a:pt x="29" y="7"/>
                    </a:cubicBezTo>
                    <a:cubicBezTo>
                      <a:pt x="29" y="6"/>
                      <a:pt x="29" y="6"/>
                      <a:pt x="29" y="6"/>
                    </a:cubicBezTo>
                    <a:cubicBezTo>
                      <a:pt x="29" y="6"/>
                      <a:pt x="29" y="6"/>
                      <a:pt x="29" y="6"/>
                    </a:cubicBezTo>
                    <a:cubicBezTo>
                      <a:pt x="29" y="6"/>
                      <a:pt x="29" y="6"/>
                      <a:pt x="29" y="6"/>
                    </a:cubicBezTo>
                    <a:cubicBezTo>
                      <a:pt x="29" y="6"/>
                      <a:pt x="29" y="6"/>
                      <a:pt x="29" y="6"/>
                    </a:cubicBezTo>
                    <a:cubicBezTo>
                      <a:pt x="29" y="6"/>
                      <a:pt x="29" y="6"/>
                      <a:pt x="29" y="6"/>
                    </a:cubicBezTo>
                    <a:cubicBezTo>
                      <a:pt x="29" y="6"/>
                      <a:pt x="30" y="6"/>
                      <a:pt x="30" y="6"/>
                    </a:cubicBezTo>
                    <a:cubicBezTo>
                      <a:pt x="30" y="6"/>
                      <a:pt x="30" y="6"/>
                      <a:pt x="30" y="7"/>
                    </a:cubicBezTo>
                    <a:cubicBezTo>
                      <a:pt x="30" y="7"/>
                      <a:pt x="30" y="7"/>
                      <a:pt x="30" y="7"/>
                    </a:cubicBezTo>
                    <a:cubicBezTo>
                      <a:pt x="30" y="7"/>
                      <a:pt x="30" y="7"/>
                      <a:pt x="30" y="7"/>
                    </a:cubicBezTo>
                    <a:cubicBezTo>
                      <a:pt x="30" y="7"/>
                      <a:pt x="30" y="7"/>
                      <a:pt x="30" y="7"/>
                    </a:cubicBezTo>
                    <a:cubicBezTo>
                      <a:pt x="30" y="7"/>
                      <a:pt x="30" y="6"/>
                      <a:pt x="30" y="6"/>
                    </a:cubicBezTo>
                    <a:cubicBezTo>
                      <a:pt x="30" y="6"/>
                      <a:pt x="30" y="6"/>
                      <a:pt x="30" y="6"/>
                    </a:cubicBezTo>
                    <a:cubicBezTo>
                      <a:pt x="30" y="6"/>
                      <a:pt x="30" y="6"/>
                      <a:pt x="30" y="6"/>
                    </a:cubicBezTo>
                    <a:cubicBezTo>
                      <a:pt x="30" y="6"/>
                      <a:pt x="30" y="6"/>
                      <a:pt x="30" y="6"/>
                    </a:cubicBezTo>
                    <a:cubicBezTo>
                      <a:pt x="31" y="7"/>
                      <a:pt x="31" y="7"/>
                      <a:pt x="31" y="7"/>
                    </a:cubicBezTo>
                    <a:cubicBezTo>
                      <a:pt x="31" y="7"/>
                      <a:pt x="31" y="7"/>
                      <a:pt x="31" y="7"/>
                    </a:cubicBezTo>
                    <a:cubicBezTo>
                      <a:pt x="31" y="7"/>
                      <a:pt x="31" y="7"/>
                      <a:pt x="31" y="7"/>
                    </a:cubicBezTo>
                    <a:cubicBezTo>
                      <a:pt x="31" y="7"/>
                      <a:pt x="32" y="7"/>
                      <a:pt x="32" y="7"/>
                    </a:cubicBezTo>
                    <a:cubicBezTo>
                      <a:pt x="32" y="7"/>
                      <a:pt x="32" y="7"/>
                      <a:pt x="32" y="7"/>
                    </a:cubicBezTo>
                    <a:cubicBezTo>
                      <a:pt x="32" y="7"/>
                      <a:pt x="32" y="7"/>
                      <a:pt x="32" y="7"/>
                    </a:cubicBezTo>
                    <a:cubicBezTo>
                      <a:pt x="32" y="7"/>
                      <a:pt x="32" y="7"/>
                      <a:pt x="31" y="7"/>
                    </a:cubicBezTo>
                    <a:cubicBezTo>
                      <a:pt x="31" y="7"/>
                      <a:pt x="31" y="7"/>
                      <a:pt x="31" y="7"/>
                    </a:cubicBezTo>
                    <a:cubicBezTo>
                      <a:pt x="31" y="7"/>
                      <a:pt x="31" y="7"/>
                      <a:pt x="31" y="7"/>
                    </a:cubicBezTo>
                    <a:cubicBezTo>
                      <a:pt x="31" y="8"/>
                      <a:pt x="31" y="8"/>
                      <a:pt x="31" y="8"/>
                    </a:cubicBezTo>
                    <a:cubicBezTo>
                      <a:pt x="31" y="8"/>
                      <a:pt x="31" y="8"/>
                      <a:pt x="32" y="8"/>
                    </a:cubicBezTo>
                    <a:cubicBezTo>
                      <a:pt x="31" y="8"/>
                      <a:pt x="31" y="8"/>
                      <a:pt x="31" y="8"/>
                    </a:cubicBezTo>
                    <a:cubicBezTo>
                      <a:pt x="31" y="8"/>
                      <a:pt x="31" y="8"/>
                      <a:pt x="32" y="8"/>
                    </a:cubicBezTo>
                    <a:cubicBezTo>
                      <a:pt x="31" y="8"/>
                      <a:pt x="31" y="8"/>
                      <a:pt x="31" y="9"/>
                    </a:cubicBezTo>
                    <a:cubicBezTo>
                      <a:pt x="31" y="9"/>
                      <a:pt x="31" y="9"/>
                      <a:pt x="31" y="9"/>
                    </a:cubicBezTo>
                    <a:cubicBezTo>
                      <a:pt x="31" y="9"/>
                      <a:pt x="31" y="9"/>
                      <a:pt x="31" y="9"/>
                    </a:cubicBezTo>
                    <a:cubicBezTo>
                      <a:pt x="31" y="9"/>
                      <a:pt x="31" y="9"/>
                      <a:pt x="31" y="9"/>
                    </a:cubicBezTo>
                    <a:cubicBezTo>
                      <a:pt x="31" y="9"/>
                      <a:pt x="31" y="9"/>
                      <a:pt x="30" y="9"/>
                    </a:cubicBezTo>
                    <a:cubicBezTo>
                      <a:pt x="30" y="9"/>
                      <a:pt x="31" y="9"/>
                      <a:pt x="31" y="9"/>
                    </a:cubicBezTo>
                    <a:cubicBezTo>
                      <a:pt x="31" y="9"/>
                      <a:pt x="31" y="9"/>
                      <a:pt x="30" y="9"/>
                    </a:cubicBezTo>
                    <a:cubicBezTo>
                      <a:pt x="30" y="9"/>
                      <a:pt x="31" y="9"/>
                      <a:pt x="31" y="9"/>
                    </a:cubicBezTo>
                    <a:cubicBezTo>
                      <a:pt x="30" y="9"/>
                      <a:pt x="30" y="9"/>
                      <a:pt x="30" y="9"/>
                    </a:cubicBezTo>
                    <a:cubicBezTo>
                      <a:pt x="30" y="9"/>
                      <a:pt x="30" y="9"/>
                      <a:pt x="30" y="10"/>
                    </a:cubicBezTo>
                    <a:cubicBezTo>
                      <a:pt x="30" y="9"/>
                      <a:pt x="28" y="9"/>
                      <a:pt x="28" y="10"/>
                    </a:cubicBezTo>
                    <a:cubicBezTo>
                      <a:pt x="28" y="10"/>
                      <a:pt x="29" y="10"/>
                      <a:pt x="29" y="10"/>
                    </a:cubicBezTo>
                    <a:cubicBezTo>
                      <a:pt x="29" y="10"/>
                      <a:pt x="29" y="10"/>
                      <a:pt x="29" y="10"/>
                    </a:cubicBezTo>
                    <a:cubicBezTo>
                      <a:pt x="29" y="10"/>
                      <a:pt x="29" y="10"/>
                      <a:pt x="29" y="10"/>
                    </a:cubicBezTo>
                    <a:cubicBezTo>
                      <a:pt x="29" y="10"/>
                      <a:pt x="29" y="10"/>
                      <a:pt x="29" y="10"/>
                    </a:cubicBezTo>
                    <a:cubicBezTo>
                      <a:pt x="29" y="10"/>
                      <a:pt x="28" y="10"/>
                      <a:pt x="28" y="10"/>
                    </a:cubicBezTo>
                    <a:cubicBezTo>
                      <a:pt x="28" y="10"/>
                      <a:pt x="28" y="10"/>
                      <a:pt x="28" y="10"/>
                    </a:cubicBezTo>
                    <a:cubicBezTo>
                      <a:pt x="28" y="10"/>
                      <a:pt x="27" y="10"/>
                      <a:pt x="27" y="10"/>
                    </a:cubicBezTo>
                    <a:cubicBezTo>
                      <a:pt x="27" y="10"/>
                      <a:pt x="27" y="10"/>
                      <a:pt x="27" y="10"/>
                    </a:cubicBezTo>
                    <a:cubicBezTo>
                      <a:pt x="27" y="10"/>
                      <a:pt x="28" y="10"/>
                      <a:pt x="28" y="10"/>
                    </a:cubicBezTo>
                    <a:cubicBezTo>
                      <a:pt x="28" y="10"/>
                      <a:pt x="27" y="10"/>
                      <a:pt x="27" y="10"/>
                    </a:cubicBezTo>
                    <a:cubicBezTo>
                      <a:pt x="27" y="10"/>
                      <a:pt x="27" y="10"/>
                      <a:pt x="27" y="10"/>
                    </a:cubicBezTo>
                    <a:cubicBezTo>
                      <a:pt x="27" y="10"/>
                      <a:pt x="27" y="10"/>
                      <a:pt x="28" y="10"/>
                    </a:cubicBezTo>
                    <a:cubicBezTo>
                      <a:pt x="27" y="10"/>
                      <a:pt x="27" y="10"/>
                      <a:pt x="27" y="10"/>
                    </a:cubicBezTo>
                    <a:cubicBezTo>
                      <a:pt x="27" y="11"/>
                      <a:pt x="27" y="11"/>
                      <a:pt x="28" y="11"/>
                    </a:cubicBezTo>
                    <a:cubicBezTo>
                      <a:pt x="28" y="11"/>
                      <a:pt x="28" y="11"/>
                      <a:pt x="29"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1"/>
                      <a:pt x="28" y="11"/>
                      <a:pt x="28" y="11"/>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8" y="12"/>
                      <a:pt x="28" y="12"/>
                    </a:cubicBezTo>
                    <a:cubicBezTo>
                      <a:pt x="28" y="12"/>
                      <a:pt x="29" y="11"/>
                      <a:pt x="29" y="11"/>
                    </a:cubicBezTo>
                    <a:cubicBezTo>
                      <a:pt x="29" y="11"/>
                      <a:pt x="29" y="11"/>
                      <a:pt x="29" y="11"/>
                    </a:cubicBezTo>
                    <a:cubicBezTo>
                      <a:pt x="29" y="11"/>
                      <a:pt x="29" y="11"/>
                      <a:pt x="29" y="11"/>
                    </a:cubicBezTo>
                    <a:cubicBezTo>
                      <a:pt x="29" y="11"/>
                      <a:pt x="29" y="12"/>
                      <a:pt x="29" y="12"/>
                    </a:cubicBezTo>
                    <a:cubicBezTo>
                      <a:pt x="29" y="12"/>
                      <a:pt x="29" y="12"/>
                      <a:pt x="29" y="12"/>
                    </a:cubicBezTo>
                    <a:cubicBezTo>
                      <a:pt x="29" y="12"/>
                      <a:pt x="29" y="12"/>
                      <a:pt x="29" y="12"/>
                    </a:cubicBezTo>
                    <a:cubicBezTo>
                      <a:pt x="29" y="12"/>
                      <a:pt x="29" y="11"/>
                      <a:pt x="30" y="11"/>
                    </a:cubicBezTo>
                    <a:cubicBezTo>
                      <a:pt x="30" y="11"/>
                      <a:pt x="30" y="11"/>
                      <a:pt x="30" y="12"/>
                    </a:cubicBezTo>
                    <a:cubicBezTo>
                      <a:pt x="30" y="11"/>
                      <a:pt x="30" y="11"/>
                      <a:pt x="31" y="11"/>
                    </a:cubicBezTo>
                    <a:cubicBezTo>
                      <a:pt x="31" y="11"/>
                      <a:pt x="30" y="11"/>
                      <a:pt x="30" y="12"/>
                    </a:cubicBezTo>
                    <a:cubicBezTo>
                      <a:pt x="30" y="12"/>
                      <a:pt x="30" y="11"/>
                      <a:pt x="30" y="11"/>
                    </a:cubicBezTo>
                    <a:cubicBezTo>
                      <a:pt x="31" y="11"/>
                      <a:pt x="31" y="11"/>
                      <a:pt x="31" y="11"/>
                    </a:cubicBezTo>
                    <a:cubicBezTo>
                      <a:pt x="31" y="11"/>
                      <a:pt x="31" y="10"/>
                      <a:pt x="31" y="10"/>
                    </a:cubicBezTo>
                    <a:cubicBezTo>
                      <a:pt x="31" y="10"/>
                      <a:pt x="31" y="10"/>
                      <a:pt x="31" y="10"/>
                    </a:cubicBezTo>
                    <a:cubicBezTo>
                      <a:pt x="31" y="10"/>
                      <a:pt x="31" y="10"/>
                      <a:pt x="31" y="10"/>
                    </a:cubicBezTo>
                    <a:cubicBezTo>
                      <a:pt x="31" y="10"/>
                      <a:pt x="31" y="10"/>
                      <a:pt x="31" y="10"/>
                    </a:cubicBezTo>
                    <a:cubicBezTo>
                      <a:pt x="31" y="10"/>
                      <a:pt x="31" y="9"/>
                      <a:pt x="31" y="9"/>
                    </a:cubicBezTo>
                    <a:cubicBezTo>
                      <a:pt x="31" y="9"/>
                      <a:pt x="32" y="10"/>
                      <a:pt x="32" y="10"/>
                    </a:cubicBezTo>
                    <a:cubicBezTo>
                      <a:pt x="32" y="9"/>
                      <a:pt x="32" y="9"/>
                      <a:pt x="31" y="9"/>
                    </a:cubicBezTo>
                    <a:cubicBezTo>
                      <a:pt x="31" y="9"/>
                      <a:pt x="31" y="9"/>
                      <a:pt x="31" y="9"/>
                    </a:cubicBezTo>
                    <a:cubicBezTo>
                      <a:pt x="32" y="9"/>
                      <a:pt x="32" y="9"/>
                      <a:pt x="32" y="9"/>
                    </a:cubicBezTo>
                    <a:cubicBezTo>
                      <a:pt x="32" y="9"/>
                      <a:pt x="32" y="9"/>
                      <a:pt x="33" y="8"/>
                    </a:cubicBezTo>
                    <a:cubicBezTo>
                      <a:pt x="33" y="9"/>
                      <a:pt x="33" y="9"/>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3" y="10"/>
                      <a:pt x="33" y="10"/>
                    </a:cubicBezTo>
                    <a:cubicBezTo>
                      <a:pt x="33" y="10"/>
                      <a:pt x="34" y="10"/>
                      <a:pt x="34" y="10"/>
                    </a:cubicBezTo>
                    <a:cubicBezTo>
                      <a:pt x="34" y="10"/>
                      <a:pt x="33" y="10"/>
                      <a:pt x="33" y="11"/>
                    </a:cubicBezTo>
                    <a:cubicBezTo>
                      <a:pt x="33" y="11"/>
                      <a:pt x="33" y="11"/>
                      <a:pt x="33" y="11"/>
                    </a:cubicBezTo>
                    <a:cubicBezTo>
                      <a:pt x="33" y="11"/>
                      <a:pt x="33" y="11"/>
                      <a:pt x="33" y="11"/>
                    </a:cubicBezTo>
                    <a:cubicBezTo>
                      <a:pt x="33" y="11"/>
                      <a:pt x="33" y="11"/>
                      <a:pt x="33" y="11"/>
                    </a:cubicBezTo>
                    <a:cubicBezTo>
                      <a:pt x="33" y="11"/>
                      <a:pt x="33" y="11"/>
                      <a:pt x="33" y="11"/>
                    </a:cubicBezTo>
                    <a:cubicBezTo>
                      <a:pt x="33" y="11"/>
                      <a:pt x="34" y="11"/>
                      <a:pt x="34" y="11"/>
                    </a:cubicBezTo>
                    <a:cubicBezTo>
                      <a:pt x="34" y="11"/>
                      <a:pt x="32" y="11"/>
                      <a:pt x="32" y="11"/>
                    </a:cubicBezTo>
                    <a:cubicBezTo>
                      <a:pt x="32" y="11"/>
                      <a:pt x="32" y="11"/>
                      <a:pt x="32" y="11"/>
                    </a:cubicBezTo>
                    <a:cubicBezTo>
                      <a:pt x="32" y="11"/>
                      <a:pt x="32" y="11"/>
                      <a:pt x="32" y="11"/>
                    </a:cubicBezTo>
                    <a:cubicBezTo>
                      <a:pt x="32" y="11"/>
                      <a:pt x="32" y="12"/>
                      <a:pt x="32" y="12"/>
                    </a:cubicBezTo>
                    <a:cubicBezTo>
                      <a:pt x="32" y="12"/>
                      <a:pt x="32" y="12"/>
                      <a:pt x="32" y="12"/>
                    </a:cubicBezTo>
                    <a:cubicBezTo>
                      <a:pt x="32" y="12"/>
                      <a:pt x="32" y="12"/>
                      <a:pt x="32" y="12"/>
                    </a:cubicBezTo>
                    <a:cubicBezTo>
                      <a:pt x="32" y="12"/>
                      <a:pt x="32" y="12"/>
                      <a:pt x="32" y="12"/>
                    </a:cubicBezTo>
                    <a:cubicBezTo>
                      <a:pt x="32" y="12"/>
                      <a:pt x="32" y="12"/>
                      <a:pt x="32" y="12"/>
                    </a:cubicBezTo>
                    <a:cubicBezTo>
                      <a:pt x="32" y="12"/>
                      <a:pt x="32" y="12"/>
                      <a:pt x="32" y="12"/>
                    </a:cubicBezTo>
                    <a:cubicBezTo>
                      <a:pt x="32" y="12"/>
                      <a:pt x="33" y="12"/>
                      <a:pt x="33" y="12"/>
                    </a:cubicBezTo>
                    <a:cubicBezTo>
                      <a:pt x="33" y="12"/>
                      <a:pt x="33" y="12"/>
                      <a:pt x="33" y="12"/>
                    </a:cubicBezTo>
                    <a:cubicBezTo>
                      <a:pt x="33" y="12"/>
                      <a:pt x="33" y="12"/>
                      <a:pt x="32" y="12"/>
                    </a:cubicBezTo>
                    <a:cubicBezTo>
                      <a:pt x="32" y="12"/>
                      <a:pt x="33" y="12"/>
                      <a:pt x="33" y="12"/>
                    </a:cubicBezTo>
                    <a:cubicBezTo>
                      <a:pt x="33" y="12"/>
                      <a:pt x="33" y="12"/>
                      <a:pt x="32" y="12"/>
                    </a:cubicBezTo>
                    <a:cubicBezTo>
                      <a:pt x="33" y="12"/>
                      <a:pt x="33" y="12"/>
                      <a:pt x="33" y="12"/>
                    </a:cubicBezTo>
                    <a:cubicBezTo>
                      <a:pt x="33" y="12"/>
                      <a:pt x="33" y="12"/>
                      <a:pt x="33" y="12"/>
                    </a:cubicBezTo>
                    <a:cubicBezTo>
                      <a:pt x="33" y="12"/>
                      <a:pt x="33" y="12"/>
                      <a:pt x="33" y="12"/>
                    </a:cubicBezTo>
                    <a:cubicBezTo>
                      <a:pt x="33" y="12"/>
                      <a:pt x="33" y="12"/>
                      <a:pt x="33" y="12"/>
                    </a:cubicBezTo>
                    <a:cubicBezTo>
                      <a:pt x="33" y="13"/>
                      <a:pt x="33" y="13"/>
                      <a:pt x="32" y="14"/>
                    </a:cubicBezTo>
                    <a:cubicBezTo>
                      <a:pt x="33" y="14"/>
                      <a:pt x="34" y="12"/>
                      <a:pt x="34" y="12"/>
                    </a:cubicBezTo>
                    <a:cubicBezTo>
                      <a:pt x="34" y="12"/>
                      <a:pt x="34" y="12"/>
                      <a:pt x="34" y="12"/>
                    </a:cubicBezTo>
                    <a:cubicBezTo>
                      <a:pt x="34" y="12"/>
                      <a:pt x="33" y="13"/>
                      <a:pt x="33" y="13"/>
                    </a:cubicBezTo>
                    <a:cubicBezTo>
                      <a:pt x="34" y="13"/>
                      <a:pt x="34" y="13"/>
                      <a:pt x="34" y="12"/>
                    </a:cubicBezTo>
                    <a:cubicBezTo>
                      <a:pt x="34" y="12"/>
                      <a:pt x="34" y="13"/>
                      <a:pt x="34" y="13"/>
                    </a:cubicBezTo>
                    <a:cubicBezTo>
                      <a:pt x="35" y="12"/>
                      <a:pt x="35" y="12"/>
                      <a:pt x="35" y="12"/>
                    </a:cubicBezTo>
                    <a:cubicBezTo>
                      <a:pt x="35" y="12"/>
                      <a:pt x="35" y="12"/>
                      <a:pt x="35" y="12"/>
                    </a:cubicBezTo>
                    <a:cubicBezTo>
                      <a:pt x="35" y="12"/>
                      <a:pt x="35" y="12"/>
                      <a:pt x="35" y="12"/>
                    </a:cubicBezTo>
                    <a:cubicBezTo>
                      <a:pt x="35" y="13"/>
                      <a:pt x="35" y="13"/>
                      <a:pt x="35" y="13"/>
                    </a:cubicBezTo>
                    <a:cubicBezTo>
                      <a:pt x="35" y="13"/>
                      <a:pt x="35" y="13"/>
                      <a:pt x="36" y="13"/>
                    </a:cubicBezTo>
                    <a:cubicBezTo>
                      <a:pt x="35" y="13"/>
                      <a:pt x="35" y="13"/>
                      <a:pt x="35" y="13"/>
                    </a:cubicBezTo>
                    <a:cubicBezTo>
                      <a:pt x="35" y="13"/>
                      <a:pt x="35" y="13"/>
                      <a:pt x="36" y="13"/>
                    </a:cubicBezTo>
                    <a:cubicBezTo>
                      <a:pt x="35" y="13"/>
                      <a:pt x="35" y="13"/>
                      <a:pt x="34" y="13"/>
                    </a:cubicBezTo>
                    <a:cubicBezTo>
                      <a:pt x="35" y="13"/>
                      <a:pt x="35" y="14"/>
                      <a:pt x="35" y="14"/>
                    </a:cubicBezTo>
                    <a:cubicBezTo>
                      <a:pt x="35" y="14"/>
                      <a:pt x="35" y="14"/>
                      <a:pt x="35" y="14"/>
                    </a:cubicBezTo>
                    <a:cubicBezTo>
                      <a:pt x="35" y="14"/>
                      <a:pt x="35" y="14"/>
                      <a:pt x="35" y="14"/>
                    </a:cubicBezTo>
                    <a:cubicBezTo>
                      <a:pt x="35" y="14"/>
                      <a:pt x="34" y="14"/>
                      <a:pt x="34" y="14"/>
                    </a:cubicBezTo>
                    <a:cubicBezTo>
                      <a:pt x="34" y="14"/>
                      <a:pt x="34" y="14"/>
                      <a:pt x="34" y="14"/>
                    </a:cubicBezTo>
                    <a:cubicBezTo>
                      <a:pt x="34" y="14"/>
                      <a:pt x="34" y="14"/>
                      <a:pt x="35" y="14"/>
                    </a:cubicBezTo>
                    <a:cubicBezTo>
                      <a:pt x="34" y="14"/>
                      <a:pt x="34" y="14"/>
                      <a:pt x="33" y="14"/>
                    </a:cubicBezTo>
                    <a:cubicBezTo>
                      <a:pt x="34" y="14"/>
                      <a:pt x="34" y="14"/>
                      <a:pt x="34" y="14"/>
                    </a:cubicBezTo>
                    <a:cubicBezTo>
                      <a:pt x="34" y="14"/>
                      <a:pt x="33" y="14"/>
                      <a:pt x="32" y="14"/>
                    </a:cubicBezTo>
                    <a:cubicBezTo>
                      <a:pt x="33" y="15"/>
                      <a:pt x="33" y="15"/>
                      <a:pt x="34" y="15"/>
                    </a:cubicBezTo>
                    <a:cubicBezTo>
                      <a:pt x="33" y="15"/>
                      <a:pt x="33" y="15"/>
                      <a:pt x="33" y="15"/>
                    </a:cubicBezTo>
                    <a:cubicBezTo>
                      <a:pt x="33" y="15"/>
                      <a:pt x="33" y="15"/>
                      <a:pt x="34" y="15"/>
                    </a:cubicBezTo>
                    <a:cubicBezTo>
                      <a:pt x="33" y="15"/>
                      <a:pt x="33" y="15"/>
                      <a:pt x="32" y="15"/>
                    </a:cubicBezTo>
                    <a:cubicBezTo>
                      <a:pt x="32" y="15"/>
                      <a:pt x="32" y="15"/>
                      <a:pt x="32" y="15"/>
                    </a:cubicBezTo>
                    <a:cubicBezTo>
                      <a:pt x="32" y="15"/>
                      <a:pt x="32" y="15"/>
                      <a:pt x="32" y="15"/>
                    </a:cubicBezTo>
                    <a:cubicBezTo>
                      <a:pt x="32" y="15"/>
                      <a:pt x="32" y="15"/>
                      <a:pt x="32" y="15"/>
                    </a:cubicBezTo>
                    <a:cubicBezTo>
                      <a:pt x="32" y="15"/>
                      <a:pt x="32" y="15"/>
                      <a:pt x="31" y="15"/>
                    </a:cubicBezTo>
                    <a:cubicBezTo>
                      <a:pt x="32" y="15"/>
                      <a:pt x="32" y="16"/>
                      <a:pt x="32" y="16"/>
                    </a:cubicBezTo>
                    <a:cubicBezTo>
                      <a:pt x="32" y="16"/>
                      <a:pt x="31" y="15"/>
                      <a:pt x="31" y="15"/>
                    </a:cubicBezTo>
                    <a:cubicBezTo>
                      <a:pt x="31" y="15"/>
                      <a:pt x="31" y="15"/>
                      <a:pt x="31" y="15"/>
                    </a:cubicBezTo>
                    <a:cubicBezTo>
                      <a:pt x="31" y="16"/>
                      <a:pt x="31" y="16"/>
                      <a:pt x="31" y="16"/>
                    </a:cubicBezTo>
                    <a:cubicBezTo>
                      <a:pt x="31" y="16"/>
                      <a:pt x="31" y="16"/>
                      <a:pt x="31" y="16"/>
                    </a:cubicBezTo>
                    <a:cubicBezTo>
                      <a:pt x="31"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29" y="16"/>
                    </a:cubicBezTo>
                    <a:cubicBezTo>
                      <a:pt x="30" y="16"/>
                      <a:pt x="30" y="16"/>
                      <a:pt x="30" y="16"/>
                    </a:cubicBezTo>
                    <a:cubicBezTo>
                      <a:pt x="30" y="16"/>
                      <a:pt x="30" y="16"/>
                      <a:pt x="30" y="16"/>
                    </a:cubicBezTo>
                    <a:cubicBezTo>
                      <a:pt x="30" y="16"/>
                      <a:pt x="30" y="16"/>
                      <a:pt x="30" y="16"/>
                    </a:cubicBezTo>
                    <a:cubicBezTo>
                      <a:pt x="30" y="16"/>
                      <a:pt x="30" y="16"/>
                      <a:pt x="30" y="16"/>
                    </a:cubicBezTo>
                    <a:cubicBezTo>
                      <a:pt x="30" y="16"/>
                      <a:pt x="30" y="17"/>
                      <a:pt x="30" y="17"/>
                    </a:cubicBezTo>
                    <a:cubicBezTo>
                      <a:pt x="30" y="16"/>
                      <a:pt x="31" y="16"/>
                      <a:pt x="31" y="16"/>
                    </a:cubicBezTo>
                    <a:cubicBezTo>
                      <a:pt x="31" y="16"/>
                      <a:pt x="31" y="16"/>
                      <a:pt x="31" y="16"/>
                    </a:cubicBezTo>
                    <a:cubicBezTo>
                      <a:pt x="31" y="16"/>
                      <a:pt x="31" y="16"/>
                      <a:pt x="31" y="16"/>
                    </a:cubicBezTo>
                    <a:cubicBezTo>
                      <a:pt x="31" y="16"/>
                      <a:pt x="31" y="16"/>
                      <a:pt x="31" y="17"/>
                    </a:cubicBezTo>
                    <a:cubicBezTo>
                      <a:pt x="31" y="17"/>
                      <a:pt x="31" y="16"/>
                      <a:pt x="31" y="16"/>
                    </a:cubicBezTo>
                    <a:cubicBezTo>
                      <a:pt x="31" y="17"/>
                      <a:pt x="31" y="17"/>
                      <a:pt x="31" y="17"/>
                    </a:cubicBezTo>
                    <a:cubicBezTo>
                      <a:pt x="31" y="17"/>
                      <a:pt x="31" y="16"/>
                      <a:pt x="32" y="16"/>
                    </a:cubicBezTo>
                    <a:cubicBezTo>
                      <a:pt x="32" y="16"/>
                      <a:pt x="32" y="17"/>
                      <a:pt x="31" y="17"/>
                    </a:cubicBezTo>
                    <a:cubicBezTo>
                      <a:pt x="32" y="17"/>
                      <a:pt x="32" y="17"/>
                      <a:pt x="32" y="17"/>
                    </a:cubicBezTo>
                    <a:cubicBezTo>
                      <a:pt x="32" y="17"/>
                      <a:pt x="31" y="17"/>
                      <a:pt x="31" y="17"/>
                    </a:cubicBezTo>
                    <a:cubicBezTo>
                      <a:pt x="31" y="17"/>
                      <a:pt x="31" y="17"/>
                      <a:pt x="32" y="17"/>
                    </a:cubicBezTo>
                    <a:cubicBezTo>
                      <a:pt x="32" y="17"/>
                      <a:pt x="32" y="17"/>
                      <a:pt x="32" y="16"/>
                    </a:cubicBezTo>
                    <a:cubicBezTo>
                      <a:pt x="32" y="17"/>
                      <a:pt x="32" y="17"/>
                      <a:pt x="32" y="17"/>
                    </a:cubicBezTo>
                    <a:cubicBezTo>
                      <a:pt x="32" y="17"/>
                      <a:pt x="32" y="17"/>
                      <a:pt x="32" y="17"/>
                    </a:cubicBezTo>
                    <a:cubicBezTo>
                      <a:pt x="32" y="17"/>
                      <a:pt x="32" y="17"/>
                      <a:pt x="32" y="17"/>
                    </a:cubicBezTo>
                    <a:cubicBezTo>
                      <a:pt x="32" y="17"/>
                      <a:pt x="33" y="16"/>
                      <a:pt x="33" y="16"/>
                    </a:cubicBezTo>
                    <a:cubicBezTo>
                      <a:pt x="33" y="16"/>
                      <a:pt x="33" y="16"/>
                      <a:pt x="33" y="17"/>
                    </a:cubicBezTo>
                    <a:cubicBezTo>
                      <a:pt x="33" y="16"/>
                      <a:pt x="33" y="16"/>
                      <a:pt x="33" y="16"/>
                    </a:cubicBezTo>
                    <a:cubicBezTo>
                      <a:pt x="33" y="16"/>
                      <a:pt x="33" y="16"/>
                      <a:pt x="33" y="16"/>
                    </a:cubicBezTo>
                    <a:cubicBezTo>
                      <a:pt x="33" y="16"/>
                      <a:pt x="33" y="16"/>
                      <a:pt x="33" y="16"/>
                    </a:cubicBezTo>
                    <a:cubicBezTo>
                      <a:pt x="33" y="17"/>
                      <a:pt x="33" y="17"/>
                      <a:pt x="33" y="17"/>
                    </a:cubicBezTo>
                    <a:cubicBezTo>
                      <a:pt x="33" y="17"/>
                      <a:pt x="33" y="17"/>
                      <a:pt x="34" y="17"/>
                    </a:cubicBezTo>
                    <a:cubicBezTo>
                      <a:pt x="34" y="17"/>
                      <a:pt x="34" y="17"/>
                      <a:pt x="34" y="17"/>
                    </a:cubicBezTo>
                    <a:cubicBezTo>
                      <a:pt x="34" y="17"/>
                      <a:pt x="34" y="17"/>
                      <a:pt x="34" y="17"/>
                    </a:cubicBezTo>
                    <a:cubicBezTo>
                      <a:pt x="34" y="17"/>
                      <a:pt x="34" y="18"/>
                      <a:pt x="33"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9"/>
                    </a:cubicBezTo>
                    <a:cubicBezTo>
                      <a:pt x="34" y="19"/>
                      <a:pt x="34" y="19"/>
                      <a:pt x="34" y="19"/>
                    </a:cubicBezTo>
                    <a:cubicBezTo>
                      <a:pt x="34" y="18"/>
                      <a:pt x="35" y="17"/>
                      <a:pt x="35" y="17"/>
                    </a:cubicBezTo>
                    <a:cubicBezTo>
                      <a:pt x="35" y="17"/>
                      <a:pt x="35" y="17"/>
                      <a:pt x="35" y="17"/>
                    </a:cubicBezTo>
                    <a:cubicBezTo>
                      <a:pt x="35" y="17"/>
                      <a:pt x="35" y="17"/>
                      <a:pt x="35" y="17"/>
                    </a:cubicBezTo>
                    <a:cubicBezTo>
                      <a:pt x="35" y="17"/>
                      <a:pt x="35" y="17"/>
                      <a:pt x="35" y="17"/>
                    </a:cubicBezTo>
                    <a:cubicBezTo>
                      <a:pt x="36" y="17"/>
                      <a:pt x="36" y="17"/>
                      <a:pt x="36" y="17"/>
                    </a:cubicBezTo>
                    <a:cubicBezTo>
                      <a:pt x="36" y="17"/>
                      <a:pt x="36" y="17"/>
                      <a:pt x="36" y="17"/>
                    </a:cubicBezTo>
                    <a:cubicBezTo>
                      <a:pt x="35" y="18"/>
                      <a:pt x="35" y="18"/>
                      <a:pt x="35" y="19"/>
                    </a:cubicBezTo>
                    <a:cubicBezTo>
                      <a:pt x="35" y="19"/>
                      <a:pt x="35" y="19"/>
                      <a:pt x="35" y="19"/>
                    </a:cubicBezTo>
                    <a:cubicBezTo>
                      <a:pt x="35" y="19"/>
                      <a:pt x="35" y="19"/>
                      <a:pt x="35" y="19"/>
                    </a:cubicBezTo>
                    <a:cubicBezTo>
                      <a:pt x="35" y="19"/>
                      <a:pt x="35" y="19"/>
                      <a:pt x="35" y="19"/>
                    </a:cubicBezTo>
                    <a:cubicBezTo>
                      <a:pt x="35" y="19"/>
                      <a:pt x="35" y="19"/>
                      <a:pt x="35" y="19"/>
                    </a:cubicBezTo>
                    <a:cubicBezTo>
                      <a:pt x="35" y="19"/>
                      <a:pt x="35" y="19"/>
                      <a:pt x="35" y="19"/>
                    </a:cubicBezTo>
                    <a:cubicBezTo>
                      <a:pt x="35" y="19"/>
                      <a:pt x="35" y="19"/>
                      <a:pt x="35" y="19"/>
                    </a:cubicBezTo>
                    <a:cubicBezTo>
                      <a:pt x="35" y="18"/>
                      <a:pt x="36" y="17"/>
                      <a:pt x="36" y="17"/>
                    </a:cubicBezTo>
                    <a:cubicBezTo>
                      <a:pt x="36" y="17"/>
                      <a:pt x="36" y="17"/>
                      <a:pt x="36" y="17"/>
                    </a:cubicBezTo>
                    <a:cubicBezTo>
                      <a:pt x="36" y="17"/>
                      <a:pt x="36" y="17"/>
                      <a:pt x="36" y="17"/>
                    </a:cubicBezTo>
                    <a:cubicBezTo>
                      <a:pt x="36" y="17"/>
                      <a:pt x="36" y="17"/>
                      <a:pt x="36" y="17"/>
                    </a:cubicBezTo>
                    <a:cubicBezTo>
                      <a:pt x="37" y="17"/>
                      <a:pt x="37" y="17"/>
                      <a:pt x="37" y="17"/>
                    </a:cubicBezTo>
                    <a:cubicBezTo>
                      <a:pt x="37" y="17"/>
                      <a:pt x="37" y="17"/>
                      <a:pt x="37" y="17"/>
                    </a:cubicBezTo>
                    <a:cubicBezTo>
                      <a:pt x="37" y="17"/>
                      <a:pt x="37" y="17"/>
                      <a:pt x="37" y="17"/>
                    </a:cubicBezTo>
                    <a:cubicBezTo>
                      <a:pt x="37" y="17"/>
                      <a:pt x="37" y="17"/>
                      <a:pt x="37" y="17"/>
                    </a:cubicBezTo>
                    <a:cubicBezTo>
                      <a:pt x="37" y="17"/>
                      <a:pt x="37" y="17"/>
                      <a:pt x="38" y="17"/>
                    </a:cubicBezTo>
                    <a:cubicBezTo>
                      <a:pt x="37" y="17"/>
                      <a:pt x="37" y="17"/>
                      <a:pt x="37" y="17"/>
                    </a:cubicBezTo>
                    <a:cubicBezTo>
                      <a:pt x="37" y="17"/>
                      <a:pt x="37" y="17"/>
                      <a:pt x="37" y="17"/>
                    </a:cubicBezTo>
                    <a:cubicBezTo>
                      <a:pt x="37" y="17"/>
                      <a:pt x="37" y="17"/>
                      <a:pt x="37" y="17"/>
                    </a:cubicBezTo>
                    <a:cubicBezTo>
                      <a:pt x="37" y="17"/>
                      <a:pt x="37" y="17"/>
                      <a:pt x="37" y="17"/>
                    </a:cubicBezTo>
                    <a:cubicBezTo>
                      <a:pt x="37" y="17"/>
                      <a:pt x="37" y="18"/>
                      <a:pt x="37" y="18"/>
                    </a:cubicBezTo>
                    <a:cubicBezTo>
                      <a:pt x="37" y="18"/>
                      <a:pt x="38" y="18"/>
                      <a:pt x="38" y="18"/>
                    </a:cubicBezTo>
                    <a:cubicBezTo>
                      <a:pt x="38" y="18"/>
                      <a:pt x="38" y="18"/>
                      <a:pt x="38" y="18"/>
                    </a:cubicBezTo>
                    <a:cubicBezTo>
                      <a:pt x="38" y="18"/>
                      <a:pt x="38" y="18"/>
                      <a:pt x="38" y="18"/>
                    </a:cubicBezTo>
                    <a:cubicBezTo>
                      <a:pt x="37" y="18"/>
                      <a:pt x="36" y="18"/>
                      <a:pt x="36" y="19"/>
                    </a:cubicBezTo>
                    <a:cubicBezTo>
                      <a:pt x="36" y="19"/>
                      <a:pt x="37" y="19"/>
                      <a:pt x="37" y="19"/>
                    </a:cubicBezTo>
                    <a:cubicBezTo>
                      <a:pt x="37" y="19"/>
                      <a:pt x="37" y="19"/>
                      <a:pt x="37" y="18"/>
                    </a:cubicBezTo>
                    <a:cubicBezTo>
                      <a:pt x="37" y="19"/>
                      <a:pt x="37" y="19"/>
                      <a:pt x="37" y="19"/>
                    </a:cubicBezTo>
                    <a:cubicBezTo>
                      <a:pt x="37" y="19"/>
                      <a:pt x="37" y="19"/>
                      <a:pt x="38" y="19"/>
                    </a:cubicBezTo>
                    <a:cubicBezTo>
                      <a:pt x="38" y="19"/>
                      <a:pt x="38" y="19"/>
                      <a:pt x="38" y="18"/>
                    </a:cubicBezTo>
                    <a:cubicBezTo>
                      <a:pt x="38" y="19"/>
                      <a:pt x="38" y="19"/>
                      <a:pt x="38" y="19"/>
                    </a:cubicBezTo>
                    <a:cubicBezTo>
                      <a:pt x="38" y="19"/>
                      <a:pt x="38" y="19"/>
                      <a:pt x="38" y="19"/>
                    </a:cubicBezTo>
                    <a:cubicBezTo>
                      <a:pt x="38" y="19"/>
                      <a:pt x="38" y="19"/>
                      <a:pt x="37" y="19"/>
                    </a:cubicBezTo>
                    <a:cubicBezTo>
                      <a:pt x="38" y="19"/>
                      <a:pt x="38" y="19"/>
                      <a:pt x="39" y="18"/>
                    </a:cubicBezTo>
                    <a:cubicBezTo>
                      <a:pt x="39" y="18"/>
                      <a:pt x="38" y="19"/>
                      <a:pt x="38" y="19"/>
                    </a:cubicBezTo>
                    <a:cubicBezTo>
                      <a:pt x="38" y="19"/>
                      <a:pt x="39" y="19"/>
                      <a:pt x="39" y="19"/>
                    </a:cubicBezTo>
                    <a:cubicBezTo>
                      <a:pt x="39" y="19"/>
                      <a:pt x="39" y="19"/>
                      <a:pt x="39" y="19"/>
                    </a:cubicBezTo>
                    <a:cubicBezTo>
                      <a:pt x="39" y="19"/>
                      <a:pt x="39" y="19"/>
                      <a:pt x="39" y="19"/>
                    </a:cubicBezTo>
                    <a:cubicBezTo>
                      <a:pt x="39" y="19"/>
                      <a:pt x="39" y="19"/>
                      <a:pt x="39" y="19"/>
                    </a:cubicBezTo>
                    <a:cubicBezTo>
                      <a:pt x="39" y="19"/>
                      <a:pt x="39" y="19"/>
                      <a:pt x="40" y="19"/>
                    </a:cubicBezTo>
                    <a:cubicBezTo>
                      <a:pt x="40" y="19"/>
                      <a:pt x="40" y="19"/>
                      <a:pt x="39" y="19"/>
                    </a:cubicBezTo>
                    <a:cubicBezTo>
                      <a:pt x="39" y="20"/>
                      <a:pt x="39" y="20"/>
                      <a:pt x="40" y="20"/>
                    </a:cubicBezTo>
                    <a:cubicBezTo>
                      <a:pt x="39" y="20"/>
                      <a:pt x="39" y="20"/>
                      <a:pt x="38" y="20"/>
                    </a:cubicBezTo>
                    <a:cubicBezTo>
                      <a:pt x="39" y="20"/>
                      <a:pt x="39" y="20"/>
                      <a:pt x="39" y="20"/>
                    </a:cubicBezTo>
                    <a:cubicBezTo>
                      <a:pt x="39" y="20"/>
                      <a:pt x="39" y="20"/>
                      <a:pt x="39" y="20"/>
                    </a:cubicBezTo>
                    <a:cubicBezTo>
                      <a:pt x="39" y="20"/>
                      <a:pt x="39" y="20"/>
                      <a:pt x="39" y="20"/>
                    </a:cubicBezTo>
                    <a:cubicBezTo>
                      <a:pt x="39" y="20"/>
                      <a:pt x="39" y="20"/>
                      <a:pt x="39" y="20"/>
                    </a:cubicBezTo>
                    <a:cubicBezTo>
                      <a:pt x="39" y="20"/>
                      <a:pt x="39" y="20"/>
                      <a:pt x="39" y="21"/>
                    </a:cubicBezTo>
                    <a:cubicBezTo>
                      <a:pt x="39" y="21"/>
                      <a:pt x="39" y="21"/>
                      <a:pt x="39" y="21"/>
                    </a:cubicBezTo>
                    <a:cubicBezTo>
                      <a:pt x="39" y="20"/>
                      <a:pt x="39" y="20"/>
                      <a:pt x="40" y="20"/>
                    </a:cubicBezTo>
                    <a:cubicBezTo>
                      <a:pt x="40" y="20"/>
                      <a:pt x="40" y="20"/>
                      <a:pt x="40" y="20"/>
                    </a:cubicBezTo>
                    <a:cubicBezTo>
                      <a:pt x="40" y="20"/>
                      <a:pt x="40" y="20"/>
                      <a:pt x="40" y="20"/>
                    </a:cubicBezTo>
                    <a:cubicBezTo>
                      <a:pt x="40" y="20"/>
                      <a:pt x="40" y="20"/>
                      <a:pt x="40" y="20"/>
                    </a:cubicBezTo>
                    <a:cubicBezTo>
                      <a:pt x="40" y="20"/>
                      <a:pt x="39" y="20"/>
                      <a:pt x="39" y="21"/>
                    </a:cubicBezTo>
                    <a:cubicBezTo>
                      <a:pt x="39" y="21"/>
                      <a:pt x="40" y="20"/>
                      <a:pt x="40" y="20"/>
                    </a:cubicBezTo>
                    <a:cubicBezTo>
                      <a:pt x="40" y="21"/>
                      <a:pt x="40" y="21"/>
                      <a:pt x="40" y="21"/>
                    </a:cubicBezTo>
                    <a:cubicBezTo>
                      <a:pt x="40" y="21"/>
                      <a:pt x="41" y="21"/>
                      <a:pt x="41" y="21"/>
                    </a:cubicBezTo>
                    <a:cubicBezTo>
                      <a:pt x="41" y="21"/>
                      <a:pt x="41" y="21"/>
                      <a:pt x="41" y="21"/>
                    </a:cubicBezTo>
                    <a:cubicBezTo>
                      <a:pt x="41" y="21"/>
                      <a:pt x="41" y="21"/>
                      <a:pt x="41" y="21"/>
                    </a:cubicBezTo>
                    <a:cubicBezTo>
                      <a:pt x="41" y="21"/>
                      <a:pt x="41" y="21"/>
                      <a:pt x="40" y="21"/>
                    </a:cubicBezTo>
                    <a:cubicBezTo>
                      <a:pt x="41" y="21"/>
                      <a:pt x="41" y="21"/>
                      <a:pt x="41" y="21"/>
                    </a:cubicBezTo>
                    <a:cubicBezTo>
                      <a:pt x="41" y="21"/>
                      <a:pt x="41" y="21"/>
                      <a:pt x="40" y="21"/>
                    </a:cubicBezTo>
                    <a:cubicBezTo>
                      <a:pt x="41" y="21"/>
                      <a:pt x="41" y="21"/>
                      <a:pt x="41" y="21"/>
                    </a:cubicBezTo>
                    <a:cubicBezTo>
                      <a:pt x="40" y="22"/>
                      <a:pt x="39" y="22"/>
                      <a:pt x="39" y="22"/>
                    </a:cubicBezTo>
                    <a:cubicBezTo>
                      <a:pt x="39" y="22"/>
                      <a:pt x="39" y="22"/>
                      <a:pt x="39" y="22"/>
                    </a:cubicBezTo>
                    <a:cubicBezTo>
                      <a:pt x="39" y="22"/>
                      <a:pt x="39" y="22"/>
                      <a:pt x="39" y="22"/>
                    </a:cubicBezTo>
                    <a:cubicBezTo>
                      <a:pt x="40" y="22"/>
                      <a:pt x="40" y="22"/>
                      <a:pt x="40" y="22"/>
                    </a:cubicBezTo>
                    <a:cubicBezTo>
                      <a:pt x="40" y="22"/>
                      <a:pt x="39" y="22"/>
                      <a:pt x="39" y="22"/>
                    </a:cubicBezTo>
                    <a:cubicBezTo>
                      <a:pt x="40" y="22"/>
                      <a:pt x="40" y="22"/>
                      <a:pt x="40" y="22"/>
                    </a:cubicBezTo>
                    <a:cubicBezTo>
                      <a:pt x="40" y="22"/>
                      <a:pt x="40" y="22"/>
                      <a:pt x="40" y="22"/>
                    </a:cubicBezTo>
                    <a:cubicBezTo>
                      <a:pt x="40" y="22"/>
                      <a:pt x="40" y="22"/>
                      <a:pt x="40" y="22"/>
                    </a:cubicBezTo>
                    <a:cubicBezTo>
                      <a:pt x="40" y="22"/>
                      <a:pt x="40" y="22"/>
                      <a:pt x="40" y="22"/>
                    </a:cubicBezTo>
                    <a:cubicBezTo>
                      <a:pt x="40" y="22"/>
                      <a:pt x="40" y="22"/>
                      <a:pt x="40" y="22"/>
                    </a:cubicBezTo>
                    <a:cubicBezTo>
                      <a:pt x="40" y="22"/>
                      <a:pt x="40" y="22"/>
                      <a:pt x="40" y="22"/>
                    </a:cubicBezTo>
                    <a:cubicBezTo>
                      <a:pt x="40" y="22"/>
                      <a:pt x="40" y="23"/>
                      <a:pt x="40" y="23"/>
                    </a:cubicBezTo>
                    <a:cubicBezTo>
                      <a:pt x="40" y="23"/>
                      <a:pt x="40" y="23"/>
                      <a:pt x="40" y="23"/>
                    </a:cubicBezTo>
                    <a:cubicBezTo>
                      <a:pt x="40" y="23"/>
                      <a:pt x="40" y="23"/>
                      <a:pt x="40" y="23"/>
                    </a:cubicBezTo>
                    <a:cubicBezTo>
                      <a:pt x="40" y="23"/>
                      <a:pt x="41" y="23"/>
                      <a:pt x="41" y="23"/>
                    </a:cubicBezTo>
                    <a:cubicBezTo>
                      <a:pt x="41" y="23"/>
                      <a:pt x="39" y="23"/>
                      <a:pt x="39" y="24"/>
                    </a:cubicBezTo>
                    <a:cubicBezTo>
                      <a:pt x="39" y="24"/>
                      <a:pt x="39" y="24"/>
                      <a:pt x="39" y="24"/>
                    </a:cubicBezTo>
                    <a:cubicBezTo>
                      <a:pt x="39" y="24"/>
                      <a:pt x="39" y="24"/>
                      <a:pt x="39" y="24"/>
                    </a:cubicBezTo>
                    <a:cubicBezTo>
                      <a:pt x="39" y="24"/>
                      <a:pt x="39" y="24"/>
                      <a:pt x="39" y="24"/>
                    </a:cubicBezTo>
                    <a:cubicBezTo>
                      <a:pt x="39" y="24"/>
                      <a:pt x="39" y="24"/>
                      <a:pt x="39" y="24"/>
                    </a:cubicBezTo>
                    <a:cubicBezTo>
                      <a:pt x="39" y="25"/>
                      <a:pt x="39" y="25"/>
                      <a:pt x="40" y="25"/>
                    </a:cubicBezTo>
                    <a:cubicBezTo>
                      <a:pt x="39" y="25"/>
                      <a:pt x="37" y="25"/>
                      <a:pt x="37" y="25"/>
                    </a:cubicBezTo>
                    <a:cubicBezTo>
                      <a:pt x="38" y="25"/>
                      <a:pt x="38" y="25"/>
                      <a:pt x="38" y="25"/>
                    </a:cubicBezTo>
                    <a:cubicBezTo>
                      <a:pt x="38" y="25"/>
                      <a:pt x="38" y="25"/>
                      <a:pt x="38" y="25"/>
                    </a:cubicBezTo>
                    <a:cubicBezTo>
                      <a:pt x="38" y="25"/>
                      <a:pt x="39" y="25"/>
                      <a:pt x="39" y="25"/>
                    </a:cubicBezTo>
                    <a:cubicBezTo>
                      <a:pt x="38" y="25"/>
                      <a:pt x="37" y="25"/>
                      <a:pt x="38" y="25"/>
                    </a:cubicBezTo>
                    <a:cubicBezTo>
                      <a:pt x="38" y="25"/>
                      <a:pt x="38" y="25"/>
                      <a:pt x="38" y="25"/>
                    </a:cubicBezTo>
                    <a:cubicBezTo>
                      <a:pt x="38" y="25"/>
                      <a:pt x="38" y="25"/>
                      <a:pt x="38" y="26"/>
                    </a:cubicBezTo>
                    <a:cubicBezTo>
                      <a:pt x="38" y="26"/>
                      <a:pt x="38" y="25"/>
                      <a:pt x="38" y="25"/>
                    </a:cubicBezTo>
                    <a:cubicBezTo>
                      <a:pt x="38" y="25"/>
                      <a:pt x="39" y="26"/>
                      <a:pt x="39" y="26"/>
                    </a:cubicBezTo>
                    <a:cubicBezTo>
                      <a:pt x="39" y="26"/>
                      <a:pt x="38" y="26"/>
                      <a:pt x="38" y="26"/>
                    </a:cubicBezTo>
                    <a:cubicBezTo>
                      <a:pt x="38" y="26"/>
                      <a:pt x="38" y="26"/>
                      <a:pt x="38" y="26"/>
                    </a:cubicBezTo>
                    <a:cubicBezTo>
                      <a:pt x="38" y="26"/>
                      <a:pt x="38" y="26"/>
                      <a:pt x="38" y="26"/>
                    </a:cubicBezTo>
                    <a:cubicBezTo>
                      <a:pt x="38" y="26"/>
                      <a:pt x="38" y="26"/>
                      <a:pt x="38" y="26"/>
                    </a:cubicBezTo>
                    <a:cubicBezTo>
                      <a:pt x="38" y="26"/>
                      <a:pt x="38" y="27"/>
                      <a:pt x="38" y="27"/>
                    </a:cubicBezTo>
                    <a:cubicBezTo>
                      <a:pt x="38" y="27"/>
                      <a:pt x="38" y="27"/>
                      <a:pt x="38" y="27"/>
                    </a:cubicBezTo>
                    <a:cubicBezTo>
                      <a:pt x="38" y="27"/>
                      <a:pt x="38" y="27"/>
                      <a:pt x="38" y="27"/>
                    </a:cubicBezTo>
                    <a:cubicBezTo>
                      <a:pt x="38" y="26"/>
                      <a:pt x="38" y="26"/>
                      <a:pt x="38" y="26"/>
                    </a:cubicBezTo>
                    <a:cubicBezTo>
                      <a:pt x="38" y="26"/>
                      <a:pt x="38" y="27"/>
                      <a:pt x="38" y="27"/>
                    </a:cubicBezTo>
                    <a:cubicBezTo>
                      <a:pt x="38" y="27"/>
                      <a:pt x="38" y="27"/>
                      <a:pt x="38" y="27"/>
                    </a:cubicBezTo>
                    <a:cubicBezTo>
                      <a:pt x="37" y="27"/>
                      <a:pt x="39" y="27"/>
                      <a:pt x="39" y="26"/>
                    </a:cubicBezTo>
                    <a:cubicBezTo>
                      <a:pt x="39" y="26"/>
                      <a:pt x="39" y="27"/>
                      <a:pt x="39" y="27"/>
                    </a:cubicBezTo>
                    <a:cubicBezTo>
                      <a:pt x="39" y="27"/>
                      <a:pt x="39" y="27"/>
                      <a:pt x="39" y="27"/>
                    </a:cubicBezTo>
                    <a:cubicBezTo>
                      <a:pt x="39" y="27"/>
                      <a:pt x="39" y="27"/>
                      <a:pt x="39" y="27"/>
                    </a:cubicBezTo>
                    <a:cubicBezTo>
                      <a:pt x="39" y="27"/>
                      <a:pt x="39" y="27"/>
                      <a:pt x="39" y="27"/>
                    </a:cubicBezTo>
                    <a:cubicBezTo>
                      <a:pt x="39" y="27"/>
                      <a:pt x="39" y="27"/>
                      <a:pt x="39" y="27"/>
                    </a:cubicBezTo>
                    <a:cubicBezTo>
                      <a:pt x="39" y="27"/>
                      <a:pt x="39" y="27"/>
                      <a:pt x="39" y="27"/>
                    </a:cubicBezTo>
                    <a:cubicBezTo>
                      <a:pt x="39" y="28"/>
                      <a:pt x="39" y="28"/>
                      <a:pt x="38" y="28"/>
                    </a:cubicBezTo>
                    <a:cubicBezTo>
                      <a:pt x="38" y="28"/>
                      <a:pt x="39" y="28"/>
                      <a:pt x="39" y="28"/>
                    </a:cubicBezTo>
                    <a:cubicBezTo>
                      <a:pt x="39" y="28"/>
                      <a:pt x="39" y="28"/>
                      <a:pt x="39" y="28"/>
                    </a:cubicBezTo>
                    <a:cubicBezTo>
                      <a:pt x="39" y="28"/>
                      <a:pt x="39" y="28"/>
                      <a:pt x="39" y="28"/>
                    </a:cubicBezTo>
                    <a:cubicBezTo>
                      <a:pt x="39" y="28"/>
                      <a:pt x="39" y="28"/>
                      <a:pt x="39" y="27"/>
                    </a:cubicBezTo>
                    <a:cubicBezTo>
                      <a:pt x="39" y="28"/>
                      <a:pt x="39" y="28"/>
                      <a:pt x="39" y="28"/>
                    </a:cubicBezTo>
                    <a:cubicBezTo>
                      <a:pt x="39" y="28"/>
                      <a:pt x="39" y="28"/>
                      <a:pt x="39" y="28"/>
                    </a:cubicBezTo>
                    <a:cubicBezTo>
                      <a:pt x="39" y="28"/>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8"/>
                      <a:pt x="40" y="28"/>
                    </a:cubicBezTo>
                    <a:cubicBezTo>
                      <a:pt x="40" y="28"/>
                      <a:pt x="41" y="27"/>
                      <a:pt x="41" y="27"/>
                    </a:cubicBezTo>
                    <a:cubicBezTo>
                      <a:pt x="41" y="27"/>
                      <a:pt x="41" y="27"/>
                      <a:pt x="41" y="27"/>
                    </a:cubicBezTo>
                    <a:cubicBezTo>
                      <a:pt x="41" y="27"/>
                      <a:pt x="41" y="27"/>
                      <a:pt x="41" y="27"/>
                    </a:cubicBezTo>
                    <a:cubicBezTo>
                      <a:pt x="41" y="27"/>
                      <a:pt x="41" y="27"/>
                      <a:pt x="41" y="27"/>
                    </a:cubicBezTo>
                    <a:cubicBezTo>
                      <a:pt x="41" y="27"/>
                      <a:pt x="41" y="27"/>
                      <a:pt x="41" y="27"/>
                    </a:cubicBezTo>
                    <a:cubicBezTo>
                      <a:pt x="41" y="27"/>
                      <a:pt x="42" y="27"/>
                      <a:pt x="42" y="26"/>
                    </a:cubicBezTo>
                    <a:cubicBezTo>
                      <a:pt x="42" y="26"/>
                      <a:pt x="42" y="27"/>
                      <a:pt x="42" y="27"/>
                    </a:cubicBezTo>
                    <a:cubicBezTo>
                      <a:pt x="42" y="27"/>
                      <a:pt x="42" y="26"/>
                      <a:pt x="42" y="26"/>
                    </a:cubicBezTo>
                    <a:cubicBezTo>
                      <a:pt x="42" y="26"/>
                      <a:pt x="42" y="26"/>
                      <a:pt x="42" y="27"/>
                    </a:cubicBezTo>
                    <a:cubicBezTo>
                      <a:pt x="42" y="26"/>
                      <a:pt x="43" y="26"/>
                      <a:pt x="43" y="26"/>
                    </a:cubicBezTo>
                    <a:cubicBezTo>
                      <a:pt x="43" y="26"/>
                      <a:pt x="43" y="26"/>
                      <a:pt x="42" y="26"/>
                    </a:cubicBezTo>
                    <a:cubicBezTo>
                      <a:pt x="43" y="26"/>
                      <a:pt x="43" y="26"/>
                      <a:pt x="43" y="26"/>
                    </a:cubicBezTo>
                    <a:cubicBezTo>
                      <a:pt x="43" y="26"/>
                      <a:pt x="43" y="26"/>
                      <a:pt x="43" y="26"/>
                    </a:cubicBezTo>
                    <a:cubicBezTo>
                      <a:pt x="43" y="26"/>
                      <a:pt x="43" y="26"/>
                      <a:pt x="43" y="26"/>
                    </a:cubicBezTo>
                    <a:cubicBezTo>
                      <a:pt x="43" y="26"/>
                      <a:pt x="43" y="26"/>
                      <a:pt x="43" y="27"/>
                    </a:cubicBezTo>
                    <a:cubicBezTo>
                      <a:pt x="43" y="26"/>
                      <a:pt x="43" y="26"/>
                      <a:pt x="43" y="26"/>
                    </a:cubicBezTo>
                    <a:cubicBezTo>
                      <a:pt x="43" y="26"/>
                      <a:pt x="43" y="27"/>
                      <a:pt x="43" y="27"/>
                    </a:cubicBezTo>
                    <a:cubicBezTo>
                      <a:pt x="43" y="27"/>
                      <a:pt x="44" y="27"/>
                      <a:pt x="44" y="26"/>
                    </a:cubicBezTo>
                    <a:cubicBezTo>
                      <a:pt x="44" y="27"/>
                      <a:pt x="43" y="27"/>
                      <a:pt x="43" y="27"/>
                    </a:cubicBezTo>
                    <a:cubicBezTo>
                      <a:pt x="44" y="27"/>
                      <a:pt x="44" y="27"/>
                      <a:pt x="44" y="27"/>
                    </a:cubicBezTo>
                    <a:cubicBezTo>
                      <a:pt x="44" y="27"/>
                      <a:pt x="44" y="27"/>
                      <a:pt x="43" y="27"/>
                    </a:cubicBezTo>
                    <a:cubicBezTo>
                      <a:pt x="44" y="27"/>
                      <a:pt x="44" y="27"/>
                      <a:pt x="44" y="27"/>
                    </a:cubicBezTo>
                    <a:cubicBezTo>
                      <a:pt x="44" y="27"/>
                      <a:pt x="44" y="27"/>
                      <a:pt x="43" y="27"/>
                    </a:cubicBezTo>
                    <a:cubicBezTo>
                      <a:pt x="44" y="27"/>
                      <a:pt x="44" y="27"/>
                      <a:pt x="44" y="27"/>
                    </a:cubicBezTo>
                    <a:cubicBezTo>
                      <a:pt x="43" y="28"/>
                      <a:pt x="43" y="28"/>
                      <a:pt x="43" y="28"/>
                    </a:cubicBezTo>
                    <a:cubicBezTo>
                      <a:pt x="43" y="28"/>
                      <a:pt x="43" y="28"/>
                      <a:pt x="43" y="28"/>
                    </a:cubicBezTo>
                    <a:cubicBezTo>
                      <a:pt x="43" y="28"/>
                      <a:pt x="43" y="28"/>
                      <a:pt x="43" y="28"/>
                    </a:cubicBezTo>
                    <a:cubicBezTo>
                      <a:pt x="43" y="28"/>
                      <a:pt x="42" y="28"/>
                      <a:pt x="42" y="28"/>
                    </a:cubicBezTo>
                    <a:cubicBezTo>
                      <a:pt x="42" y="28"/>
                      <a:pt x="43" y="28"/>
                      <a:pt x="43" y="28"/>
                    </a:cubicBezTo>
                    <a:cubicBezTo>
                      <a:pt x="43" y="28"/>
                      <a:pt x="43" y="28"/>
                      <a:pt x="43" y="28"/>
                    </a:cubicBezTo>
                    <a:cubicBezTo>
                      <a:pt x="43" y="28"/>
                      <a:pt x="43" y="28"/>
                      <a:pt x="43" y="28"/>
                    </a:cubicBezTo>
                    <a:cubicBezTo>
                      <a:pt x="43" y="28"/>
                      <a:pt x="42" y="28"/>
                      <a:pt x="42" y="28"/>
                    </a:cubicBezTo>
                    <a:cubicBezTo>
                      <a:pt x="42" y="29"/>
                      <a:pt x="42" y="29"/>
                      <a:pt x="42" y="29"/>
                    </a:cubicBezTo>
                    <a:cubicBezTo>
                      <a:pt x="42" y="29"/>
                      <a:pt x="42" y="29"/>
                      <a:pt x="42" y="29"/>
                    </a:cubicBezTo>
                    <a:cubicBezTo>
                      <a:pt x="42" y="29"/>
                      <a:pt x="42" y="29"/>
                      <a:pt x="43" y="29"/>
                    </a:cubicBezTo>
                    <a:cubicBezTo>
                      <a:pt x="43" y="29"/>
                      <a:pt x="43" y="29"/>
                      <a:pt x="43" y="29"/>
                    </a:cubicBezTo>
                    <a:cubicBezTo>
                      <a:pt x="43" y="29"/>
                      <a:pt x="43" y="29"/>
                      <a:pt x="43" y="29"/>
                    </a:cubicBezTo>
                    <a:cubicBezTo>
                      <a:pt x="42" y="29"/>
                      <a:pt x="42" y="30"/>
                      <a:pt x="41" y="30"/>
                    </a:cubicBezTo>
                    <a:cubicBezTo>
                      <a:pt x="41" y="30"/>
                      <a:pt x="42" y="30"/>
                      <a:pt x="43" y="30"/>
                    </a:cubicBezTo>
                    <a:cubicBezTo>
                      <a:pt x="43" y="30"/>
                      <a:pt x="42" y="30"/>
                      <a:pt x="41" y="30"/>
                    </a:cubicBezTo>
                    <a:cubicBezTo>
                      <a:pt x="42" y="30"/>
                      <a:pt x="42" y="30"/>
                      <a:pt x="43" y="30"/>
                    </a:cubicBezTo>
                    <a:cubicBezTo>
                      <a:pt x="42" y="30"/>
                      <a:pt x="42" y="30"/>
                      <a:pt x="41" y="31"/>
                    </a:cubicBezTo>
                    <a:cubicBezTo>
                      <a:pt x="41" y="31"/>
                      <a:pt x="42" y="31"/>
                      <a:pt x="42" y="31"/>
                    </a:cubicBezTo>
                    <a:cubicBezTo>
                      <a:pt x="42" y="31"/>
                      <a:pt x="42" y="31"/>
                      <a:pt x="42" y="31"/>
                    </a:cubicBezTo>
                    <a:cubicBezTo>
                      <a:pt x="42" y="31"/>
                      <a:pt x="42" y="31"/>
                      <a:pt x="43" y="31"/>
                    </a:cubicBezTo>
                    <a:cubicBezTo>
                      <a:pt x="42" y="31"/>
                      <a:pt x="42" y="31"/>
                      <a:pt x="42" y="31"/>
                    </a:cubicBezTo>
                    <a:cubicBezTo>
                      <a:pt x="42" y="31"/>
                      <a:pt x="43" y="31"/>
                      <a:pt x="43" y="31"/>
                    </a:cubicBezTo>
                    <a:cubicBezTo>
                      <a:pt x="43" y="31"/>
                      <a:pt x="42" y="32"/>
                      <a:pt x="42" y="32"/>
                    </a:cubicBezTo>
                    <a:cubicBezTo>
                      <a:pt x="42" y="32"/>
                      <a:pt x="42" y="32"/>
                      <a:pt x="42" y="32"/>
                    </a:cubicBezTo>
                    <a:cubicBezTo>
                      <a:pt x="42" y="32"/>
                      <a:pt x="42" y="32"/>
                      <a:pt x="42" y="32"/>
                    </a:cubicBezTo>
                    <a:cubicBezTo>
                      <a:pt x="42" y="32"/>
                      <a:pt x="42" y="32"/>
                      <a:pt x="42" y="32"/>
                    </a:cubicBezTo>
                    <a:cubicBezTo>
                      <a:pt x="43" y="32"/>
                      <a:pt x="43" y="32"/>
                      <a:pt x="43" y="32"/>
                    </a:cubicBezTo>
                    <a:cubicBezTo>
                      <a:pt x="43" y="32"/>
                      <a:pt x="43" y="32"/>
                      <a:pt x="43" y="33"/>
                    </a:cubicBezTo>
                    <a:cubicBezTo>
                      <a:pt x="43" y="33"/>
                      <a:pt x="43" y="33"/>
                      <a:pt x="43" y="33"/>
                    </a:cubicBezTo>
                    <a:cubicBezTo>
                      <a:pt x="43" y="33"/>
                      <a:pt x="43" y="33"/>
                      <a:pt x="43" y="33"/>
                    </a:cubicBezTo>
                    <a:cubicBezTo>
                      <a:pt x="43" y="33"/>
                      <a:pt x="44" y="33"/>
                      <a:pt x="44" y="33"/>
                    </a:cubicBezTo>
                    <a:cubicBezTo>
                      <a:pt x="43" y="33"/>
                      <a:pt x="43" y="33"/>
                      <a:pt x="43" y="33"/>
                    </a:cubicBezTo>
                    <a:cubicBezTo>
                      <a:pt x="43" y="33"/>
                      <a:pt x="43" y="33"/>
                      <a:pt x="43" y="33"/>
                    </a:cubicBezTo>
                    <a:cubicBezTo>
                      <a:pt x="43" y="33"/>
                      <a:pt x="43" y="33"/>
                      <a:pt x="43" y="33"/>
                    </a:cubicBezTo>
                    <a:cubicBezTo>
                      <a:pt x="43" y="33"/>
                      <a:pt x="43" y="34"/>
                      <a:pt x="43" y="34"/>
                    </a:cubicBezTo>
                    <a:cubicBezTo>
                      <a:pt x="43" y="34"/>
                      <a:pt x="44" y="34"/>
                      <a:pt x="44" y="34"/>
                    </a:cubicBezTo>
                    <a:cubicBezTo>
                      <a:pt x="44" y="34"/>
                      <a:pt x="44" y="34"/>
                      <a:pt x="44" y="34"/>
                    </a:cubicBezTo>
                    <a:cubicBezTo>
                      <a:pt x="44" y="34"/>
                      <a:pt x="44" y="34"/>
                      <a:pt x="44" y="34"/>
                    </a:cubicBezTo>
                    <a:cubicBezTo>
                      <a:pt x="44" y="34"/>
                      <a:pt x="43" y="34"/>
                      <a:pt x="43" y="34"/>
                    </a:cubicBezTo>
                    <a:cubicBezTo>
                      <a:pt x="43" y="34"/>
                      <a:pt x="44" y="34"/>
                      <a:pt x="44" y="34"/>
                    </a:cubicBezTo>
                    <a:cubicBezTo>
                      <a:pt x="44" y="34"/>
                      <a:pt x="44" y="35"/>
                      <a:pt x="43" y="35"/>
                    </a:cubicBezTo>
                    <a:cubicBezTo>
                      <a:pt x="44" y="35"/>
                      <a:pt x="44" y="35"/>
                      <a:pt x="44" y="35"/>
                    </a:cubicBezTo>
                    <a:cubicBezTo>
                      <a:pt x="44" y="35"/>
                      <a:pt x="43" y="35"/>
                      <a:pt x="43" y="35"/>
                    </a:cubicBezTo>
                    <a:cubicBezTo>
                      <a:pt x="43" y="35"/>
                      <a:pt x="43" y="35"/>
                      <a:pt x="44" y="35"/>
                    </a:cubicBezTo>
                    <a:cubicBezTo>
                      <a:pt x="43" y="36"/>
                      <a:pt x="43" y="36"/>
                      <a:pt x="42" y="36"/>
                    </a:cubicBezTo>
                    <a:cubicBezTo>
                      <a:pt x="42" y="36"/>
                      <a:pt x="42" y="36"/>
                      <a:pt x="42" y="36"/>
                    </a:cubicBezTo>
                    <a:cubicBezTo>
                      <a:pt x="40" y="36"/>
                      <a:pt x="42" y="36"/>
                      <a:pt x="43" y="36"/>
                    </a:cubicBezTo>
                    <a:cubicBezTo>
                      <a:pt x="43" y="36"/>
                      <a:pt x="43" y="36"/>
                      <a:pt x="43" y="36"/>
                    </a:cubicBezTo>
                    <a:cubicBezTo>
                      <a:pt x="43" y="36"/>
                      <a:pt x="43" y="36"/>
                      <a:pt x="43" y="37"/>
                    </a:cubicBezTo>
                    <a:cubicBezTo>
                      <a:pt x="43" y="37"/>
                      <a:pt x="43" y="37"/>
                      <a:pt x="42" y="37"/>
                    </a:cubicBezTo>
                    <a:cubicBezTo>
                      <a:pt x="42" y="37"/>
                      <a:pt x="42" y="37"/>
                      <a:pt x="43" y="37"/>
                    </a:cubicBezTo>
                    <a:cubicBezTo>
                      <a:pt x="42" y="37"/>
                      <a:pt x="42" y="37"/>
                      <a:pt x="42" y="37"/>
                    </a:cubicBezTo>
                    <a:cubicBezTo>
                      <a:pt x="42" y="37"/>
                      <a:pt x="42" y="37"/>
                      <a:pt x="42" y="37"/>
                    </a:cubicBezTo>
                    <a:cubicBezTo>
                      <a:pt x="42" y="37"/>
                      <a:pt x="42" y="37"/>
                      <a:pt x="42" y="37"/>
                    </a:cubicBezTo>
                    <a:cubicBezTo>
                      <a:pt x="42" y="37"/>
                      <a:pt x="42" y="37"/>
                      <a:pt x="42" y="37"/>
                    </a:cubicBezTo>
                    <a:cubicBezTo>
                      <a:pt x="42" y="37"/>
                      <a:pt x="42" y="37"/>
                      <a:pt x="42" y="37"/>
                    </a:cubicBezTo>
                    <a:cubicBezTo>
                      <a:pt x="42" y="37"/>
                      <a:pt x="42" y="37"/>
                      <a:pt x="42" y="37"/>
                    </a:cubicBezTo>
                    <a:cubicBezTo>
                      <a:pt x="42" y="37"/>
                      <a:pt x="42" y="37"/>
                      <a:pt x="42" y="37"/>
                    </a:cubicBezTo>
                    <a:cubicBezTo>
                      <a:pt x="43" y="37"/>
                      <a:pt x="43" y="37"/>
                      <a:pt x="43" y="37"/>
                    </a:cubicBezTo>
                    <a:cubicBezTo>
                      <a:pt x="43" y="37"/>
                      <a:pt x="43" y="37"/>
                      <a:pt x="43" y="37"/>
                    </a:cubicBezTo>
                    <a:cubicBezTo>
                      <a:pt x="43" y="37"/>
                      <a:pt x="43" y="37"/>
                      <a:pt x="43" y="37"/>
                    </a:cubicBezTo>
                    <a:cubicBezTo>
                      <a:pt x="43" y="37"/>
                      <a:pt x="44" y="37"/>
                      <a:pt x="44" y="37"/>
                    </a:cubicBezTo>
                    <a:cubicBezTo>
                      <a:pt x="44" y="37"/>
                      <a:pt x="44" y="37"/>
                      <a:pt x="44" y="37"/>
                    </a:cubicBezTo>
                    <a:cubicBezTo>
                      <a:pt x="44" y="37"/>
                      <a:pt x="44" y="37"/>
                      <a:pt x="44" y="37"/>
                    </a:cubicBezTo>
                    <a:cubicBezTo>
                      <a:pt x="44" y="37"/>
                      <a:pt x="44" y="37"/>
                      <a:pt x="44" y="37"/>
                    </a:cubicBezTo>
                    <a:cubicBezTo>
                      <a:pt x="44" y="37"/>
                      <a:pt x="44" y="37"/>
                      <a:pt x="44" y="37"/>
                    </a:cubicBezTo>
                    <a:cubicBezTo>
                      <a:pt x="44" y="38"/>
                      <a:pt x="44" y="38"/>
                      <a:pt x="43" y="38"/>
                    </a:cubicBezTo>
                    <a:cubicBezTo>
                      <a:pt x="44" y="38"/>
                      <a:pt x="44" y="38"/>
                      <a:pt x="44" y="38"/>
                    </a:cubicBezTo>
                    <a:cubicBezTo>
                      <a:pt x="44" y="38"/>
                      <a:pt x="44" y="38"/>
                      <a:pt x="44" y="38"/>
                    </a:cubicBezTo>
                    <a:cubicBezTo>
                      <a:pt x="44" y="38"/>
                      <a:pt x="44" y="38"/>
                      <a:pt x="45" y="38"/>
                    </a:cubicBezTo>
                    <a:cubicBezTo>
                      <a:pt x="44" y="38"/>
                      <a:pt x="44" y="38"/>
                      <a:pt x="44" y="38"/>
                    </a:cubicBezTo>
                    <a:cubicBezTo>
                      <a:pt x="44" y="38"/>
                      <a:pt x="44" y="38"/>
                      <a:pt x="44" y="38"/>
                    </a:cubicBezTo>
                    <a:cubicBezTo>
                      <a:pt x="44" y="38"/>
                      <a:pt x="44" y="38"/>
                      <a:pt x="44" y="38"/>
                    </a:cubicBezTo>
                    <a:cubicBezTo>
                      <a:pt x="44" y="38"/>
                      <a:pt x="44" y="38"/>
                      <a:pt x="44" y="38"/>
                    </a:cubicBezTo>
                    <a:cubicBezTo>
                      <a:pt x="43" y="39"/>
                      <a:pt x="41" y="39"/>
                      <a:pt x="43" y="39"/>
                    </a:cubicBezTo>
                    <a:cubicBezTo>
                      <a:pt x="43" y="39"/>
                      <a:pt x="43" y="39"/>
                      <a:pt x="42" y="39"/>
                    </a:cubicBezTo>
                    <a:cubicBezTo>
                      <a:pt x="42" y="39"/>
                      <a:pt x="43" y="39"/>
                      <a:pt x="43" y="39"/>
                    </a:cubicBezTo>
                    <a:cubicBezTo>
                      <a:pt x="43" y="39"/>
                      <a:pt x="43" y="39"/>
                      <a:pt x="43" y="39"/>
                    </a:cubicBezTo>
                    <a:cubicBezTo>
                      <a:pt x="43" y="39"/>
                      <a:pt x="43" y="39"/>
                      <a:pt x="43" y="39"/>
                    </a:cubicBezTo>
                    <a:cubicBezTo>
                      <a:pt x="42" y="39"/>
                      <a:pt x="40" y="39"/>
                      <a:pt x="42" y="40"/>
                    </a:cubicBezTo>
                    <a:cubicBezTo>
                      <a:pt x="42" y="40"/>
                      <a:pt x="42" y="40"/>
                      <a:pt x="42" y="40"/>
                    </a:cubicBezTo>
                    <a:cubicBezTo>
                      <a:pt x="42" y="40"/>
                      <a:pt x="42" y="40"/>
                      <a:pt x="42" y="40"/>
                    </a:cubicBezTo>
                    <a:cubicBezTo>
                      <a:pt x="42" y="40"/>
                      <a:pt x="41" y="40"/>
                      <a:pt x="41" y="40"/>
                    </a:cubicBezTo>
                    <a:cubicBezTo>
                      <a:pt x="41" y="40"/>
                      <a:pt x="41" y="40"/>
                      <a:pt x="42" y="40"/>
                    </a:cubicBezTo>
                    <a:cubicBezTo>
                      <a:pt x="42" y="40"/>
                      <a:pt x="42" y="40"/>
                      <a:pt x="42" y="40"/>
                    </a:cubicBezTo>
                    <a:cubicBezTo>
                      <a:pt x="42" y="40"/>
                      <a:pt x="42" y="40"/>
                      <a:pt x="42" y="40"/>
                    </a:cubicBezTo>
                    <a:cubicBezTo>
                      <a:pt x="42" y="40"/>
                      <a:pt x="42" y="40"/>
                      <a:pt x="42" y="40"/>
                    </a:cubicBezTo>
                    <a:cubicBezTo>
                      <a:pt x="42" y="40"/>
                      <a:pt x="42" y="40"/>
                      <a:pt x="42" y="40"/>
                    </a:cubicBezTo>
                    <a:cubicBezTo>
                      <a:pt x="42" y="40"/>
                      <a:pt x="41" y="40"/>
                      <a:pt x="41" y="41"/>
                    </a:cubicBezTo>
                    <a:cubicBezTo>
                      <a:pt x="42" y="40"/>
                      <a:pt x="42" y="40"/>
                      <a:pt x="42" y="40"/>
                    </a:cubicBezTo>
                    <a:cubicBezTo>
                      <a:pt x="42" y="40"/>
                      <a:pt x="42" y="40"/>
                      <a:pt x="42" y="40"/>
                    </a:cubicBezTo>
                    <a:cubicBezTo>
                      <a:pt x="42" y="40"/>
                      <a:pt x="42" y="41"/>
                      <a:pt x="42" y="41"/>
                    </a:cubicBezTo>
                    <a:cubicBezTo>
                      <a:pt x="42" y="41"/>
                      <a:pt x="42" y="41"/>
                      <a:pt x="42" y="41"/>
                    </a:cubicBezTo>
                    <a:cubicBezTo>
                      <a:pt x="42" y="41"/>
                      <a:pt x="42" y="41"/>
                      <a:pt x="42" y="41"/>
                    </a:cubicBezTo>
                    <a:cubicBezTo>
                      <a:pt x="42" y="41"/>
                      <a:pt x="43" y="41"/>
                      <a:pt x="43" y="41"/>
                    </a:cubicBezTo>
                    <a:cubicBezTo>
                      <a:pt x="43" y="41"/>
                      <a:pt x="43" y="41"/>
                      <a:pt x="42" y="41"/>
                    </a:cubicBezTo>
                    <a:cubicBezTo>
                      <a:pt x="42" y="41"/>
                      <a:pt x="42" y="41"/>
                      <a:pt x="43" y="41"/>
                    </a:cubicBezTo>
                    <a:cubicBezTo>
                      <a:pt x="42" y="41"/>
                      <a:pt x="42" y="41"/>
                      <a:pt x="42" y="41"/>
                    </a:cubicBezTo>
                    <a:cubicBezTo>
                      <a:pt x="42" y="41"/>
                      <a:pt x="42" y="41"/>
                      <a:pt x="42" y="41"/>
                    </a:cubicBezTo>
                    <a:cubicBezTo>
                      <a:pt x="42" y="42"/>
                      <a:pt x="42" y="42"/>
                      <a:pt x="42" y="42"/>
                    </a:cubicBezTo>
                    <a:cubicBezTo>
                      <a:pt x="42" y="42"/>
                      <a:pt x="42" y="42"/>
                      <a:pt x="43" y="42"/>
                    </a:cubicBezTo>
                    <a:cubicBezTo>
                      <a:pt x="42" y="42"/>
                      <a:pt x="42" y="42"/>
                      <a:pt x="42" y="42"/>
                    </a:cubicBezTo>
                    <a:cubicBezTo>
                      <a:pt x="42" y="42"/>
                      <a:pt x="42" y="42"/>
                      <a:pt x="42" y="42"/>
                    </a:cubicBezTo>
                    <a:cubicBezTo>
                      <a:pt x="42" y="42"/>
                      <a:pt x="42" y="42"/>
                      <a:pt x="42" y="42"/>
                    </a:cubicBezTo>
                    <a:cubicBezTo>
                      <a:pt x="42" y="42"/>
                      <a:pt x="42" y="42"/>
                      <a:pt x="42" y="42"/>
                    </a:cubicBezTo>
                    <a:cubicBezTo>
                      <a:pt x="42" y="42"/>
                      <a:pt x="42" y="42"/>
                      <a:pt x="42" y="42"/>
                    </a:cubicBezTo>
                    <a:cubicBezTo>
                      <a:pt x="42" y="42"/>
                      <a:pt x="42" y="42"/>
                      <a:pt x="42" y="42"/>
                    </a:cubicBezTo>
                    <a:cubicBezTo>
                      <a:pt x="42" y="43"/>
                      <a:pt x="41" y="43"/>
                      <a:pt x="41" y="43"/>
                    </a:cubicBezTo>
                    <a:cubicBezTo>
                      <a:pt x="41" y="43"/>
                      <a:pt x="41" y="43"/>
                      <a:pt x="42" y="43"/>
                    </a:cubicBezTo>
                    <a:cubicBezTo>
                      <a:pt x="41" y="43"/>
                      <a:pt x="41" y="43"/>
                      <a:pt x="40" y="43"/>
                    </a:cubicBezTo>
                    <a:cubicBezTo>
                      <a:pt x="40" y="43"/>
                      <a:pt x="40" y="43"/>
                      <a:pt x="40" y="43"/>
                    </a:cubicBezTo>
                    <a:cubicBezTo>
                      <a:pt x="40" y="43"/>
                      <a:pt x="41" y="43"/>
                      <a:pt x="41" y="43"/>
                    </a:cubicBezTo>
                    <a:cubicBezTo>
                      <a:pt x="41" y="43"/>
                      <a:pt x="41" y="43"/>
                      <a:pt x="41" y="43"/>
                    </a:cubicBezTo>
                    <a:cubicBezTo>
                      <a:pt x="41" y="43"/>
                      <a:pt x="41" y="43"/>
                      <a:pt x="41" y="43"/>
                    </a:cubicBezTo>
                    <a:cubicBezTo>
                      <a:pt x="41" y="43"/>
                      <a:pt x="41" y="43"/>
                      <a:pt x="41" y="43"/>
                    </a:cubicBezTo>
                    <a:cubicBezTo>
                      <a:pt x="41" y="43"/>
                      <a:pt x="41" y="43"/>
                      <a:pt x="41" y="43"/>
                    </a:cubicBezTo>
                    <a:cubicBezTo>
                      <a:pt x="41" y="43"/>
                      <a:pt x="40" y="43"/>
                      <a:pt x="40" y="43"/>
                    </a:cubicBezTo>
                    <a:cubicBezTo>
                      <a:pt x="40" y="43"/>
                      <a:pt x="40" y="43"/>
                      <a:pt x="41" y="44"/>
                    </a:cubicBezTo>
                    <a:cubicBezTo>
                      <a:pt x="41" y="44"/>
                      <a:pt x="40" y="44"/>
                      <a:pt x="40" y="44"/>
                    </a:cubicBezTo>
                    <a:cubicBezTo>
                      <a:pt x="40" y="44"/>
                      <a:pt x="40" y="44"/>
                      <a:pt x="41" y="44"/>
                    </a:cubicBezTo>
                    <a:cubicBezTo>
                      <a:pt x="40" y="44"/>
                      <a:pt x="40" y="44"/>
                      <a:pt x="40" y="44"/>
                    </a:cubicBezTo>
                    <a:cubicBezTo>
                      <a:pt x="40" y="44"/>
                      <a:pt x="40" y="44"/>
                      <a:pt x="41" y="44"/>
                    </a:cubicBezTo>
                    <a:cubicBezTo>
                      <a:pt x="40" y="44"/>
                      <a:pt x="40" y="44"/>
                      <a:pt x="40" y="44"/>
                    </a:cubicBezTo>
                    <a:cubicBezTo>
                      <a:pt x="40" y="44"/>
                      <a:pt x="40" y="44"/>
                      <a:pt x="40" y="44"/>
                    </a:cubicBezTo>
                    <a:cubicBezTo>
                      <a:pt x="40" y="44"/>
                      <a:pt x="40" y="44"/>
                      <a:pt x="40" y="44"/>
                    </a:cubicBezTo>
                    <a:cubicBezTo>
                      <a:pt x="40" y="44"/>
                      <a:pt x="40" y="44"/>
                      <a:pt x="40" y="44"/>
                    </a:cubicBezTo>
                    <a:cubicBezTo>
                      <a:pt x="39" y="44"/>
                      <a:pt x="40" y="44"/>
                      <a:pt x="38" y="44"/>
                    </a:cubicBezTo>
                    <a:cubicBezTo>
                      <a:pt x="39" y="44"/>
                      <a:pt x="39" y="44"/>
                      <a:pt x="39" y="44"/>
                    </a:cubicBezTo>
                    <a:cubicBezTo>
                      <a:pt x="39" y="44"/>
                      <a:pt x="39" y="44"/>
                      <a:pt x="39" y="44"/>
                    </a:cubicBezTo>
                    <a:cubicBezTo>
                      <a:pt x="39" y="44"/>
                      <a:pt x="39" y="44"/>
                      <a:pt x="39" y="44"/>
                    </a:cubicBezTo>
                    <a:cubicBezTo>
                      <a:pt x="39" y="44"/>
                      <a:pt x="38" y="44"/>
                      <a:pt x="38" y="44"/>
                    </a:cubicBezTo>
                    <a:cubicBezTo>
                      <a:pt x="39" y="44"/>
                      <a:pt x="39" y="44"/>
                      <a:pt x="40" y="45"/>
                    </a:cubicBezTo>
                    <a:cubicBezTo>
                      <a:pt x="39" y="45"/>
                      <a:pt x="39" y="45"/>
                      <a:pt x="39" y="45"/>
                    </a:cubicBezTo>
                    <a:cubicBezTo>
                      <a:pt x="39" y="45"/>
                      <a:pt x="39" y="45"/>
                      <a:pt x="39" y="45"/>
                    </a:cubicBezTo>
                    <a:cubicBezTo>
                      <a:pt x="39" y="45"/>
                      <a:pt x="39" y="45"/>
                      <a:pt x="39" y="45"/>
                    </a:cubicBezTo>
                    <a:cubicBezTo>
                      <a:pt x="39" y="45"/>
                      <a:pt x="39" y="45"/>
                      <a:pt x="39" y="45"/>
                    </a:cubicBezTo>
                    <a:cubicBezTo>
                      <a:pt x="39" y="45"/>
                      <a:pt x="39" y="45"/>
                      <a:pt x="40" y="45"/>
                    </a:cubicBezTo>
                    <a:cubicBezTo>
                      <a:pt x="40" y="45"/>
                      <a:pt x="40" y="45"/>
                      <a:pt x="40" y="45"/>
                    </a:cubicBezTo>
                    <a:cubicBezTo>
                      <a:pt x="40" y="45"/>
                      <a:pt x="39" y="45"/>
                      <a:pt x="39" y="45"/>
                    </a:cubicBezTo>
                    <a:cubicBezTo>
                      <a:pt x="39" y="45"/>
                      <a:pt x="39" y="45"/>
                      <a:pt x="39" y="45"/>
                    </a:cubicBezTo>
                    <a:cubicBezTo>
                      <a:pt x="39" y="45"/>
                      <a:pt x="39" y="45"/>
                      <a:pt x="39" y="45"/>
                    </a:cubicBezTo>
                    <a:cubicBezTo>
                      <a:pt x="40" y="45"/>
                      <a:pt x="40" y="45"/>
                      <a:pt x="40" y="45"/>
                    </a:cubicBezTo>
                    <a:cubicBezTo>
                      <a:pt x="40" y="45"/>
                      <a:pt x="39" y="46"/>
                      <a:pt x="39" y="46"/>
                    </a:cubicBezTo>
                    <a:cubicBezTo>
                      <a:pt x="40" y="45"/>
                      <a:pt x="40" y="45"/>
                      <a:pt x="41" y="44"/>
                    </a:cubicBezTo>
                    <a:cubicBezTo>
                      <a:pt x="41" y="44"/>
                      <a:pt x="41" y="45"/>
                      <a:pt x="41" y="45"/>
                    </a:cubicBezTo>
                    <a:cubicBezTo>
                      <a:pt x="41" y="45"/>
                      <a:pt x="40" y="45"/>
                      <a:pt x="40" y="45"/>
                    </a:cubicBezTo>
                    <a:cubicBezTo>
                      <a:pt x="41" y="45"/>
                      <a:pt x="41" y="45"/>
                      <a:pt x="41" y="45"/>
                    </a:cubicBezTo>
                    <a:cubicBezTo>
                      <a:pt x="41" y="45"/>
                      <a:pt x="41" y="45"/>
                      <a:pt x="41" y="45"/>
                    </a:cubicBezTo>
                    <a:cubicBezTo>
                      <a:pt x="41" y="45"/>
                      <a:pt x="41" y="45"/>
                      <a:pt x="41" y="45"/>
                    </a:cubicBezTo>
                    <a:cubicBezTo>
                      <a:pt x="41" y="45"/>
                      <a:pt x="42" y="45"/>
                      <a:pt x="42" y="45"/>
                    </a:cubicBezTo>
                    <a:cubicBezTo>
                      <a:pt x="42" y="45"/>
                      <a:pt x="41" y="45"/>
                      <a:pt x="41" y="46"/>
                    </a:cubicBezTo>
                    <a:cubicBezTo>
                      <a:pt x="41" y="46"/>
                      <a:pt x="42" y="46"/>
                      <a:pt x="42" y="46"/>
                    </a:cubicBezTo>
                    <a:cubicBezTo>
                      <a:pt x="41" y="46"/>
                      <a:pt x="41" y="46"/>
                      <a:pt x="40" y="46"/>
                    </a:cubicBezTo>
                    <a:cubicBezTo>
                      <a:pt x="40" y="46"/>
                      <a:pt x="40" y="46"/>
                      <a:pt x="40" y="46"/>
                    </a:cubicBezTo>
                    <a:cubicBezTo>
                      <a:pt x="41" y="46"/>
                      <a:pt x="41" y="46"/>
                      <a:pt x="41" y="46"/>
                    </a:cubicBezTo>
                    <a:cubicBezTo>
                      <a:pt x="40" y="46"/>
                      <a:pt x="40" y="46"/>
                      <a:pt x="41" y="46"/>
                    </a:cubicBezTo>
                    <a:cubicBezTo>
                      <a:pt x="41" y="46"/>
                      <a:pt x="41" y="46"/>
                      <a:pt x="40" y="47"/>
                    </a:cubicBezTo>
                    <a:cubicBezTo>
                      <a:pt x="40" y="47"/>
                      <a:pt x="40" y="47"/>
                      <a:pt x="40" y="47"/>
                    </a:cubicBezTo>
                    <a:cubicBezTo>
                      <a:pt x="40" y="47"/>
                      <a:pt x="40" y="47"/>
                      <a:pt x="40" y="47"/>
                    </a:cubicBezTo>
                    <a:cubicBezTo>
                      <a:pt x="40" y="47"/>
                      <a:pt x="40" y="47"/>
                      <a:pt x="40" y="47"/>
                    </a:cubicBezTo>
                    <a:cubicBezTo>
                      <a:pt x="40" y="47"/>
                      <a:pt x="41" y="47"/>
                      <a:pt x="41" y="47"/>
                    </a:cubicBezTo>
                    <a:cubicBezTo>
                      <a:pt x="41" y="47"/>
                      <a:pt x="40" y="47"/>
                      <a:pt x="40" y="47"/>
                    </a:cubicBezTo>
                    <a:cubicBezTo>
                      <a:pt x="40" y="47"/>
                      <a:pt x="40" y="47"/>
                      <a:pt x="40" y="47"/>
                    </a:cubicBezTo>
                    <a:cubicBezTo>
                      <a:pt x="40" y="47"/>
                      <a:pt x="40" y="47"/>
                      <a:pt x="40" y="47"/>
                    </a:cubicBezTo>
                    <a:cubicBezTo>
                      <a:pt x="40" y="47"/>
                      <a:pt x="40" y="47"/>
                      <a:pt x="40" y="47"/>
                    </a:cubicBezTo>
                    <a:cubicBezTo>
                      <a:pt x="40" y="47"/>
                      <a:pt x="40" y="47"/>
                      <a:pt x="41" y="47"/>
                    </a:cubicBezTo>
                    <a:cubicBezTo>
                      <a:pt x="41" y="47"/>
                      <a:pt x="40" y="47"/>
                      <a:pt x="40" y="47"/>
                    </a:cubicBezTo>
                    <a:cubicBezTo>
                      <a:pt x="41" y="48"/>
                      <a:pt x="41" y="48"/>
                      <a:pt x="41" y="48"/>
                    </a:cubicBezTo>
                    <a:cubicBezTo>
                      <a:pt x="40" y="48"/>
                      <a:pt x="40" y="48"/>
                      <a:pt x="39" y="48"/>
                    </a:cubicBezTo>
                    <a:cubicBezTo>
                      <a:pt x="39" y="48"/>
                      <a:pt x="39" y="48"/>
                      <a:pt x="39" y="48"/>
                    </a:cubicBezTo>
                    <a:cubicBezTo>
                      <a:pt x="39" y="48"/>
                      <a:pt x="39" y="48"/>
                      <a:pt x="38" y="48"/>
                    </a:cubicBezTo>
                    <a:cubicBezTo>
                      <a:pt x="39" y="48"/>
                      <a:pt x="39" y="48"/>
                      <a:pt x="39" y="48"/>
                    </a:cubicBezTo>
                    <a:cubicBezTo>
                      <a:pt x="39" y="48"/>
                      <a:pt x="39" y="48"/>
                      <a:pt x="38" y="48"/>
                    </a:cubicBezTo>
                    <a:cubicBezTo>
                      <a:pt x="39" y="48"/>
                      <a:pt x="39" y="48"/>
                      <a:pt x="39" y="48"/>
                    </a:cubicBezTo>
                    <a:cubicBezTo>
                      <a:pt x="37" y="48"/>
                      <a:pt x="36" y="48"/>
                      <a:pt x="38" y="49"/>
                    </a:cubicBezTo>
                    <a:cubicBezTo>
                      <a:pt x="38" y="49"/>
                      <a:pt x="38" y="49"/>
                      <a:pt x="38" y="49"/>
                    </a:cubicBezTo>
                    <a:cubicBezTo>
                      <a:pt x="38" y="49"/>
                      <a:pt x="38" y="49"/>
                      <a:pt x="38" y="49"/>
                    </a:cubicBezTo>
                    <a:cubicBezTo>
                      <a:pt x="38" y="49"/>
                      <a:pt x="38" y="49"/>
                      <a:pt x="37" y="49"/>
                    </a:cubicBezTo>
                    <a:cubicBezTo>
                      <a:pt x="38" y="49"/>
                      <a:pt x="38" y="49"/>
                      <a:pt x="38" y="49"/>
                    </a:cubicBezTo>
                    <a:cubicBezTo>
                      <a:pt x="38" y="49"/>
                      <a:pt x="37" y="49"/>
                      <a:pt x="37" y="49"/>
                    </a:cubicBezTo>
                    <a:cubicBezTo>
                      <a:pt x="37" y="49"/>
                      <a:pt x="37" y="49"/>
                      <a:pt x="37" y="49"/>
                    </a:cubicBezTo>
                    <a:cubicBezTo>
                      <a:pt x="37" y="49"/>
                      <a:pt x="37" y="49"/>
                      <a:pt x="37" y="49"/>
                    </a:cubicBezTo>
                    <a:cubicBezTo>
                      <a:pt x="37" y="49"/>
                      <a:pt x="37" y="49"/>
                      <a:pt x="37" y="49"/>
                    </a:cubicBezTo>
                    <a:cubicBezTo>
                      <a:pt x="37" y="49"/>
                      <a:pt x="37" y="49"/>
                      <a:pt x="37" y="49"/>
                    </a:cubicBezTo>
                    <a:cubicBezTo>
                      <a:pt x="37" y="49"/>
                      <a:pt x="37" y="49"/>
                      <a:pt x="37" y="49"/>
                    </a:cubicBezTo>
                    <a:cubicBezTo>
                      <a:pt x="37" y="49"/>
                      <a:pt x="37" y="49"/>
                      <a:pt x="37" y="49"/>
                    </a:cubicBezTo>
                    <a:cubicBezTo>
                      <a:pt x="37" y="49"/>
                      <a:pt x="37" y="49"/>
                      <a:pt x="37" y="49"/>
                    </a:cubicBezTo>
                    <a:cubicBezTo>
                      <a:pt x="37" y="50"/>
                      <a:pt x="37" y="50"/>
                      <a:pt x="37" y="50"/>
                    </a:cubicBezTo>
                    <a:cubicBezTo>
                      <a:pt x="37" y="50"/>
                      <a:pt x="37" y="50"/>
                      <a:pt x="36" y="50"/>
                    </a:cubicBezTo>
                    <a:cubicBezTo>
                      <a:pt x="36" y="50"/>
                      <a:pt x="36" y="50"/>
                      <a:pt x="36" y="50"/>
                    </a:cubicBezTo>
                    <a:cubicBezTo>
                      <a:pt x="36" y="50"/>
                      <a:pt x="36" y="50"/>
                      <a:pt x="36" y="50"/>
                    </a:cubicBezTo>
                    <a:cubicBezTo>
                      <a:pt x="36" y="50"/>
                      <a:pt x="36" y="50"/>
                      <a:pt x="36" y="50"/>
                    </a:cubicBezTo>
                    <a:cubicBezTo>
                      <a:pt x="35" y="50"/>
                      <a:pt x="35" y="50"/>
                      <a:pt x="36" y="50"/>
                    </a:cubicBezTo>
                    <a:cubicBezTo>
                      <a:pt x="35" y="50"/>
                      <a:pt x="35" y="50"/>
                      <a:pt x="35" y="50"/>
                    </a:cubicBezTo>
                    <a:cubicBezTo>
                      <a:pt x="35" y="50"/>
                      <a:pt x="35" y="50"/>
                      <a:pt x="35" y="50"/>
                    </a:cubicBezTo>
                    <a:cubicBezTo>
                      <a:pt x="35" y="50"/>
                      <a:pt x="35" y="50"/>
                      <a:pt x="34" y="50"/>
                    </a:cubicBezTo>
                    <a:cubicBezTo>
                      <a:pt x="35" y="50"/>
                      <a:pt x="35" y="50"/>
                      <a:pt x="35" y="50"/>
                    </a:cubicBezTo>
                    <a:cubicBezTo>
                      <a:pt x="35" y="50"/>
                      <a:pt x="34" y="50"/>
                      <a:pt x="34" y="50"/>
                    </a:cubicBezTo>
                    <a:cubicBezTo>
                      <a:pt x="34" y="50"/>
                      <a:pt x="34" y="50"/>
                      <a:pt x="34" y="50"/>
                    </a:cubicBezTo>
                    <a:cubicBezTo>
                      <a:pt x="34" y="50"/>
                      <a:pt x="34" y="50"/>
                      <a:pt x="34" y="50"/>
                    </a:cubicBezTo>
                    <a:cubicBezTo>
                      <a:pt x="34" y="50"/>
                      <a:pt x="34" y="50"/>
                      <a:pt x="34" y="50"/>
                    </a:cubicBezTo>
                    <a:cubicBezTo>
                      <a:pt x="34" y="50"/>
                      <a:pt x="34" y="50"/>
                      <a:pt x="34" y="50"/>
                    </a:cubicBezTo>
                    <a:cubicBezTo>
                      <a:pt x="34" y="50"/>
                      <a:pt x="34" y="50"/>
                      <a:pt x="34" y="50"/>
                    </a:cubicBezTo>
                    <a:cubicBezTo>
                      <a:pt x="34" y="50"/>
                      <a:pt x="34" y="50"/>
                      <a:pt x="34" y="50"/>
                    </a:cubicBezTo>
                    <a:cubicBezTo>
                      <a:pt x="34" y="50"/>
                      <a:pt x="34" y="50"/>
                      <a:pt x="34" y="50"/>
                    </a:cubicBezTo>
                    <a:cubicBezTo>
                      <a:pt x="34" y="50"/>
                      <a:pt x="34" y="50"/>
                      <a:pt x="34" y="50"/>
                    </a:cubicBezTo>
                    <a:cubicBezTo>
                      <a:pt x="34" y="50"/>
                      <a:pt x="34" y="50"/>
                      <a:pt x="33" y="50"/>
                    </a:cubicBezTo>
                    <a:cubicBezTo>
                      <a:pt x="33" y="50"/>
                      <a:pt x="33" y="50"/>
                      <a:pt x="33" y="50"/>
                    </a:cubicBezTo>
                    <a:cubicBezTo>
                      <a:pt x="33" y="50"/>
                      <a:pt x="34" y="50"/>
                      <a:pt x="34" y="50"/>
                    </a:cubicBezTo>
                    <a:cubicBezTo>
                      <a:pt x="33" y="50"/>
                      <a:pt x="31" y="49"/>
                      <a:pt x="33" y="50"/>
                    </a:cubicBezTo>
                    <a:cubicBezTo>
                      <a:pt x="33" y="50"/>
                      <a:pt x="33" y="50"/>
                      <a:pt x="33" y="50"/>
                    </a:cubicBezTo>
                    <a:cubicBezTo>
                      <a:pt x="33" y="50"/>
                      <a:pt x="33" y="50"/>
                      <a:pt x="33" y="50"/>
                    </a:cubicBezTo>
                    <a:cubicBezTo>
                      <a:pt x="33" y="50"/>
                      <a:pt x="33" y="50"/>
                      <a:pt x="33" y="50"/>
                    </a:cubicBezTo>
                    <a:cubicBezTo>
                      <a:pt x="33" y="50"/>
                      <a:pt x="33" y="51"/>
                      <a:pt x="33" y="51"/>
                    </a:cubicBezTo>
                    <a:cubicBezTo>
                      <a:pt x="33" y="51"/>
                      <a:pt x="33" y="50"/>
                      <a:pt x="32" y="50"/>
                    </a:cubicBezTo>
                    <a:cubicBezTo>
                      <a:pt x="32" y="50"/>
                      <a:pt x="32" y="50"/>
                      <a:pt x="32" y="51"/>
                    </a:cubicBezTo>
                    <a:cubicBezTo>
                      <a:pt x="32" y="50"/>
                      <a:pt x="32" y="50"/>
                      <a:pt x="32" y="50"/>
                    </a:cubicBezTo>
                    <a:cubicBezTo>
                      <a:pt x="32" y="51"/>
                      <a:pt x="32" y="51"/>
                      <a:pt x="33" y="51"/>
                    </a:cubicBezTo>
                    <a:cubicBezTo>
                      <a:pt x="32" y="51"/>
                      <a:pt x="32" y="50"/>
                      <a:pt x="31" y="50"/>
                    </a:cubicBezTo>
                    <a:cubicBezTo>
                      <a:pt x="31" y="50"/>
                      <a:pt x="32" y="51"/>
                      <a:pt x="32" y="51"/>
                    </a:cubicBezTo>
                    <a:cubicBezTo>
                      <a:pt x="32" y="51"/>
                      <a:pt x="32" y="51"/>
                      <a:pt x="32" y="51"/>
                    </a:cubicBezTo>
                    <a:cubicBezTo>
                      <a:pt x="32" y="51"/>
                      <a:pt x="32" y="51"/>
                      <a:pt x="32" y="51"/>
                    </a:cubicBezTo>
                    <a:cubicBezTo>
                      <a:pt x="32" y="51"/>
                      <a:pt x="32" y="51"/>
                      <a:pt x="31" y="51"/>
                    </a:cubicBezTo>
                    <a:cubicBezTo>
                      <a:pt x="31" y="51"/>
                      <a:pt x="31" y="51"/>
                      <a:pt x="31" y="51"/>
                    </a:cubicBezTo>
                    <a:cubicBezTo>
                      <a:pt x="31" y="51"/>
                      <a:pt x="31" y="50"/>
                      <a:pt x="31" y="50"/>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1" y="51"/>
                    </a:cubicBezTo>
                    <a:cubicBezTo>
                      <a:pt x="31" y="51"/>
                      <a:pt x="31" y="51"/>
                      <a:pt x="30" y="51"/>
                    </a:cubicBezTo>
                    <a:cubicBezTo>
                      <a:pt x="30" y="51"/>
                      <a:pt x="30" y="51"/>
                      <a:pt x="30" y="51"/>
                    </a:cubicBezTo>
                    <a:cubicBezTo>
                      <a:pt x="30" y="51"/>
                      <a:pt x="30" y="51"/>
                      <a:pt x="30" y="51"/>
                    </a:cubicBezTo>
                    <a:cubicBezTo>
                      <a:pt x="30" y="50"/>
                      <a:pt x="30" y="51"/>
                      <a:pt x="30" y="51"/>
                    </a:cubicBezTo>
                    <a:cubicBezTo>
                      <a:pt x="30" y="51"/>
                      <a:pt x="30" y="51"/>
                      <a:pt x="30" y="51"/>
                    </a:cubicBezTo>
                    <a:cubicBezTo>
                      <a:pt x="30" y="51"/>
                      <a:pt x="29" y="50"/>
                      <a:pt x="30" y="51"/>
                    </a:cubicBezTo>
                    <a:cubicBezTo>
                      <a:pt x="30" y="51"/>
                      <a:pt x="30" y="51"/>
                      <a:pt x="29" y="51"/>
                    </a:cubicBezTo>
                    <a:cubicBezTo>
                      <a:pt x="29" y="51"/>
                      <a:pt x="30" y="51"/>
                      <a:pt x="30" y="51"/>
                    </a:cubicBezTo>
                    <a:cubicBezTo>
                      <a:pt x="30" y="51"/>
                      <a:pt x="29" y="51"/>
                      <a:pt x="29" y="51"/>
                    </a:cubicBezTo>
                    <a:cubicBezTo>
                      <a:pt x="29" y="51"/>
                      <a:pt x="29" y="51"/>
                      <a:pt x="29" y="51"/>
                    </a:cubicBezTo>
                    <a:cubicBezTo>
                      <a:pt x="29" y="51"/>
                      <a:pt x="29" y="51"/>
                      <a:pt x="29" y="51"/>
                    </a:cubicBezTo>
                    <a:cubicBezTo>
                      <a:pt x="29" y="51"/>
                      <a:pt x="29" y="51"/>
                      <a:pt x="29" y="51"/>
                    </a:cubicBezTo>
                    <a:cubicBezTo>
                      <a:pt x="29" y="51"/>
                      <a:pt x="28" y="50"/>
                      <a:pt x="28" y="50"/>
                    </a:cubicBezTo>
                    <a:cubicBezTo>
                      <a:pt x="28" y="50"/>
                      <a:pt x="28" y="50"/>
                      <a:pt x="28" y="50"/>
                    </a:cubicBezTo>
                    <a:cubicBezTo>
                      <a:pt x="28" y="50"/>
                      <a:pt x="28" y="50"/>
                      <a:pt x="28" y="51"/>
                    </a:cubicBezTo>
                    <a:cubicBezTo>
                      <a:pt x="28" y="51"/>
                      <a:pt x="28" y="51"/>
                      <a:pt x="29" y="51"/>
                    </a:cubicBezTo>
                    <a:cubicBezTo>
                      <a:pt x="28" y="51"/>
                      <a:pt x="28" y="51"/>
                      <a:pt x="28" y="51"/>
                    </a:cubicBezTo>
                    <a:cubicBezTo>
                      <a:pt x="28" y="51"/>
                      <a:pt x="28" y="51"/>
                      <a:pt x="28" y="51"/>
                    </a:cubicBezTo>
                    <a:cubicBezTo>
                      <a:pt x="28" y="52"/>
                      <a:pt x="28" y="52"/>
                      <a:pt x="28" y="52"/>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7" y="51"/>
                      <a:pt x="27" y="51"/>
                    </a:cubicBezTo>
                    <a:cubicBezTo>
                      <a:pt x="27" y="51"/>
                      <a:pt x="28" y="51"/>
                      <a:pt x="28" y="51"/>
                    </a:cubicBezTo>
                    <a:cubicBezTo>
                      <a:pt x="28" y="51"/>
                      <a:pt x="28" y="51"/>
                      <a:pt x="28" y="51"/>
                    </a:cubicBezTo>
                    <a:cubicBezTo>
                      <a:pt x="27" y="51"/>
                      <a:pt x="27" y="51"/>
                      <a:pt x="27" y="51"/>
                    </a:cubicBezTo>
                    <a:cubicBezTo>
                      <a:pt x="27" y="51"/>
                      <a:pt x="27" y="51"/>
                      <a:pt x="27" y="51"/>
                    </a:cubicBezTo>
                    <a:cubicBezTo>
                      <a:pt x="27" y="51"/>
                      <a:pt x="27" y="51"/>
                      <a:pt x="27" y="51"/>
                    </a:cubicBezTo>
                    <a:cubicBezTo>
                      <a:pt x="27" y="51"/>
                      <a:pt x="27" y="51"/>
                      <a:pt x="26" y="51"/>
                    </a:cubicBezTo>
                    <a:cubicBezTo>
                      <a:pt x="26" y="51"/>
                      <a:pt x="27" y="51"/>
                      <a:pt x="27" y="51"/>
                    </a:cubicBezTo>
                    <a:cubicBezTo>
                      <a:pt x="27" y="51"/>
                      <a:pt x="27" y="51"/>
                      <a:pt x="27" y="51"/>
                    </a:cubicBezTo>
                    <a:cubicBezTo>
                      <a:pt x="27" y="51"/>
                      <a:pt x="27" y="51"/>
                      <a:pt x="27" y="51"/>
                    </a:cubicBezTo>
                    <a:cubicBezTo>
                      <a:pt x="26" y="51"/>
                      <a:pt x="26" y="51"/>
                      <a:pt x="26" y="51"/>
                    </a:cubicBezTo>
                    <a:cubicBezTo>
                      <a:pt x="26" y="51"/>
                      <a:pt x="26" y="51"/>
                      <a:pt x="26" y="51"/>
                    </a:cubicBezTo>
                    <a:cubicBezTo>
                      <a:pt x="26" y="51"/>
                      <a:pt x="26" y="51"/>
                      <a:pt x="26" y="51"/>
                    </a:cubicBezTo>
                    <a:cubicBezTo>
                      <a:pt x="26" y="51"/>
                      <a:pt x="26" y="51"/>
                      <a:pt x="26" y="51"/>
                    </a:cubicBezTo>
                    <a:cubicBezTo>
                      <a:pt x="26" y="51"/>
                      <a:pt x="26" y="51"/>
                      <a:pt x="26" y="51"/>
                    </a:cubicBezTo>
                    <a:cubicBezTo>
                      <a:pt x="26" y="51"/>
                      <a:pt x="26" y="51"/>
                      <a:pt x="26" y="51"/>
                    </a:cubicBezTo>
                    <a:cubicBezTo>
                      <a:pt x="26" y="51"/>
                      <a:pt x="26" y="51"/>
                      <a:pt x="26" y="51"/>
                    </a:cubicBezTo>
                    <a:cubicBezTo>
                      <a:pt x="26" y="51"/>
                      <a:pt x="26" y="51"/>
                      <a:pt x="26" y="51"/>
                    </a:cubicBezTo>
                    <a:cubicBezTo>
                      <a:pt x="26" y="51"/>
                      <a:pt x="26" y="51"/>
                      <a:pt x="25" y="51"/>
                    </a:cubicBezTo>
                    <a:cubicBezTo>
                      <a:pt x="26" y="51"/>
                      <a:pt x="26" y="51"/>
                      <a:pt x="26" y="51"/>
                    </a:cubicBezTo>
                    <a:cubicBezTo>
                      <a:pt x="26" y="51"/>
                      <a:pt x="25" y="51"/>
                      <a:pt x="25" y="51"/>
                    </a:cubicBezTo>
                    <a:cubicBezTo>
                      <a:pt x="25" y="51"/>
                      <a:pt x="25" y="51"/>
                      <a:pt x="26" y="51"/>
                    </a:cubicBezTo>
                    <a:cubicBezTo>
                      <a:pt x="25" y="51"/>
                      <a:pt x="25" y="51"/>
                      <a:pt x="25" y="52"/>
                    </a:cubicBezTo>
                    <a:cubicBezTo>
                      <a:pt x="25" y="52"/>
                      <a:pt x="25" y="52"/>
                      <a:pt x="25" y="52"/>
                    </a:cubicBezTo>
                    <a:cubicBezTo>
                      <a:pt x="25" y="52"/>
                      <a:pt x="25" y="52"/>
                      <a:pt x="25" y="52"/>
                    </a:cubicBezTo>
                    <a:cubicBezTo>
                      <a:pt x="25" y="52"/>
                      <a:pt x="24" y="52"/>
                      <a:pt x="25" y="53"/>
                    </a:cubicBezTo>
                    <a:cubicBezTo>
                      <a:pt x="25" y="53"/>
                      <a:pt x="25" y="53"/>
                      <a:pt x="25" y="53"/>
                    </a:cubicBezTo>
                    <a:close/>
                    <a:moveTo>
                      <a:pt x="20" y="7"/>
                    </a:moveTo>
                    <a:cubicBezTo>
                      <a:pt x="20" y="7"/>
                      <a:pt x="20" y="7"/>
                      <a:pt x="20" y="7"/>
                    </a:cubicBezTo>
                    <a:cubicBezTo>
                      <a:pt x="20" y="8"/>
                      <a:pt x="20" y="8"/>
                      <a:pt x="20" y="8"/>
                    </a:cubicBezTo>
                    <a:cubicBezTo>
                      <a:pt x="20" y="8"/>
                      <a:pt x="20" y="7"/>
                      <a:pt x="20" y="7"/>
                    </a:cubicBezTo>
                    <a:cubicBezTo>
                      <a:pt x="20" y="7"/>
                      <a:pt x="20" y="7"/>
                      <a:pt x="20" y="7"/>
                    </a:cubicBezTo>
                    <a:close/>
                    <a:moveTo>
                      <a:pt x="25" y="8"/>
                    </a:move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ubicBezTo>
                      <a:pt x="25" y="8"/>
                      <a:pt x="25" y="8"/>
                      <a:pt x="25" y="8"/>
                    </a:cubicBezTo>
                    <a:close/>
                    <a:moveTo>
                      <a:pt x="18" y="9"/>
                    </a:moveTo>
                    <a:cubicBezTo>
                      <a:pt x="18" y="9"/>
                      <a:pt x="18" y="9"/>
                      <a:pt x="18" y="9"/>
                    </a:cubicBezTo>
                    <a:cubicBezTo>
                      <a:pt x="18" y="9"/>
                      <a:pt x="19" y="9"/>
                      <a:pt x="19" y="9"/>
                    </a:cubicBezTo>
                    <a:cubicBezTo>
                      <a:pt x="19" y="9"/>
                      <a:pt x="19" y="9"/>
                      <a:pt x="18" y="9"/>
                    </a:cubicBezTo>
                    <a:cubicBezTo>
                      <a:pt x="18" y="9"/>
                      <a:pt x="18" y="9"/>
                      <a:pt x="18" y="9"/>
                    </a:cubicBezTo>
                    <a:close/>
                    <a:moveTo>
                      <a:pt x="32" y="10"/>
                    </a:moveTo>
                    <a:cubicBezTo>
                      <a:pt x="32" y="10"/>
                      <a:pt x="32" y="10"/>
                      <a:pt x="32" y="10"/>
                    </a:cubicBezTo>
                    <a:cubicBezTo>
                      <a:pt x="32" y="10"/>
                      <a:pt x="32" y="10"/>
                      <a:pt x="32" y="10"/>
                    </a:cubicBezTo>
                    <a:cubicBezTo>
                      <a:pt x="32" y="10"/>
                      <a:pt x="32" y="10"/>
                      <a:pt x="32" y="10"/>
                    </a:cubicBezTo>
                    <a:cubicBezTo>
                      <a:pt x="32" y="10"/>
                      <a:pt x="32" y="10"/>
                      <a:pt x="32" y="10"/>
                    </a:cubicBezTo>
                    <a:close/>
                    <a:moveTo>
                      <a:pt x="32" y="10"/>
                    </a:moveTo>
                    <a:cubicBezTo>
                      <a:pt x="32" y="10"/>
                      <a:pt x="32" y="10"/>
                      <a:pt x="32" y="10"/>
                    </a:cubicBezTo>
                    <a:cubicBezTo>
                      <a:pt x="32" y="10"/>
                      <a:pt x="32" y="10"/>
                      <a:pt x="33" y="10"/>
                    </a:cubicBezTo>
                    <a:cubicBezTo>
                      <a:pt x="33" y="10"/>
                      <a:pt x="33" y="10"/>
                      <a:pt x="33" y="10"/>
                    </a:cubicBezTo>
                    <a:cubicBezTo>
                      <a:pt x="33" y="10"/>
                      <a:pt x="33" y="10"/>
                      <a:pt x="33" y="10"/>
                    </a:cubicBezTo>
                    <a:cubicBezTo>
                      <a:pt x="33" y="10"/>
                      <a:pt x="33" y="10"/>
                      <a:pt x="32" y="10"/>
                    </a:cubicBezTo>
                    <a:cubicBezTo>
                      <a:pt x="32" y="10"/>
                      <a:pt x="32" y="10"/>
                      <a:pt x="32" y="10"/>
                    </a:cubicBezTo>
                    <a:cubicBezTo>
                      <a:pt x="32" y="10"/>
                      <a:pt x="32" y="10"/>
                      <a:pt x="32" y="10"/>
                    </a:cubicBezTo>
                    <a:cubicBezTo>
                      <a:pt x="32" y="10"/>
                      <a:pt x="32" y="10"/>
                      <a:pt x="32" y="10"/>
                    </a:cubicBezTo>
                    <a:cubicBezTo>
                      <a:pt x="32" y="10"/>
                      <a:pt x="32" y="10"/>
                      <a:pt x="32" y="10"/>
                    </a:cubicBezTo>
                    <a:cubicBezTo>
                      <a:pt x="32" y="10"/>
                      <a:pt x="32" y="10"/>
                      <a:pt x="32" y="10"/>
                    </a:cubicBezTo>
                    <a:close/>
                    <a:moveTo>
                      <a:pt x="32" y="10"/>
                    </a:moveTo>
                    <a:cubicBezTo>
                      <a:pt x="32" y="10"/>
                      <a:pt x="32" y="10"/>
                      <a:pt x="32" y="10"/>
                    </a:cubicBezTo>
                    <a:cubicBezTo>
                      <a:pt x="32" y="10"/>
                      <a:pt x="32" y="10"/>
                      <a:pt x="32" y="10"/>
                    </a:cubicBezTo>
                    <a:cubicBezTo>
                      <a:pt x="32" y="10"/>
                      <a:pt x="32" y="10"/>
                      <a:pt x="32" y="10"/>
                    </a:cubicBezTo>
                    <a:cubicBezTo>
                      <a:pt x="32" y="10"/>
                      <a:pt x="32" y="10"/>
                      <a:pt x="32" y="10"/>
                    </a:cubicBezTo>
                    <a:cubicBezTo>
                      <a:pt x="32" y="10"/>
                      <a:pt x="32" y="10"/>
                      <a:pt x="32" y="10"/>
                    </a:cubicBezTo>
                    <a:cubicBezTo>
                      <a:pt x="32" y="10"/>
                      <a:pt x="32" y="10"/>
                      <a:pt x="32" y="10"/>
                    </a:cubicBezTo>
                    <a:cubicBezTo>
                      <a:pt x="32" y="10"/>
                      <a:pt x="32" y="10"/>
                      <a:pt x="32" y="11"/>
                    </a:cubicBezTo>
                    <a:cubicBezTo>
                      <a:pt x="32" y="10"/>
                      <a:pt x="32" y="10"/>
                      <a:pt x="32" y="10"/>
                    </a:cubicBezTo>
                    <a:cubicBezTo>
                      <a:pt x="32" y="10"/>
                      <a:pt x="32" y="10"/>
                      <a:pt x="32" y="10"/>
                    </a:cubicBezTo>
                    <a:cubicBezTo>
                      <a:pt x="32" y="10"/>
                      <a:pt x="32" y="10"/>
                      <a:pt x="32" y="10"/>
                    </a:cubicBezTo>
                    <a:close/>
                    <a:moveTo>
                      <a:pt x="33" y="10"/>
                    </a:moveTo>
                    <a:cubicBezTo>
                      <a:pt x="33" y="10"/>
                      <a:pt x="33" y="10"/>
                      <a:pt x="33" y="10"/>
                    </a:cubicBezTo>
                    <a:cubicBezTo>
                      <a:pt x="33" y="10"/>
                      <a:pt x="33" y="10"/>
                      <a:pt x="33" y="10"/>
                    </a:cubicBezTo>
                    <a:cubicBezTo>
                      <a:pt x="33" y="10"/>
                      <a:pt x="33" y="10"/>
                      <a:pt x="33" y="10"/>
                    </a:cubicBezTo>
                    <a:cubicBezTo>
                      <a:pt x="33" y="10"/>
                      <a:pt x="33" y="10"/>
                      <a:pt x="33" y="10"/>
                    </a:cubicBezTo>
                    <a:close/>
                    <a:moveTo>
                      <a:pt x="32" y="10"/>
                    </a:moveTo>
                    <a:cubicBezTo>
                      <a:pt x="32" y="10"/>
                      <a:pt x="32" y="10"/>
                      <a:pt x="32" y="10"/>
                    </a:cubicBezTo>
                    <a:cubicBezTo>
                      <a:pt x="32" y="10"/>
                      <a:pt x="32" y="11"/>
                      <a:pt x="32" y="11"/>
                    </a:cubicBezTo>
                    <a:cubicBezTo>
                      <a:pt x="32" y="11"/>
                      <a:pt x="32" y="10"/>
                      <a:pt x="32" y="10"/>
                    </a:cubicBezTo>
                    <a:cubicBezTo>
                      <a:pt x="32" y="10"/>
                      <a:pt x="32" y="10"/>
                      <a:pt x="32" y="10"/>
                    </a:cubicBezTo>
                    <a:close/>
                    <a:moveTo>
                      <a:pt x="13" y="10"/>
                    </a:moveTo>
                    <a:cubicBezTo>
                      <a:pt x="14" y="10"/>
                      <a:pt x="14" y="10"/>
                      <a:pt x="14" y="10"/>
                    </a:cubicBezTo>
                    <a:cubicBezTo>
                      <a:pt x="14" y="10"/>
                      <a:pt x="14" y="10"/>
                      <a:pt x="13" y="10"/>
                    </a:cubicBezTo>
                    <a:cubicBezTo>
                      <a:pt x="13" y="10"/>
                      <a:pt x="13" y="10"/>
                      <a:pt x="13" y="10"/>
                    </a:cubicBezTo>
                    <a:close/>
                    <a:moveTo>
                      <a:pt x="13" y="10"/>
                    </a:moveTo>
                    <a:cubicBezTo>
                      <a:pt x="13" y="10"/>
                      <a:pt x="13" y="10"/>
                      <a:pt x="13" y="10"/>
                    </a:cubicBezTo>
                    <a:cubicBezTo>
                      <a:pt x="13" y="10"/>
                      <a:pt x="13" y="10"/>
                      <a:pt x="13" y="10"/>
                    </a:cubicBezTo>
                    <a:cubicBezTo>
                      <a:pt x="13" y="10"/>
                      <a:pt x="13" y="10"/>
                      <a:pt x="13" y="10"/>
                    </a:cubicBezTo>
                    <a:close/>
                    <a:moveTo>
                      <a:pt x="14" y="10"/>
                    </a:moveTo>
                    <a:cubicBezTo>
                      <a:pt x="14" y="10"/>
                      <a:pt x="14" y="10"/>
                      <a:pt x="13" y="11"/>
                    </a:cubicBezTo>
                    <a:cubicBezTo>
                      <a:pt x="13" y="11"/>
                      <a:pt x="13" y="11"/>
                      <a:pt x="14" y="11"/>
                    </a:cubicBezTo>
                    <a:cubicBezTo>
                      <a:pt x="14" y="11"/>
                      <a:pt x="14" y="11"/>
                      <a:pt x="14" y="11"/>
                    </a:cubicBezTo>
                    <a:cubicBezTo>
                      <a:pt x="14" y="11"/>
                      <a:pt x="14" y="11"/>
                      <a:pt x="14" y="11"/>
                    </a:cubicBezTo>
                    <a:cubicBezTo>
                      <a:pt x="14" y="11"/>
                      <a:pt x="14" y="11"/>
                      <a:pt x="14" y="10"/>
                    </a:cubicBezTo>
                    <a:cubicBezTo>
                      <a:pt x="14" y="10"/>
                      <a:pt x="14" y="10"/>
                      <a:pt x="14" y="10"/>
                    </a:cubicBezTo>
                    <a:cubicBezTo>
                      <a:pt x="14" y="10"/>
                      <a:pt x="14" y="10"/>
                      <a:pt x="14" y="10"/>
                    </a:cubicBezTo>
                    <a:cubicBezTo>
                      <a:pt x="14" y="10"/>
                      <a:pt x="14" y="10"/>
                      <a:pt x="14" y="10"/>
                    </a:cubicBezTo>
                    <a:close/>
                    <a:moveTo>
                      <a:pt x="15" y="11"/>
                    </a:moveTo>
                    <a:cubicBezTo>
                      <a:pt x="15" y="11"/>
                      <a:pt x="15" y="11"/>
                      <a:pt x="15" y="11"/>
                    </a:cubicBezTo>
                    <a:cubicBezTo>
                      <a:pt x="15" y="11"/>
                      <a:pt x="14" y="11"/>
                      <a:pt x="14" y="11"/>
                    </a:cubicBezTo>
                    <a:cubicBezTo>
                      <a:pt x="14" y="11"/>
                      <a:pt x="14" y="11"/>
                      <a:pt x="14" y="11"/>
                    </a:cubicBezTo>
                    <a:cubicBezTo>
                      <a:pt x="14" y="11"/>
                      <a:pt x="14" y="11"/>
                      <a:pt x="15" y="11"/>
                    </a:cubicBezTo>
                    <a:cubicBezTo>
                      <a:pt x="15" y="11"/>
                      <a:pt x="15" y="11"/>
                      <a:pt x="15" y="11"/>
                    </a:cubicBezTo>
                    <a:close/>
                    <a:moveTo>
                      <a:pt x="14" y="11"/>
                    </a:moveTo>
                    <a:cubicBezTo>
                      <a:pt x="14" y="11"/>
                      <a:pt x="14" y="11"/>
                      <a:pt x="14" y="11"/>
                    </a:cubicBezTo>
                    <a:cubicBezTo>
                      <a:pt x="14" y="11"/>
                      <a:pt x="14" y="11"/>
                      <a:pt x="14" y="11"/>
                    </a:cubicBezTo>
                    <a:cubicBezTo>
                      <a:pt x="14" y="11"/>
                      <a:pt x="14" y="11"/>
                      <a:pt x="14" y="11"/>
                    </a:cubicBezTo>
                    <a:cubicBezTo>
                      <a:pt x="14" y="11"/>
                      <a:pt x="14" y="11"/>
                      <a:pt x="14" y="11"/>
                    </a:cubicBezTo>
                    <a:cubicBezTo>
                      <a:pt x="14" y="11"/>
                      <a:pt x="14" y="11"/>
                      <a:pt x="14" y="11"/>
                    </a:cubicBezTo>
                    <a:close/>
                    <a:moveTo>
                      <a:pt x="27" y="11"/>
                    </a:moveTo>
                    <a:cubicBezTo>
                      <a:pt x="27" y="11"/>
                      <a:pt x="27" y="11"/>
                      <a:pt x="27" y="11"/>
                    </a:cubicBezTo>
                    <a:cubicBezTo>
                      <a:pt x="27" y="11"/>
                      <a:pt x="27" y="11"/>
                      <a:pt x="27" y="11"/>
                    </a:cubicBezTo>
                    <a:cubicBezTo>
                      <a:pt x="27" y="11"/>
                      <a:pt x="27" y="11"/>
                      <a:pt x="27" y="11"/>
                    </a:cubicBezTo>
                    <a:cubicBezTo>
                      <a:pt x="27" y="11"/>
                      <a:pt x="27" y="11"/>
                      <a:pt x="27" y="11"/>
                    </a:cubicBezTo>
                    <a:cubicBezTo>
                      <a:pt x="27" y="11"/>
                      <a:pt x="27" y="11"/>
                      <a:pt x="27" y="11"/>
                    </a:cubicBezTo>
                    <a:close/>
                    <a:moveTo>
                      <a:pt x="14" y="11"/>
                    </a:moveTo>
                    <a:cubicBezTo>
                      <a:pt x="14" y="11"/>
                      <a:pt x="15" y="11"/>
                      <a:pt x="15" y="11"/>
                    </a:cubicBezTo>
                    <a:cubicBezTo>
                      <a:pt x="15" y="11"/>
                      <a:pt x="14" y="11"/>
                      <a:pt x="14" y="11"/>
                    </a:cubicBezTo>
                    <a:cubicBezTo>
                      <a:pt x="14" y="11"/>
                      <a:pt x="14" y="11"/>
                      <a:pt x="14" y="11"/>
                    </a:cubicBezTo>
                    <a:cubicBezTo>
                      <a:pt x="14" y="11"/>
                      <a:pt x="14" y="11"/>
                      <a:pt x="14" y="11"/>
                    </a:cubicBezTo>
                    <a:cubicBezTo>
                      <a:pt x="14" y="11"/>
                      <a:pt x="14" y="11"/>
                      <a:pt x="14" y="11"/>
                    </a:cubicBezTo>
                    <a:close/>
                    <a:moveTo>
                      <a:pt x="14" y="11"/>
                    </a:moveTo>
                    <a:cubicBezTo>
                      <a:pt x="15" y="11"/>
                      <a:pt x="15" y="11"/>
                      <a:pt x="15" y="11"/>
                    </a:cubicBezTo>
                    <a:cubicBezTo>
                      <a:pt x="15" y="11"/>
                      <a:pt x="15" y="11"/>
                      <a:pt x="14" y="11"/>
                    </a:cubicBezTo>
                    <a:cubicBezTo>
                      <a:pt x="14" y="11"/>
                      <a:pt x="14" y="11"/>
                      <a:pt x="14" y="11"/>
                    </a:cubicBezTo>
                    <a:cubicBezTo>
                      <a:pt x="14" y="11"/>
                      <a:pt x="14" y="11"/>
                      <a:pt x="14" y="11"/>
                    </a:cubicBezTo>
                    <a:close/>
                    <a:moveTo>
                      <a:pt x="15" y="11"/>
                    </a:moveTo>
                    <a:cubicBezTo>
                      <a:pt x="15" y="11"/>
                      <a:pt x="15" y="11"/>
                      <a:pt x="15" y="11"/>
                    </a:cubicBezTo>
                    <a:cubicBezTo>
                      <a:pt x="15" y="11"/>
                      <a:pt x="15" y="11"/>
                      <a:pt x="15" y="11"/>
                    </a:cubicBezTo>
                    <a:cubicBezTo>
                      <a:pt x="15" y="11"/>
                      <a:pt x="15" y="11"/>
                      <a:pt x="15" y="11"/>
                    </a:cubicBezTo>
                    <a:cubicBezTo>
                      <a:pt x="15" y="11"/>
                      <a:pt x="15" y="11"/>
                      <a:pt x="15" y="11"/>
                    </a:cubicBezTo>
                    <a:close/>
                    <a:moveTo>
                      <a:pt x="15" y="11"/>
                    </a:moveTo>
                    <a:cubicBezTo>
                      <a:pt x="15" y="11"/>
                      <a:pt x="15" y="11"/>
                      <a:pt x="15" y="11"/>
                    </a:cubicBezTo>
                    <a:cubicBezTo>
                      <a:pt x="15" y="11"/>
                      <a:pt x="15" y="12"/>
                      <a:pt x="15" y="12"/>
                    </a:cubicBezTo>
                    <a:cubicBezTo>
                      <a:pt x="15" y="12"/>
                      <a:pt x="15" y="12"/>
                      <a:pt x="15" y="11"/>
                    </a:cubicBezTo>
                    <a:cubicBezTo>
                      <a:pt x="15" y="11"/>
                      <a:pt x="15" y="11"/>
                      <a:pt x="15" y="11"/>
                    </a:cubicBezTo>
                    <a:close/>
                    <a:moveTo>
                      <a:pt x="28" y="12"/>
                    </a:moveTo>
                    <a:cubicBezTo>
                      <a:pt x="28" y="12"/>
                      <a:pt x="28" y="12"/>
                      <a:pt x="28" y="12"/>
                    </a:cubicBezTo>
                    <a:cubicBezTo>
                      <a:pt x="28" y="12"/>
                      <a:pt x="28" y="12"/>
                      <a:pt x="28" y="12"/>
                    </a:cubicBezTo>
                    <a:cubicBezTo>
                      <a:pt x="28" y="12"/>
                      <a:pt x="28" y="12"/>
                      <a:pt x="28" y="12"/>
                    </a:cubicBezTo>
                    <a:close/>
                    <a:moveTo>
                      <a:pt x="32" y="12"/>
                    </a:moveTo>
                    <a:cubicBezTo>
                      <a:pt x="32" y="12"/>
                      <a:pt x="32" y="12"/>
                      <a:pt x="32" y="12"/>
                    </a:cubicBezTo>
                    <a:cubicBezTo>
                      <a:pt x="32" y="13"/>
                      <a:pt x="32" y="13"/>
                      <a:pt x="32" y="13"/>
                    </a:cubicBezTo>
                    <a:cubicBezTo>
                      <a:pt x="32" y="13"/>
                      <a:pt x="32" y="13"/>
                      <a:pt x="32" y="12"/>
                    </a:cubicBezTo>
                    <a:cubicBezTo>
                      <a:pt x="32" y="12"/>
                      <a:pt x="32" y="12"/>
                      <a:pt x="32" y="12"/>
                    </a:cubicBezTo>
                    <a:close/>
                    <a:moveTo>
                      <a:pt x="30" y="13"/>
                    </a:moveTo>
                    <a:cubicBezTo>
                      <a:pt x="30" y="12"/>
                      <a:pt x="30" y="12"/>
                      <a:pt x="30" y="12"/>
                    </a:cubicBezTo>
                    <a:cubicBezTo>
                      <a:pt x="31" y="13"/>
                      <a:pt x="31" y="13"/>
                      <a:pt x="32" y="13"/>
                    </a:cubicBezTo>
                    <a:cubicBezTo>
                      <a:pt x="32" y="13"/>
                      <a:pt x="32" y="13"/>
                      <a:pt x="31" y="13"/>
                    </a:cubicBezTo>
                    <a:cubicBezTo>
                      <a:pt x="32" y="13"/>
                      <a:pt x="32" y="13"/>
                      <a:pt x="32" y="13"/>
                    </a:cubicBezTo>
                    <a:cubicBezTo>
                      <a:pt x="32" y="13"/>
                      <a:pt x="32" y="13"/>
                      <a:pt x="32" y="13"/>
                    </a:cubicBezTo>
                    <a:cubicBezTo>
                      <a:pt x="32" y="13"/>
                      <a:pt x="32" y="13"/>
                      <a:pt x="32" y="13"/>
                    </a:cubicBezTo>
                    <a:cubicBezTo>
                      <a:pt x="32" y="13"/>
                      <a:pt x="32" y="13"/>
                      <a:pt x="32" y="14"/>
                    </a:cubicBezTo>
                    <a:cubicBezTo>
                      <a:pt x="32" y="13"/>
                      <a:pt x="32" y="13"/>
                      <a:pt x="32" y="13"/>
                    </a:cubicBezTo>
                    <a:cubicBezTo>
                      <a:pt x="31" y="13"/>
                      <a:pt x="31" y="14"/>
                      <a:pt x="31" y="14"/>
                    </a:cubicBezTo>
                    <a:cubicBezTo>
                      <a:pt x="31" y="14"/>
                      <a:pt x="31" y="14"/>
                      <a:pt x="31" y="13"/>
                    </a:cubicBezTo>
                    <a:cubicBezTo>
                      <a:pt x="31" y="13"/>
                      <a:pt x="31" y="14"/>
                      <a:pt x="31" y="14"/>
                    </a:cubicBezTo>
                    <a:cubicBezTo>
                      <a:pt x="31" y="14"/>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1" y="13"/>
                    </a:cubicBezTo>
                    <a:cubicBezTo>
                      <a:pt x="31" y="13"/>
                      <a:pt x="31" y="13"/>
                      <a:pt x="30" y="13"/>
                    </a:cubicBezTo>
                    <a:cubicBezTo>
                      <a:pt x="30" y="13"/>
                      <a:pt x="30" y="13"/>
                      <a:pt x="30" y="13"/>
                    </a:cubicBezTo>
                    <a:close/>
                    <a:moveTo>
                      <a:pt x="33" y="13"/>
                    </a:moveTo>
                    <a:cubicBezTo>
                      <a:pt x="33" y="13"/>
                      <a:pt x="33" y="12"/>
                      <a:pt x="33" y="12"/>
                    </a:cubicBezTo>
                    <a:cubicBezTo>
                      <a:pt x="33" y="13"/>
                      <a:pt x="33" y="13"/>
                      <a:pt x="33" y="13"/>
                    </a:cubicBezTo>
                    <a:cubicBezTo>
                      <a:pt x="33" y="13"/>
                      <a:pt x="33" y="13"/>
                      <a:pt x="33" y="13"/>
                    </a:cubicBezTo>
                    <a:cubicBezTo>
                      <a:pt x="33" y="13"/>
                      <a:pt x="33" y="13"/>
                      <a:pt x="33" y="13"/>
                    </a:cubicBezTo>
                    <a:close/>
                    <a:moveTo>
                      <a:pt x="12" y="13"/>
                    </a:move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ubicBezTo>
                      <a:pt x="12" y="13"/>
                      <a:pt x="12" y="13"/>
                      <a:pt x="12" y="13"/>
                    </a:cubicBezTo>
                    <a:close/>
                    <a:moveTo>
                      <a:pt x="30" y="13"/>
                    </a:moveTo>
                    <a:cubicBezTo>
                      <a:pt x="30" y="13"/>
                      <a:pt x="31" y="13"/>
                      <a:pt x="31" y="13"/>
                    </a:cubicBezTo>
                    <a:cubicBezTo>
                      <a:pt x="31" y="13"/>
                      <a:pt x="31" y="13"/>
                      <a:pt x="31" y="13"/>
                    </a:cubicBezTo>
                    <a:cubicBezTo>
                      <a:pt x="31" y="13"/>
                      <a:pt x="31" y="13"/>
                      <a:pt x="31" y="13"/>
                    </a:cubicBezTo>
                    <a:cubicBezTo>
                      <a:pt x="30" y="15"/>
                      <a:pt x="30" y="15"/>
                      <a:pt x="29" y="15"/>
                    </a:cubicBezTo>
                    <a:cubicBezTo>
                      <a:pt x="29" y="15"/>
                      <a:pt x="29" y="15"/>
                      <a:pt x="29" y="15"/>
                    </a:cubicBezTo>
                    <a:cubicBezTo>
                      <a:pt x="30" y="15"/>
                      <a:pt x="30" y="14"/>
                      <a:pt x="30" y="13"/>
                    </a:cubicBezTo>
                    <a:cubicBezTo>
                      <a:pt x="30" y="14"/>
                      <a:pt x="30" y="14"/>
                      <a:pt x="30" y="14"/>
                    </a:cubicBezTo>
                    <a:cubicBezTo>
                      <a:pt x="30" y="14"/>
                      <a:pt x="30" y="14"/>
                      <a:pt x="30" y="14"/>
                    </a:cubicBezTo>
                    <a:cubicBezTo>
                      <a:pt x="30" y="14"/>
                      <a:pt x="30" y="13"/>
                      <a:pt x="30" y="13"/>
                    </a:cubicBezTo>
                    <a:cubicBezTo>
                      <a:pt x="30" y="13"/>
                      <a:pt x="30" y="14"/>
                      <a:pt x="30" y="14"/>
                    </a:cubicBezTo>
                    <a:cubicBezTo>
                      <a:pt x="30" y="14"/>
                      <a:pt x="30" y="14"/>
                      <a:pt x="30" y="14"/>
                    </a:cubicBezTo>
                    <a:cubicBezTo>
                      <a:pt x="30" y="14"/>
                      <a:pt x="30" y="14"/>
                      <a:pt x="30" y="13"/>
                    </a:cubicBezTo>
                    <a:cubicBezTo>
                      <a:pt x="30" y="14"/>
                      <a:pt x="29" y="14"/>
                      <a:pt x="29" y="13"/>
                    </a:cubicBezTo>
                    <a:cubicBezTo>
                      <a:pt x="29" y="13"/>
                      <a:pt x="29" y="13"/>
                      <a:pt x="29" y="13"/>
                    </a:cubicBezTo>
                    <a:cubicBezTo>
                      <a:pt x="30" y="13"/>
                      <a:pt x="30" y="13"/>
                      <a:pt x="30" y="13"/>
                    </a:cubicBezTo>
                    <a:cubicBezTo>
                      <a:pt x="30" y="13"/>
                      <a:pt x="30" y="13"/>
                      <a:pt x="30" y="13"/>
                    </a:cubicBezTo>
                    <a:cubicBezTo>
                      <a:pt x="30" y="13"/>
                      <a:pt x="30" y="13"/>
                      <a:pt x="30" y="13"/>
                    </a:cubicBezTo>
                    <a:cubicBezTo>
                      <a:pt x="30" y="13"/>
                      <a:pt x="30" y="13"/>
                      <a:pt x="30" y="13"/>
                    </a:cubicBezTo>
                    <a:cubicBezTo>
                      <a:pt x="30" y="13"/>
                      <a:pt x="30" y="13"/>
                      <a:pt x="30" y="13"/>
                    </a:cubicBezTo>
                    <a:close/>
                    <a:moveTo>
                      <a:pt x="12" y="13"/>
                    </a:moveTo>
                    <a:cubicBezTo>
                      <a:pt x="12" y="13"/>
                      <a:pt x="11" y="13"/>
                      <a:pt x="11" y="13"/>
                    </a:cubicBezTo>
                    <a:cubicBezTo>
                      <a:pt x="12" y="13"/>
                      <a:pt x="12" y="13"/>
                      <a:pt x="12" y="13"/>
                    </a:cubicBezTo>
                    <a:cubicBezTo>
                      <a:pt x="12" y="13"/>
                      <a:pt x="12" y="13"/>
                      <a:pt x="12" y="13"/>
                    </a:cubicBezTo>
                    <a:cubicBezTo>
                      <a:pt x="12" y="13"/>
                      <a:pt x="12" y="13"/>
                      <a:pt x="12" y="13"/>
                    </a:cubicBezTo>
                    <a:close/>
                    <a:moveTo>
                      <a:pt x="32" y="13"/>
                    </a:moveTo>
                    <a:cubicBezTo>
                      <a:pt x="32" y="13"/>
                      <a:pt x="32" y="13"/>
                      <a:pt x="32" y="13"/>
                    </a:cubicBezTo>
                    <a:cubicBezTo>
                      <a:pt x="32" y="13"/>
                      <a:pt x="32" y="13"/>
                      <a:pt x="32" y="13"/>
                    </a:cubicBezTo>
                    <a:cubicBezTo>
                      <a:pt x="32" y="13"/>
                      <a:pt x="32" y="13"/>
                      <a:pt x="32" y="13"/>
                    </a:cubicBezTo>
                    <a:cubicBezTo>
                      <a:pt x="32" y="13"/>
                      <a:pt x="32" y="13"/>
                      <a:pt x="32" y="13"/>
                    </a:cubicBezTo>
                    <a:close/>
                    <a:moveTo>
                      <a:pt x="33" y="14"/>
                    </a:moveTo>
                    <a:cubicBezTo>
                      <a:pt x="34" y="14"/>
                      <a:pt x="34" y="13"/>
                      <a:pt x="34" y="13"/>
                    </a:cubicBezTo>
                    <a:cubicBezTo>
                      <a:pt x="34" y="14"/>
                      <a:pt x="34" y="14"/>
                      <a:pt x="33" y="14"/>
                    </a:cubicBezTo>
                    <a:cubicBezTo>
                      <a:pt x="33" y="14"/>
                      <a:pt x="33" y="14"/>
                      <a:pt x="33" y="14"/>
                    </a:cubicBezTo>
                    <a:close/>
                    <a:moveTo>
                      <a:pt x="32" y="14"/>
                    </a:moveTo>
                    <a:cubicBezTo>
                      <a:pt x="32" y="14"/>
                      <a:pt x="32" y="14"/>
                      <a:pt x="32" y="14"/>
                    </a:cubicBezTo>
                    <a:cubicBezTo>
                      <a:pt x="32" y="14"/>
                      <a:pt x="32" y="14"/>
                      <a:pt x="32" y="14"/>
                    </a:cubicBezTo>
                    <a:cubicBezTo>
                      <a:pt x="32" y="14"/>
                      <a:pt x="32" y="14"/>
                      <a:pt x="32" y="14"/>
                    </a:cubicBezTo>
                    <a:cubicBezTo>
                      <a:pt x="32" y="14"/>
                      <a:pt x="32" y="14"/>
                      <a:pt x="32" y="14"/>
                    </a:cubicBezTo>
                    <a:close/>
                    <a:moveTo>
                      <a:pt x="32" y="14"/>
                    </a:moveTo>
                    <a:cubicBezTo>
                      <a:pt x="32" y="14"/>
                      <a:pt x="32" y="14"/>
                      <a:pt x="32" y="14"/>
                    </a:cubicBezTo>
                    <a:cubicBezTo>
                      <a:pt x="31" y="14"/>
                      <a:pt x="31" y="14"/>
                      <a:pt x="31" y="14"/>
                    </a:cubicBezTo>
                    <a:cubicBezTo>
                      <a:pt x="31" y="14"/>
                      <a:pt x="32" y="14"/>
                      <a:pt x="32" y="14"/>
                    </a:cubicBezTo>
                    <a:cubicBezTo>
                      <a:pt x="32" y="14"/>
                      <a:pt x="32" y="14"/>
                      <a:pt x="32" y="14"/>
                    </a:cubicBezTo>
                    <a:close/>
                    <a:moveTo>
                      <a:pt x="31" y="14"/>
                    </a:moveTo>
                    <a:cubicBezTo>
                      <a:pt x="31" y="14"/>
                      <a:pt x="31" y="14"/>
                      <a:pt x="31" y="14"/>
                    </a:cubicBezTo>
                    <a:cubicBezTo>
                      <a:pt x="31" y="14"/>
                      <a:pt x="31" y="14"/>
                      <a:pt x="31" y="14"/>
                    </a:cubicBezTo>
                    <a:cubicBezTo>
                      <a:pt x="31" y="14"/>
                      <a:pt x="31" y="14"/>
                      <a:pt x="31" y="14"/>
                    </a:cubicBezTo>
                    <a:cubicBezTo>
                      <a:pt x="31" y="14"/>
                      <a:pt x="31" y="14"/>
                      <a:pt x="31" y="14"/>
                    </a:cubicBezTo>
                    <a:close/>
                    <a:moveTo>
                      <a:pt x="10" y="15"/>
                    </a:moveTo>
                    <a:cubicBezTo>
                      <a:pt x="10" y="15"/>
                      <a:pt x="10" y="15"/>
                      <a:pt x="10" y="15"/>
                    </a:cubicBezTo>
                    <a:cubicBezTo>
                      <a:pt x="10" y="15"/>
                      <a:pt x="10" y="15"/>
                      <a:pt x="10" y="15"/>
                    </a:cubicBezTo>
                    <a:cubicBezTo>
                      <a:pt x="10" y="15"/>
                      <a:pt x="10" y="15"/>
                      <a:pt x="10" y="15"/>
                    </a:cubicBezTo>
                    <a:cubicBezTo>
                      <a:pt x="10" y="15"/>
                      <a:pt x="10" y="15"/>
                      <a:pt x="10" y="15"/>
                    </a:cubicBezTo>
                    <a:close/>
                    <a:moveTo>
                      <a:pt x="29" y="16"/>
                    </a:moveTo>
                    <a:cubicBezTo>
                      <a:pt x="29" y="16"/>
                      <a:pt x="29" y="16"/>
                      <a:pt x="29" y="16"/>
                    </a:cubicBezTo>
                    <a:cubicBezTo>
                      <a:pt x="29" y="16"/>
                      <a:pt x="30" y="16"/>
                      <a:pt x="30" y="16"/>
                    </a:cubicBezTo>
                    <a:cubicBezTo>
                      <a:pt x="30" y="17"/>
                      <a:pt x="30" y="17"/>
                      <a:pt x="30" y="17"/>
                    </a:cubicBezTo>
                    <a:cubicBezTo>
                      <a:pt x="30" y="17"/>
                      <a:pt x="30" y="17"/>
                      <a:pt x="30" y="17"/>
                    </a:cubicBezTo>
                    <a:cubicBezTo>
                      <a:pt x="29" y="17"/>
                      <a:pt x="29" y="17"/>
                      <a:pt x="29" y="17"/>
                    </a:cubicBezTo>
                    <a:cubicBezTo>
                      <a:pt x="29" y="17"/>
                      <a:pt x="29" y="17"/>
                      <a:pt x="29" y="17"/>
                    </a:cubicBezTo>
                    <a:cubicBezTo>
                      <a:pt x="29" y="17"/>
                      <a:pt x="29" y="18"/>
                      <a:pt x="29" y="18"/>
                    </a:cubicBezTo>
                    <a:cubicBezTo>
                      <a:pt x="29" y="18"/>
                      <a:pt x="29" y="18"/>
                      <a:pt x="29" y="17"/>
                    </a:cubicBezTo>
                    <a:cubicBezTo>
                      <a:pt x="29" y="17"/>
                      <a:pt x="29" y="17"/>
                      <a:pt x="29" y="17"/>
                    </a:cubicBezTo>
                    <a:cubicBezTo>
                      <a:pt x="29" y="17"/>
                      <a:pt x="29" y="17"/>
                      <a:pt x="29" y="17"/>
                    </a:cubicBezTo>
                    <a:cubicBezTo>
                      <a:pt x="28" y="17"/>
                      <a:pt x="28" y="17"/>
                      <a:pt x="28" y="17"/>
                    </a:cubicBezTo>
                    <a:cubicBezTo>
                      <a:pt x="28" y="18"/>
                      <a:pt x="28" y="18"/>
                      <a:pt x="28" y="18"/>
                    </a:cubicBezTo>
                    <a:cubicBezTo>
                      <a:pt x="28" y="18"/>
                      <a:pt x="28" y="18"/>
                      <a:pt x="28" y="18"/>
                    </a:cubicBezTo>
                    <a:cubicBezTo>
                      <a:pt x="28" y="18"/>
                      <a:pt x="28" y="18"/>
                      <a:pt x="28" y="18"/>
                    </a:cubicBezTo>
                    <a:cubicBezTo>
                      <a:pt x="28" y="18"/>
                      <a:pt x="28" y="18"/>
                      <a:pt x="28" y="18"/>
                    </a:cubicBezTo>
                    <a:cubicBezTo>
                      <a:pt x="28" y="18"/>
                      <a:pt x="28" y="18"/>
                      <a:pt x="28" y="18"/>
                    </a:cubicBezTo>
                    <a:cubicBezTo>
                      <a:pt x="28" y="18"/>
                      <a:pt x="28" y="18"/>
                      <a:pt x="27" y="18"/>
                    </a:cubicBezTo>
                    <a:cubicBezTo>
                      <a:pt x="27" y="18"/>
                      <a:pt x="28" y="18"/>
                      <a:pt x="28" y="18"/>
                    </a:cubicBezTo>
                    <a:cubicBezTo>
                      <a:pt x="27" y="18"/>
                      <a:pt x="27" y="18"/>
                      <a:pt x="27" y="18"/>
                    </a:cubicBezTo>
                    <a:cubicBezTo>
                      <a:pt x="27" y="18"/>
                      <a:pt x="27" y="18"/>
                      <a:pt x="27" y="18"/>
                    </a:cubicBezTo>
                    <a:cubicBezTo>
                      <a:pt x="27" y="18"/>
                      <a:pt x="27" y="18"/>
                      <a:pt x="27" y="18"/>
                    </a:cubicBezTo>
                    <a:cubicBezTo>
                      <a:pt x="27" y="18"/>
                      <a:pt x="27" y="18"/>
                      <a:pt x="27" y="18"/>
                    </a:cubicBezTo>
                    <a:cubicBezTo>
                      <a:pt x="27" y="18"/>
                      <a:pt x="27" y="18"/>
                      <a:pt x="27" y="18"/>
                    </a:cubicBezTo>
                    <a:cubicBezTo>
                      <a:pt x="27" y="18"/>
                      <a:pt x="27" y="18"/>
                      <a:pt x="27" y="18"/>
                    </a:cubicBezTo>
                    <a:cubicBezTo>
                      <a:pt x="26" y="18"/>
                      <a:pt x="26" y="18"/>
                      <a:pt x="26" y="19"/>
                    </a:cubicBezTo>
                    <a:cubicBezTo>
                      <a:pt x="26" y="19"/>
                      <a:pt x="26" y="19"/>
                      <a:pt x="26" y="19"/>
                    </a:cubicBezTo>
                    <a:cubicBezTo>
                      <a:pt x="26" y="18"/>
                      <a:pt x="26" y="18"/>
                      <a:pt x="26" y="18"/>
                    </a:cubicBezTo>
                    <a:cubicBezTo>
                      <a:pt x="26" y="18"/>
                      <a:pt x="26" y="18"/>
                      <a:pt x="26" y="18"/>
                    </a:cubicBezTo>
                    <a:cubicBezTo>
                      <a:pt x="26" y="18"/>
                      <a:pt x="26" y="18"/>
                      <a:pt x="26" y="19"/>
                    </a:cubicBezTo>
                    <a:cubicBezTo>
                      <a:pt x="26" y="19"/>
                      <a:pt x="26" y="18"/>
                      <a:pt x="26" y="18"/>
                    </a:cubicBezTo>
                    <a:cubicBezTo>
                      <a:pt x="26" y="18"/>
                      <a:pt x="26" y="18"/>
                      <a:pt x="26" y="19"/>
                    </a:cubicBezTo>
                    <a:cubicBezTo>
                      <a:pt x="26" y="18"/>
                      <a:pt x="26" y="18"/>
                      <a:pt x="26" y="18"/>
                    </a:cubicBezTo>
                    <a:cubicBezTo>
                      <a:pt x="26" y="18"/>
                      <a:pt x="26" y="18"/>
                      <a:pt x="26" y="18"/>
                    </a:cubicBezTo>
                    <a:cubicBezTo>
                      <a:pt x="26" y="18"/>
                      <a:pt x="26" y="18"/>
                      <a:pt x="26" y="19"/>
                    </a:cubicBezTo>
                    <a:cubicBezTo>
                      <a:pt x="26" y="19"/>
                      <a:pt x="26" y="18"/>
                      <a:pt x="26" y="18"/>
                    </a:cubicBezTo>
                    <a:cubicBezTo>
                      <a:pt x="25" y="18"/>
                      <a:pt x="25" y="19"/>
                      <a:pt x="25" y="19"/>
                    </a:cubicBezTo>
                    <a:cubicBezTo>
                      <a:pt x="25" y="18"/>
                      <a:pt x="25" y="18"/>
                      <a:pt x="25" y="18"/>
                    </a:cubicBezTo>
                    <a:cubicBezTo>
                      <a:pt x="25" y="18"/>
                      <a:pt x="25" y="18"/>
                      <a:pt x="25" y="18"/>
                    </a:cubicBezTo>
                    <a:cubicBezTo>
                      <a:pt x="25" y="18"/>
                      <a:pt x="25" y="17"/>
                      <a:pt x="26" y="18"/>
                    </a:cubicBezTo>
                    <a:cubicBezTo>
                      <a:pt x="26" y="18"/>
                      <a:pt x="25" y="18"/>
                      <a:pt x="25" y="17"/>
                    </a:cubicBezTo>
                    <a:cubicBezTo>
                      <a:pt x="26" y="18"/>
                      <a:pt x="26" y="18"/>
                      <a:pt x="26" y="18"/>
                    </a:cubicBezTo>
                    <a:cubicBezTo>
                      <a:pt x="26" y="18"/>
                      <a:pt x="26" y="18"/>
                      <a:pt x="26" y="17"/>
                    </a:cubicBezTo>
                    <a:cubicBezTo>
                      <a:pt x="26" y="17"/>
                      <a:pt x="26" y="17"/>
                      <a:pt x="26" y="17"/>
                    </a:cubicBezTo>
                    <a:cubicBezTo>
                      <a:pt x="26" y="17"/>
                      <a:pt x="26" y="17"/>
                      <a:pt x="26" y="17"/>
                    </a:cubicBezTo>
                    <a:cubicBezTo>
                      <a:pt x="26" y="17"/>
                      <a:pt x="26" y="18"/>
                      <a:pt x="26" y="18"/>
                    </a:cubicBezTo>
                    <a:cubicBezTo>
                      <a:pt x="26" y="17"/>
                      <a:pt x="26" y="17"/>
                      <a:pt x="26" y="17"/>
                    </a:cubicBezTo>
                    <a:cubicBezTo>
                      <a:pt x="26" y="17"/>
                      <a:pt x="26" y="17"/>
                      <a:pt x="26" y="17"/>
                    </a:cubicBezTo>
                    <a:cubicBezTo>
                      <a:pt x="26" y="17"/>
                      <a:pt x="26" y="17"/>
                      <a:pt x="26" y="17"/>
                    </a:cubicBezTo>
                    <a:cubicBezTo>
                      <a:pt x="26" y="17"/>
                      <a:pt x="27" y="17"/>
                      <a:pt x="27" y="17"/>
                    </a:cubicBezTo>
                    <a:cubicBezTo>
                      <a:pt x="27" y="17"/>
                      <a:pt x="27" y="17"/>
                      <a:pt x="27" y="17"/>
                    </a:cubicBezTo>
                    <a:cubicBezTo>
                      <a:pt x="27" y="17"/>
                      <a:pt x="27" y="17"/>
                      <a:pt x="27" y="17"/>
                    </a:cubicBezTo>
                    <a:cubicBezTo>
                      <a:pt x="27" y="17"/>
                      <a:pt x="27" y="17"/>
                      <a:pt x="27" y="17"/>
                    </a:cubicBezTo>
                    <a:cubicBezTo>
                      <a:pt x="27" y="17"/>
                      <a:pt x="27" y="17"/>
                      <a:pt x="27" y="17"/>
                    </a:cubicBezTo>
                    <a:cubicBezTo>
                      <a:pt x="27" y="17"/>
                      <a:pt x="27" y="17"/>
                      <a:pt x="27" y="17"/>
                    </a:cubicBezTo>
                    <a:cubicBezTo>
                      <a:pt x="27" y="17"/>
                      <a:pt x="27" y="17"/>
                      <a:pt x="26" y="17"/>
                    </a:cubicBezTo>
                    <a:cubicBezTo>
                      <a:pt x="26" y="17"/>
                      <a:pt x="27" y="17"/>
                      <a:pt x="27" y="17"/>
                    </a:cubicBezTo>
                    <a:cubicBezTo>
                      <a:pt x="27" y="17"/>
                      <a:pt x="27" y="17"/>
                      <a:pt x="27" y="17"/>
                    </a:cubicBezTo>
                    <a:cubicBezTo>
                      <a:pt x="27" y="17"/>
                      <a:pt x="27" y="17"/>
                      <a:pt x="27" y="17"/>
                    </a:cubicBezTo>
                    <a:cubicBezTo>
                      <a:pt x="27" y="17"/>
                      <a:pt x="27" y="17"/>
                      <a:pt x="27" y="17"/>
                    </a:cubicBezTo>
                    <a:cubicBezTo>
                      <a:pt x="27" y="17"/>
                      <a:pt x="28" y="17"/>
                      <a:pt x="28" y="17"/>
                    </a:cubicBezTo>
                    <a:cubicBezTo>
                      <a:pt x="28" y="17"/>
                      <a:pt x="28" y="17"/>
                      <a:pt x="28" y="17"/>
                    </a:cubicBezTo>
                    <a:cubicBezTo>
                      <a:pt x="28" y="17"/>
                      <a:pt x="28" y="17"/>
                      <a:pt x="28" y="17"/>
                    </a:cubicBezTo>
                    <a:cubicBezTo>
                      <a:pt x="28" y="17"/>
                      <a:pt x="28" y="17"/>
                      <a:pt x="28" y="17"/>
                    </a:cubicBezTo>
                    <a:cubicBezTo>
                      <a:pt x="28" y="17"/>
                      <a:pt x="27" y="17"/>
                      <a:pt x="27" y="17"/>
                    </a:cubicBezTo>
                    <a:cubicBezTo>
                      <a:pt x="27" y="17"/>
                      <a:pt x="28" y="17"/>
                      <a:pt x="28" y="17"/>
                    </a:cubicBezTo>
                    <a:cubicBezTo>
                      <a:pt x="28" y="17"/>
                      <a:pt x="28" y="17"/>
                      <a:pt x="27" y="16"/>
                    </a:cubicBezTo>
                    <a:cubicBezTo>
                      <a:pt x="28" y="16"/>
                      <a:pt x="28" y="17"/>
                      <a:pt x="28" y="17"/>
                    </a:cubicBezTo>
                    <a:cubicBezTo>
                      <a:pt x="28" y="17"/>
                      <a:pt x="28" y="16"/>
                      <a:pt x="28" y="16"/>
                    </a:cubicBezTo>
                    <a:cubicBezTo>
                      <a:pt x="28" y="16"/>
                      <a:pt x="28" y="16"/>
                      <a:pt x="28" y="16"/>
                    </a:cubicBezTo>
                    <a:cubicBezTo>
                      <a:pt x="28" y="16"/>
                      <a:pt x="28" y="16"/>
                      <a:pt x="28" y="16"/>
                    </a:cubicBezTo>
                    <a:cubicBezTo>
                      <a:pt x="28" y="16"/>
                      <a:pt x="28" y="16"/>
                      <a:pt x="28" y="16"/>
                    </a:cubicBezTo>
                    <a:cubicBezTo>
                      <a:pt x="28" y="16"/>
                      <a:pt x="28" y="16"/>
                      <a:pt x="28" y="16"/>
                    </a:cubicBezTo>
                    <a:cubicBezTo>
                      <a:pt x="28" y="16"/>
                      <a:pt x="28" y="16"/>
                      <a:pt x="28" y="16"/>
                    </a:cubicBezTo>
                    <a:cubicBezTo>
                      <a:pt x="28" y="16"/>
                      <a:pt x="28" y="16"/>
                      <a:pt x="28" y="16"/>
                    </a:cubicBezTo>
                    <a:cubicBezTo>
                      <a:pt x="28" y="16"/>
                      <a:pt x="28" y="16"/>
                      <a:pt x="28" y="16"/>
                    </a:cubicBezTo>
                    <a:cubicBezTo>
                      <a:pt x="29" y="16"/>
                      <a:pt x="29" y="17"/>
                      <a:pt x="30" y="17"/>
                    </a:cubicBezTo>
                    <a:cubicBezTo>
                      <a:pt x="30" y="17"/>
                      <a:pt x="30" y="17"/>
                      <a:pt x="30" y="17"/>
                    </a:cubicBezTo>
                    <a:cubicBezTo>
                      <a:pt x="29" y="17"/>
                      <a:pt x="29" y="16"/>
                      <a:pt x="29" y="16"/>
                    </a:cubicBezTo>
                    <a:cubicBezTo>
                      <a:pt x="29" y="16"/>
                      <a:pt x="29" y="16"/>
                      <a:pt x="29" y="16"/>
                    </a:cubicBezTo>
                    <a:cubicBezTo>
                      <a:pt x="29" y="16"/>
                      <a:pt x="29" y="16"/>
                      <a:pt x="29" y="16"/>
                    </a:cubicBezTo>
                    <a:cubicBezTo>
                      <a:pt x="29" y="16"/>
                      <a:pt x="29" y="16"/>
                      <a:pt x="29" y="16"/>
                    </a:cubicBezTo>
                    <a:cubicBezTo>
                      <a:pt x="29" y="16"/>
                      <a:pt x="29" y="16"/>
                      <a:pt x="29" y="16"/>
                    </a:cubicBezTo>
                    <a:close/>
                    <a:moveTo>
                      <a:pt x="14" y="16"/>
                    </a:moveTo>
                    <a:cubicBezTo>
                      <a:pt x="14" y="16"/>
                      <a:pt x="14" y="16"/>
                      <a:pt x="14" y="17"/>
                    </a:cubicBezTo>
                    <a:cubicBezTo>
                      <a:pt x="14" y="17"/>
                      <a:pt x="14" y="16"/>
                      <a:pt x="14" y="16"/>
                    </a:cubicBezTo>
                    <a:cubicBezTo>
                      <a:pt x="14" y="16"/>
                      <a:pt x="14" y="16"/>
                      <a:pt x="14" y="16"/>
                    </a:cubicBezTo>
                    <a:close/>
                    <a:moveTo>
                      <a:pt x="30" y="16"/>
                    </a:moveTo>
                    <a:cubicBezTo>
                      <a:pt x="30" y="16"/>
                      <a:pt x="30" y="16"/>
                      <a:pt x="30" y="16"/>
                    </a:cubicBezTo>
                    <a:cubicBezTo>
                      <a:pt x="30" y="16"/>
                      <a:pt x="30" y="16"/>
                      <a:pt x="30" y="16"/>
                    </a:cubicBezTo>
                    <a:cubicBezTo>
                      <a:pt x="30" y="16"/>
                      <a:pt x="30" y="16"/>
                      <a:pt x="30" y="16"/>
                    </a:cubicBezTo>
                    <a:cubicBezTo>
                      <a:pt x="30" y="16"/>
                      <a:pt x="30" y="16"/>
                      <a:pt x="30" y="16"/>
                    </a:cubicBezTo>
                    <a:cubicBezTo>
                      <a:pt x="30" y="16"/>
                      <a:pt x="30" y="16"/>
                      <a:pt x="30" y="16"/>
                    </a:cubicBezTo>
                    <a:close/>
                    <a:moveTo>
                      <a:pt x="35" y="18"/>
                    </a:moveTo>
                    <a:cubicBezTo>
                      <a:pt x="35" y="18"/>
                      <a:pt x="35" y="18"/>
                      <a:pt x="35" y="18"/>
                    </a:cubicBezTo>
                    <a:cubicBezTo>
                      <a:pt x="35" y="18"/>
                      <a:pt x="35" y="19"/>
                      <a:pt x="35" y="19"/>
                    </a:cubicBezTo>
                    <a:cubicBezTo>
                      <a:pt x="35" y="19"/>
                      <a:pt x="35" y="19"/>
                      <a:pt x="35" y="18"/>
                    </a:cubicBezTo>
                    <a:cubicBezTo>
                      <a:pt x="35" y="18"/>
                      <a:pt x="35" y="18"/>
                      <a:pt x="35" y="18"/>
                    </a:cubicBezTo>
                    <a:close/>
                    <a:moveTo>
                      <a:pt x="37" y="19"/>
                    </a:moveTo>
                    <a:cubicBezTo>
                      <a:pt x="37" y="19"/>
                      <a:pt x="37" y="19"/>
                      <a:pt x="37" y="19"/>
                    </a:cubicBezTo>
                    <a:cubicBezTo>
                      <a:pt x="37" y="19"/>
                      <a:pt x="37" y="19"/>
                      <a:pt x="37" y="19"/>
                    </a:cubicBezTo>
                    <a:cubicBezTo>
                      <a:pt x="37" y="19"/>
                      <a:pt x="37" y="19"/>
                      <a:pt x="37" y="19"/>
                    </a:cubicBezTo>
                    <a:cubicBezTo>
                      <a:pt x="37" y="19"/>
                      <a:pt x="37" y="19"/>
                      <a:pt x="38" y="19"/>
                    </a:cubicBezTo>
                    <a:cubicBezTo>
                      <a:pt x="37" y="19"/>
                      <a:pt x="37" y="19"/>
                      <a:pt x="37" y="19"/>
                    </a:cubicBezTo>
                    <a:cubicBezTo>
                      <a:pt x="37" y="19"/>
                      <a:pt x="37" y="19"/>
                      <a:pt x="37" y="19"/>
                    </a:cubicBezTo>
                    <a:close/>
                    <a:moveTo>
                      <a:pt x="37" y="19"/>
                    </a:moveTo>
                    <a:cubicBezTo>
                      <a:pt x="37" y="19"/>
                      <a:pt x="37" y="19"/>
                      <a:pt x="37" y="19"/>
                    </a:cubicBezTo>
                    <a:cubicBezTo>
                      <a:pt x="37" y="19"/>
                      <a:pt x="37" y="19"/>
                      <a:pt x="37" y="19"/>
                    </a:cubicBezTo>
                    <a:cubicBezTo>
                      <a:pt x="37" y="19"/>
                      <a:pt x="37" y="19"/>
                      <a:pt x="37" y="19"/>
                    </a:cubicBezTo>
                    <a:cubicBezTo>
                      <a:pt x="37" y="19"/>
                      <a:pt x="37" y="19"/>
                      <a:pt x="37" y="19"/>
                    </a:cubicBezTo>
                    <a:close/>
                    <a:moveTo>
                      <a:pt x="34" y="19"/>
                    </a:moveTo>
                    <a:cubicBezTo>
                      <a:pt x="34" y="19"/>
                      <a:pt x="35" y="19"/>
                      <a:pt x="35" y="19"/>
                    </a:cubicBezTo>
                    <a:cubicBezTo>
                      <a:pt x="34" y="19"/>
                      <a:pt x="34" y="19"/>
                      <a:pt x="34" y="19"/>
                    </a:cubicBezTo>
                    <a:cubicBezTo>
                      <a:pt x="34" y="19"/>
                      <a:pt x="34" y="19"/>
                      <a:pt x="34" y="19"/>
                    </a:cubicBezTo>
                    <a:cubicBezTo>
                      <a:pt x="34" y="19"/>
                      <a:pt x="34" y="19"/>
                      <a:pt x="34" y="19"/>
                    </a:cubicBezTo>
                    <a:close/>
                    <a:moveTo>
                      <a:pt x="37" y="19"/>
                    </a:moveTo>
                    <a:cubicBezTo>
                      <a:pt x="37" y="19"/>
                      <a:pt x="37" y="19"/>
                      <a:pt x="37" y="19"/>
                    </a:cubicBezTo>
                    <a:cubicBezTo>
                      <a:pt x="37" y="19"/>
                      <a:pt x="37" y="19"/>
                      <a:pt x="37" y="19"/>
                    </a:cubicBezTo>
                    <a:cubicBezTo>
                      <a:pt x="37" y="19"/>
                      <a:pt x="37" y="19"/>
                      <a:pt x="37" y="19"/>
                    </a:cubicBezTo>
                    <a:cubicBezTo>
                      <a:pt x="37" y="19"/>
                      <a:pt x="37" y="19"/>
                      <a:pt x="37" y="19"/>
                    </a:cubicBezTo>
                    <a:cubicBezTo>
                      <a:pt x="37" y="19"/>
                      <a:pt x="37" y="19"/>
                      <a:pt x="37" y="19"/>
                    </a:cubicBezTo>
                    <a:close/>
                    <a:moveTo>
                      <a:pt x="37" y="19"/>
                    </a:moveTo>
                    <a:cubicBezTo>
                      <a:pt x="37" y="19"/>
                      <a:pt x="37" y="19"/>
                      <a:pt x="37" y="19"/>
                    </a:cubicBezTo>
                    <a:cubicBezTo>
                      <a:pt x="37" y="19"/>
                      <a:pt x="37" y="19"/>
                      <a:pt x="36" y="20"/>
                    </a:cubicBezTo>
                    <a:cubicBezTo>
                      <a:pt x="36" y="20"/>
                      <a:pt x="36" y="20"/>
                      <a:pt x="36" y="20"/>
                    </a:cubicBezTo>
                    <a:cubicBezTo>
                      <a:pt x="36" y="19"/>
                      <a:pt x="36" y="19"/>
                      <a:pt x="37" y="19"/>
                    </a:cubicBezTo>
                    <a:cubicBezTo>
                      <a:pt x="37" y="19"/>
                      <a:pt x="37" y="19"/>
                      <a:pt x="37" y="19"/>
                    </a:cubicBezTo>
                    <a:close/>
                    <a:moveTo>
                      <a:pt x="37" y="19"/>
                    </a:moveTo>
                    <a:cubicBezTo>
                      <a:pt x="37" y="19"/>
                      <a:pt x="37" y="19"/>
                      <a:pt x="37" y="19"/>
                    </a:cubicBezTo>
                    <a:cubicBezTo>
                      <a:pt x="37" y="19"/>
                      <a:pt x="37" y="19"/>
                      <a:pt x="37" y="19"/>
                    </a:cubicBezTo>
                    <a:cubicBezTo>
                      <a:pt x="37" y="19"/>
                      <a:pt x="37" y="19"/>
                      <a:pt x="37" y="19"/>
                    </a:cubicBezTo>
                    <a:cubicBezTo>
                      <a:pt x="37" y="19"/>
                      <a:pt x="37" y="19"/>
                      <a:pt x="37" y="19"/>
                    </a:cubicBezTo>
                    <a:close/>
                    <a:moveTo>
                      <a:pt x="9" y="19"/>
                    </a:moveTo>
                    <a:cubicBezTo>
                      <a:pt x="9" y="19"/>
                      <a:pt x="9" y="19"/>
                      <a:pt x="9" y="19"/>
                    </a:cubicBezTo>
                    <a:cubicBezTo>
                      <a:pt x="9" y="20"/>
                      <a:pt x="9" y="19"/>
                      <a:pt x="9" y="19"/>
                    </a:cubicBezTo>
                    <a:cubicBezTo>
                      <a:pt x="9" y="19"/>
                      <a:pt x="9" y="19"/>
                      <a:pt x="9" y="19"/>
                    </a:cubicBezTo>
                    <a:close/>
                    <a:moveTo>
                      <a:pt x="38" y="20"/>
                    </a:moveTo>
                    <a:cubicBezTo>
                      <a:pt x="38" y="19"/>
                      <a:pt x="38" y="19"/>
                      <a:pt x="38" y="19"/>
                    </a:cubicBezTo>
                    <a:cubicBezTo>
                      <a:pt x="38" y="19"/>
                      <a:pt x="38" y="20"/>
                      <a:pt x="38" y="20"/>
                    </a:cubicBezTo>
                    <a:cubicBezTo>
                      <a:pt x="38" y="20"/>
                      <a:pt x="38" y="20"/>
                      <a:pt x="38" y="20"/>
                    </a:cubicBezTo>
                    <a:cubicBezTo>
                      <a:pt x="38" y="20"/>
                      <a:pt x="38" y="20"/>
                      <a:pt x="38" y="20"/>
                    </a:cubicBezTo>
                    <a:cubicBezTo>
                      <a:pt x="38" y="20"/>
                      <a:pt x="38" y="20"/>
                      <a:pt x="38" y="20"/>
                    </a:cubicBezTo>
                    <a:close/>
                    <a:moveTo>
                      <a:pt x="7" y="20"/>
                    </a:moveTo>
                    <a:cubicBezTo>
                      <a:pt x="7" y="20"/>
                      <a:pt x="7" y="20"/>
                      <a:pt x="7" y="20"/>
                    </a:cubicBezTo>
                    <a:cubicBezTo>
                      <a:pt x="7" y="20"/>
                      <a:pt x="7" y="20"/>
                      <a:pt x="8" y="20"/>
                    </a:cubicBezTo>
                    <a:cubicBezTo>
                      <a:pt x="7" y="20"/>
                      <a:pt x="7" y="20"/>
                      <a:pt x="7" y="20"/>
                    </a:cubicBezTo>
                    <a:cubicBezTo>
                      <a:pt x="7" y="20"/>
                      <a:pt x="7" y="20"/>
                      <a:pt x="7" y="20"/>
                    </a:cubicBezTo>
                    <a:close/>
                    <a:moveTo>
                      <a:pt x="38" y="20"/>
                    </a:moveTo>
                    <a:cubicBezTo>
                      <a:pt x="38" y="20"/>
                      <a:pt x="38" y="20"/>
                      <a:pt x="37" y="20"/>
                    </a:cubicBezTo>
                    <a:cubicBezTo>
                      <a:pt x="37" y="20"/>
                      <a:pt x="37" y="20"/>
                      <a:pt x="37" y="20"/>
                    </a:cubicBezTo>
                    <a:cubicBezTo>
                      <a:pt x="38" y="20"/>
                      <a:pt x="38" y="20"/>
                      <a:pt x="38" y="20"/>
                    </a:cubicBezTo>
                    <a:cubicBezTo>
                      <a:pt x="38" y="20"/>
                      <a:pt x="38" y="20"/>
                      <a:pt x="38" y="20"/>
                    </a:cubicBezTo>
                    <a:close/>
                    <a:moveTo>
                      <a:pt x="39" y="20"/>
                    </a:moveTo>
                    <a:cubicBezTo>
                      <a:pt x="39" y="20"/>
                      <a:pt x="39" y="20"/>
                      <a:pt x="39" y="20"/>
                    </a:cubicBezTo>
                    <a:cubicBezTo>
                      <a:pt x="39" y="20"/>
                      <a:pt x="39" y="20"/>
                      <a:pt x="39" y="21"/>
                    </a:cubicBezTo>
                    <a:cubicBezTo>
                      <a:pt x="39" y="20"/>
                      <a:pt x="39" y="20"/>
                      <a:pt x="39" y="20"/>
                    </a:cubicBezTo>
                    <a:cubicBezTo>
                      <a:pt x="39" y="20"/>
                      <a:pt x="39" y="20"/>
                      <a:pt x="39" y="20"/>
                    </a:cubicBezTo>
                    <a:close/>
                    <a:moveTo>
                      <a:pt x="37" y="20"/>
                    </a:moveTo>
                    <a:cubicBezTo>
                      <a:pt x="38" y="20"/>
                      <a:pt x="38" y="20"/>
                      <a:pt x="39" y="20"/>
                    </a:cubicBezTo>
                    <a:cubicBezTo>
                      <a:pt x="39" y="20"/>
                      <a:pt x="39" y="20"/>
                      <a:pt x="39" y="21"/>
                    </a:cubicBezTo>
                    <a:cubicBezTo>
                      <a:pt x="38" y="20"/>
                      <a:pt x="38" y="20"/>
                      <a:pt x="37" y="20"/>
                    </a:cubicBezTo>
                    <a:cubicBezTo>
                      <a:pt x="37" y="20"/>
                      <a:pt x="37" y="20"/>
                      <a:pt x="37" y="20"/>
                    </a:cubicBezTo>
                    <a:cubicBezTo>
                      <a:pt x="37" y="20"/>
                      <a:pt x="37" y="20"/>
                      <a:pt x="37" y="20"/>
                    </a:cubicBezTo>
                    <a:close/>
                    <a:moveTo>
                      <a:pt x="37" y="21"/>
                    </a:moveTo>
                    <a:cubicBezTo>
                      <a:pt x="37" y="21"/>
                      <a:pt x="37" y="20"/>
                      <a:pt x="37" y="20"/>
                    </a:cubicBezTo>
                    <a:cubicBezTo>
                      <a:pt x="38" y="20"/>
                      <a:pt x="38" y="21"/>
                      <a:pt x="39" y="21"/>
                    </a:cubicBezTo>
                    <a:cubicBezTo>
                      <a:pt x="38" y="21"/>
                      <a:pt x="38" y="21"/>
                      <a:pt x="38" y="21"/>
                    </a:cubicBezTo>
                    <a:cubicBezTo>
                      <a:pt x="38" y="21"/>
                      <a:pt x="38" y="21"/>
                      <a:pt x="38" y="21"/>
                    </a:cubicBezTo>
                    <a:cubicBezTo>
                      <a:pt x="38" y="21"/>
                      <a:pt x="38" y="21"/>
                      <a:pt x="38" y="21"/>
                    </a:cubicBezTo>
                    <a:cubicBezTo>
                      <a:pt x="38" y="21"/>
                      <a:pt x="37" y="21"/>
                      <a:pt x="37" y="21"/>
                    </a:cubicBezTo>
                    <a:cubicBezTo>
                      <a:pt x="37" y="21"/>
                      <a:pt x="37" y="21"/>
                      <a:pt x="37" y="21"/>
                    </a:cubicBezTo>
                    <a:close/>
                    <a:moveTo>
                      <a:pt x="6" y="21"/>
                    </a:moveTo>
                    <a:cubicBezTo>
                      <a:pt x="5" y="21"/>
                      <a:pt x="5" y="21"/>
                      <a:pt x="5" y="21"/>
                    </a:cubicBezTo>
                    <a:cubicBezTo>
                      <a:pt x="5" y="21"/>
                      <a:pt x="5" y="21"/>
                      <a:pt x="5" y="21"/>
                    </a:cubicBezTo>
                    <a:cubicBezTo>
                      <a:pt x="5" y="21"/>
                      <a:pt x="6" y="21"/>
                      <a:pt x="6" y="21"/>
                    </a:cubicBezTo>
                    <a:cubicBezTo>
                      <a:pt x="6" y="21"/>
                      <a:pt x="6" y="21"/>
                      <a:pt x="6" y="21"/>
                    </a:cubicBezTo>
                    <a:close/>
                    <a:moveTo>
                      <a:pt x="37" y="21"/>
                    </a:moveTo>
                    <a:cubicBezTo>
                      <a:pt x="37" y="21"/>
                      <a:pt x="37" y="21"/>
                      <a:pt x="36" y="21"/>
                    </a:cubicBezTo>
                    <a:cubicBezTo>
                      <a:pt x="37" y="21"/>
                      <a:pt x="37" y="21"/>
                      <a:pt x="37" y="21"/>
                    </a:cubicBezTo>
                    <a:cubicBezTo>
                      <a:pt x="37" y="21"/>
                      <a:pt x="37" y="21"/>
                      <a:pt x="37" y="21"/>
                    </a:cubicBezTo>
                    <a:cubicBezTo>
                      <a:pt x="37" y="21"/>
                      <a:pt x="37" y="21"/>
                      <a:pt x="38" y="21"/>
                    </a:cubicBezTo>
                    <a:cubicBezTo>
                      <a:pt x="38" y="21"/>
                      <a:pt x="38" y="21"/>
                      <a:pt x="38" y="21"/>
                    </a:cubicBezTo>
                    <a:cubicBezTo>
                      <a:pt x="38" y="21"/>
                      <a:pt x="37" y="21"/>
                      <a:pt x="37" y="21"/>
                    </a:cubicBezTo>
                    <a:cubicBezTo>
                      <a:pt x="37" y="21"/>
                      <a:pt x="37" y="21"/>
                      <a:pt x="37" y="21"/>
                    </a:cubicBezTo>
                    <a:close/>
                    <a:moveTo>
                      <a:pt x="5" y="21"/>
                    </a:moveTo>
                    <a:cubicBezTo>
                      <a:pt x="6" y="21"/>
                      <a:pt x="6" y="21"/>
                      <a:pt x="6" y="21"/>
                    </a:cubicBezTo>
                    <a:cubicBezTo>
                      <a:pt x="6" y="21"/>
                      <a:pt x="6" y="21"/>
                      <a:pt x="6" y="21"/>
                    </a:cubicBezTo>
                    <a:cubicBezTo>
                      <a:pt x="6" y="21"/>
                      <a:pt x="6" y="21"/>
                      <a:pt x="7" y="21"/>
                    </a:cubicBezTo>
                    <a:cubicBezTo>
                      <a:pt x="7" y="21"/>
                      <a:pt x="7" y="21"/>
                      <a:pt x="7" y="21"/>
                    </a:cubicBezTo>
                    <a:cubicBezTo>
                      <a:pt x="7" y="21"/>
                      <a:pt x="6" y="21"/>
                      <a:pt x="6" y="21"/>
                    </a:cubicBezTo>
                    <a:cubicBezTo>
                      <a:pt x="6" y="21"/>
                      <a:pt x="6" y="21"/>
                      <a:pt x="6" y="21"/>
                    </a:cubicBezTo>
                    <a:cubicBezTo>
                      <a:pt x="6" y="21"/>
                      <a:pt x="6" y="21"/>
                      <a:pt x="6" y="21"/>
                    </a:cubicBezTo>
                    <a:cubicBezTo>
                      <a:pt x="6" y="21"/>
                      <a:pt x="5" y="21"/>
                      <a:pt x="5" y="21"/>
                    </a:cubicBezTo>
                    <a:cubicBezTo>
                      <a:pt x="5" y="21"/>
                      <a:pt x="5" y="21"/>
                      <a:pt x="5" y="21"/>
                    </a:cubicBezTo>
                    <a:close/>
                    <a:moveTo>
                      <a:pt x="38" y="21"/>
                    </a:moveTo>
                    <a:cubicBezTo>
                      <a:pt x="38" y="21"/>
                      <a:pt x="38" y="21"/>
                      <a:pt x="38" y="21"/>
                    </a:cubicBezTo>
                    <a:cubicBezTo>
                      <a:pt x="38" y="21"/>
                      <a:pt x="38" y="21"/>
                      <a:pt x="38" y="21"/>
                    </a:cubicBezTo>
                    <a:cubicBezTo>
                      <a:pt x="38" y="21"/>
                      <a:pt x="38" y="21"/>
                      <a:pt x="38" y="21"/>
                    </a:cubicBezTo>
                    <a:cubicBezTo>
                      <a:pt x="38" y="21"/>
                      <a:pt x="38" y="21"/>
                      <a:pt x="38" y="21"/>
                    </a:cubicBezTo>
                    <a:cubicBezTo>
                      <a:pt x="38" y="21"/>
                      <a:pt x="38" y="21"/>
                      <a:pt x="38" y="21"/>
                    </a:cubicBezTo>
                    <a:close/>
                    <a:moveTo>
                      <a:pt x="36" y="21"/>
                    </a:moveTo>
                    <a:cubicBezTo>
                      <a:pt x="36" y="21"/>
                      <a:pt x="36" y="21"/>
                      <a:pt x="36" y="21"/>
                    </a:cubicBezTo>
                    <a:cubicBezTo>
                      <a:pt x="36" y="21"/>
                      <a:pt x="37" y="21"/>
                      <a:pt x="37" y="21"/>
                    </a:cubicBezTo>
                    <a:cubicBezTo>
                      <a:pt x="37" y="21"/>
                      <a:pt x="37" y="21"/>
                      <a:pt x="37" y="21"/>
                    </a:cubicBezTo>
                    <a:cubicBezTo>
                      <a:pt x="37" y="21"/>
                      <a:pt x="36" y="21"/>
                      <a:pt x="36" y="21"/>
                    </a:cubicBezTo>
                    <a:cubicBezTo>
                      <a:pt x="36" y="21"/>
                      <a:pt x="36" y="21"/>
                      <a:pt x="36" y="21"/>
                    </a:cubicBezTo>
                    <a:close/>
                    <a:moveTo>
                      <a:pt x="37" y="21"/>
                    </a:moveTo>
                    <a:cubicBezTo>
                      <a:pt x="37" y="21"/>
                      <a:pt x="37" y="21"/>
                      <a:pt x="38" y="21"/>
                    </a:cubicBezTo>
                    <a:cubicBezTo>
                      <a:pt x="37" y="21"/>
                      <a:pt x="37" y="21"/>
                      <a:pt x="37" y="21"/>
                    </a:cubicBezTo>
                    <a:cubicBezTo>
                      <a:pt x="37" y="21"/>
                      <a:pt x="37" y="21"/>
                      <a:pt x="37" y="21"/>
                    </a:cubicBezTo>
                    <a:cubicBezTo>
                      <a:pt x="37" y="21"/>
                      <a:pt x="37" y="21"/>
                      <a:pt x="37" y="21"/>
                    </a:cubicBezTo>
                    <a:cubicBezTo>
                      <a:pt x="37" y="21"/>
                      <a:pt x="37" y="21"/>
                      <a:pt x="37" y="21"/>
                    </a:cubicBezTo>
                    <a:cubicBezTo>
                      <a:pt x="37" y="21"/>
                      <a:pt x="37" y="21"/>
                      <a:pt x="37" y="21"/>
                    </a:cubicBezTo>
                    <a:cubicBezTo>
                      <a:pt x="37" y="21"/>
                      <a:pt x="37" y="21"/>
                      <a:pt x="37" y="21"/>
                    </a:cubicBezTo>
                    <a:cubicBezTo>
                      <a:pt x="37" y="21"/>
                      <a:pt x="37" y="21"/>
                      <a:pt x="37" y="21"/>
                    </a:cubicBezTo>
                    <a:close/>
                    <a:moveTo>
                      <a:pt x="38" y="21"/>
                    </a:moveTo>
                    <a:cubicBezTo>
                      <a:pt x="38" y="21"/>
                      <a:pt x="38" y="21"/>
                      <a:pt x="38" y="21"/>
                    </a:cubicBezTo>
                    <a:cubicBezTo>
                      <a:pt x="38" y="21"/>
                      <a:pt x="38" y="21"/>
                      <a:pt x="38" y="21"/>
                    </a:cubicBezTo>
                    <a:cubicBezTo>
                      <a:pt x="38" y="21"/>
                      <a:pt x="38" y="21"/>
                      <a:pt x="38" y="21"/>
                    </a:cubicBezTo>
                    <a:cubicBezTo>
                      <a:pt x="38" y="21"/>
                      <a:pt x="38" y="21"/>
                      <a:pt x="38" y="21"/>
                    </a:cubicBezTo>
                    <a:close/>
                    <a:moveTo>
                      <a:pt x="6" y="21"/>
                    </a:moveTo>
                    <a:cubicBezTo>
                      <a:pt x="6" y="21"/>
                      <a:pt x="7" y="21"/>
                      <a:pt x="7" y="21"/>
                    </a:cubicBezTo>
                    <a:cubicBezTo>
                      <a:pt x="7" y="21"/>
                      <a:pt x="7" y="21"/>
                      <a:pt x="7" y="22"/>
                    </a:cubicBezTo>
                    <a:cubicBezTo>
                      <a:pt x="7" y="21"/>
                      <a:pt x="7" y="21"/>
                      <a:pt x="6" y="21"/>
                    </a:cubicBezTo>
                    <a:cubicBezTo>
                      <a:pt x="6" y="21"/>
                      <a:pt x="6" y="21"/>
                      <a:pt x="6" y="21"/>
                    </a:cubicBezTo>
                    <a:close/>
                    <a:moveTo>
                      <a:pt x="37" y="21"/>
                    </a:moveTo>
                    <a:cubicBezTo>
                      <a:pt x="37" y="21"/>
                      <a:pt x="37" y="21"/>
                      <a:pt x="37" y="21"/>
                    </a:cubicBezTo>
                    <a:cubicBezTo>
                      <a:pt x="37" y="21"/>
                      <a:pt x="37" y="21"/>
                      <a:pt x="37" y="21"/>
                    </a:cubicBezTo>
                    <a:cubicBezTo>
                      <a:pt x="37" y="21"/>
                      <a:pt x="37" y="21"/>
                      <a:pt x="37" y="21"/>
                    </a:cubicBezTo>
                    <a:cubicBezTo>
                      <a:pt x="37" y="21"/>
                      <a:pt x="37" y="21"/>
                      <a:pt x="37" y="21"/>
                    </a:cubicBezTo>
                    <a:close/>
                    <a:moveTo>
                      <a:pt x="37" y="21"/>
                    </a:moveTo>
                    <a:cubicBezTo>
                      <a:pt x="37" y="21"/>
                      <a:pt x="37" y="21"/>
                      <a:pt x="37" y="21"/>
                    </a:cubicBezTo>
                    <a:cubicBezTo>
                      <a:pt x="37" y="22"/>
                      <a:pt x="37" y="22"/>
                      <a:pt x="37" y="22"/>
                    </a:cubicBezTo>
                    <a:cubicBezTo>
                      <a:pt x="37" y="22"/>
                      <a:pt x="37" y="22"/>
                      <a:pt x="37" y="22"/>
                    </a:cubicBezTo>
                    <a:cubicBezTo>
                      <a:pt x="37" y="22"/>
                      <a:pt x="37" y="22"/>
                      <a:pt x="37" y="22"/>
                    </a:cubicBezTo>
                    <a:cubicBezTo>
                      <a:pt x="37" y="22"/>
                      <a:pt x="37" y="21"/>
                      <a:pt x="37" y="21"/>
                    </a:cubicBezTo>
                    <a:cubicBezTo>
                      <a:pt x="37" y="21"/>
                      <a:pt x="37" y="21"/>
                      <a:pt x="37" y="21"/>
                    </a:cubicBezTo>
                    <a:close/>
                    <a:moveTo>
                      <a:pt x="37" y="22"/>
                    </a:moveTo>
                    <a:cubicBezTo>
                      <a:pt x="37" y="22"/>
                      <a:pt x="38" y="22"/>
                      <a:pt x="38" y="22"/>
                    </a:cubicBezTo>
                    <a:cubicBezTo>
                      <a:pt x="37" y="22"/>
                      <a:pt x="37" y="22"/>
                      <a:pt x="37" y="22"/>
                    </a:cubicBezTo>
                    <a:cubicBezTo>
                      <a:pt x="37" y="22"/>
                      <a:pt x="37" y="22"/>
                      <a:pt x="37" y="22"/>
                    </a:cubicBezTo>
                    <a:cubicBezTo>
                      <a:pt x="37" y="22"/>
                      <a:pt x="37" y="22"/>
                      <a:pt x="37" y="22"/>
                    </a:cubicBezTo>
                    <a:close/>
                    <a:moveTo>
                      <a:pt x="6" y="25"/>
                    </a:moveTo>
                    <a:cubicBezTo>
                      <a:pt x="6" y="25"/>
                      <a:pt x="6" y="25"/>
                      <a:pt x="6" y="25"/>
                    </a:cubicBezTo>
                    <a:cubicBezTo>
                      <a:pt x="6" y="24"/>
                      <a:pt x="6" y="24"/>
                      <a:pt x="6" y="25"/>
                    </a:cubicBezTo>
                    <a:cubicBezTo>
                      <a:pt x="6" y="25"/>
                      <a:pt x="6" y="25"/>
                      <a:pt x="6" y="25"/>
                    </a:cubicBezTo>
                    <a:close/>
                    <a:moveTo>
                      <a:pt x="37" y="27"/>
                    </a:moveTo>
                    <a:cubicBezTo>
                      <a:pt x="37" y="28"/>
                      <a:pt x="37" y="28"/>
                      <a:pt x="36" y="28"/>
                    </a:cubicBezTo>
                    <a:cubicBezTo>
                      <a:pt x="36" y="28"/>
                      <a:pt x="36" y="27"/>
                      <a:pt x="36" y="27"/>
                    </a:cubicBezTo>
                    <a:cubicBezTo>
                      <a:pt x="36" y="27"/>
                      <a:pt x="36" y="27"/>
                      <a:pt x="36" y="27"/>
                    </a:cubicBezTo>
                    <a:cubicBezTo>
                      <a:pt x="36" y="27"/>
                      <a:pt x="36" y="27"/>
                      <a:pt x="36" y="28"/>
                    </a:cubicBezTo>
                    <a:cubicBezTo>
                      <a:pt x="36" y="27"/>
                      <a:pt x="36" y="27"/>
                      <a:pt x="36" y="27"/>
                    </a:cubicBezTo>
                    <a:cubicBezTo>
                      <a:pt x="36" y="27"/>
                      <a:pt x="36" y="27"/>
                      <a:pt x="36" y="27"/>
                    </a:cubicBezTo>
                    <a:cubicBezTo>
                      <a:pt x="36" y="27"/>
                      <a:pt x="36" y="27"/>
                      <a:pt x="36" y="27"/>
                    </a:cubicBezTo>
                    <a:cubicBezTo>
                      <a:pt x="36" y="27"/>
                      <a:pt x="36" y="27"/>
                      <a:pt x="36" y="27"/>
                    </a:cubicBezTo>
                    <a:cubicBezTo>
                      <a:pt x="36" y="27"/>
                      <a:pt x="36" y="28"/>
                      <a:pt x="36" y="28"/>
                    </a:cubicBezTo>
                    <a:cubicBezTo>
                      <a:pt x="36" y="27"/>
                      <a:pt x="36" y="27"/>
                      <a:pt x="36" y="27"/>
                    </a:cubicBezTo>
                    <a:cubicBezTo>
                      <a:pt x="36" y="27"/>
                      <a:pt x="36" y="28"/>
                      <a:pt x="36" y="28"/>
                    </a:cubicBezTo>
                    <a:cubicBezTo>
                      <a:pt x="34" y="28"/>
                      <a:pt x="35" y="28"/>
                      <a:pt x="34" y="27"/>
                    </a:cubicBezTo>
                    <a:cubicBezTo>
                      <a:pt x="34" y="27"/>
                      <a:pt x="34" y="28"/>
                      <a:pt x="34" y="28"/>
                    </a:cubicBezTo>
                    <a:cubicBezTo>
                      <a:pt x="34" y="28"/>
                      <a:pt x="34" y="28"/>
                      <a:pt x="34" y="28"/>
                    </a:cubicBezTo>
                    <a:cubicBezTo>
                      <a:pt x="34" y="28"/>
                      <a:pt x="34" y="28"/>
                      <a:pt x="34" y="28"/>
                    </a:cubicBezTo>
                    <a:cubicBezTo>
                      <a:pt x="34" y="28"/>
                      <a:pt x="34" y="28"/>
                      <a:pt x="34" y="28"/>
                    </a:cubicBezTo>
                    <a:cubicBezTo>
                      <a:pt x="34" y="28"/>
                      <a:pt x="34" y="28"/>
                      <a:pt x="34" y="28"/>
                    </a:cubicBezTo>
                    <a:cubicBezTo>
                      <a:pt x="34" y="29"/>
                      <a:pt x="34" y="29"/>
                      <a:pt x="34" y="29"/>
                    </a:cubicBezTo>
                    <a:cubicBezTo>
                      <a:pt x="33" y="29"/>
                      <a:pt x="33" y="28"/>
                      <a:pt x="33" y="28"/>
                    </a:cubicBezTo>
                    <a:cubicBezTo>
                      <a:pt x="33" y="28"/>
                      <a:pt x="34" y="28"/>
                      <a:pt x="34" y="28"/>
                    </a:cubicBezTo>
                    <a:cubicBezTo>
                      <a:pt x="33" y="28"/>
                      <a:pt x="33" y="28"/>
                      <a:pt x="33" y="28"/>
                    </a:cubicBezTo>
                    <a:cubicBezTo>
                      <a:pt x="33" y="28"/>
                      <a:pt x="33" y="27"/>
                      <a:pt x="33" y="27"/>
                    </a:cubicBezTo>
                    <a:cubicBezTo>
                      <a:pt x="33" y="27"/>
                      <a:pt x="33" y="28"/>
                      <a:pt x="33" y="28"/>
                    </a:cubicBezTo>
                    <a:cubicBezTo>
                      <a:pt x="33" y="28"/>
                      <a:pt x="33" y="28"/>
                      <a:pt x="33" y="28"/>
                    </a:cubicBezTo>
                    <a:cubicBezTo>
                      <a:pt x="33" y="28"/>
                      <a:pt x="32" y="27"/>
                      <a:pt x="32" y="27"/>
                    </a:cubicBezTo>
                    <a:cubicBezTo>
                      <a:pt x="33" y="28"/>
                      <a:pt x="32" y="28"/>
                      <a:pt x="32" y="29"/>
                    </a:cubicBezTo>
                    <a:cubicBezTo>
                      <a:pt x="32" y="28"/>
                      <a:pt x="32" y="28"/>
                      <a:pt x="32" y="28"/>
                    </a:cubicBezTo>
                    <a:cubicBezTo>
                      <a:pt x="32" y="29"/>
                      <a:pt x="32" y="29"/>
                      <a:pt x="32" y="29"/>
                    </a:cubicBezTo>
                    <a:cubicBezTo>
                      <a:pt x="32" y="28"/>
                      <a:pt x="32" y="28"/>
                      <a:pt x="32" y="28"/>
                    </a:cubicBezTo>
                    <a:cubicBezTo>
                      <a:pt x="32" y="28"/>
                      <a:pt x="32" y="28"/>
                      <a:pt x="32" y="29"/>
                    </a:cubicBezTo>
                    <a:cubicBezTo>
                      <a:pt x="32" y="29"/>
                      <a:pt x="32" y="29"/>
                      <a:pt x="32" y="29"/>
                    </a:cubicBezTo>
                    <a:cubicBezTo>
                      <a:pt x="32" y="29"/>
                      <a:pt x="31" y="29"/>
                      <a:pt x="31" y="29"/>
                    </a:cubicBezTo>
                    <a:cubicBezTo>
                      <a:pt x="31" y="29"/>
                      <a:pt x="31" y="29"/>
                      <a:pt x="31" y="29"/>
                    </a:cubicBezTo>
                    <a:cubicBezTo>
                      <a:pt x="31" y="29"/>
                      <a:pt x="31" y="29"/>
                      <a:pt x="31" y="29"/>
                    </a:cubicBezTo>
                    <a:cubicBezTo>
                      <a:pt x="31" y="29"/>
                      <a:pt x="31" y="29"/>
                      <a:pt x="31" y="29"/>
                    </a:cubicBezTo>
                    <a:cubicBezTo>
                      <a:pt x="31" y="29"/>
                      <a:pt x="31" y="29"/>
                      <a:pt x="31" y="29"/>
                    </a:cubicBezTo>
                    <a:cubicBezTo>
                      <a:pt x="31" y="29"/>
                      <a:pt x="31" y="29"/>
                      <a:pt x="31" y="29"/>
                    </a:cubicBezTo>
                    <a:cubicBezTo>
                      <a:pt x="31" y="29"/>
                      <a:pt x="31" y="29"/>
                      <a:pt x="31" y="29"/>
                    </a:cubicBezTo>
                    <a:cubicBezTo>
                      <a:pt x="31" y="29"/>
                      <a:pt x="31" y="29"/>
                      <a:pt x="31" y="29"/>
                    </a:cubicBezTo>
                    <a:cubicBezTo>
                      <a:pt x="31" y="29"/>
                      <a:pt x="31" y="29"/>
                      <a:pt x="30" y="29"/>
                    </a:cubicBezTo>
                    <a:cubicBezTo>
                      <a:pt x="30" y="29"/>
                      <a:pt x="30" y="29"/>
                      <a:pt x="30" y="29"/>
                    </a:cubicBezTo>
                    <a:cubicBezTo>
                      <a:pt x="30" y="29"/>
                      <a:pt x="30" y="29"/>
                      <a:pt x="30" y="29"/>
                    </a:cubicBezTo>
                    <a:cubicBezTo>
                      <a:pt x="30" y="29"/>
                      <a:pt x="30" y="29"/>
                      <a:pt x="30" y="29"/>
                    </a:cubicBezTo>
                    <a:cubicBezTo>
                      <a:pt x="30" y="29"/>
                      <a:pt x="30" y="29"/>
                      <a:pt x="30" y="30"/>
                    </a:cubicBezTo>
                    <a:cubicBezTo>
                      <a:pt x="30" y="30"/>
                      <a:pt x="30" y="30"/>
                      <a:pt x="30" y="30"/>
                    </a:cubicBezTo>
                    <a:cubicBezTo>
                      <a:pt x="30" y="30"/>
                      <a:pt x="30" y="30"/>
                      <a:pt x="30" y="30"/>
                    </a:cubicBezTo>
                    <a:cubicBezTo>
                      <a:pt x="30" y="30"/>
                      <a:pt x="30" y="30"/>
                      <a:pt x="30" y="30"/>
                    </a:cubicBezTo>
                    <a:cubicBezTo>
                      <a:pt x="30" y="30"/>
                      <a:pt x="30" y="30"/>
                      <a:pt x="30" y="30"/>
                    </a:cubicBezTo>
                    <a:cubicBezTo>
                      <a:pt x="30" y="30"/>
                      <a:pt x="30" y="30"/>
                      <a:pt x="30" y="30"/>
                    </a:cubicBezTo>
                    <a:cubicBezTo>
                      <a:pt x="30" y="30"/>
                      <a:pt x="30" y="30"/>
                      <a:pt x="30" y="30"/>
                    </a:cubicBezTo>
                    <a:cubicBezTo>
                      <a:pt x="30" y="30"/>
                      <a:pt x="30" y="30"/>
                      <a:pt x="30" y="30"/>
                    </a:cubicBezTo>
                    <a:cubicBezTo>
                      <a:pt x="30" y="30"/>
                      <a:pt x="30" y="30"/>
                      <a:pt x="30" y="30"/>
                    </a:cubicBezTo>
                    <a:cubicBezTo>
                      <a:pt x="29" y="30"/>
                      <a:pt x="29" y="30"/>
                      <a:pt x="29" y="30"/>
                    </a:cubicBezTo>
                    <a:cubicBezTo>
                      <a:pt x="29" y="30"/>
                      <a:pt x="29" y="30"/>
                      <a:pt x="29" y="29"/>
                    </a:cubicBezTo>
                    <a:cubicBezTo>
                      <a:pt x="29" y="30"/>
                      <a:pt x="29" y="30"/>
                      <a:pt x="28" y="30"/>
                    </a:cubicBezTo>
                    <a:cubicBezTo>
                      <a:pt x="28" y="30"/>
                      <a:pt x="28" y="30"/>
                      <a:pt x="29" y="30"/>
                    </a:cubicBezTo>
                    <a:cubicBezTo>
                      <a:pt x="28" y="30"/>
                      <a:pt x="28" y="30"/>
                      <a:pt x="28" y="30"/>
                    </a:cubicBezTo>
                    <a:cubicBezTo>
                      <a:pt x="28" y="30"/>
                      <a:pt x="28" y="30"/>
                      <a:pt x="28" y="30"/>
                    </a:cubicBezTo>
                    <a:cubicBezTo>
                      <a:pt x="28" y="30"/>
                      <a:pt x="28" y="30"/>
                      <a:pt x="28" y="30"/>
                    </a:cubicBezTo>
                    <a:cubicBezTo>
                      <a:pt x="28" y="30"/>
                      <a:pt x="28" y="30"/>
                      <a:pt x="28" y="30"/>
                    </a:cubicBezTo>
                    <a:cubicBezTo>
                      <a:pt x="28" y="30"/>
                      <a:pt x="28" y="30"/>
                      <a:pt x="28" y="30"/>
                    </a:cubicBezTo>
                    <a:cubicBezTo>
                      <a:pt x="27" y="30"/>
                      <a:pt x="27" y="30"/>
                      <a:pt x="27" y="30"/>
                    </a:cubicBezTo>
                    <a:cubicBezTo>
                      <a:pt x="27" y="30"/>
                      <a:pt x="27" y="30"/>
                      <a:pt x="27" y="30"/>
                    </a:cubicBezTo>
                    <a:cubicBezTo>
                      <a:pt x="27" y="30"/>
                      <a:pt x="27" y="30"/>
                      <a:pt x="27" y="30"/>
                    </a:cubicBezTo>
                    <a:cubicBezTo>
                      <a:pt x="27" y="30"/>
                      <a:pt x="27" y="30"/>
                      <a:pt x="27" y="30"/>
                    </a:cubicBezTo>
                    <a:cubicBezTo>
                      <a:pt x="27" y="30"/>
                      <a:pt x="27" y="30"/>
                      <a:pt x="27" y="30"/>
                    </a:cubicBezTo>
                    <a:cubicBezTo>
                      <a:pt x="27" y="30"/>
                      <a:pt x="27" y="30"/>
                      <a:pt x="27" y="30"/>
                    </a:cubicBezTo>
                    <a:cubicBezTo>
                      <a:pt x="27" y="30"/>
                      <a:pt x="27" y="30"/>
                      <a:pt x="27" y="30"/>
                    </a:cubicBezTo>
                    <a:cubicBezTo>
                      <a:pt x="27" y="30"/>
                      <a:pt x="27" y="30"/>
                      <a:pt x="27" y="30"/>
                    </a:cubicBezTo>
                    <a:cubicBezTo>
                      <a:pt x="27" y="30"/>
                      <a:pt x="27" y="30"/>
                      <a:pt x="27" y="30"/>
                    </a:cubicBezTo>
                    <a:cubicBezTo>
                      <a:pt x="27" y="30"/>
                      <a:pt x="27" y="29"/>
                      <a:pt x="27" y="29"/>
                    </a:cubicBezTo>
                    <a:cubicBezTo>
                      <a:pt x="27" y="29"/>
                      <a:pt x="27" y="29"/>
                      <a:pt x="26" y="30"/>
                    </a:cubicBezTo>
                    <a:cubicBezTo>
                      <a:pt x="26" y="29"/>
                      <a:pt x="26" y="29"/>
                      <a:pt x="26" y="29"/>
                    </a:cubicBezTo>
                    <a:cubicBezTo>
                      <a:pt x="26" y="29"/>
                      <a:pt x="26" y="29"/>
                      <a:pt x="26" y="30"/>
                    </a:cubicBezTo>
                    <a:cubicBezTo>
                      <a:pt x="26" y="29"/>
                      <a:pt x="26" y="29"/>
                      <a:pt x="26" y="29"/>
                    </a:cubicBezTo>
                    <a:cubicBezTo>
                      <a:pt x="26" y="29"/>
                      <a:pt x="25" y="29"/>
                      <a:pt x="25" y="29"/>
                    </a:cubicBezTo>
                    <a:cubicBezTo>
                      <a:pt x="25" y="29"/>
                      <a:pt x="25" y="29"/>
                      <a:pt x="25" y="29"/>
                    </a:cubicBezTo>
                    <a:cubicBezTo>
                      <a:pt x="25" y="29"/>
                      <a:pt x="25" y="29"/>
                      <a:pt x="25" y="29"/>
                    </a:cubicBezTo>
                    <a:cubicBezTo>
                      <a:pt x="25" y="29"/>
                      <a:pt x="25" y="29"/>
                      <a:pt x="25" y="29"/>
                    </a:cubicBezTo>
                    <a:cubicBezTo>
                      <a:pt x="25" y="29"/>
                      <a:pt x="25" y="29"/>
                      <a:pt x="25" y="29"/>
                    </a:cubicBezTo>
                    <a:cubicBezTo>
                      <a:pt x="25" y="29"/>
                      <a:pt x="25" y="30"/>
                      <a:pt x="25" y="30"/>
                    </a:cubicBezTo>
                    <a:cubicBezTo>
                      <a:pt x="25" y="30"/>
                      <a:pt x="25" y="30"/>
                      <a:pt x="25" y="30"/>
                    </a:cubicBezTo>
                    <a:cubicBezTo>
                      <a:pt x="25" y="30"/>
                      <a:pt x="25" y="30"/>
                      <a:pt x="25" y="30"/>
                    </a:cubicBezTo>
                    <a:cubicBezTo>
                      <a:pt x="25" y="30"/>
                      <a:pt x="25" y="30"/>
                      <a:pt x="25" y="30"/>
                    </a:cubicBezTo>
                    <a:cubicBezTo>
                      <a:pt x="25" y="30"/>
                      <a:pt x="25" y="30"/>
                      <a:pt x="25" y="30"/>
                    </a:cubicBezTo>
                    <a:cubicBezTo>
                      <a:pt x="25" y="30"/>
                      <a:pt x="25" y="30"/>
                      <a:pt x="25" y="30"/>
                    </a:cubicBezTo>
                    <a:cubicBezTo>
                      <a:pt x="25" y="30"/>
                      <a:pt x="25" y="30"/>
                      <a:pt x="24" y="30"/>
                    </a:cubicBezTo>
                    <a:cubicBezTo>
                      <a:pt x="24" y="30"/>
                      <a:pt x="24" y="30"/>
                      <a:pt x="25" y="30"/>
                    </a:cubicBezTo>
                    <a:cubicBezTo>
                      <a:pt x="24" y="30"/>
                      <a:pt x="24" y="30"/>
                      <a:pt x="24" y="30"/>
                    </a:cubicBezTo>
                    <a:cubicBezTo>
                      <a:pt x="24" y="30"/>
                      <a:pt x="24" y="30"/>
                      <a:pt x="24" y="31"/>
                    </a:cubicBezTo>
                    <a:cubicBezTo>
                      <a:pt x="24" y="31"/>
                      <a:pt x="24" y="31"/>
                      <a:pt x="24" y="31"/>
                    </a:cubicBezTo>
                    <a:cubicBezTo>
                      <a:pt x="24" y="31"/>
                      <a:pt x="24" y="31"/>
                      <a:pt x="24" y="31"/>
                    </a:cubicBezTo>
                    <a:cubicBezTo>
                      <a:pt x="24" y="31"/>
                      <a:pt x="24" y="31"/>
                      <a:pt x="24" y="31"/>
                    </a:cubicBezTo>
                    <a:cubicBezTo>
                      <a:pt x="24" y="30"/>
                      <a:pt x="24" y="30"/>
                      <a:pt x="24" y="30"/>
                    </a:cubicBezTo>
                    <a:cubicBezTo>
                      <a:pt x="24" y="30"/>
                      <a:pt x="24" y="30"/>
                      <a:pt x="24" y="30"/>
                    </a:cubicBezTo>
                    <a:cubicBezTo>
                      <a:pt x="24" y="30"/>
                      <a:pt x="24" y="30"/>
                      <a:pt x="24" y="30"/>
                    </a:cubicBezTo>
                    <a:cubicBezTo>
                      <a:pt x="24" y="30"/>
                      <a:pt x="24" y="30"/>
                      <a:pt x="24" y="30"/>
                    </a:cubicBezTo>
                    <a:cubicBezTo>
                      <a:pt x="24" y="30"/>
                      <a:pt x="23" y="30"/>
                      <a:pt x="23" y="30"/>
                    </a:cubicBezTo>
                    <a:cubicBezTo>
                      <a:pt x="23" y="30"/>
                      <a:pt x="23" y="30"/>
                      <a:pt x="23" y="30"/>
                    </a:cubicBezTo>
                    <a:cubicBezTo>
                      <a:pt x="23" y="30"/>
                      <a:pt x="23" y="30"/>
                      <a:pt x="23" y="30"/>
                    </a:cubicBezTo>
                    <a:cubicBezTo>
                      <a:pt x="23" y="30"/>
                      <a:pt x="23" y="30"/>
                      <a:pt x="23" y="30"/>
                    </a:cubicBezTo>
                    <a:cubicBezTo>
                      <a:pt x="23" y="30"/>
                      <a:pt x="23" y="30"/>
                      <a:pt x="23" y="30"/>
                    </a:cubicBezTo>
                    <a:cubicBezTo>
                      <a:pt x="23" y="30"/>
                      <a:pt x="23" y="30"/>
                      <a:pt x="23" y="30"/>
                    </a:cubicBezTo>
                    <a:cubicBezTo>
                      <a:pt x="23" y="30"/>
                      <a:pt x="23" y="30"/>
                      <a:pt x="23" y="30"/>
                    </a:cubicBezTo>
                    <a:cubicBezTo>
                      <a:pt x="23" y="30"/>
                      <a:pt x="23" y="30"/>
                      <a:pt x="24" y="30"/>
                    </a:cubicBezTo>
                    <a:cubicBezTo>
                      <a:pt x="24" y="29"/>
                      <a:pt x="24" y="29"/>
                      <a:pt x="24" y="29"/>
                    </a:cubicBezTo>
                    <a:cubicBezTo>
                      <a:pt x="24" y="29"/>
                      <a:pt x="24" y="29"/>
                      <a:pt x="24" y="29"/>
                    </a:cubicBezTo>
                    <a:cubicBezTo>
                      <a:pt x="24" y="29"/>
                      <a:pt x="24" y="29"/>
                      <a:pt x="24" y="29"/>
                    </a:cubicBezTo>
                    <a:cubicBezTo>
                      <a:pt x="24" y="29"/>
                      <a:pt x="24" y="29"/>
                      <a:pt x="24" y="29"/>
                    </a:cubicBezTo>
                    <a:cubicBezTo>
                      <a:pt x="24" y="29"/>
                      <a:pt x="24" y="29"/>
                      <a:pt x="25" y="29"/>
                    </a:cubicBezTo>
                    <a:cubicBezTo>
                      <a:pt x="25" y="29"/>
                      <a:pt x="25" y="29"/>
                      <a:pt x="25" y="29"/>
                    </a:cubicBezTo>
                    <a:cubicBezTo>
                      <a:pt x="25" y="29"/>
                      <a:pt x="25" y="29"/>
                      <a:pt x="25" y="29"/>
                    </a:cubicBezTo>
                    <a:cubicBezTo>
                      <a:pt x="25" y="29"/>
                      <a:pt x="25" y="29"/>
                      <a:pt x="25" y="29"/>
                    </a:cubicBezTo>
                    <a:cubicBezTo>
                      <a:pt x="25" y="29"/>
                      <a:pt x="25" y="29"/>
                      <a:pt x="25" y="28"/>
                    </a:cubicBezTo>
                    <a:cubicBezTo>
                      <a:pt x="25" y="29"/>
                      <a:pt x="26" y="29"/>
                      <a:pt x="26" y="29"/>
                    </a:cubicBezTo>
                    <a:cubicBezTo>
                      <a:pt x="26" y="29"/>
                      <a:pt x="26" y="29"/>
                      <a:pt x="26" y="29"/>
                    </a:cubicBezTo>
                    <a:cubicBezTo>
                      <a:pt x="26" y="29"/>
                      <a:pt x="26" y="29"/>
                      <a:pt x="26" y="29"/>
                    </a:cubicBezTo>
                    <a:cubicBezTo>
                      <a:pt x="26" y="29"/>
                      <a:pt x="26" y="29"/>
                      <a:pt x="26" y="29"/>
                    </a:cubicBezTo>
                    <a:cubicBezTo>
                      <a:pt x="26" y="29"/>
                      <a:pt x="26" y="28"/>
                      <a:pt x="25" y="28"/>
                    </a:cubicBezTo>
                    <a:cubicBezTo>
                      <a:pt x="26" y="28"/>
                      <a:pt x="26" y="28"/>
                      <a:pt x="26" y="28"/>
                    </a:cubicBezTo>
                    <a:cubicBezTo>
                      <a:pt x="26" y="28"/>
                      <a:pt x="25" y="28"/>
                      <a:pt x="25" y="28"/>
                    </a:cubicBezTo>
                    <a:cubicBezTo>
                      <a:pt x="25" y="28"/>
                      <a:pt x="25" y="28"/>
                      <a:pt x="25" y="28"/>
                    </a:cubicBezTo>
                    <a:cubicBezTo>
                      <a:pt x="25" y="28"/>
                      <a:pt x="25" y="28"/>
                      <a:pt x="25" y="28"/>
                    </a:cubicBezTo>
                    <a:cubicBezTo>
                      <a:pt x="25" y="28"/>
                      <a:pt x="25" y="28"/>
                      <a:pt x="25" y="28"/>
                    </a:cubicBezTo>
                    <a:cubicBezTo>
                      <a:pt x="26" y="28"/>
                      <a:pt x="26" y="28"/>
                      <a:pt x="27" y="29"/>
                    </a:cubicBezTo>
                    <a:cubicBezTo>
                      <a:pt x="27" y="28"/>
                      <a:pt x="27" y="28"/>
                      <a:pt x="26" y="28"/>
                    </a:cubicBezTo>
                    <a:cubicBezTo>
                      <a:pt x="27" y="28"/>
                      <a:pt x="27" y="28"/>
                      <a:pt x="27" y="28"/>
                    </a:cubicBezTo>
                    <a:cubicBezTo>
                      <a:pt x="27" y="28"/>
                      <a:pt x="27" y="28"/>
                      <a:pt x="27" y="28"/>
                    </a:cubicBezTo>
                    <a:cubicBezTo>
                      <a:pt x="27" y="28"/>
                      <a:pt x="27" y="28"/>
                      <a:pt x="27" y="28"/>
                    </a:cubicBezTo>
                    <a:cubicBezTo>
                      <a:pt x="27" y="28"/>
                      <a:pt x="27" y="28"/>
                      <a:pt x="27" y="28"/>
                    </a:cubicBezTo>
                    <a:cubicBezTo>
                      <a:pt x="27" y="28"/>
                      <a:pt x="27" y="28"/>
                      <a:pt x="27" y="28"/>
                    </a:cubicBezTo>
                    <a:cubicBezTo>
                      <a:pt x="27" y="28"/>
                      <a:pt x="27" y="28"/>
                      <a:pt x="27" y="28"/>
                    </a:cubicBezTo>
                    <a:cubicBezTo>
                      <a:pt x="27" y="28"/>
                      <a:pt x="27" y="28"/>
                      <a:pt x="27" y="28"/>
                    </a:cubicBezTo>
                    <a:cubicBezTo>
                      <a:pt x="27" y="28"/>
                      <a:pt x="27" y="27"/>
                      <a:pt x="26" y="27"/>
                    </a:cubicBezTo>
                    <a:cubicBezTo>
                      <a:pt x="27" y="28"/>
                      <a:pt x="27" y="28"/>
                      <a:pt x="27" y="28"/>
                    </a:cubicBezTo>
                    <a:cubicBezTo>
                      <a:pt x="27" y="28"/>
                      <a:pt x="27" y="28"/>
                      <a:pt x="27" y="28"/>
                    </a:cubicBezTo>
                    <a:cubicBezTo>
                      <a:pt x="27" y="28"/>
                      <a:pt x="28" y="28"/>
                      <a:pt x="29" y="29"/>
                    </a:cubicBezTo>
                    <a:cubicBezTo>
                      <a:pt x="29" y="28"/>
                      <a:pt x="29" y="28"/>
                      <a:pt x="29" y="28"/>
                    </a:cubicBezTo>
                    <a:cubicBezTo>
                      <a:pt x="28" y="28"/>
                      <a:pt x="28" y="28"/>
                      <a:pt x="28" y="28"/>
                    </a:cubicBezTo>
                    <a:cubicBezTo>
                      <a:pt x="28" y="28"/>
                      <a:pt x="28" y="28"/>
                      <a:pt x="28" y="28"/>
                    </a:cubicBezTo>
                    <a:cubicBezTo>
                      <a:pt x="28" y="28"/>
                      <a:pt x="28" y="28"/>
                      <a:pt x="28" y="28"/>
                    </a:cubicBezTo>
                    <a:cubicBezTo>
                      <a:pt x="29" y="28"/>
                      <a:pt x="29" y="28"/>
                      <a:pt x="29" y="28"/>
                    </a:cubicBezTo>
                    <a:cubicBezTo>
                      <a:pt x="29" y="28"/>
                      <a:pt x="29" y="28"/>
                      <a:pt x="29" y="28"/>
                    </a:cubicBezTo>
                    <a:cubicBezTo>
                      <a:pt x="29" y="28"/>
                      <a:pt x="29" y="28"/>
                      <a:pt x="30" y="28"/>
                    </a:cubicBezTo>
                    <a:cubicBezTo>
                      <a:pt x="29" y="28"/>
                      <a:pt x="29" y="28"/>
                      <a:pt x="29" y="28"/>
                    </a:cubicBezTo>
                    <a:cubicBezTo>
                      <a:pt x="29" y="28"/>
                      <a:pt x="29" y="28"/>
                      <a:pt x="29" y="28"/>
                    </a:cubicBezTo>
                    <a:cubicBezTo>
                      <a:pt x="29" y="28"/>
                      <a:pt x="30" y="28"/>
                      <a:pt x="30" y="28"/>
                    </a:cubicBezTo>
                    <a:cubicBezTo>
                      <a:pt x="30" y="28"/>
                      <a:pt x="30" y="28"/>
                      <a:pt x="30" y="28"/>
                    </a:cubicBezTo>
                    <a:cubicBezTo>
                      <a:pt x="30" y="28"/>
                      <a:pt x="30" y="28"/>
                      <a:pt x="29" y="28"/>
                    </a:cubicBezTo>
                    <a:cubicBezTo>
                      <a:pt x="30" y="28"/>
                      <a:pt x="30" y="28"/>
                      <a:pt x="30" y="28"/>
                    </a:cubicBezTo>
                    <a:cubicBezTo>
                      <a:pt x="30" y="28"/>
                      <a:pt x="29" y="28"/>
                      <a:pt x="29" y="27"/>
                    </a:cubicBezTo>
                    <a:cubicBezTo>
                      <a:pt x="29" y="27"/>
                      <a:pt x="29" y="27"/>
                      <a:pt x="29" y="27"/>
                    </a:cubicBezTo>
                    <a:cubicBezTo>
                      <a:pt x="30" y="28"/>
                      <a:pt x="30" y="28"/>
                      <a:pt x="30" y="28"/>
                    </a:cubicBezTo>
                    <a:cubicBezTo>
                      <a:pt x="30" y="28"/>
                      <a:pt x="30" y="28"/>
                      <a:pt x="30" y="28"/>
                    </a:cubicBezTo>
                    <a:cubicBezTo>
                      <a:pt x="30" y="28"/>
                      <a:pt x="31" y="28"/>
                      <a:pt x="31" y="28"/>
                    </a:cubicBezTo>
                    <a:cubicBezTo>
                      <a:pt x="30" y="28"/>
                      <a:pt x="30" y="28"/>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7"/>
                    </a:cubicBezTo>
                    <a:cubicBezTo>
                      <a:pt x="30" y="27"/>
                      <a:pt x="30" y="27"/>
                      <a:pt x="30" y="28"/>
                    </a:cubicBezTo>
                    <a:cubicBezTo>
                      <a:pt x="30" y="27"/>
                      <a:pt x="30" y="27"/>
                      <a:pt x="30" y="27"/>
                    </a:cubicBezTo>
                    <a:cubicBezTo>
                      <a:pt x="30" y="27"/>
                      <a:pt x="31" y="28"/>
                      <a:pt x="31" y="28"/>
                    </a:cubicBezTo>
                    <a:cubicBezTo>
                      <a:pt x="31" y="27"/>
                      <a:pt x="30" y="27"/>
                      <a:pt x="30" y="27"/>
                    </a:cubicBezTo>
                    <a:cubicBezTo>
                      <a:pt x="30" y="27"/>
                      <a:pt x="32" y="28"/>
                      <a:pt x="32" y="28"/>
                    </a:cubicBezTo>
                    <a:cubicBezTo>
                      <a:pt x="32" y="28"/>
                      <a:pt x="32" y="28"/>
                      <a:pt x="32" y="28"/>
                    </a:cubicBezTo>
                    <a:cubicBezTo>
                      <a:pt x="32" y="28"/>
                      <a:pt x="32" y="28"/>
                      <a:pt x="31" y="27"/>
                    </a:cubicBezTo>
                    <a:cubicBezTo>
                      <a:pt x="32" y="27"/>
                      <a:pt x="32" y="27"/>
                      <a:pt x="32" y="27"/>
                    </a:cubicBezTo>
                    <a:cubicBezTo>
                      <a:pt x="31" y="27"/>
                      <a:pt x="31" y="27"/>
                      <a:pt x="32" y="27"/>
                    </a:cubicBezTo>
                    <a:cubicBezTo>
                      <a:pt x="32" y="26"/>
                      <a:pt x="33" y="27"/>
                      <a:pt x="33" y="27"/>
                    </a:cubicBezTo>
                    <a:cubicBezTo>
                      <a:pt x="33" y="27"/>
                      <a:pt x="33" y="27"/>
                      <a:pt x="32" y="27"/>
                    </a:cubicBezTo>
                    <a:cubicBezTo>
                      <a:pt x="32" y="27"/>
                      <a:pt x="32" y="27"/>
                      <a:pt x="33" y="26"/>
                    </a:cubicBezTo>
                    <a:cubicBezTo>
                      <a:pt x="33" y="27"/>
                      <a:pt x="33" y="27"/>
                      <a:pt x="33" y="27"/>
                    </a:cubicBezTo>
                    <a:cubicBezTo>
                      <a:pt x="33" y="27"/>
                      <a:pt x="33" y="27"/>
                      <a:pt x="33" y="27"/>
                    </a:cubicBezTo>
                    <a:cubicBezTo>
                      <a:pt x="34" y="27"/>
                      <a:pt x="34" y="27"/>
                      <a:pt x="34" y="27"/>
                    </a:cubicBezTo>
                    <a:cubicBezTo>
                      <a:pt x="34" y="27"/>
                      <a:pt x="34" y="27"/>
                      <a:pt x="34" y="27"/>
                    </a:cubicBezTo>
                    <a:cubicBezTo>
                      <a:pt x="34" y="27"/>
                      <a:pt x="34" y="27"/>
                      <a:pt x="34" y="27"/>
                    </a:cubicBezTo>
                    <a:cubicBezTo>
                      <a:pt x="34" y="27"/>
                      <a:pt x="34" y="27"/>
                      <a:pt x="35" y="27"/>
                    </a:cubicBezTo>
                    <a:cubicBezTo>
                      <a:pt x="34" y="27"/>
                      <a:pt x="34" y="27"/>
                      <a:pt x="34" y="27"/>
                    </a:cubicBezTo>
                    <a:cubicBezTo>
                      <a:pt x="35" y="27"/>
                      <a:pt x="35" y="27"/>
                      <a:pt x="35" y="27"/>
                    </a:cubicBezTo>
                    <a:cubicBezTo>
                      <a:pt x="35" y="27"/>
                      <a:pt x="35" y="27"/>
                      <a:pt x="34" y="27"/>
                    </a:cubicBezTo>
                    <a:cubicBezTo>
                      <a:pt x="34" y="27"/>
                      <a:pt x="35" y="27"/>
                      <a:pt x="35" y="27"/>
                    </a:cubicBezTo>
                    <a:cubicBezTo>
                      <a:pt x="34" y="27"/>
                      <a:pt x="34" y="26"/>
                      <a:pt x="34" y="26"/>
                    </a:cubicBezTo>
                    <a:cubicBezTo>
                      <a:pt x="34" y="26"/>
                      <a:pt x="35" y="27"/>
                      <a:pt x="35" y="27"/>
                    </a:cubicBezTo>
                    <a:cubicBezTo>
                      <a:pt x="35" y="27"/>
                      <a:pt x="35" y="27"/>
                      <a:pt x="35" y="27"/>
                    </a:cubicBezTo>
                    <a:cubicBezTo>
                      <a:pt x="35" y="27"/>
                      <a:pt x="35" y="27"/>
                      <a:pt x="36" y="27"/>
                    </a:cubicBezTo>
                    <a:cubicBezTo>
                      <a:pt x="35" y="27"/>
                      <a:pt x="35" y="27"/>
                      <a:pt x="35" y="26"/>
                    </a:cubicBezTo>
                    <a:cubicBezTo>
                      <a:pt x="35" y="26"/>
                      <a:pt x="35" y="26"/>
                      <a:pt x="35" y="26"/>
                    </a:cubicBezTo>
                    <a:cubicBezTo>
                      <a:pt x="35" y="26"/>
                      <a:pt x="35" y="26"/>
                      <a:pt x="34" y="26"/>
                    </a:cubicBezTo>
                    <a:cubicBezTo>
                      <a:pt x="34" y="26"/>
                      <a:pt x="34" y="26"/>
                      <a:pt x="34" y="26"/>
                    </a:cubicBezTo>
                    <a:cubicBezTo>
                      <a:pt x="35" y="26"/>
                      <a:pt x="36" y="26"/>
                      <a:pt x="36" y="26"/>
                    </a:cubicBezTo>
                    <a:cubicBezTo>
                      <a:pt x="36" y="26"/>
                      <a:pt x="36" y="26"/>
                      <a:pt x="36" y="26"/>
                    </a:cubicBezTo>
                    <a:cubicBezTo>
                      <a:pt x="36" y="26"/>
                      <a:pt x="36" y="26"/>
                      <a:pt x="36" y="26"/>
                    </a:cubicBezTo>
                    <a:cubicBezTo>
                      <a:pt x="37" y="26"/>
                      <a:pt x="37" y="26"/>
                      <a:pt x="37" y="26"/>
                    </a:cubicBezTo>
                    <a:cubicBezTo>
                      <a:pt x="37" y="26"/>
                      <a:pt x="37" y="26"/>
                      <a:pt x="37" y="26"/>
                    </a:cubicBezTo>
                    <a:cubicBezTo>
                      <a:pt x="37" y="26"/>
                      <a:pt x="37" y="26"/>
                      <a:pt x="37" y="26"/>
                    </a:cubicBezTo>
                    <a:cubicBezTo>
                      <a:pt x="37" y="26"/>
                      <a:pt x="37" y="26"/>
                      <a:pt x="37" y="26"/>
                    </a:cubicBezTo>
                    <a:cubicBezTo>
                      <a:pt x="37" y="26"/>
                      <a:pt x="37" y="26"/>
                      <a:pt x="37" y="26"/>
                    </a:cubicBezTo>
                    <a:cubicBezTo>
                      <a:pt x="37" y="26"/>
                      <a:pt x="37" y="26"/>
                      <a:pt x="37" y="26"/>
                    </a:cubicBezTo>
                    <a:cubicBezTo>
                      <a:pt x="37" y="26"/>
                      <a:pt x="37" y="27"/>
                      <a:pt x="37" y="27"/>
                    </a:cubicBezTo>
                    <a:cubicBezTo>
                      <a:pt x="37" y="27"/>
                      <a:pt x="37" y="27"/>
                      <a:pt x="37" y="26"/>
                    </a:cubicBezTo>
                    <a:cubicBezTo>
                      <a:pt x="37" y="27"/>
                      <a:pt x="37" y="27"/>
                      <a:pt x="37" y="27"/>
                    </a:cubicBezTo>
                    <a:cubicBezTo>
                      <a:pt x="37" y="27"/>
                      <a:pt x="37" y="27"/>
                      <a:pt x="37" y="27"/>
                    </a:cubicBezTo>
                    <a:cubicBezTo>
                      <a:pt x="37" y="27"/>
                      <a:pt x="37" y="27"/>
                      <a:pt x="37" y="27"/>
                    </a:cubicBezTo>
                    <a:close/>
                    <a:moveTo>
                      <a:pt x="8" y="26"/>
                    </a:moveTo>
                    <a:cubicBezTo>
                      <a:pt x="8" y="26"/>
                      <a:pt x="8" y="26"/>
                      <a:pt x="8" y="26"/>
                    </a:cubicBezTo>
                    <a:cubicBezTo>
                      <a:pt x="8" y="26"/>
                      <a:pt x="8" y="26"/>
                      <a:pt x="8" y="26"/>
                    </a:cubicBezTo>
                    <a:cubicBezTo>
                      <a:pt x="8" y="26"/>
                      <a:pt x="8" y="26"/>
                      <a:pt x="8" y="26"/>
                    </a:cubicBezTo>
                    <a:cubicBezTo>
                      <a:pt x="8" y="26"/>
                      <a:pt x="8" y="26"/>
                      <a:pt x="8" y="26"/>
                    </a:cubicBezTo>
                    <a:cubicBezTo>
                      <a:pt x="8" y="26"/>
                      <a:pt x="8" y="26"/>
                      <a:pt x="8" y="26"/>
                    </a:cubicBezTo>
                    <a:cubicBezTo>
                      <a:pt x="8" y="26"/>
                      <a:pt x="8" y="26"/>
                      <a:pt x="8" y="26"/>
                    </a:cubicBezTo>
                    <a:close/>
                    <a:moveTo>
                      <a:pt x="8" y="26"/>
                    </a:moveTo>
                    <a:cubicBezTo>
                      <a:pt x="8" y="26"/>
                      <a:pt x="8" y="26"/>
                      <a:pt x="8" y="26"/>
                    </a:cubicBezTo>
                    <a:cubicBezTo>
                      <a:pt x="8" y="26"/>
                      <a:pt x="8" y="26"/>
                      <a:pt x="8" y="26"/>
                    </a:cubicBezTo>
                    <a:cubicBezTo>
                      <a:pt x="8" y="26"/>
                      <a:pt x="8" y="26"/>
                      <a:pt x="8" y="26"/>
                    </a:cubicBezTo>
                    <a:cubicBezTo>
                      <a:pt x="8" y="26"/>
                      <a:pt x="8" y="26"/>
                      <a:pt x="8" y="26"/>
                    </a:cubicBezTo>
                    <a:close/>
                    <a:moveTo>
                      <a:pt x="9" y="26"/>
                    </a:moveTo>
                    <a:cubicBezTo>
                      <a:pt x="9" y="26"/>
                      <a:pt x="9" y="26"/>
                      <a:pt x="9" y="26"/>
                    </a:cubicBezTo>
                    <a:cubicBezTo>
                      <a:pt x="9" y="26"/>
                      <a:pt x="9" y="26"/>
                      <a:pt x="9" y="26"/>
                    </a:cubicBezTo>
                    <a:cubicBezTo>
                      <a:pt x="9" y="26"/>
                      <a:pt x="9" y="26"/>
                      <a:pt x="9" y="26"/>
                    </a:cubicBezTo>
                    <a:cubicBezTo>
                      <a:pt x="9" y="26"/>
                      <a:pt x="9" y="26"/>
                      <a:pt x="9" y="26"/>
                    </a:cubicBezTo>
                    <a:close/>
                    <a:moveTo>
                      <a:pt x="9" y="26"/>
                    </a:moveTo>
                    <a:cubicBezTo>
                      <a:pt x="9" y="26"/>
                      <a:pt x="9" y="26"/>
                      <a:pt x="9" y="26"/>
                    </a:cubicBezTo>
                    <a:cubicBezTo>
                      <a:pt x="9" y="26"/>
                      <a:pt x="9" y="26"/>
                      <a:pt x="9" y="26"/>
                    </a:cubicBezTo>
                    <a:cubicBezTo>
                      <a:pt x="9" y="26"/>
                      <a:pt x="9" y="26"/>
                      <a:pt x="9" y="26"/>
                    </a:cubicBezTo>
                    <a:cubicBezTo>
                      <a:pt x="9" y="26"/>
                      <a:pt x="9" y="26"/>
                      <a:pt x="9" y="26"/>
                    </a:cubicBezTo>
                    <a:close/>
                    <a:moveTo>
                      <a:pt x="38" y="26"/>
                    </a:moveTo>
                    <a:cubicBezTo>
                      <a:pt x="38" y="26"/>
                      <a:pt x="38" y="26"/>
                      <a:pt x="38" y="26"/>
                    </a:cubicBezTo>
                    <a:cubicBezTo>
                      <a:pt x="38" y="26"/>
                      <a:pt x="38" y="26"/>
                      <a:pt x="38" y="26"/>
                    </a:cubicBezTo>
                    <a:cubicBezTo>
                      <a:pt x="38" y="26"/>
                      <a:pt x="38" y="26"/>
                      <a:pt x="38" y="26"/>
                    </a:cubicBezTo>
                    <a:cubicBezTo>
                      <a:pt x="38" y="26"/>
                      <a:pt x="38" y="26"/>
                      <a:pt x="38" y="26"/>
                    </a:cubicBezTo>
                    <a:cubicBezTo>
                      <a:pt x="38" y="26"/>
                      <a:pt x="38" y="26"/>
                      <a:pt x="38" y="26"/>
                    </a:cubicBezTo>
                    <a:close/>
                    <a:moveTo>
                      <a:pt x="42" y="27"/>
                    </a:moveTo>
                    <a:cubicBezTo>
                      <a:pt x="42" y="28"/>
                      <a:pt x="42" y="27"/>
                      <a:pt x="42" y="27"/>
                    </a:cubicBezTo>
                    <a:cubicBezTo>
                      <a:pt x="42" y="27"/>
                      <a:pt x="42" y="27"/>
                      <a:pt x="42" y="27"/>
                    </a:cubicBezTo>
                    <a:cubicBezTo>
                      <a:pt x="42" y="27"/>
                      <a:pt x="42" y="27"/>
                      <a:pt x="42" y="27"/>
                    </a:cubicBezTo>
                    <a:cubicBezTo>
                      <a:pt x="42" y="27"/>
                      <a:pt x="42" y="27"/>
                      <a:pt x="42" y="27"/>
                    </a:cubicBezTo>
                    <a:close/>
                    <a:moveTo>
                      <a:pt x="4" y="28"/>
                    </a:moveTo>
                    <a:cubicBezTo>
                      <a:pt x="4" y="28"/>
                      <a:pt x="4" y="28"/>
                      <a:pt x="4" y="29"/>
                    </a:cubicBezTo>
                    <a:cubicBezTo>
                      <a:pt x="4" y="28"/>
                      <a:pt x="4" y="28"/>
                      <a:pt x="4" y="28"/>
                    </a:cubicBezTo>
                    <a:cubicBezTo>
                      <a:pt x="4" y="28"/>
                      <a:pt x="4" y="28"/>
                      <a:pt x="4" y="28"/>
                    </a:cubicBezTo>
                    <a:cubicBezTo>
                      <a:pt x="4" y="28"/>
                      <a:pt x="4" y="28"/>
                      <a:pt x="4" y="28"/>
                    </a:cubicBezTo>
                    <a:close/>
                    <a:moveTo>
                      <a:pt x="9" y="29"/>
                    </a:moveTo>
                    <a:cubicBezTo>
                      <a:pt x="9" y="29"/>
                      <a:pt x="8" y="29"/>
                      <a:pt x="8" y="29"/>
                    </a:cubicBezTo>
                    <a:cubicBezTo>
                      <a:pt x="8" y="29"/>
                      <a:pt x="9" y="29"/>
                      <a:pt x="9" y="29"/>
                    </a:cubicBezTo>
                    <a:cubicBezTo>
                      <a:pt x="9" y="29"/>
                      <a:pt x="8" y="29"/>
                      <a:pt x="8" y="29"/>
                    </a:cubicBezTo>
                    <a:cubicBezTo>
                      <a:pt x="8" y="29"/>
                      <a:pt x="8" y="29"/>
                      <a:pt x="8" y="29"/>
                    </a:cubicBezTo>
                    <a:cubicBezTo>
                      <a:pt x="9" y="29"/>
                      <a:pt x="9" y="29"/>
                      <a:pt x="9" y="29"/>
                    </a:cubicBezTo>
                    <a:cubicBezTo>
                      <a:pt x="9" y="29"/>
                      <a:pt x="9" y="29"/>
                      <a:pt x="9" y="29"/>
                    </a:cubicBezTo>
                    <a:cubicBezTo>
                      <a:pt x="9" y="30"/>
                      <a:pt x="9" y="30"/>
                      <a:pt x="9" y="30"/>
                    </a:cubicBezTo>
                    <a:cubicBezTo>
                      <a:pt x="9" y="30"/>
                      <a:pt x="9" y="30"/>
                      <a:pt x="9" y="30"/>
                    </a:cubicBezTo>
                    <a:cubicBezTo>
                      <a:pt x="9" y="30"/>
                      <a:pt x="9" y="30"/>
                      <a:pt x="9" y="30"/>
                    </a:cubicBezTo>
                    <a:cubicBezTo>
                      <a:pt x="9" y="30"/>
                      <a:pt x="9" y="30"/>
                      <a:pt x="9" y="30"/>
                    </a:cubicBezTo>
                    <a:cubicBezTo>
                      <a:pt x="9" y="30"/>
                      <a:pt x="9" y="30"/>
                      <a:pt x="9" y="30"/>
                    </a:cubicBezTo>
                    <a:cubicBezTo>
                      <a:pt x="9" y="30"/>
                      <a:pt x="9" y="30"/>
                      <a:pt x="9" y="30"/>
                    </a:cubicBezTo>
                    <a:cubicBezTo>
                      <a:pt x="9" y="30"/>
                      <a:pt x="9" y="30"/>
                      <a:pt x="9" y="29"/>
                    </a:cubicBezTo>
                    <a:cubicBezTo>
                      <a:pt x="9" y="30"/>
                      <a:pt x="9" y="30"/>
                      <a:pt x="9" y="30"/>
                    </a:cubicBezTo>
                    <a:cubicBezTo>
                      <a:pt x="9" y="30"/>
                      <a:pt x="9" y="30"/>
                      <a:pt x="9" y="30"/>
                    </a:cubicBezTo>
                    <a:cubicBezTo>
                      <a:pt x="9" y="30"/>
                      <a:pt x="10" y="30"/>
                      <a:pt x="10" y="30"/>
                    </a:cubicBezTo>
                    <a:cubicBezTo>
                      <a:pt x="10" y="30"/>
                      <a:pt x="10" y="30"/>
                      <a:pt x="10" y="30"/>
                    </a:cubicBezTo>
                    <a:cubicBezTo>
                      <a:pt x="10" y="30"/>
                      <a:pt x="10" y="30"/>
                      <a:pt x="10" y="30"/>
                    </a:cubicBezTo>
                    <a:cubicBezTo>
                      <a:pt x="10" y="30"/>
                      <a:pt x="10" y="30"/>
                      <a:pt x="10" y="29"/>
                    </a:cubicBezTo>
                    <a:cubicBezTo>
                      <a:pt x="10" y="29"/>
                      <a:pt x="10" y="30"/>
                      <a:pt x="10" y="30"/>
                    </a:cubicBezTo>
                    <a:cubicBezTo>
                      <a:pt x="10" y="30"/>
                      <a:pt x="10" y="29"/>
                      <a:pt x="10" y="29"/>
                    </a:cubicBezTo>
                    <a:cubicBezTo>
                      <a:pt x="10" y="29"/>
                      <a:pt x="10" y="29"/>
                      <a:pt x="10" y="29"/>
                    </a:cubicBezTo>
                    <a:cubicBezTo>
                      <a:pt x="10" y="29"/>
                      <a:pt x="10" y="29"/>
                      <a:pt x="11" y="29"/>
                    </a:cubicBezTo>
                    <a:cubicBezTo>
                      <a:pt x="10" y="29"/>
                      <a:pt x="10" y="29"/>
                      <a:pt x="10" y="29"/>
                    </a:cubicBezTo>
                    <a:cubicBezTo>
                      <a:pt x="10" y="29"/>
                      <a:pt x="9" y="29"/>
                      <a:pt x="9" y="29"/>
                    </a:cubicBezTo>
                    <a:cubicBezTo>
                      <a:pt x="9" y="29"/>
                      <a:pt x="10" y="29"/>
                      <a:pt x="10" y="29"/>
                    </a:cubicBezTo>
                    <a:cubicBezTo>
                      <a:pt x="10" y="29"/>
                      <a:pt x="10" y="29"/>
                      <a:pt x="10" y="29"/>
                    </a:cubicBezTo>
                    <a:cubicBezTo>
                      <a:pt x="10" y="29"/>
                      <a:pt x="9" y="29"/>
                      <a:pt x="9" y="29"/>
                    </a:cubicBezTo>
                    <a:cubicBezTo>
                      <a:pt x="9" y="29"/>
                      <a:pt x="9" y="29"/>
                      <a:pt x="9" y="29"/>
                    </a:cubicBezTo>
                    <a:cubicBezTo>
                      <a:pt x="9" y="29"/>
                      <a:pt x="9" y="29"/>
                      <a:pt x="9" y="29"/>
                    </a:cubicBezTo>
                    <a:close/>
                    <a:moveTo>
                      <a:pt x="8" y="29"/>
                    </a:moveTo>
                    <a:cubicBezTo>
                      <a:pt x="8" y="29"/>
                      <a:pt x="8" y="29"/>
                      <a:pt x="8" y="29"/>
                    </a:cubicBezTo>
                    <a:cubicBezTo>
                      <a:pt x="8" y="29"/>
                      <a:pt x="7" y="29"/>
                      <a:pt x="7" y="29"/>
                    </a:cubicBezTo>
                    <a:cubicBezTo>
                      <a:pt x="7" y="29"/>
                      <a:pt x="8" y="29"/>
                      <a:pt x="8" y="29"/>
                    </a:cubicBezTo>
                    <a:cubicBezTo>
                      <a:pt x="8" y="29"/>
                      <a:pt x="8" y="29"/>
                      <a:pt x="8" y="29"/>
                    </a:cubicBezTo>
                    <a:cubicBezTo>
                      <a:pt x="8" y="29"/>
                      <a:pt x="8" y="29"/>
                      <a:pt x="8" y="29"/>
                    </a:cubicBezTo>
                    <a:close/>
                    <a:moveTo>
                      <a:pt x="11" y="29"/>
                    </a:moveTo>
                    <a:cubicBezTo>
                      <a:pt x="11" y="29"/>
                      <a:pt x="11" y="29"/>
                      <a:pt x="11" y="29"/>
                    </a:cubicBezTo>
                    <a:cubicBezTo>
                      <a:pt x="11" y="29"/>
                      <a:pt x="11" y="29"/>
                      <a:pt x="11" y="29"/>
                    </a:cubicBezTo>
                    <a:cubicBezTo>
                      <a:pt x="11" y="29"/>
                      <a:pt x="11" y="29"/>
                      <a:pt x="11" y="29"/>
                    </a:cubicBezTo>
                    <a:cubicBezTo>
                      <a:pt x="11" y="29"/>
                      <a:pt x="11" y="29"/>
                      <a:pt x="11" y="29"/>
                    </a:cubicBezTo>
                    <a:close/>
                    <a:moveTo>
                      <a:pt x="11" y="30"/>
                    </a:moveTo>
                    <a:cubicBezTo>
                      <a:pt x="11" y="30"/>
                      <a:pt x="10" y="30"/>
                      <a:pt x="10" y="30"/>
                    </a:cubicBezTo>
                    <a:cubicBezTo>
                      <a:pt x="10" y="30"/>
                      <a:pt x="10" y="30"/>
                      <a:pt x="10" y="31"/>
                    </a:cubicBezTo>
                    <a:cubicBezTo>
                      <a:pt x="10" y="31"/>
                      <a:pt x="10" y="31"/>
                      <a:pt x="10" y="31"/>
                    </a:cubicBezTo>
                    <a:cubicBezTo>
                      <a:pt x="10" y="31"/>
                      <a:pt x="10" y="31"/>
                      <a:pt x="10" y="31"/>
                    </a:cubicBezTo>
                    <a:cubicBezTo>
                      <a:pt x="10" y="31"/>
                      <a:pt x="10" y="31"/>
                      <a:pt x="10" y="31"/>
                    </a:cubicBezTo>
                    <a:cubicBezTo>
                      <a:pt x="10" y="31"/>
                      <a:pt x="10" y="31"/>
                      <a:pt x="10" y="31"/>
                    </a:cubicBezTo>
                    <a:cubicBezTo>
                      <a:pt x="10" y="31"/>
                      <a:pt x="10" y="31"/>
                      <a:pt x="10" y="31"/>
                    </a:cubicBezTo>
                    <a:cubicBezTo>
                      <a:pt x="10" y="31"/>
                      <a:pt x="10" y="31"/>
                      <a:pt x="10" y="31"/>
                    </a:cubicBezTo>
                    <a:cubicBezTo>
                      <a:pt x="10" y="31"/>
                      <a:pt x="10" y="30"/>
                      <a:pt x="10" y="30"/>
                    </a:cubicBezTo>
                    <a:cubicBezTo>
                      <a:pt x="10" y="30"/>
                      <a:pt x="10" y="30"/>
                      <a:pt x="11" y="30"/>
                    </a:cubicBezTo>
                    <a:cubicBezTo>
                      <a:pt x="11" y="30"/>
                      <a:pt x="11" y="30"/>
                      <a:pt x="11" y="30"/>
                    </a:cubicBezTo>
                    <a:cubicBezTo>
                      <a:pt x="11" y="30"/>
                      <a:pt x="11" y="31"/>
                      <a:pt x="11" y="31"/>
                    </a:cubicBezTo>
                    <a:cubicBezTo>
                      <a:pt x="11" y="31"/>
                      <a:pt x="11" y="31"/>
                      <a:pt x="11" y="30"/>
                    </a:cubicBezTo>
                    <a:cubicBezTo>
                      <a:pt x="11" y="30"/>
                      <a:pt x="11" y="30"/>
                      <a:pt x="11" y="30"/>
                    </a:cubicBezTo>
                    <a:cubicBezTo>
                      <a:pt x="11" y="30"/>
                      <a:pt x="11" y="30"/>
                      <a:pt x="11" y="30"/>
                    </a:cubicBezTo>
                    <a:cubicBezTo>
                      <a:pt x="11" y="30"/>
                      <a:pt x="11" y="30"/>
                      <a:pt x="11" y="31"/>
                    </a:cubicBezTo>
                    <a:cubicBezTo>
                      <a:pt x="11" y="31"/>
                      <a:pt x="11" y="31"/>
                      <a:pt x="11" y="31"/>
                    </a:cubicBezTo>
                    <a:cubicBezTo>
                      <a:pt x="11" y="31"/>
                      <a:pt x="11" y="31"/>
                      <a:pt x="11" y="31"/>
                    </a:cubicBezTo>
                    <a:cubicBezTo>
                      <a:pt x="11" y="31"/>
                      <a:pt x="11" y="31"/>
                      <a:pt x="11" y="31"/>
                    </a:cubicBezTo>
                    <a:cubicBezTo>
                      <a:pt x="11" y="31"/>
                      <a:pt x="11" y="31"/>
                      <a:pt x="11" y="31"/>
                    </a:cubicBezTo>
                    <a:cubicBezTo>
                      <a:pt x="11" y="31"/>
                      <a:pt x="11" y="31"/>
                      <a:pt x="11" y="31"/>
                    </a:cubicBezTo>
                    <a:cubicBezTo>
                      <a:pt x="11" y="31"/>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ubicBezTo>
                      <a:pt x="11" y="30"/>
                      <a:pt x="11" y="30"/>
                      <a:pt x="11" y="30"/>
                    </a:cubicBezTo>
                    <a:close/>
                    <a:moveTo>
                      <a:pt x="5" y="30"/>
                    </a:moveTo>
                    <a:cubicBezTo>
                      <a:pt x="5" y="30"/>
                      <a:pt x="5" y="30"/>
                      <a:pt x="5" y="30"/>
                    </a:cubicBezTo>
                    <a:cubicBezTo>
                      <a:pt x="5" y="30"/>
                      <a:pt x="5" y="30"/>
                      <a:pt x="5" y="30"/>
                    </a:cubicBezTo>
                    <a:cubicBezTo>
                      <a:pt x="5" y="30"/>
                      <a:pt x="5" y="30"/>
                      <a:pt x="5" y="30"/>
                    </a:cubicBezTo>
                    <a:cubicBezTo>
                      <a:pt x="5" y="30"/>
                      <a:pt x="5" y="30"/>
                      <a:pt x="5" y="30"/>
                    </a:cubicBezTo>
                    <a:close/>
                    <a:moveTo>
                      <a:pt x="29" y="30"/>
                    </a:moveTo>
                    <a:cubicBezTo>
                      <a:pt x="29" y="30"/>
                      <a:pt x="28" y="31"/>
                      <a:pt x="28" y="31"/>
                    </a:cubicBezTo>
                    <a:cubicBezTo>
                      <a:pt x="29" y="31"/>
                      <a:pt x="29" y="31"/>
                      <a:pt x="29" y="30"/>
                    </a:cubicBezTo>
                    <a:cubicBezTo>
                      <a:pt x="29" y="30"/>
                      <a:pt x="29" y="30"/>
                      <a:pt x="29" y="30"/>
                    </a:cubicBezTo>
                    <a:close/>
                    <a:moveTo>
                      <a:pt x="10" y="30"/>
                    </a:moveTo>
                    <a:cubicBezTo>
                      <a:pt x="10" y="30"/>
                      <a:pt x="10" y="30"/>
                      <a:pt x="10" y="30"/>
                    </a:cubicBezTo>
                    <a:cubicBezTo>
                      <a:pt x="10" y="30"/>
                      <a:pt x="10" y="30"/>
                      <a:pt x="10" y="30"/>
                    </a:cubicBezTo>
                    <a:cubicBezTo>
                      <a:pt x="10" y="30"/>
                      <a:pt x="10" y="30"/>
                      <a:pt x="10" y="30"/>
                    </a:cubicBezTo>
                    <a:cubicBezTo>
                      <a:pt x="10" y="30"/>
                      <a:pt x="10" y="30"/>
                      <a:pt x="10" y="30"/>
                    </a:cubicBezTo>
                    <a:close/>
                    <a:moveTo>
                      <a:pt x="3" y="31"/>
                    </a:moveTo>
                    <a:cubicBezTo>
                      <a:pt x="3" y="31"/>
                      <a:pt x="3" y="31"/>
                      <a:pt x="3" y="31"/>
                    </a:cubicBezTo>
                    <a:cubicBezTo>
                      <a:pt x="3" y="31"/>
                      <a:pt x="3" y="31"/>
                      <a:pt x="3" y="31"/>
                    </a:cubicBezTo>
                    <a:cubicBezTo>
                      <a:pt x="3" y="31"/>
                      <a:pt x="3" y="31"/>
                      <a:pt x="3" y="31"/>
                    </a:cubicBezTo>
                    <a:cubicBezTo>
                      <a:pt x="3" y="31"/>
                      <a:pt x="3" y="31"/>
                      <a:pt x="3" y="31"/>
                    </a:cubicBezTo>
                    <a:close/>
                    <a:moveTo>
                      <a:pt x="3" y="31"/>
                    </a:moveTo>
                    <a:cubicBezTo>
                      <a:pt x="3" y="31"/>
                      <a:pt x="2" y="31"/>
                      <a:pt x="2" y="31"/>
                    </a:cubicBezTo>
                    <a:cubicBezTo>
                      <a:pt x="2" y="31"/>
                      <a:pt x="3" y="31"/>
                      <a:pt x="3" y="31"/>
                    </a:cubicBezTo>
                    <a:cubicBezTo>
                      <a:pt x="3" y="31"/>
                      <a:pt x="3" y="31"/>
                      <a:pt x="3" y="31"/>
                    </a:cubicBezTo>
                    <a:close/>
                    <a:moveTo>
                      <a:pt x="12" y="31"/>
                    </a:moveTo>
                    <a:cubicBezTo>
                      <a:pt x="12" y="31"/>
                      <a:pt x="12" y="31"/>
                      <a:pt x="12" y="31"/>
                    </a:cubicBezTo>
                    <a:cubicBezTo>
                      <a:pt x="12" y="31"/>
                      <a:pt x="12" y="31"/>
                      <a:pt x="12" y="31"/>
                    </a:cubicBezTo>
                    <a:cubicBezTo>
                      <a:pt x="12" y="31"/>
                      <a:pt x="12" y="31"/>
                      <a:pt x="12" y="31"/>
                    </a:cubicBezTo>
                    <a:cubicBezTo>
                      <a:pt x="12" y="31"/>
                      <a:pt x="12" y="31"/>
                      <a:pt x="12" y="31"/>
                    </a:cubicBezTo>
                    <a:cubicBezTo>
                      <a:pt x="12" y="31"/>
                      <a:pt x="12" y="31"/>
                      <a:pt x="12" y="31"/>
                    </a:cubicBezTo>
                    <a:cubicBezTo>
                      <a:pt x="12" y="31"/>
                      <a:pt x="12" y="31"/>
                      <a:pt x="12" y="32"/>
                    </a:cubicBezTo>
                    <a:cubicBezTo>
                      <a:pt x="12" y="32"/>
                      <a:pt x="12" y="32"/>
                      <a:pt x="12" y="32"/>
                    </a:cubicBezTo>
                    <a:cubicBezTo>
                      <a:pt x="12" y="32"/>
                      <a:pt x="12" y="31"/>
                      <a:pt x="11" y="31"/>
                    </a:cubicBezTo>
                    <a:cubicBezTo>
                      <a:pt x="12" y="31"/>
                      <a:pt x="12" y="31"/>
                      <a:pt x="12" y="31"/>
                    </a:cubicBezTo>
                    <a:cubicBezTo>
                      <a:pt x="11" y="31"/>
                      <a:pt x="11" y="31"/>
                      <a:pt x="11" y="31"/>
                    </a:cubicBezTo>
                    <a:cubicBezTo>
                      <a:pt x="12" y="31"/>
                      <a:pt x="12" y="31"/>
                      <a:pt x="12" y="31"/>
                    </a:cubicBezTo>
                    <a:cubicBezTo>
                      <a:pt x="12" y="31"/>
                      <a:pt x="12" y="31"/>
                      <a:pt x="12" y="31"/>
                    </a:cubicBezTo>
                    <a:cubicBezTo>
                      <a:pt x="12" y="31"/>
                      <a:pt x="12" y="31"/>
                      <a:pt x="12" y="31"/>
                    </a:cubicBezTo>
                    <a:close/>
                    <a:moveTo>
                      <a:pt x="12" y="31"/>
                    </a:moveTo>
                    <a:cubicBezTo>
                      <a:pt x="12" y="31"/>
                      <a:pt x="12" y="31"/>
                      <a:pt x="12" y="31"/>
                    </a:cubicBezTo>
                    <a:cubicBezTo>
                      <a:pt x="12" y="31"/>
                      <a:pt x="12" y="31"/>
                      <a:pt x="12" y="31"/>
                    </a:cubicBezTo>
                    <a:cubicBezTo>
                      <a:pt x="12" y="31"/>
                      <a:pt x="12" y="31"/>
                      <a:pt x="12" y="31"/>
                    </a:cubicBezTo>
                    <a:cubicBezTo>
                      <a:pt x="12" y="31"/>
                      <a:pt x="12" y="31"/>
                      <a:pt x="12" y="31"/>
                    </a:cubicBezTo>
                    <a:close/>
                    <a:moveTo>
                      <a:pt x="12" y="31"/>
                    </a:moveTo>
                    <a:cubicBezTo>
                      <a:pt x="12" y="31"/>
                      <a:pt x="12" y="31"/>
                      <a:pt x="12" y="31"/>
                    </a:cubicBezTo>
                    <a:cubicBezTo>
                      <a:pt x="12" y="31"/>
                      <a:pt x="12" y="31"/>
                      <a:pt x="12" y="31"/>
                    </a:cubicBezTo>
                    <a:cubicBezTo>
                      <a:pt x="12" y="31"/>
                      <a:pt x="12" y="31"/>
                      <a:pt x="12" y="31"/>
                    </a:cubicBezTo>
                    <a:cubicBezTo>
                      <a:pt x="12" y="31"/>
                      <a:pt x="12" y="31"/>
                      <a:pt x="12" y="31"/>
                    </a:cubicBezTo>
                    <a:cubicBezTo>
                      <a:pt x="12" y="31"/>
                      <a:pt x="12" y="31"/>
                      <a:pt x="12" y="31"/>
                    </a:cubicBezTo>
                    <a:close/>
                    <a:moveTo>
                      <a:pt x="12" y="31"/>
                    </a:moveTo>
                    <a:cubicBezTo>
                      <a:pt x="12" y="31"/>
                      <a:pt x="12" y="31"/>
                      <a:pt x="12" y="31"/>
                    </a:cubicBezTo>
                    <a:cubicBezTo>
                      <a:pt x="12" y="31"/>
                      <a:pt x="12" y="31"/>
                      <a:pt x="12" y="31"/>
                    </a:cubicBezTo>
                    <a:cubicBezTo>
                      <a:pt x="12" y="31"/>
                      <a:pt x="12" y="31"/>
                      <a:pt x="12" y="31"/>
                    </a:cubicBezTo>
                    <a:cubicBezTo>
                      <a:pt x="12" y="31"/>
                      <a:pt x="12" y="31"/>
                      <a:pt x="12" y="31"/>
                    </a:cubicBezTo>
                    <a:close/>
                    <a:moveTo>
                      <a:pt x="12" y="31"/>
                    </a:moveTo>
                    <a:cubicBezTo>
                      <a:pt x="12" y="31"/>
                      <a:pt x="12" y="31"/>
                      <a:pt x="12" y="31"/>
                    </a:cubicBezTo>
                    <a:cubicBezTo>
                      <a:pt x="12" y="31"/>
                      <a:pt x="12" y="31"/>
                      <a:pt x="12" y="31"/>
                    </a:cubicBezTo>
                    <a:cubicBezTo>
                      <a:pt x="12" y="31"/>
                      <a:pt x="12" y="31"/>
                      <a:pt x="12" y="31"/>
                    </a:cubicBezTo>
                    <a:cubicBezTo>
                      <a:pt x="12" y="31"/>
                      <a:pt x="12" y="31"/>
                      <a:pt x="12" y="31"/>
                    </a:cubicBezTo>
                    <a:close/>
                    <a:moveTo>
                      <a:pt x="11" y="31"/>
                    </a:moveTo>
                    <a:cubicBezTo>
                      <a:pt x="11" y="31"/>
                      <a:pt x="11" y="31"/>
                      <a:pt x="11" y="31"/>
                    </a:cubicBezTo>
                    <a:cubicBezTo>
                      <a:pt x="11" y="31"/>
                      <a:pt x="11" y="31"/>
                      <a:pt x="11" y="31"/>
                    </a:cubicBezTo>
                    <a:cubicBezTo>
                      <a:pt x="12" y="31"/>
                      <a:pt x="12" y="31"/>
                      <a:pt x="12" y="31"/>
                    </a:cubicBezTo>
                    <a:cubicBezTo>
                      <a:pt x="11" y="31"/>
                      <a:pt x="11" y="31"/>
                      <a:pt x="11" y="31"/>
                    </a:cubicBezTo>
                    <a:cubicBezTo>
                      <a:pt x="11" y="31"/>
                      <a:pt x="11" y="31"/>
                      <a:pt x="11" y="31"/>
                    </a:cubicBezTo>
                    <a:close/>
                    <a:moveTo>
                      <a:pt x="13" y="31"/>
                    </a:moveTo>
                    <a:cubicBezTo>
                      <a:pt x="13" y="31"/>
                      <a:pt x="13" y="31"/>
                      <a:pt x="13" y="31"/>
                    </a:cubicBezTo>
                    <a:cubicBezTo>
                      <a:pt x="13" y="31"/>
                      <a:pt x="13" y="31"/>
                      <a:pt x="13" y="31"/>
                    </a:cubicBezTo>
                    <a:cubicBezTo>
                      <a:pt x="13" y="31"/>
                      <a:pt x="13" y="31"/>
                      <a:pt x="13" y="31"/>
                    </a:cubicBezTo>
                    <a:cubicBezTo>
                      <a:pt x="13" y="31"/>
                      <a:pt x="13" y="31"/>
                      <a:pt x="13" y="31"/>
                    </a:cubicBezTo>
                    <a:close/>
                    <a:moveTo>
                      <a:pt x="12" y="31"/>
                    </a:moveTo>
                    <a:cubicBezTo>
                      <a:pt x="13" y="31"/>
                      <a:pt x="13" y="31"/>
                      <a:pt x="13" y="31"/>
                    </a:cubicBezTo>
                    <a:cubicBezTo>
                      <a:pt x="13" y="31"/>
                      <a:pt x="13" y="31"/>
                      <a:pt x="13" y="31"/>
                    </a:cubicBezTo>
                    <a:cubicBezTo>
                      <a:pt x="13" y="31"/>
                      <a:pt x="13" y="31"/>
                      <a:pt x="12" y="31"/>
                    </a:cubicBezTo>
                    <a:cubicBezTo>
                      <a:pt x="12" y="31"/>
                      <a:pt x="12" y="31"/>
                      <a:pt x="12" y="31"/>
                    </a:cubicBezTo>
                    <a:close/>
                    <a:moveTo>
                      <a:pt x="5" y="31"/>
                    </a:moveTo>
                    <a:cubicBezTo>
                      <a:pt x="5" y="31"/>
                      <a:pt x="5" y="31"/>
                      <a:pt x="5" y="31"/>
                    </a:cubicBezTo>
                    <a:cubicBezTo>
                      <a:pt x="5" y="31"/>
                      <a:pt x="5" y="31"/>
                      <a:pt x="5" y="31"/>
                    </a:cubicBezTo>
                    <a:cubicBezTo>
                      <a:pt x="5" y="31"/>
                      <a:pt x="5" y="31"/>
                      <a:pt x="5" y="31"/>
                    </a:cubicBezTo>
                    <a:close/>
                    <a:moveTo>
                      <a:pt x="13" y="31"/>
                    </a:moveTo>
                    <a:cubicBezTo>
                      <a:pt x="13" y="31"/>
                      <a:pt x="13" y="31"/>
                      <a:pt x="13" y="31"/>
                    </a:cubicBezTo>
                    <a:cubicBezTo>
                      <a:pt x="13" y="31"/>
                      <a:pt x="13" y="31"/>
                      <a:pt x="13" y="31"/>
                    </a:cubicBezTo>
                    <a:cubicBezTo>
                      <a:pt x="13" y="31"/>
                      <a:pt x="13" y="31"/>
                      <a:pt x="13" y="31"/>
                    </a:cubicBezTo>
                    <a:cubicBezTo>
                      <a:pt x="13" y="31"/>
                      <a:pt x="13" y="31"/>
                      <a:pt x="13" y="31"/>
                    </a:cubicBezTo>
                    <a:cubicBezTo>
                      <a:pt x="13" y="31"/>
                      <a:pt x="13" y="31"/>
                      <a:pt x="13" y="31"/>
                    </a:cubicBezTo>
                    <a:cubicBezTo>
                      <a:pt x="13" y="31"/>
                      <a:pt x="13" y="31"/>
                      <a:pt x="13" y="31"/>
                    </a:cubicBezTo>
                    <a:close/>
                    <a:moveTo>
                      <a:pt x="13" y="31"/>
                    </a:moveTo>
                    <a:cubicBezTo>
                      <a:pt x="13" y="31"/>
                      <a:pt x="13" y="31"/>
                      <a:pt x="13" y="31"/>
                    </a:cubicBezTo>
                    <a:cubicBezTo>
                      <a:pt x="13" y="31"/>
                      <a:pt x="13" y="31"/>
                      <a:pt x="13" y="31"/>
                    </a:cubicBezTo>
                    <a:close/>
                    <a:moveTo>
                      <a:pt x="42" y="32"/>
                    </a:moveTo>
                    <a:cubicBezTo>
                      <a:pt x="42" y="32"/>
                      <a:pt x="42" y="32"/>
                      <a:pt x="42" y="32"/>
                    </a:cubicBezTo>
                    <a:cubicBezTo>
                      <a:pt x="42" y="32"/>
                      <a:pt x="42" y="32"/>
                      <a:pt x="42" y="32"/>
                    </a:cubicBezTo>
                    <a:cubicBezTo>
                      <a:pt x="42" y="32"/>
                      <a:pt x="42" y="32"/>
                      <a:pt x="42" y="32"/>
                    </a:cubicBezTo>
                    <a:cubicBezTo>
                      <a:pt x="42" y="32"/>
                      <a:pt x="42" y="32"/>
                      <a:pt x="42" y="32"/>
                    </a:cubicBezTo>
                    <a:close/>
                    <a:moveTo>
                      <a:pt x="6" y="33"/>
                    </a:moveTo>
                    <a:cubicBezTo>
                      <a:pt x="6" y="33"/>
                      <a:pt x="6" y="33"/>
                      <a:pt x="6" y="33"/>
                    </a:cubicBezTo>
                    <a:cubicBezTo>
                      <a:pt x="6" y="33"/>
                      <a:pt x="6" y="33"/>
                      <a:pt x="6" y="33"/>
                    </a:cubicBezTo>
                    <a:cubicBezTo>
                      <a:pt x="6" y="33"/>
                      <a:pt x="6" y="33"/>
                      <a:pt x="6" y="33"/>
                    </a:cubicBezTo>
                    <a:cubicBezTo>
                      <a:pt x="6" y="33"/>
                      <a:pt x="6" y="33"/>
                      <a:pt x="6" y="33"/>
                    </a:cubicBezTo>
                    <a:close/>
                    <a:moveTo>
                      <a:pt x="8" y="33"/>
                    </a:moveTo>
                    <a:cubicBezTo>
                      <a:pt x="8" y="33"/>
                      <a:pt x="8" y="33"/>
                      <a:pt x="8" y="33"/>
                    </a:cubicBezTo>
                    <a:cubicBezTo>
                      <a:pt x="8" y="33"/>
                      <a:pt x="8" y="33"/>
                      <a:pt x="8" y="33"/>
                    </a:cubicBezTo>
                    <a:cubicBezTo>
                      <a:pt x="8" y="33"/>
                      <a:pt x="8" y="33"/>
                      <a:pt x="8" y="33"/>
                    </a:cubicBezTo>
                    <a:cubicBezTo>
                      <a:pt x="8" y="33"/>
                      <a:pt x="8" y="33"/>
                      <a:pt x="8" y="33"/>
                    </a:cubicBezTo>
                    <a:close/>
                    <a:moveTo>
                      <a:pt x="9" y="33"/>
                    </a:moveTo>
                    <a:cubicBezTo>
                      <a:pt x="9" y="33"/>
                      <a:pt x="9" y="33"/>
                      <a:pt x="9" y="33"/>
                    </a:cubicBezTo>
                    <a:cubicBezTo>
                      <a:pt x="9" y="33"/>
                      <a:pt x="9" y="33"/>
                      <a:pt x="9" y="33"/>
                    </a:cubicBezTo>
                    <a:cubicBezTo>
                      <a:pt x="9" y="33"/>
                      <a:pt x="9" y="33"/>
                      <a:pt x="9" y="33"/>
                    </a:cubicBezTo>
                    <a:cubicBezTo>
                      <a:pt x="9" y="33"/>
                      <a:pt x="9" y="33"/>
                      <a:pt x="9" y="33"/>
                    </a:cubicBezTo>
                    <a:close/>
                    <a:moveTo>
                      <a:pt x="2" y="34"/>
                    </a:moveTo>
                    <a:cubicBezTo>
                      <a:pt x="2" y="34"/>
                      <a:pt x="2" y="34"/>
                      <a:pt x="2" y="34"/>
                    </a:cubicBezTo>
                    <a:cubicBezTo>
                      <a:pt x="2" y="34"/>
                      <a:pt x="2" y="34"/>
                      <a:pt x="2" y="34"/>
                    </a:cubicBezTo>
                    <a:cubicBezTo>
                      <a:pt x="2" y="34"/>
                      <a:pt x="2" y="34"/>
                      <a:pt x="2" y="34"/>
                    </a:cubicBezTo>
                    <a:cubicBezTo>
                      <a:pt x="2" y="34"/>
                      <a:pt x="2" y="34"/>
                      <a:pt x="2" y="34"/>
                    </a:cubicBezTo>
                    <a:cubicBezTo>
                      <a:pt x="2" y="34"/>
                      <a:pt x="2" y="34"/>
                      <a:pt x="2" y="34"/>
                    </a:cubicBezTo>
                    <a:close/>
                    <a:moveTo>
                      <a:pt x="14" y="35"/>
                    </a:moveTo>
                    <a:cubicBezTo>
                      <a:pt x="14" y="35"/>
                      <a:pt x="14" y="35"/>
                      <a:pt x="14" y="35"/>
                    </a:cubicBezTo>
                    <a:cubicBezTo>
                      <a:pt x="14" y="35"/>
                      <a:pt x="14" y="35"/>
                      <a:pt x="14" y="35"/>
                    </a:cubicBezTo>
                    <a:cubicBezTo>
                      <a:pt x="14" y="35"/>
                      <a:pt x="14" y="35"/>
                      <a:pt x="14" y="35"/>
                    </a:cubicBezTo>
                    <a:cubicBezTo>
                      <a:pt x="14" y="35"/>
                      <a:pt x="14" y="35"/>
                      <a:pt x="14" y="35"/>
                    </a:cubicBezTo>
                    <a:close/>
                    <a:moveTo>
                      <a:pt x="14" y="35"/>
                    </a:moveTo>
                    <a:cubicBezTo>
                      <a:pt x="14" y="35"/>
                      <a:pt x="14" y="36"/>
                      <a:pt x="14" y="36"/>
                    </a:cubicBezTo>
                    <a:cubicBezTo>
                      <a:pt x="14" y="36"/>
                      <a:pt x="14" y="36"/>
                      <a:pt x="14" y="36"/>
                    </a:cubicBezTo>
                    <a:cubicBezTo>
                      <a:pt x="14" y="36"/>
                      <a:pt x="14" y="36"/>
                      <a:pt x="14" y="36"/>
                    </a:cubicBezTo>
                    <a:cubicBezTo>
                      <a:pt x="14" y="36"/>
                      <a:pt x="14" y="36"/>
                      <a:pt x="14" y="36"/>
                    </a:cubicBezTo>
                    <a:cubicBezTo>
                      <a:pt x="14" y="36"/>
                      <a:pt x="14" y="36"/>
                      <a:pt x="14" y="35"/>
                    </a:cubicBezTo>
                    <a:cubicBezTo>
                      <a:pt x="14" y="35"/>
                      <a:pt x="14" y="35"/>
                      <a:pt x="14" y="35"/>
                    </a:cubicBezTo>
                    <a:cubicBezTo>
                      <a:pt x="14" y="35"/>
                      <a:pt x="14" y="35"/>
                      <a:pt x="14" y="35"/>
                    </a:cubicBezTo>
                    <a:cubicBezTo>
                      <a:pt x="14" y="35"/>
                      <a:pt x="14" y="35"/>
                      <a:pt x="14" y="35"/>
                    </a:cubicBezTo>
                    <a:close/>
                    <a:moveTo>
                      <a:pt x="15" y="36"/>
                    </a:move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5" y="36"/>
                      <a:pt x="15" y="36"/>
                    </a:cubicBezTo>
                    <a:cubicBezTo>
                      <a:pt x="15" y="36"/>
                      <a:pt x="16" y="37"/>
                      <a:pt x="16" y="37"/>
                    </a:cubicBezTo>
                    <a:cubicBezTo>
                      <a:pt x="16" y="37"/>
                      <a:pt x="16" y="37"/>
                      <a:pt x="16" y="37"/>
                    </a:cubicBezTo>
                    <a:cubicBezTo>
                      <a:pt x="16" y="37"/>
                      <a:pt x="16" y="37"/>
                      <a:pt x="17" y="37"/>
                    </a:cubicBezTo>
                    <a:cubicBezTo>
                      <a:pt x="16" y="37"/>
                      <a:pt x="16" y="37"/>
                      <a:pt x="16" y="37"/>
                    </a:cubicBezTo>
                    <a:cubicBezTo>
                      <a:pt x="16" y="37"/>
                      <a:pt x="16" y="37"/>
                      <a:pt x="16" y="37"/>
                    </a:cubicBezTo>
                    <a:cubicBezTo>
                      <a:pt x="16" y="37"/>
                      <a:pt x="16" y="37"/>
                      <a:pt x="16" y="37"/>
                    </a:cubicBezTo>
                    <a:cubicBezTo>
                      <a:pt x="15" y="36"/>
                      <a:pt x="15" y="37"/>
                      <a:pt x="14" y="36"/>
                    </a:cubicBezTo>
                    <a:cubicBezTo>
                      <a:pt x="15" y="36"/>
                      <a:pt x="15" y="36"/>
                      <a:pt x="15" y="36"/>
                    </a:cubicBezTo>
                    <a:cubicBezTo>
                      <a:pt x="15" y="36"/>
                      <a:pt x="15" y="36"/>
                      <a:pt x="15" y="36"/>
                    </a:cubicBezTo>
                    <a:close/>
                    <a:moveTo>
                      <a:pt x="8" y="36"/>
                    </a:moveTo>
                    <a:cubicBezTo>
                      <a:pt x="9" y="36"/>
                      <a:pt x="9" y="36"/>
                      <a:pt x="8" y="36"/>
                    </a:cubicBezTo>
                    <a:cubicBezTo>
                      <a:pt x="8" y="36"/>
                      <a:pt x="8" y="36"/>
                      <a:pt x="8" y="36"/>
                    </a:cubicBezTo>
                    <a:close/>
                    <a:moveTo>
                      <a:pt x="13" y="36"/>
                    </a:moveTo>
                    <a:cubicBezTo>
                      <a:pt x="13" y="36"/>
                      <a:pt x="13" y="36"/>
                      <a:pt x="14" y="36"/>
                    </a:cubicBezTo>
                    <a:cubicBezTo>
                      <a:pt x="14" y="36"/>
                      <a:pt x="14" y="36"/>
                      <a:pt x="14" y="36"/>
                    </a:cubicBezTo>
                    <a:cubicBezTo>
                      <a:pt x="14" y="36"/>
                      <a:pt x="13" y="36"/>
                      <a:pt x="13" y="36"/>
                    </a:cubicBezTo>
                    <a:cubicBezTo>
                      <a:pt x="13" y="36"/>
                      <a:pt x="13" y="36"/>
                      <a:pt x="13" y="36"/>
                    </a:cubicBezTo>
                    <a:close/>
                    <a:moveTo>
                      <a:pt x="14" y="36"/>
                    </a:moveTo>
                    <a:cubicBezTo>
                      <a:pt x="14" y="36"/>
                      <a:pt x="14" y="36"/>
                      <a:pt x="14" y="36"/>
                    </a:cubicBezTo>
                    <a:cubicBezTo>
                      <a:pt x="14" y="36"/>
                      <a:pt x="14" y="36"/>
                      <a:pt x="14" y="36"/>
                    </a:cubicBezTo>
                    <a:cubicBezTo>
                      <a:pt x="15" y="36"/>
                      <a:pt x="15" y="37"/>
                      <a:pt x="16" y="37"/>
                    </a:cubicBezTo>
                    <a:cubicBezTo>
                      <a:pt x="15" y="37"/>
                      <a:pt x="14" y="36"/>
                      <a:pt x="14" y="36"/>
                    </a:cubicBezTo>
                    <a:cubicBezTo>
                      <a:pt x="14" y="36"/>
                      <a:pt x="14" y="36"/>
                      <a:pt x="14" y="36"/>
                    </a:cubicBezTo>
                    <a:close/>
                    <a:moveTo>
                      <a:pt x="14" y="36"/>
                    </a:moveTo>
                    <a:cubicBezTo>
                      <a:pt x="14" y="36"/>
                      <a:pt x="14" y="36"/>
                      <a:pt x="14" y="36"/>
                    </a:cubicBezTo>
                    <a:cubicBezTo>
                      <a:pt x="14" y="36"/>
                      <a:pt x="14" y="36"/>
                      <a:pt x="14" y="36"/>
                    </a:cubicBezTo>
                    <a:cubicBezTo>
                      <a:pt x="14" y="36"/>
                      <a:pt x="14" y="36"/>
                      <a:pt x="14" y="36"/>
                    </a:cubicBezTo>
                    <a:cubicBezTo>
                      <a:pt x="14" y="36"/>
                      <a:pt x="14" y="36"/>
                      <a:pt x="14" y="36"/>
                    </a:cubicBezTo>
                    <a:cubicBezTo>
                      <a:pt x="14" y="36"/>
                      <a:pt x="14" y="36"/>
                      <a:pt x="14" y="36"/>
                    </a:cubicBezTo>
                    <a:close/>
                    <a:moveTo>
                      <a:pt x="14" y="36"/>
                    </a:moveTo>
                    <a:cubicBezTo>
                      <a:pt x="14" y="37"/>
                      <a:pt x="14" y="37"/>
                      <a:pt x="14" y="37"/>
                    </a:cubicBezTo>
                    <a:cubicBezTo>
                      <a:pt x="14" y="37"/>
                      <a:pt x="14" y="36"/>
                      <a:pt x="14" y="36"/>
                    </a:cubicBezTo>
                    <a:cubicBezTo>
                      <a:pt x="14" y="36"/>
                      <a:pt x="14" y="36"/>
                      <a:pt x="14" y="36"/>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lose/>
                    <a:moveTo>
                      <a:pt x="42" y="37"/>
                    </a:moveTo>
                    <a:cubicBezTo>
                      <a:pt x="42" y="37"/>
                      <a:pt x="42" y="37"/>
                      <a:pt x="42" y="37"/>
                    </a:cubicBezTo>
                    <a:cubicBezTo>
                      <a:pt x="42" y="37"/>
                      <a:pt x="42" y="37"/>
                      <a:pt x="42" y="37"/>
                    </a:cubicBezTo>
                    <a:cubicBezTo>
                      <a:pt x="42" y="37"/>
                      <a:pt x="42" y="37"/>
                      <a:pt x="42" y="37"/>
                    </a:cubicBezTo>
                    <a:cubicBezTo>
                      <a:pt x="42" y="37"/>
                      <a:pt x="42" y="37"/>
                      <a:pt x="42" y="37"/>
                    </a:cubicBezTo>
                    <a:cubicBezTo>
                      <a:pt x="42" y="37"/>
                      <a:pt x="42" y="37"/>
                      <a:pt x="42" y="37"/>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lose/>
                    <a:moveTo>
                      <a:pt x="15" y="37"/>
                    </a:moveTo>
                    <a:cubicBezTo>
                      <a:pt x="15" y="37"/>
                      <a:pt x="15" y="37"/>
                      <a:pt x="15" y="37"/>
                    </a:cubicBezTo>
                    <a:cubicBezTo>
                      <a:pt x="15" y="37"/>
                      <a:pt x="15" y="37"/>
                      <a:pt x="15" y="37"/>
                    </a:cubicBezTo>
                    <a:cubicBezTo>
                      <a:pt x="15" y="37"/>
                      <a:pt x="15" y="37"/>
                      <a:pt x="15" y="37"/>
                    </a:cubicBezTo>
                    <a:cubicBezTo>
                      <a:pt x="15" y="37"/>
                      <a:pt x="15" y="37"/>
                      <a:pt x="15" y="37"/>
                    </a:cubicBezTo>
                    <a:close/>
                    <a:moveTo>
                      <a:pt x="15" y="37"/>
                    </a:moveTo>
                    <a:cubicBezTo>
                      <a:pt x="15" y="37"/>
                      <a:pt x="15" y="37"/>
                      <a:pt x="15" y="37"/>
                    </a:cubicBezTo>
                    <a:cubicBezTo>
                      <a:pt x="15" y="37"/>
                      <a:pt x="15" y="37"/>
                      <a:pt x="15" y="37"/>
                    </a:cubicBezTo>
                    <a:cubicBezTo>
                      <a:pt x="15" y="37"/>
                      <a:pt x="15" y="37"/>
                      <a:pt x="15" y="37"/>
                    </a:cubicBezTo>
                    <a:cubicBezTo>
                      <a:pt x="15" y="37"/>
                      <a:pt x="15" y="37"/>
                      <a:pt x="15" y="37"/>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ubicBezTo>
                      <a:pt x="17" y="37"/>
                      <a:pt x="17" y="37"/>
                      <a:pt x="17" y="37"/>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lose/>
                    <a:moveTo>
                      <a:pt x="17" y="37"/>
                    </a:moveTo>
                    <a:cubicBezTo>
                      <a:pt x="17" y="37"/>
                      <a:pt x="17" y="37"/>
                      <a:pt x="17" y="37"/>
                    </a:cubicBezTo>
                    <a:cubicBezTo>
                      <a:pt x="17" y="37"/>
                      <a:pt x="17" y="37"/>
                      <a:pt x="17" y="37"/>
                    </a:cubicBezTo>
                    <a:cubicBezTo>
                      <a:pt x="17" y="37"/>
                      <a:pt x="17" y="37"/>
                      <a:pt x="17" y="37"/>
                    </a:cubicBezTo>
                    <a:cubicBezTo>
                      <a:pt x="17" y="37"/>
                      <a:pt x="17" y="37"/>
                      <a:pt x="17" y="37"/>
                    </a:cubicBezTo>
                    <a:close/>
                    <a:moveTo>
                      <a:pt x="10" y="39"/>
                    </a:moveTo>
                    <a:cubicBezTo>
                      <a:pt x="10" y="39"/>
                      <a:pt x="10" y="39"/>
                      <a:pt x="10" y="39"/>
                    </a:cubicBezTo>
                    <a:cubicBezTo>
                      <a:pt x="9" y="39"/>
                      <a:pt x="9" y="39"/>
                      <a:pt x="9" y="40"/>
                    </a:cubicBezTo>
                    <a:cubicBezTo>
                      <a:pt x="9" y="40"/>
                      <a:pt x="9" y="40"/>
                      <a:pt x="9" y="40"/>
                    </a:cubicBezTo>
                    <a:cubicBezTo>
                      <a:pt x="9" y="40"/>
                      <a:pt x="9" y="40"/>
                      <a:pt x="9" y="40"/>
                    </a:cubicBezTo>
                    <a:cubicBezTo>
                      <a:pt x="10" y="40"/>
                      <a:pt x="10" y="40"/>
                      <a:pt x="10" y="40"/>
                    </a:cubicBezTo>
                    <a:cubicBezTo>
                      <a:pt x="10" y="40"/>
                      <a:pt x="11" y="39"/>
                      <a:pt x="10" y="39"/>
                    </a:cubicBezTo>
                    <a:cubicBezTo>
                      <a:pt x="10" y="39"/>
                      <a:pt x="11" y="39"/>
                      <a:pt x="11" y="39"/>
                    </a:cubicBezTo>
                    <a:cubicBezTo>
                      <a:pt x="10" y="39"/>
                      <a:pt x="10" y="40"/>
                      <a:pt x="10" y="40"/>
                    </a:cubicBezTo>
                    <a:cubicBezTo>
                      <a:pt x="10" y="40"/>
                      <a:pt x="10" y="39"/>
                      <a:pt x="10" y="39"/>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0" y="39"/>
                    </a:cubicBezTo>
                    <a:close/>
                    <a:moveTo>
                      <a:pt x="40" y="40"/>
                    </a:moveTo>
                    <a:cubicBezTo>
                      <a:pt x="40" y="40"/>
                      <a:pt x="40" y="40"/>
                      <a:pt x="40" y="40"/>
                    </a:cubicBezTo>
                    <a:cubicBezTo>
                      <a:pt x="40" y="40"/>
                      <a:pt x="41" y="40"/>
                      <a:pt x="41" y="40"/>
                    </a:cubicBezTo>
                    <a:cubicBezTo>
                      <a:pt x="41" y="40"/>
                      <a:pt x="41" y="40"/>
                      <a:pt x="41" y="40"/>
                    </a:cubicBezTo>
                    <a:cubicBezTo>
                      <a:pt x="41" y="40"/>
                      <a:pt x="41" y="40"/>
                      <a:pt x="40" y="40"/>
                    </a:cubicBezTo>
                    <a:cubicBezTo>
                      <a:pt x="40" y="40"/>
                      <a:pt x="40" y="40"/>
                      <a:pt x="40" y="40"/>
                    </a:cubicBezTo>
                    <a:close/>
                    <a:moveTo>
                      <a:pt x="41" y="40"/>
                    </a:moveTo>
                    <a:cubicBezTo>
                      <a:pt x="40" y="40"/>
                      <a:pt x="40" y="40"/>
                      <a:pt x="40" y="40"/>
                    </a:cubicBezTo>
                    <a:cubicBezTo>
                      <a:pt x="40" y="40"/>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2"/>
                    </a:cubicBezTo>
                    <a:cubicBezTo>
                      <a:pt x="40" y="41"/>
                      <a:pt x="40" y="41"/>
                      <a:pt x="40" y="41"/>
                    </a:cubicBezTo>
                    <a:cubicBezTo>
                      <a:pt x="40" y="41"/>
                      <a:pt x="40" y="41"/>
                      <a:pt x="40" y="41"/>
                    </a:cubicBezTo>
                    <a:cubicBezTo>
                      <a:pt x="41" y="41"/>
                      <a:pt x="41" y="41"/>
                      <a:pt x="41" y="41"/>
                    </a:cubicBezTo>
                    <a:cubicBezTo>
                      <a:pt x="41" y="41"/>
                      <a:pt x="41" y="41"/>
                      <a:pt x="41" y="40"/>
                    </a:cubicBezTo>
                    <a:cubicBezTo>
                      <a:pt x="41" y="40"/>
                      <a:pt x="41" y="40"/>
                      <a:pt x="41" y="40"/>
                    </a:cubicBezTo>
                    <a:close/>
                    <a:moveTo>
                      <a:pt x="5" y="41"/>
                    </a:moveTo>
                    <a:cubicBezTo>
                      <a:pt x="5" y="41"/>
                      <a:pt x="5" y="41"/>
                      <a:pt x="5" y="41"/>
                    </a:cubicBezTo>
                    <a:cubicBezTo>
                      <a:pt x="5" y="41"/>
                      <a:pt x="5" y="41"/>
                      <a:pt x="5" y="41"/>
                    </a:cubicBezTo>
                    <a:cubicBezTo>
                      <a:pt x="5" y="41"/>
                      <a:pt x="5" y="41"/>
                      <a:pt x="5" y="41"/>
                    </a:cubicBezTo>
                    <a:cubicBezTo>
                      <a:pt x="5" y="41"/>
                      <a:pt x="5" y="41"/>
                      <a:pt x="5" y="41"/>
                    </a:cubicBezTo>
                    <a:cubicBezTo>
                      <a:pt x="5" y="41"/>
                      <a:pt x="5" y="41"/>
                      <a:pt x="5" y="41"/>
                    </a:cubicBezTo>
                    <a:cubicBezTo>
                      <a:pt x="5" y="41"/>
                      <a:pt x="5" y="41"/>
                      <a:pt x="6" y="41"/>
                    </a:cubicBezTo>
                    <a:cubicBezTo>
                      <a:pt x="6" y="41"/>
                      <a:pt x="6" y="41"/>
                      <a:pt x="6" y="41"/>
                    </a:cubicBezTo>
                    <a:cubicBezTo>
                      <a:pt x="6" y="41"/>
                      <a:pt x="6" y="41"/>
                      <a:pt x="6" y="41"/>
                    </a:cubicBezTo>
                    <a:cubicBezTo>
                      <a:pt x="6" y="41"/>
                      <a:pt x="5" y="41"/>
                      <a:pt x="5" y="41"/>
                    </a:cubicBezTo>
                    <a:cubicBezTo>
                      <a:pt x="5" y="41"/>
                      <a:pt x="5" y="41"/>
                      <a:pt x="5" y="41"/>
                    </a:cubicBezTo>
                    <a:close/>
                    <a:moveTo>
                      <a:pt x="40" y="41"/>
                    </a:moveTo>
                    <a:cubicBezTo>
                      <a:pt x="40" y="41"/>
                      <a:pt x="40" y="41"/>
                      <a:pt x="39" y="41"/>
                    </a:cubicBezTo>
                    <a:cubicBezTo>
                      <a:pt x="40" y="41"/>
                      <a:pt x="40" y="41"/>
                      <a:pt x="40" y="41"/>
                    </a:cubicBezTo>
                    <a:cubicBezTo>
                      <a:pt x="40" y="41"/>
                      <a:pt x="40" y="41"/>
                      <a:pt x="40" y="41"/>
                    </a:cubicBezTo>
                    <a:cubicBezTo>
                      <a:pt x="40" y="41"/>
                      <a:pt x="40" y="41"/>
                      <a:pt x="40" y="41"/>
                    </a:cubicBezTo>
                    <a:cubicBezTo>
                      <a:pt x="40" y="41"/>
                      <a:pt x="40" y="41"/>
                      <a:pt x="40" y="41"/>
                    </a:cubicBezTo>
                    <a:cubicBezTo>
                      <a:pt x="40" y="41"/>
                      <a:pt x="40" y="41"/>
                      <a:pt x="40" y="41"/>
                    </a:cubicBezTo>
                    <a:close/>
                    <a:moveTo>
                      <a:pt x="6" y="41"/>
                    </a:moveTo>
                    <a:cubicBezTo>
                      <a:pt x="6" y="41"/>
                      <a:pt x="6" y="41"/>
                      <a:pt x="6" y="41"/>
                    </a:cubicBezTo>
                    <a:cubicBezTo>
                      <a:pt x="5" y="41"/>
                      <a:pt x="4" y="41"/>
                      <a:pt x="4" y="42"/>
                    </a:cubicBezTo>
                    <a:cubicBezTo>
                      <a:pt x="4" y="42"/>
                      <a:pt x="4" y="42"/>
                      <a:pt x="4" y="42"/>
                    </a:cubicBezTo>
                    <a:cubicBezTo>
                      <a:pt x="4" y="42"/>
                      <a:pt x="4" y="42"/>
                      <a:pt x="4" y="42"/>
                    </a:cubicBezTo>
                    <a:cubicBezTo>
                      <a:pt x="4" y="42"/>
                      <a:pt x="4" y="42"/>
                      <a:pt x="4" y="42"/>
                    </a:cubicBezTo>
                    <a:cubicBezTo>
                      <a:pt x="4" y="42"/>
                      <a:pt x="4" y="42"/>
                      <a:pt x="4" y="42"/>
                    </a:cubicBezTo>
                    <a:cubicBezTo>
                      <a:pt x="5" y="42"/>
                      <a:pt x="5" y="42"/>
                      <a:pt x="6" y="43"/>
                    </a:cubicBezTo>
                    <a:cubicBezTo>
                      <a:pt x="6" y="43"/>
                      <a:pt x="6" y="43"/>
                      <a:pt x="6" y="42"/>
                    </a:cubicBezTo>
                    <a:cubicBezTo>
                      <a:pt x="6" y="43"/>
                      <a:pt x="6" y="43"/>
                      <a:pt x="6" y="43"/>
                    </a:cubicBezTo>
                    <a:cubicBezTo>
                      <a:pt x="6" y="42"/>
                      <a:pt x="6" y="42"/>
                      <a:pt x="6" y="42"/>
                    </a:cubicBezTo>
                    <a:cubicBezTo>
                      <a:pt x="6" y="42"/>
                      <a:pt x="6" y="42"/>
                      <a:pt x="5" y="42"/>
                    </a:cubicBezTo>
                    <a:cubicBezTo>
                      <a:pt x="6" y="42"/>
                      <a:pt x="6" y="42"/>
                      <a:pt x="7" y="41"/>
                    </a:cubicBezTo>
                    <a:cubicBezTo>
                      <a:pt x="6" y="41"/>
                      <a:pt x="6" y="41"/>
                      <a:pt x="5" y="41"/>
                    </a:cubicBezTo>
                    <a:cubicBezTo>
                      <a:pt x="5" y="41"/>
                      <a:pt x="6" y="41"/>
                      <a:pt x="6" y="41"/>
                    </a:cubicBezTo>
                    <a:cubicBezTo>
                      <a:pt x="6" y="41"/>
                      <a:pt x="6" y="41"/>
                      <a:pt x="6" y="41"/>
                    </a:cubicBezTo>
                    <a:close/>
                    <a:moveTo>
                      <a:pt x="40" y="41"/>
                    </a:moveTo>
                    <a:cubicBezTo>
                      <a:pt x="40" y="41"/>
                      <a:pt x="40" y="42"/>
                      <a:pt x="39" y="42"/>
                    </a:cubicBezTo>
                    <a:cubicBezTo>
                      <a:pt x="39" y="42"/>
                      <a:pt x="39" y="42"/>
                      <a:pt x="39" y="42"/>
                    </a:cubicBezTo>
                    <a:cubicBezTo>
                      <a:pt x="39" y="42"/>
                      <a:pt x="39" y="42"/>
                      <a:pt x="39" y="42"/>
                    </a:cubicBezTo>
                    <a:cubicBezTo>
                      <a:pt x="39" y="42"/>
                      <a:pt x="39" y="42"/>
                      <a:pt x="39" y="42"/>
                    </a:cubicBezTo>
                    <a:cubicBezTo>
                      <a:pt x="39" y="41"/>
                      <a:pt x="39" y="41"/>
                      <a:pt x="39" y="41"/>
                    </a:cubicBezTo>
                    <a:cubicBezTo>
                      <a:pt x="39" y="41"/>
                      <a:pt x="39" y="41"/>
                      <a:pt x="39" y="41"/>
                    </a:cubicBezTo>
                    <a:cubicBezTo>
                      <a:pt x="39" y="41"/>
                      <a:pt x="38" y="41"/>
                      <a:pt x="40" y="41"/>
                    </a:cubicBezTo>
                    <a:cubicBezTo>
                      <a:pt x="40" y="41"/>
                      <a:pt x="40" y="41"/>
                      <a:pt x="40" y="41"/>
                    </a:cubicBezTo>
                    <a:close/>
                    <a:moveTo>
                      <a:pt x="3" y="41"/>
                    </a:moveTo>
                    <a:cubicBezTo>
                      <a:pt x="3" y="41"/>
                      <a:pt x="4" y="41"/>
                      <a:pt x="4" y="41"/>
                    </a:cubicBezTo>
                    <a:cubicBezTo>
                      <a:pt x="4" y="41"/>
                      <a:pt x="4" y="41"/>
                      <a:pt x="3" y="41"/>
                    </a:cubicBezTo>
                    <a:cubicBezTo>
                      <a:pt x="4" y="41"/>
                      <a:pt x="4" y="41"/>
                      <a:pt x="4" y="41"/>
                    </a:cubicBezTo>
                    <a:cubicBezTo>
                      <a:pt x="4" y="41"/>
                      <a:pt x="4" y="41"/>
                      <a:pt x="4" y="41"/>
                    </a:cubicBezTo>
                    <a:cubicBezTo>
                      <a:pt x="4" y="41"/>
                      <a:pt x="4" y="41"/>
                      <a:pt x="4" y="41"/>
                    </a:cubicBezTo>
                    <a:cubicBezTo>
                      <a:pt x="4" y="41"/>
                      <a:pt x="4" y="41"/>
                      <a:pt x="4" y="42"/>
                    </a:cubicBezTo>
                    <a:cubicBezTo>
                      <a:pt x="3" y="41"/>
                      <a:pt x="3" y="41"/>
                      <a:pt x="3" y="41"/>
                    </a:cubicBezTo>
                    <a:cubicBezTo>
                      <a:pt x="3" y="41"/>
                      <a:pt x="3" y="41"/>
                      <a:pt x="3" y="41"/>
                    </a:cubicBezTo>
                    <a:cubicBezTo>
                      <a:pt x="3" y="41"/>
                      <a:pt x="3" y="41"/>
                      <a:pt x="3" y="41"/>
                    </a:cubicBezTo>
                    <a:close/>
                    <a:moveTo>
                      <a:pt x="4" y="42"/>
                    </a:moveTo>
                    <a:cubicBezTo>
                      <a:pt x="4" y="42"/>
                      <a:pt x="4" y="42"/>
                      <a:pt x="4" y="42"/>
                    </a:cubicBezTo>
                    <a:cubicBezTo>
                      <a:pt x="4" y="42"/>
                      <a:pt x="4" y="42"/>
                      <a:pt x="4" y="42"/>
                    </a:cubicBezTo>
                    <a:cubicBezTo>
                      <a:pt x="4" y="42"/>
                      <a:pt x="4" y="42"/>
                      <a:pt x="4" y="42"/>
                    </a:cubicBezTo>
                    <a:cubicBezTo>
                      <a:pt x="4" y="42"/>
                      <a:pt x="4" y="42"/>
                      <a:pt x="4" y="42"/>
                    </a:cubicBezTo>
                    <a:close/>
                    <a:moveTo>
                      <a:pt x="4" y="42"/>
                    </a:moveTo>
                    <a:cubicBezTo>
                      <a:pt x="5" y="41"/>
                      <a:pt x="5" y="41"/>
                      <a:pt x="5" y="41"/>
                    </a:cubicBezTo>
                    <a:cubicBezTo>
                      <a:pt x="5" y="41"/>
                      <a:pt x="5" y="41"/>
                      <a:pt x="4" y="42"/>
                    </a:cubicBezTo>
                    <a:cubicBezTo>
                      <a:pt x="4" y="42"/>
                      <a:pt x="4" y="42"/>
                      <a:pt x="4" y="42"/>
                    </a:cubicBezTo>
                    <a:cubicBezTo>
                      <a:pt x="4" y="42"/>
                      <a:pt x="4" y="42"/>
                      <a:pt x="4" y="42"/>
                    </a:cubicBezTo>
                    <a:cubicBezTo>
                      <a:pt x="4" y="42"/>
                      <a:pt x="4" y="42"/>
                      <a:pt x="4" y="42"/>
                    </a:cubicBezTo>
                    <a:close/>
                    <a:moveTo>
                      <a:pt x="40" y="42"/>
                    </a:moveTo>
                    <a:cubicBezTo>
                      <a:pt x="40" y="42"/>
                      <a:pt x="40" y="42"/>
                      <a:pt x="40" y="41"/>
                    </a:cubicBezTo>
                    <a:cubicBezTo>
                      <a:pt x="40" y="42"/>
                      <a:pt x="40" y="42"/>
                      <a:pt x="40" y="42"/>
                    </a:cubicBezTo>
                    <a:cubicBezTo>
                      <a:pt x="40" y="42"/>
                      <a:pt x="40" y="42"/>
                      <a:pt x="40" y="42"/>
                    </a:cubicBezTo>
                    <a:cubicBezTo>
                      <a:pt x="40" y="42"/>
                      <a:pt x="40" y="42"/>
                      <a:pt x="40" y="42"/>
                    </a:cubicBezTo>
                    <a:close/>
                    <a:moveTo>
                      <a:pt x="7" y="42"/>
                    </a:moveTo>
                    <a:cubicBezTo>
                      <a:pt x="6" y="42"/>
                      <a:pt x="6" y="42"/>
                      <a:pt x="6" y="42"/>
                    </a:cubicBezTo>
                    <a:cubicBezTo>
                      <a:pt x="6" y="42"/>
                      <a:pt x="6" y="42"/>
                      <a:pt x="7" y="42"/>
                    </a:cubicBezTo>
                    <a:cubicBezTo>
                      <a:pt x="7" y="42"/>
                      <a:pt x="7" y="42"/>
                      <a:pt x="7" y="42"/>
                    </a:cubicBezTo>
                    <a:close/>
                    <a:moveTo>
                      <a:pt x="7" y="42"/>
                    </a:moveTo>
                    <a:cubicBezTo>
                      <a:pt x="7" y="42"/>
                      <a:pt x="6" y="42"/>
                      <a:pt x="6" y="42"/>
                    </a:cubicBezTo>
                    <a:cubicBezTo>
                      <a:pt x="6" y="42"/>
                      <a:pt x="6" y="43"/>
                      <a:pt x="7" y="43"/>
                    </a:cubicBezTo>
                    <a:cubicBezTo>
                      <a:pt x="7" y="43"/>
                      <a:pt x="6" y="43"/>
                      <a:pt x="6" y="42"/>
                    </a:cubicBezTo>
                    <a:cubicBezTo>
                      <a:pt x="6" y="42"/>
                      <a:pt x="6" y="42"/>
                      <a:pt x="6" y="42"/>
                    </a:cubicBezTo>
                    <a:cubicBezTo>
                      <a:pt x="6" y="42"/>
                      <a:pt x="6" y="42"/>
                      <a:pt x="6" y="42"/>
                    </a:cubicBezTo>
                    <a:cubicBezTo>
                      <a:pt x="6" y="42"/>
                      <a:pt x="6" y="42"/>
                      <a:pt x="6" y="42"/>
                    </a:cubicBezTo>
                    <a:cubicBezTo>
                      <a:pt x="6" y="42"/>
                      <a:pt x="7" y="42"/>
                      <a:pt x="7" y="43"/>
                    </a:cubicBezTo>
                    <a:cubicBezTo>
                      <a:pt x="7" y="42"/>
                      <a:pt x="7" y="42"/>
                      <a:pt x="7" y="42"/>
                    </a:cubicBezTo>
                    <a:cubicBezTo>
                      <a:pt x="7" y="42"/>
                      <a:pt x="7" y="42"/>
                      <a:pt x="6" y="42"/>
                    </a:cubicBezTo>
                    <a:cubicBezTo>
                      <a:pt x="7" y="42"/>
                      <a:pt x="7" y="42"/>
                      <a:pt x="7" y="42"/>
                    </a:cubicBezTo>
                    <a:cubicBezTo>
                      <a:pt x="7" y="42"/>
                      <a:pt x="7" y="42"/>
                      <a:pt x="7" y="42"/>
                    </a:cubicBezTo>
                    <a:close/>
                    <a:moveTo>
                      <a:pt x="7" y="42"/>
                    </a:moveTo>
                    <a:cubicBezTo>
                      <a:pt x="8" y="42"/>
                      <a:pt x="8" y="42"/>
                      <a:pt x="7" y="43"/>
                    </a:cubicBezTo>
                    <a:cubicBezTo>
                      <a:pt x="7" y="43"/>
                      <a:pt x="7" y="43"/>
                      <a:pt x="7" y="43"/>
                    </a:cubicBezTo>
                    <a:cubicBezTo>
                      <a:pt x="7" y="43"/>
                      <a:pt x="7" y="43"/>
                      <a:pt x="7" y="43"/>
                    </a:cubicBezTo>
                    <a:cubicBezTo>
                      <a:pt x="7" y="43"/>
                      <a:pt x="7" y="43"/>
                      <a:pt x="8" y="43"/>
                    </a:cubicBezTo>
                    <a:cubicBezTo>
                      <a:pt x="8" y="43"/>
                      <a:pt x="8" y="43"/>
                      <a:pt x="8" y="43"/>
                    </a:cubicBezTo>
                    <a:cubicBezTo>
                      <a:pt x="8" y="43"/>
                      <a:pt x="7" y="43"/>
                      <a:pt x="7" y="43"/>
                    </a:cubicBezTo>
                    <a:cubicBezTo>
                      <a:pt x="7" y="43"/>
                      <a:pt x="8" y="43"/>
                      <a:pt x="8" y="43"/>
                    </a:cubicBezTo>
                    <a:cubicBezTo>
                      <a:pt x="8" y="43"/>
                      <a:pt x="8" y="43"/>
                      <a:pt x="8" y="44"/>
                    </a:cubicBezTo>
                    <a:cubicBezTo>
                      <a:pt x="8" y="44"/>
                      <a:pt x="8" y="44"/>
                      <a:pt x="8" y="44"/>
                    </a:cubicBezTo>
                    <a:cubicBezTo>
                      <a:pt x="8" y="44"/>
                      <a:pt x="8" y="44"/>
                      <a:pt x="8" y="44"/>
                    </a:cubicBezTo>
                    <a:cubicBezTo>
                      <a:pt x="8" y="44"/>
                      <a:pt x="8" y="44"/>
                      <a:pt x="8" y="44"/>
                    </a:cubicBezTo>
                    <a:cubicBezTo>
                      <a:pt x="8" y="44"/>
                      <a:pt x="8" y="44"/>
                      <a:pt x="8" y="44"/>
                    </a:cubicBezTo>
                    <a:cubicBezTo>
                      <a:pt x="8" y="43"/>
                      <a:pt x="7" y="43"/>
                      <a:pt x="7" y="43"/>
                    </a:cubicBezTo>
                    <a:cubicBezTo>
                      <a:pt x="7" y="42"/>
                      <a:pt x="7" y="42"/>
                      <a:pt x="7" y="42"/>
                    </a:cubicBezTo>
                    <a:cubicBezTo>
                      <a:pt x="7" y="42"/>
                      <a:pt x="7" y="43"/>
                      <a:pt x="7" y="43"/>
                    </a:cubicBezTo>
                    <a:cubicBezTo>
                      <a:pt x="7" y="43"/>
                      <a:pt x="7" y="42"/>
                      <a:pt x="7" y="42"/>
                    </a:cubicBezTo>
                    <a:cubicBezTo>
                      <a:pt x="7" y="42"/>
                      <a:pt x="7" y="42"/>
                      <a:pt x="7" y="42"/>
                    </a:cubicBezTo>
                    <a:close/>
                    <a:moveTo>
                      <a:pt x="7" y="43"/>
                    </a:moveTo>
                    <a:cubicBezTo>
                      <a:pt x="7" y="43"/>
                      <a:pt x="7" y="43"/>
                      <a:pt x="7" y="43"/>
                    </a:cubicBezTo>
                    <a:cubicBezTo>
                      <a:pt x="7" y="43"/>
                      <a:pt x="7" y="43"/>
                      <a:pt x="7" y="43"/>
                    </a:cubicBezTo>
                    <a:cubicBezTo>
                      <a:pt x="7" y="43"/>
                      <a:pt x="7" y="43"/>
                      <a:pt x="7" y="43"/>
                    </a:cubicBezTo>
                    <a:cubicBezTo>
                      <a:pt x="7" y="43"/>
                      <a:pt x="7" y="43"/>
                      <a:pt x="7" y="43"/>
                    </a:cubicBezTo>
                    <a:close/>
                    <a:moveTo>
                      <a:pt x="8" y="43"/>
                    </a:moveTo>
                    <a:cubicBezTo>
                      <a:pt x="8" y="43"/>
                      <a:pt x="8" y="43"/>
                      <a:pt x="8" y="43"/>
                    </a:cubicBezTo>
                    <a:cubicBezTo>
                      <a:pt x="8" y="43"/>
                      <a:pt x="8" y="43"/>
                      <a:pt x="8" y="43"/>
                    </a:cubicBezTo>
                    <a:cubicBezTo>
                      <a:pt x="8" y="43"/>
                      <a:pt x="8" y="43"/>
                      <a:pt x="8" y="43"/>
                    </a:cubicBezTo>
                    <a:cubicBezTo>
                      <a:pt x="8" y="43"/>
                      <a:pt x="8" y="43"/>
                      <a:pt x="8" y="43"/>
                    </a:cubicBezTo>
                    <a:close/>
                    <a:moveTo>
                      <a:pt x="38" y="45"/>
                    </a:moveTo>
                    <a:cubicBezTo>
                      <a:pt x="39" y="45"/>
                      <a:pt x="39" y="45"/>
                      <a:pt x="39" y="45"/>
                    </a:cubicBezTo>
                    <a:cubicBezTo>
                      <a:pt x="39" y="45"/>
                      <a:pt x="38" y="46"/>
                      <a:pt x="39" y="45"/>
                    </a:cubicBezTo>
                    <a:cubicBezTo>
                      <a:pt x="39" y="45"/>
                      <a:pt x="38" y="46"/>
                      <a:pt x="38" y="46"/>
                    </a:cubicBezTo>
                    <a:cubicBezTo>
                      <a:pt x="38" y="46"/>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ubicBezTo>
                      <a:pt x="38" y="45"/>
                      <a:pt x="38" y="45"/>
                      <a:pt x="38" y="45"/>
                    </a:cubicBezTo>
                    <a:close/>
                    <a:moveTo>
                      <a:pt x="9" y="45"/>
                    </a:moveTo>
                    <a:cubicBezTo>
                      <a:pt x="9" y="45"/>
                      <a:pt x="9" y="45"/>
                      <a:pt x="8" y="45"/>
                    </a:cubicBezTo>
                    <a:cubicBezTo>
                      <a:pt x="8" y="45"/>
                      <a:pt x="8" y="45"/>
                      <a:pt x="7" y="45"/>
                    </a:cubicBezTo>
                    <a:cubicBezTo>
                      <a:pt x="7" y="45"/>
                      <a:pt x="7" y="45"/>
                      <a:pt x="7" y="45"/>
                    </a:cubicBezTo>
                    <a:cubicBezTo>
                      <a:pt x="7" y="45"/>
                      <a:pt x="7" y="45"/>
                      <a:pt x="7" y="45"/>
                    </a:cubicBezTo>
                    <a:cubicBezTo>
                      <a:pt x="7" y="46"/>
                      <a:pt x="7" y="46"/>
                      <a:pt x="7" y="46"/>
                    </a:cubicBezTo>
                    <a:cubicBezTo>
                      <a:pt x="7" y="46"/>
                      <a:pt x="7" y="46"/>
                      <a:pt x="7" y="46"/>
                    </a:cubicBezTo>
                    <a:cubicBezTo>
                      <a:pt x="7" y="46"/>
                      <a:pt x="7" y="46"/>
                      <a:pt x="7" y="46"/>
                    </a:cubicBezTo>
                    <a:cubicBezTo>
                      <a:pt x="7" y="46"/>
                      <a:pt x="7" y="46"/>
                      <a:pt x="7" y="46"/>
                    </a:cubicBezTo>
                    <a:cubicBezTo>
                      <a:pt x="7" y="46"/>
                      <a:pt x="7" y="46"/>
                      <a:pt x="7" y="46"/>
                    </a:cubicBezTo>
                    <a:cubicBezTo>
                      <a:pt x="7" y="46"/>
                      <a:pt x="7" y="46"/>
                      <a:pt x="7" y="45"/>
                    </a:cubicBezTo>
                    <a:cubicBezTo>
                      <a:pt x="7" y="45"/>
                      <a:pt x="7" y="45"/>
                      <a:pt x="7" y="45"/>
                    </a:cubicBezTo>
                    <a:cubicBezTo>
                      <a:pt x="7"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8" y="46"/>
                      <a:pt x="9" y="47"/>
                      <a:pt x="9" y="47"/>
                    </a:cubicBezTo>
                    <a:cubicBezTo>
                      <a:pt x="9" y="47"/>
                      <a:pt x="9" y="47"/>
                      <a:pt x="9" y="47"/>
                    </a:cubicBezTo>
                    <a:cubicBezTo>
                      <a:pt x="9" y="47"/>
                      <a:pt x="9" y="47"/>
                      <a:pt x="9" y="47"/>
                    </a:cubicBezTo>
                    <a:cubicBezTo>
                      <a:pt x="9" y="46"/>
                      <a:pt x="9" y="46"/>
                      <a:pt x="9" y="46"/>
                    </a:cubicBezTo>
                    <a:cubicBezTo>
                      <a:pt x="9" y="46"/>
                      <a:pt x="9" y="46"/>
                      <a:pt x="9" y="46"/>
                    </a:cubicBezTo>
                    <a:cubicBezTo>
                      <a:pt x="9" y="46"/>
                      <a:pt x="9" y="46"/>
                      <a:pt x="9" y="46"/>
                    </a:cubicBezTo>
                    <a:cubicBezTo>
                      <a:pt x="9" y="46"/>
                      <a:pt x="10" y="47"/>
                      <a:pt x="10" y="47"/>
                    </a:cubicBezTo>
                    <a:cubicBezTo>
                      <a:pt x="10" y="47"/>
                      <a:pt x="10" y="47"/>
                      <a:pt x="10" y="47"/>
                    </a:cubicBezTo>
                    <a:cubicBezTo>
                      <a:pt x="10" y="47"/>
                      <a:pt x="10" y="47"/>
                      <a:pt x="10" y="47"/>
                    </a:cubicBezTo>
                    <a:cubicBezTo>
                      <a:pt x="10" y="47"/>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6"/>
                      <a:pt x="10" y="46"/>
                      <a:pt x="10" y="46"/>
                    </a:cubicBezTo>
                    <a:cubicBezTo>
                      <a:pt x="10" y="45"/>
                      <a:pt x="11" y="45"/>
                      <a:pt x="11" y="45"/>
                    </a:cubicBezTo>
                    <a:cubicBezTo>
                      <a:pt x="11" y="45"/>
                      <a:pt x="11" y="45"/>
                      <a:pt x="11" y="45"/>
                    </a:cubicBezTo>
                    <a:cubicBezTo>
                      <a:pt x="11" y="45"/>
                      <a:pt x="9" y="46"/>
                      <a:pt x="9" y="46"/>
                    </a:cubicBezTo>
                    <a:cubicBezTo>
                      <a:pt x="9" y="46"/>
                      <a:pt x="9" y="46"/>
                      <a:pt x="10" y="45"/>
                    </a:cubicBezTo>
                    <a:cubicBezTo>
                      <a:pt x="9" y="45"/>
                      <a:pt x="9" y="46"/>
                      <a:pt x="9" y="46"/>
                    </a:cubicBezTo>
                    <a:cubicBezTo>
                      <a:pt x="9" y="45"/>
                      <a:pt x="9" y="45"/>
                      <a:pt x="10" y="45"/>
                    </a:cubicBezTo>
                    <a:cubicBezTo>
                      <a:pt x="9" y="45"/>
                      <a:pt x="9" y="46"/>
                      <a:pt x="8" y="46"/>
                    </a:cubicBezTo>
                    <a:cubicBezTo>
                      <a:pt x="8" y="46"/>
                      <a:pt x="9" y="46"/>
                      <a:pt x="9" y="45"/>
                    </a:cubicBezTo>
                    <a:cubicBezTo>
                      <a:pt x="8" y="45"/>
                      <a:pt x="8" y="46"/>
                      <a:pt x="8" y="46"/>
                    </a:cubicBezTo>
                    <a:cubicBezTo>
                      <a:pt x="8" y="46"/>
                      <a:pt x="8" y="46"/>
                      <a:pt x="8" y="45"/>
                    </a:cubicBezTo>
                    <a:cubicBezTo>
                      <a:pt x="8" y="45"/>
                      <a:pt x="8" y="45"/>
                      <a:pt x="8" y="45"/>
                    </a:cubicBezTo>
                    <a:cubicBezTo>
                      <a:pt x="9" y="45"/>
                      <a:pt x="9" y="45"/>
                      <a:pt x="9" y="45"/>
                    </a:cubicBezTo>
                    <a:cubicBezTo>
                      <a:pt x="9" y="45"/>
                      <a:pt x="9" y="45"/>
                      <a:pt x="9" y="45"/>
                    </a:cubicBezTo>
                    <a:close/>
                    <a:moveTo>
                      <a:pt x="8" y="45"/>
                    </a:moveTo>
                    <a:cubicBezTo>
                      <a:pt x="8" y="45"/>
                      <a:pt x="8" y="45"/>
                      <a:pt x="8" y="45"/>
                    </a:cubicBezTo>
                    <a:cubicBezTo>
                      <a:pt x="8" y="45"/>
                      <a:pt x="8" y="45"/>
                      <a:pt x="8" y="45"/>
                    </a:cubicBezTo>
                    <a:cubicBezTo>
                      <a:pt x="8" y="45"/>
                      <a:pt x="8" y="45"/>
                      <a:pt x="8" y="45"/>
                    </a:cubicBezTo>
                    <a:close/>
                    <a:moveTo>
                      <a:pt x="7" y="46"/>
                    </a:moveTo>
                    <a:cubicBezTo>
                      <a:pt x="7" y="46"/>
                      <a:pt x="7" y="46"/>
                      <a:pt x="7" y="46"/>
                    </a:cubicBezTo>
                    <a:cubicBezTo>
                      <a:pt x="7" y="46"/>
                      <a:pt x="7" y="46"/>
                      <a:pt x="7" y="46"/>
                    </a:cubicBezTo>
                    <a:cubicBezTo>
                      <a:pt x="7" y="46"/>
                      <a:pt x="7" y="46"/>
                      <a:pt x="7" y="46"/>
                    </a:cubicBezTo>
                    <a:cubicBezTo>
                      <a:pt x="7" y="46"/>
                      <a:pt x="7" y="46"/>
                      <a:pt x="7" y="46"/>
                    </a:cubicBezTo>
                    <a:cubicBezTo>
                      <a:pt x="7" y="46"/>
                      <a:pt x="7" y="46"/>
                      <a:pt x="7" y="46"/>
                    </a:cubicBezTo>
                    <a:close/>
                    <a:moveTo>
                      <a:pt x="7" y="46"/>
                    </a:moveTo>
                    <a:cubicBezTo>
                      <a:pt x="7" y="46"/>
                      <a:pt x="7" y="46"/>
                      <a:pt x="7" y="46"/>
                    </a:cubicBezTo>
                    <a:cubicBezTo>
                      <a:pt x="7" y="46"/>
                      <a:pt x="7" y="46"/>
                      <a:pt x="7" y="46"/>
                    </a:cubicBezTo>
                    <a:cubicBezTo>
                      <a:pt x="7" y="46"/>
                      <a:pt x="7" y="46"/>
                      <a:pt x="7" y="46"/>
                    </a:cubicBezTo>
                    <a:cubicBezTo>
                      <a:pt x="7" y="46"/>
                      <a:pt x="7" y="46"/>
                      <a:pt x="7" y="46"/>
                    </a:cubicBezTo>
                    <a:cubicBezTo>
                      <a:pt x="7" y="46"/>
                      <a:pt x="7" y="46"/>
                      <a:pt x="7" y="46"/>
                    </a:cubicBezTo>
                    <a:close/>
                    <a:moveTo>
                      <a:pt x="7" y="46"/>
                    </a:moveTo>
                    <a:cubicBezTo>
                      <a:pt x="7" y="46"/>
                      <a:pt x="7" y="46"/>
                      <a:pt x="7" y="46"/>
                    </a:cubicBezTo>
                    <a:cubicBezTo>
                      <a:pt x="7" y="46"/>
                      <a:pt x="7" y="46"/>
                      <a:pt x="7" y="46"/>
                    </a:cubicBezTo>
                    <a:cubicBezTo>
                      <a:pt x="7" y="46"/>
                      <a:pt x="7" y="46"/>
                      <a:pt x="7" y="46"/>
                    </a:cubicBezTo>
                    <a:cubicBezTo>
                      <a:pt x="7" y="46"/>
                      <a:pt x="7" y="46"/>
                      <a:pt x="7" y="46"/>
                    </a:cubicBezTo>
                    <a:cubicBezTo>
                      <a:pt x="7" y="46"/>
                      <a:pt x="7" y="46"/>
                      <a:pt x="7" y="46"/>
                    </a:cubicBezTo>
                    <a:close/>
                    <a:moveTo>
                      <a:pt x="8" y="46"/>
                    </a:move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ubicBezTo>
                      <a:pt x="8" y="46"/>
                      <a:pt x="8" y="46"/>
                      <a:pt x="8" y="46"/>
                    </a:cubicBezTo>
                    <a:close/>
                    <a:moveTo>
                      <a:pt x="11" y="46"/>
                    </a:moveTo>
                    <a:cubicBezTo>
                      <a:pt x="11" y="46"/>
                      <a:pt x="11" y="46"/>
                      <a:pt x="11" y="46"/>
                    </a:cubicBezTo>
                    <a:cubicBezTo>
                      <a:pt x="11" y="46"/>
                      <a:pt x="10" y="46"/>
                      <a:pt x="10" y="46"/>
                    </a:cubicBezTo>
                    <a:cubicBezTo>
                      <a:pt x="10" y="46"/>
                      <a:pt x="10" y="46"/>
                      <a:pt x="10" y="46"/>
                    </a:cubicBezTo>
                    <a:cubicBezTo>
                      <a:pt x="10" y="46"/>
                      <a:pt x="10" y="46"/>
                      <a:pt x="10" y="46"/>
                    </a:cubicBezTo>
                    <a:cubicBezTo>
                      <a:pt x="10" y="46"/>
                      <a:pt x="10" y="47"/>
                      <a:pt x="11" y="47"/>
                    </a:cubicBezTo>
                    <a:cubicBezTo>
                      <a:pt x="11" y="47"/>
                      <a:pt x="11" y="47"/>
                      <a:pt x="11" y="47"/>
                    </a:cubicBezTo>
                    <a:cubicBezTo>
                      <a:pt x="11" y="47"/>
                      <a:pt x="11" y="47"/>
                      <a:pt x="11" y="47"/>
                    </a:cubicBezTo>
                    <a:cubicBezTo>
                      <a:pt x="11" y="47"/>
                      <a:pt x="11" y="47"/>
                      <a:pt x="11" y="47"/>
                    </a:cubicBezTo>
                    <a:cubicBezTo>
                      <a:pt x="11" y="47"/>
                      <a:pt x="11" y="47"/>
                      <a:pt x="11" y="46"/>
                    </a:cubicBezTo>
                    <a:cubicBezTo>
                      <a:pt x="11" y="47"/>
                      <a:pt x="11" y="47"/>
                      <a:pt x="11" y="46"/>
                    </a:cubicBezTo>
                    <a:cubicBezTo>
                      <a:pt x="11" y="46"/>
                      <a:pt x="11" y="46"/>
                      <a:pt x="11" y="46"/>
                    </a:cubicBezTo>
                    <a:cubicBezTo>
                      <a:pt x="11" y="46"/>
                      <a:pt x="11" y="46"/>
                      <a:pt x="11" y="46"/>
                    </a:cubicBezTo>
                    <a:cubicBezTo>
                      <a:pt x="11" y="46"/>
                      <a:pt x="11" y="46"/>
                      <a:pt x="11" y="46"/>
                    </a:cubicBezTo>
                    <a:cubicBezTo>
                      <a:pt x="11" y="46"/>
                      <a:pt x="11" y="46"/>
                      <a:pt x="11" y="46"/>
                    </a:cubicBezTo>
                    <a:cubicBezTo>
                      <a:pt x="11" y="46"/>
                      <a:pt x="11" y="46"/>
                      <a:pt x="11" y="46"/>
                    </a:cubicBezTo>
                    <a:close/>
                    <a:moveTo>
                      <a:pt x="11" y="46"/>
                    </a:moveTo>
                    <a:cubicBezTo>
                      <a:pt x="11" y="46"/>
                      <a:pt x="11" y="46"/>
                      <a:pt x="11" y="46"/>
                    </a:cubicBezTo>
                    <a:cubicBezTo>
                      <a:pt x="11" y="46"/>
                      <a:pt x="11" y="46"/>
                      <a:pt x="11" y="46"/>
                    </a:cubicBezTo>
                    <a:cubicBezTo>
                      <a:pt x="11" y="46"/>
                      <a:pt x="11" y="46"/>
                      <a:pt x="11" y="46"/>
                    </a:cubicBezTo>
                    <a:cubicBezTo>
                      <a:pt x="11" y="46"/>
                      <a:pt x="11" y="46"/>
                      <a:pt x="12" y="46"/>
                    </a:cubicBezTo>
                    <a:cubicBezTo>
                      <a:pt x="11" y="46"/>
                      <a:pt x="11" y="46"/>
                      <a:pt x="11" y="46"/>
                    </a:cubicBezTo>
                    <a:cubicBezTo>
                      <a:pt x="11" y="46"/>
                      <a:pt x="11" y="46"/>
                      <a:pt x="12" y="47"/>
                    </a:cubicBezTo>
                    <a:cubicBezTo>
                      <a:pt x="11" y="47"/>
                      <a:pt x="11" y="47"/>
                      <a:pt x="11" y="47"/>
                    </a:cubicBezTo>
                    <a:cubicBezTo>
                      <a:pt x="11" y="46"/>
                      <a:pt x="11" y="46"/>
                      <a:pt x="11" y="46"/>
                    </a:cubicBezTo>
                    <a:cubicBezTo>
                      <a:pt x="11" y="46"/>
                      <a:pt x="11" y="46"/>
                      <a:pt x="11" y="46"/>
                    </a:cubicBezTo>
                    <a:close/>
                    <a:moveTo>
                      <a:pt x="9" y="47"/>
                    </a:moveTo>
                    <a:cubicBezTo>
                      <a:pt x="9" y="47"/>
                      <a:pt x="9" y="47"/>
                      <a:pt x="9" y="47"/>
                    </a:cubicBezTo>
                    <a:cubicBezTo>
                      <a:pt x="9" y="47"/>
                      <a:pt x="9" y="47"/>
                      <a:pt x="9" y="47"/>
                    </a:cubicBezTo>
                    <a:close/>
                    <a:moveTo>
                      <a:pt x="7" y="49"/>
                    </a:moveTo>
                    <a:cubicBezTo>
                      <a:pt x="7" y="49"/>
                      <a:pt x="7" y="49"/>
                      <a:pt x="7" y="49"/>
                    </a:cubicBezTo>
                    <a:cubicBezTo>
                      <a:pt x="7" y="49"/>
                      <a:pt x="7" y="49"/>
                      <a:pt x="7" y="49"/>
                    </a:cubicBezTo>
                    <a:cubicBezTo>
                      <a:pt x="7" y="49"/>
                      <a:pt x="7" y="49"/>
                      <a:pt x="7" y="49"/>
                    </a:cubicBezTo>
                    <a:cubicBezTo>
                      <a:pt x="7" y="49"/>
                      <a:pt x="7" y="49"/>
                      <a:pt x="7" y="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81">
                <a:extLst>
                  <a:ext uri="{FF2B5EF4-FFF2-40B4-BE49-F238E27FC236}">
                    <a16:creationId xmlns:a16="http://schemas.microsoft.com/office/drawing/2014/main" id="{147695AC-12C4-4BF9-B7D5-278F68EFA086}"/>
                  </a:ext>
                </a:extLst>
              </p:cNvPr>
              <p:cNvSpPr>
                <a:spLocks noEditPoints="1"/>
              </p:cNvSpPr>
              <p:nvPr/>
            </p:nvSpPr>
            <p:spPr bwMode="auto">
              <a:xfrm>
                <a:off x="5118243" y="2041080"/>
                <a:ext cx="124175" cy="198358"/>
              </a:xfrm>
              <a:custGeom>
                <a:avLst/>
                <a:gdLst/>
                <a:ahLst/>
                <a:cxnLst>
                  <a:cxn ang="0">
                    <a:pos x="49" y="26"/>
                  </a:cxn>
                  <a:cxn ang="0">
                    <a:pos x="54" y="26"/>
                  </a:cxn>
                  <a:cxn ang="0">
                    <a:pos x="63" y="33"/>
                  </a:cxn>
                  <a:cxn ang="0">
                    <a:pos x="75" y="25"/>
                  </a:cxn>
                  <a:cxn ang="0">
                    <a:pos x="65" y="46"/>
                  </a:cxn>
                  <a:cxn ang="0">
                    <a:pos x="84" y="42"/>
                  </a:cxn>
                  <a:cxn ang="0">
                    <a:pos x="74" y="62"/>
                  </a:cxn>
                  <a:cxn ang="0">
                    <a:pos x="80" y="79"/>
                  </a:cxn>
                  <a:cxn ang="0">
                    <a:pos x="91" y="83"/>
                  </a:cxn>
                  <a:cxn ang="0">
                    <a:pos x="40" y="94"/>
                  </a:cxn>
                  <a:cxn ang="0">
                    <a:pos x="4" y="83"/>
                  </a:cxn>
                  <a:cxn ang="0">
                    <a:pos x="32" y="85"/>
                  </a:cxn>
                  <a:cxn ang="0">
                    <a:pos x="7" y="71"/>
                  </a:cxn>
                  <a:cxn ang="0">
                    <a:pos x="34" y="69"/>
                  </a:cxn>
                  <a:cxn ang="0">
                    <a:pos x="22" y="62"/>
                  </a:cxn>
                  <a:cxn ang="0">
                    <a:pos x="32" y="52"/>
                  </a:cxn>
                  <a:cxn ang="0">
                    <a:pos x="22" y="36"/>
                  </a:cxn>
                  <a:cxn ang="0">
                    <a:pos x="17" y="19"/>
                  </a:cxn>
                  <a:cxn ang="0">
                    <a:pos x="31" y="18"/>
                  </a:cxn>
                  <a:cxn ang="0">
                    <a:pos x="19" y="30"/>
                  </a:cxn>
                  <a:cxn ang="0">
                    <a:pos x="21" y="32"/>
                  </a:cxn>
                  <a:cxn ang="0">
                    <a:pos x="53" y="29"/>
                  </a:cxn>
                  <a:cxn ang="0">
                    <a:pos x="45" y="36"/>
                  </a:cxn>
                  <a:cxn ang="0">
                    <a:pos x="54" y="35"/>
                  </a:cxn>
                  <a:cxn ang="0">
                    <a:pos x="48" y="39"/>
                  </a:cxn>
                  <a:cxn ang="0">
                    <a:pos x="32" y="45"/>
                  </a:cxn>
                  <a:cxn ang="0">
                    <a:pos x="49" y="49"/>
                  </a:cxn>
                  <a:cxn ang="0">
                    <a:pos x="66" y="39"/>
                  </a:cxn>
                  <a:cxn ang="0">
                    <a:pos x="33" y="45"/>
                  </a:cxn>
                  <a:cxn ang="0">
                    <a:pos x="60" y="46"/>
                  </a:cxn>
                  <a:cxn ang="0">
                    <a:pos x="58" y="44"/>
                  </a:cxn>
                  <a:cxn ang="0">
                    <a:pos x="43" y="47"/>
                  </a:cxn>
                  <a:cxn ang="0">
                    <a:pos x="47" y="47"/>
                  </a:cxn>
                  <a:cxn ang="0">
                    <a:pos x="64" y="46"/>
                  </a:cxn>
                  <a:cxn ang="0">
                    <a:pos x="50" y="48"/>
                  </a:cxn>
                  <a:cxn ang="0">
                    <a:pos x="50" y="51"/>
                  </a:cxn>
                  <a:cxn ang="0">
                    <a:pos x="59" y="53"/>
                  </a:cxn>
                  <a:cxn ang="0">
                    <a:pos x="47" y="53"/>
                  </a:cxn>
                  <a:cxn ang="0">
                    <a:pos x="18" y="57"/>
                  </a:cxn>
                  <a:cxn ang="0">
                    <a:pos x="66" y="55"/>
                  </a:cxn>
                  <a:cxn ang="0">
                    <a:pos x="60" y="56"/>
                  </a:cxn>
                  <a:cxn ang="0">
                    <a:pos x="52" y="58"/>
                  </a:cxn>
                  <a:cxn ang="0">
                    <a:pos x="68" y="58"/>
                  </a:cxn>
                  <a:cxn ang="0">
                    <a:pos x="46" y="62"/>
                  </a:cxn>
                  <a:cxn ang="0">
                    <a:pos x="46" y="74"/>
                  </a:cxn>
                  <a:cxn ang="0">
                    <a:pos x="68" y="62"/>
                  </a:cxn>
                  <a:cxn ang="0">
                    <a:pos x="60" y="71"/>
                  </a:cxn>
                  <a:cxn ang="0">
                    <a:pos x="38" y="72"/>
                  </a:cxn>
                  <a:cxn ang="0">
                    <a:pos x="36" y="75"/>
                  </a:cxn>
                  <a:cxn ang="0">
                    <a:pos x="28" y="77"/>
                  </a:cxn>
                  <a:cxn ang="0">
                    <a:pos x="41" y="76"/>
                  </a:cxn>
                  <a:cxn ang="0">
                    <a:pos x="39" y="81"/>
                  </a:cxn>
                  <a:cxn ang="0">
                    <a:pos x="45" y="77"/>
                  </a:cxn>
                  <a:cxn ang="0">
                    <a:pos x="49" y="80"/>
                  </a:cxn>
                  <a:cxn ang="0">
                    <a:pos x="50" y="78"/>
                  </a:cxn>
                  <a:cxn ang="0">
                    <a:pos x="10" y="87"/>
                  </a:cxn>
                  <a:cxn ang="0">
                    <a:pos x="80" y="79"/>
                  </a:cxn>
                  <a:cxn ang="0">
                    <a:pos x="22" y="89"/>
                  </a:cxn>
                  <a:cxn ang="0">
                    <a:pos x="79" y="92"/>
                  </a:cxn>
                  <a:cxn ang="0">
                    <a:pos x="51" y="86"/>
                  </a:cxn>
                  <a:cxn ang="0">
                    <a:pos x="39" y="92"/>
                  </a:cxn>
                  <a:cxn ang="0">
                    <a:pos x="41" y="92"/>
                  </a:cxn>
                  <a:cxn ang="0">
                    <a:pos x="86" y="89"/>
                  </a:cxn>
                </a:cxnLst>
                <a:rect l="0" t="0" r="r" b="b"/>
                <a:pathLst>
                  <a:path w="98" h="156">
                    <a:moveTo>
                      <a:pt x="38" y="5"/>
                    </a:moveTo>
                    <a:cubicBezTo>
                      <a:pt x="37" y="5"/>
                      <a:pt x="37" y="5"/>
                      <a:pt x="37" y="4"/>
                    </a:cubicBezTo>
                    <a:cubicBezTo>
                      <a:pt x="37" y="4"/>
                      <a:pt x="37" y="4"/>
                      <a:pt x="37" y="4"/>
                    </a:cubicBezTo>
                    <a:cubicBezTo>
                      <a:pt x="37" y="5"/>
                      <a:pt x="37" y="5"/>
                      <a:pt x="38" y="5"/>
                    </a:cubicBezTo>
                    <a:cubicBezTo>
                      <a:pt x="38" y="5"/>
                      <a:pt x="38" y="5"/>
                      <a:pt x="38" y="5"/>
                    </a:cubicBezTo>
                    <a:close/>
                    <a:moveTo>
                      <a:pt x="41" y="5"/>
                    </a:moveTo>
                    <a:cubicBezTo>
                      <a:pt x="41" y="3"/>
                      <a:pt x="41" y="2"/>
                      <a:pt x="41" y="0"/>
                    </a:cubicBezTo>
                    <a:cubicBezTo>
                      <a:pt x="41" y="0"/>
                      <a:pt x="41" y="0"/>
                      <a:pt x="41" y="0"/>
                    </a:cubicBezTo>
                    <a:cubicBezTo>
                      <a:pt x="41" y="2"/>
                      <a:pt x="41" y="3"/>
                      <a:pt x="41" y="5"/>
                    </a:cubicBezTo>
                    <a:cubicBezTo>
                      <a:pt x="41" y="5"/>
                      <a:pt x="41" y="5"/>
                      <a:pt x="41" y="5"/>
                    </a:cubicBezTo>
                    <a:cubicBezTo>
                      <a:pt x="42" y="15"/>
                      <a:pt x="42" y="15"/>
                      <a:pt x="42" y="15"/>
                    </a:cubicBezTo>
                    <a:cubicBezTo>
                      <a:pt x="43" y="14"/>
                      <a:pt x="43" y="13"/>
                      <a:pt x="43" y="12"/>
                    </a:cubicBezTo>
                    <a:cubicBezTo>
                      <a:pt x="43" y="12"/>
                      <a:pt x="43" y="12"/>
                      <a:pt x="43" y="12"/>
                    </a:cubicBezTo>
                    <a:cubicBezTo>
                      <a:pt x="43" y="12"/>
                      <a:pt x="43" y="13"/>
                      <a:pt x="43" y="13"/>
                    </a:cubicBezTo>
                    <a:cubicBezTo>
                      <a:pt x="44" y="12"/>
                      <a:pt x="44" y="11"/>
                      <a:pt x="45" y="10"/>
                    </a:cubicBezTo>
                    <a:cubicBezTo>
                      <a:pt x="45" y="10"/>
                      <a:pt x="45" y="10"/>
                      <a:pt x="45" y="10"/>
                    </a:cubicBezTo>
                    <a:cubicBezTo>
                      <a:pt x="43" y="14"/>
                      <a:pt x="43" y="14"/>
                      <a:pt x="43" y="18"/>
                    </a:cubicBezTo>
                    <a:cubicBezTo>
                      <a:pt x="44" y="16"/>
                      <a:pt x="47" y="11"/>
                      <a:pt x="49" y="10"/>
                    </a:cubicBezTo>
                    <a:cubicBezTo>
                      <a:pt x="47" y="12"/>
                      <a:pt x="43" y="17"/>
                      <a:pt x="43" y="20"/>
                    </a:cubicBezTo>
                    <a:cubicBezTo>
                      <a:pt x="43" y="24"/>
                      <a:pt x="44" y="28"/>
                      <a:pt x="44" y="32"/>
                    </a:cubicBezTo>
                    <a:cubicBezTo>
                      <a:pt x="45" y="31"/>
                      <a:pt x="45" y="30"/>
                      <a:pt x="46" y="29"/>
                    </a:cubicBezTo>
                    <a:cubicBezTo>
                      <a:pt x="47" y="28"/>
                      <a:pt x="48" y="27"/>
                      <a:pt x="49" y="26"/>
                    </a:cubicBezTo>
                    <a:cubicBezTo>
                      <a:pt x="47" y="24"/>
                      <a:pt x="46" y="23"/>
                      <a:pt x="44" y="21"/>
                    </a:cubicBezTo>
                    <a:cubicBezTo>
                      <a:pt x="44" y="21"/>
                      <a:pt x="44" y="21"/>
                      <a:pt x="44" y="21"/>
                    </a:cubicBezTo>
                    <a:cubicBezTo>
                      <a:pt x="46" y="23"/>
                      <a:pt x="47" y="24"/>
                      <a:pt x="49" y="26"/>
                    </a:cubicBezTo>
                    <a:cubicBezTo>
                      <a:pt x="49" y="24"/>
                      <a:pt x="49" y="19"/>
                      <a:pt x="49" y="18"/>
                    </a:cubicBezTo>
                    <a:cubicBezTo>
                      <a:pt x="49" y="21"/>
                      <a:pt x="49" y="23"/>
                      <a:pt x="49" y="26"/>
                    </a:cubicBezTo>
                    <a:cubicBezTo>
                      <a:pt x="49" y="26"/>
                      <a:pt x="49" y="26"/>
                      <a:pt x="49" y="26"/>
                    </a:cubicBezTo>
                    <a:cubicBezTo>
                      <a:pt x="49" y="26"/>
                      <a:pt x="49" y="26"/>
                      <a:pt x="49" y="26"/>
                    </a:cubicBezTo>
                    <a:cubicBezTo>
                      <a:pt x="49" y="26"/>
                      <a:pt x="49" y="27"/>
                      <a:pt x="50" y="27"/>
                    </a:cubicBezTo>
                    <a:cubicBezTo>
                      <a:pt x="51" y="24"/>
                      <a:pt x="52" y="20"/>
                      <a:pt x="52" y="17"/>
                    </a:cubicBezTo>
                    <a:cubicBezTo>
                      <a:pt x="53" y="13"/>
                      <a:pt x="52" y="13"/>
                      <a:pt x="50" y="10"/>
                    </a:cubicBezTo>
                    <a:cubicBezTo>
                      <a:pt x="51" y="11"/>
                      <a:pt x="52" y="12"/>
                      <a:pt x="53" y="14"/>
                    </a:cubicBezTo>
                    <a:cubicBezTo>
                      <a:pt x="53" y="13"/>
                      <a:pt x="53" y="12"/>
                      <a:pt x="53" y="11"/>
                    </a:cubicBezTo>
                    <a:cubicBezTo>
                      <a:pt x="53" y="11"/>
                      <a:pt x="53" y="11"/>
                      <a:pt x="53" y="11"/>
                    </a:cubicBezTo>
                    <a:cubicBezTo>
                      <a:pt x="53" y="10"/>
                      <a:pt x="52" y="9"/>
                      <a:pt x="52" y="8"/>
                    </a:cubicBezTo>
                    <a:cubicBezTo>
                      <a:pt x="52" y="9"/>
                      <a:pt x="53" y="10"/>
                      <a:pt x="53" y="11"/>
                    </a:cubicBezTo>
                    <a:cubicBezTo>
                      <a:pt x="53" y="11"/>
                      <a:pt x="53" y="11"/>
                      <a:pt x="53" y="11"/>
                    </a:cubicBezTo>
                    <a:cubicBezTo>
                      <a:pt x="53" y="11"/>
                      <a:pt x="53" y="11"/>
                      <a:pt x="53" y="11"/>
                    </a:cubicBezTo>
                    <a:cubicBezTo>
                      <a:pt x="53" y="13"/>
                      <a:pt x="53" y="15"/>
                      <a:pt x="53" y="17"/>
                    </a:cubicBezTo>
                    <a:cubicBezTo>
                      <a:pt x="54" y="15"/>
                      <a:pt x="55" y="13"/>
                      <a:pt x="57" y="11"/>
                    </a:cubicBezTo>
                    <a:cubicBezTo>
                      <a:pt x="55" y="13"/>
                      <a:pt x="53" y="15"/>
                      <a:pt x="53" y="17"/>
                    </a:cubicBezTo>
                    <a:cubicBezTo>
                      <a:pt x="52" y="18"/>
                      <a:pt x="52" y="20"/>
                      <a:pt x="52" y="21"/>
                    </a:cubicBezTo>
                    <a:cubicBezTo>
                      <a:pt x="54" y="19"/>
                      <a:pt x="57" y="18"/>
                      <a:pt x="60" y="16"/>
                    </a:cubicBezTo>
                    <a:cubicBezTo>
                      <a:pt x="58" y="17"/>
                      <a:pt x="53" y="20"/>
                      <a:pt x="52" y="21"/>
                    </a:cubicBezTo>
                    <a:cubicBezTo>
                      <a:pt x="52" y="21"/>
                      <a:pt x="52" y="23"/>
                      <a:pt x="51" y="23"/>
                    </a:cubicBezTo>
                    <a:cubicBezTo>
                      <a:pt x="53" y="21"/>
                      <a:pt x="53" y="21"/>
                      <a:pt x="53" y="21"/>
                    </a:cubicBezTo>
                    <a:cubicBezTo>
                      <a:pt x="53" y="21"/>
                      <a:pt x="53" y="21"/>
                      <a:pt x="53" y="21"/>
                    </a:cubicBezTo>
                    <a:cubicBezTo>
                      <a:pt x="53" y="22"/>
                      <a:pt x="52" y="23"/>
                      <a:pt x="51" y="24"/>
                    </a:cubicBezTo>
                    <a:cubicBezTo>
                      <a:pt x="51" y="26"/>
                      <a:pt x="50" y="29"/>
                      <a:pt x="49" y="32"/>
                    </a:cubicBezTo>
                    <a:cubicBezTo>
                      <a:pt x="50" y="30"/>
                      <a:pt x="52" y="29"/>
                      <a:pt x="53" y="27"/>
                    </a:cubicBezTo>
                    <a:cubicBezTo>
                      <a:pt x="53" y="26"/>
                      <a:pt x="53" y="25"/>
                      <a:pt x="52" y="24"/>
                    </a:cubicBezTo>
                    <a:cubicBezTo>
                      <a:pt x="53" y="24"/>
                      <a:pt x="53" y="26"/>
                      <a:pt x="53" y="27"/>
                    </a:cubicBezTo>
                    <a:cubicBezTo>
                      <a:pt x="53" y="27"/>
                      <a:pt x="54" y="27"/>
                      <a:pt x="54" y="27"/>
                    </a:cubicBezTo>
                    <a:cubicBezTo>
                      <a:pt x="54" y="26"/>
                      <a:pt x="54" y="26"/>
                      <a:pt x="54" y="26"/>
                    </a:cubicBezTo>
                    <a:cubicBezTo>
                      <a:pt x="54" y="26"/>
                      <a:pt x="54" y="26"/>
                      <a:pt x="54" y="26"/>
                    </a:cubicBezTo>
                    <a:cubicBezTo>
                      <a:pt x="54" y="26"/>
                      <a:pt x="54" y="26"/>
                      <a:pt x="54" y="26"/>
                    </a:cubicBezTo>
                    <a:cubicBezTo>
                      <a:pt x="54" y="26"/>
                      <a:pt x="54" y="26"/>
                      <a:pt x="54" y="26"/>
                    </a:cubicBezTo>
                    <a:cubicBezTo>
                      <a:pt x="53" y="24"/>
                      <a:pt x="53" y="24"/>
                      <a:pt x="53" y="24"/>
                    </a:cubicBezTo>
                    <a:cubicBezTo>
                      <a:pt x="53" y="25"/>
                      <a:pt x="54" y="26"/>
                      <a:pt x="54" y="26"/>
                    </a:cubicBezTo>
                    <a:cubicBezTo>
                      <a:pt x="59" y="23"/>
                      <a:pt x="59" y="23"/>
                      <a:pt x="59" y="23"/>
                    </a:cubicBezTo>
                    <a:cubicBezTo>
                      <a:pt x="59" y="23"/>
                      <a:pt x="55" y="26"/>
                      <a:pt x="54" y="26"/>
                    </a:cubicBezTo>
                    <a:cubicBezTo>
                      <a:pt x="54" y="27"/>
                      <a:pt x="54" y="28"/>
                      <a:pt x="54" y="28"/>
                    </a:cubicBezTo>
                    <a:cubicBezTo>
                      <a:pt x="54" y="28"/>
                      <a:pt x="55" y="28"/>
                      <a:pt x="55" y="28"/>
                    </a:cubicBezTo>
                    <a:cubicBezTo>
                      <a:pt x="55" y="28"/>
                      <a:pt x="54" y="28"/>
                      <a:pt x="54" y="28"/>
                    </a:cubicBezTo>
                    <a:cubicBezTo>
                      <a:pt x="54" y="29"/>
                      <a:pt x="54" y="30"/>
                      <a:pt x="54" y="31"/>
                    </a:cubicBezTo>
                    <a:cubicBezTo>
                      <a:pt x="55" y="29"/>
                      <a:pt x="56" y="27"/>
                      <a:pt x="57" y="25"/>
                    </a:cubicBezTo>
                    <a:cubicBezTo>
                      <a:pt x="57" y="25"/>
                      <a:pt x="57" y="25"/>
                      <a:pt x="57" y="25"/>
                    </a:cubicBezTo>
                    <a:cubicBezTo>
                      <a:pt x="56" y="27"/>
                      <a:pt x="56" y="28"/>
                      <a:pt x="55" y="29"/>
                    </a:cubicBezTo>
                    <a:cubicBezTo>
                      <a:pt x="55" y="29"/>
                      <a:pt x="54" y="31"/>
                      <a:pt x="54" y="31"/>
                    </a:cubicBezTo>
                    <a:cubicBezTo>
                      <a:pt x="53" y="35"/>
                      <a:pt x="53" y="35"/>
                      <a:pt x="53" y="35"/>
                    </a:cubicBezTo>
                    <a:cubicBezTo>
                      <a:pt x="53" y="35"/>
                      <a:pt x="53" y="35"/>
                      <a:pt x="54" y="35"/>
                    </a:cubicBezTo>
                    <a:cubicBezTo>
                      <a:pt x="53" y="34"/>
                      <a:pt x="53" y="34"/>
                      <a:pt x="53" y="34"/>
                    </a:cubicBezTo>
                    <a:cubicBezTo>
                      <a:pt x="53" y="34"/>
                      <a:pt x="53" y="34"/>
                      <a:pt x="53" y="34"/>
                    </a:cubicBezTo>
                    <a:cubicBezTo>
                      <a:pt x="53" y="34"/>
                      <a:pt x="53" y="34"/>
                      <a:pt x="54" y="35"/>
                    </a:cubicBezTo>
                    <a:cubicBezTo>
                      <a:pt x="56" y="34"/>
                      <a:pt x="56" y="33"/>
                      <a:pt x="58" y="32"/>
                    </a:cubicBezTo>
                    <a:cubicBezTo>
                      <a:pt x="59" y="32"/>
                      <a:pt x="60" y="31"/>
                      <a:pt x="61" y="31"/>
                    </a:cubicBezTo>
                    <a:cubicBezTo>
                      <a:pt x="61" y="31"/>
                      <a:pt x="61" y="31"/>
                      <a:pt x="61" y="31"/>
                    </a:cubicBezTo>
                    <a:cubicBezTo>
                      <a:pt x="59" y="32"/>
                      <a:pt x="57" y="33"/>
                      <a:pt x="55" y="34"/>
                    </a:cubicBezTo>
                    <a:cubicBezTo>
                      <a:pt x="57" y="34"/>
                      <a:pt x="59" y="34"/>
                      <a:pt x="61" y="33"/>
                    </a:cubicBezTo>
                    <a:cubicBezTo>
                      <a:pt x="61" y="33"/>
                      <a:pt x="61" y="32"/>
                      <a:pt x="62" y="32"/>
                    </a:cubicBezTo>
                    <a:cubicBezTo>
                      <a:pt x="62" y="32"/>
                      <a:pt x="62" y="32"/>
                      <a:pt x="62" y="32"/>
                    </a:cubicBezTo>
                    <a:cubicBezTo>
                      <a:pt x="61" y="32"/>
                      <a:pt x="61" y="33"/>
                      <a:pt x="61" y="33"/>
                    </a:cubicBezTo>
                    <a:cubicBezTo>
                      <a:pt x="63" y="33"/>
                      <a:pt x="63" y="33"/>
                      <a:pt x="63" y="33"/>
                    </a:cubicBezTo>
                    <a:cubicBezTo>
                      <a:pt x="62" y="33"/>
                      <a:pt x="61" y="33"/>
                      <a:pt x="61" y="34"/>
                    </a:cubicBezTo>
                    <a:cubicBezTo>
                      <a:pt x="60" y="34"/>
                      <a:pt x="60" y="35"/>
                      <a:pt x="59" y="36"/>
                    </a:cubicBezTo>
                    <a:cubicBezTo>
                      <a:pt x="63" y="33"/>
                      <a:pt x="62" y="35"/>
                      <a:pt x="65" y="31"/>
                    </a:cubicBezTo>
                    <a:cubicBezTo>
                      <a:pt x="65" y="31"/>
                      <a:pt x="65" y="31"/>
                      <a:pt x="65" y="31"/>
                    </a:cubicBezTo>
                    <a:cubicBezTo>
                      <a:pt x="64" y="32"/>
                      <a:pt x="64" y="33"/>
                      <a:pt x="63" y="33"/>
                    </a:cubicBezTo>
                    <a:cubicBezTo>
                      <a:pt x="63" y="33"/>
                      <a:pt x="64" y="33"/>
                      <a:pt x="64" y="33"/>
                    </a:cubicBezTo>
                    <a:cubicBezTo>
                      <a:pt x="63" y="34"/>
                      <a:pt x="63" y="34"/>
                      <a:pt x="62" y="35"/>
                    </a:cubicBezTo>
                    <a:cubicBezTo>
                      <a:pt x="61" y="36"/>
                      <a:pt x="61" y="37"/>
                      <a:pt x="61" y="38"/>
                    </a:cubicBezTo>
                    <a:cubicBezTo>
                      <a:pt x="61" y="37"/>
                      <a:pt x="61" y="37"/>
                      <a:pt x="61" y="37"/>
                    </a:cubicBezTo>
                    <a:cubicBezTo>
                      <a:pt x="61" y="37"/>
                      <a:pt x="61" y="37"/>
                      <a:pt x="61" y="37"/>
                    </a:cubicBezTo>
                    <a:cubicBezTo>
                      <a:pt x="60" y="38"/>
                      <a:pt x="60" y="39"/>
                      <a:pt x="59" y="41"/>
                    </a:cubicBezTo>
                    <a:cubicBezTo>
                      <a:pt x="61" y="39"/>
                      <a:pt x="63" y="37"/>
                      <a:pt x="65" y="35"/>
                    </a:cubicBezTo>
                    <a:cubicBezTo>
                      <a:pt x="65" y="35"/>
                      <a:pt x="65" y="35"/>
                      <a:pt x="65" y="36"/>
                    </a:cubicBezTo>
                    <a:cubicBezTo>
                      <a:pt x="64" y="37"/>
                      <a:pt x="60" y="40"/>
                      <a:pt x="59" y="41"/>
                    </a:cubicBezTo>
                    <a:cubicBezTo>
                      <a:pt x="59" y="42"/>
                      <a:pt x="59" y="43"/>
                      <a:pt x="59" y="43"/>
                    </a:cubicBezTo>
                    <a:cubicBezTo>
                      <a:pt x="59" y="43"/>
                      <a:pt x="59" y="43"/>
                      <a:pt x="59" y="43"/>
                    </a:cubicBezTo>
                    <a:cubicBezTo>
                      <a:pt x="61" y="42"/>
                      <a:pt x="68" y="35"/>
                      <a:pt x="69" y="34"/>
                    </a:cubicBezTo>
                    <a:cubicBezTo>
                      <a:pt x="69" y="33"/>
                      <a:pt x="69" y="30"/>
                      <a:pt x="69" y="29"/>
                    </a:cubicBezTo>
                    <a:cubicBezTo>
                      <a:pt x="69" y="28"/>
                      <a:pt x="70" y="26"/>
                      <a:pt x="70" y="25"/>
                    </a:cubicBezTo>
                    <a:cubicBezTo>
                      <a:pt x="70" y="25"/>
                      <a:pt x="69" y="29"/>
                      <a:pt x="69" y="30"/>
                    </a:cubicBezTo>
                    <a:cubicBezTo>
                      <a:pt x="69" y="31"/>
                      <a:pt x="69" y="32"/>
                      <a:pt x="69" y="33"/>
                    </a:cubicBezTo>
                    <a:cubicBezTo>
                      <a:pt x="72" y="30"/>
                      <a:pt x="71" y="32"/>
                      <a:pt x="71" y="26"/>
                    </a:cubicBezTo>
                    <a:cubicBezTo>
                      <a:pt x="71" y="25"/>
                      <a:pt x="71" y="24"/>
                      <a:pt x="71" y="23"/>
                    </a:cubicBezTo>
                    <a:cubicBezTo>
                      <a:pt x="71" y="23"/>
                      <a:pt x="71" y="23"/>
                      <a:pt x="71" y="23"/>
                    </a:cubicBezTo>
                    <a:cubicBezTo>
                      <a:pt x="71" y="26"/>
                      <a:pt x="71" y="28"/>
                      <a:pt x="71" y="31"/>
                    </a:cubicBezTo>
                    <a:cubicBezTo>
                      <a:pt x="72" y="29"/>
                      <a:pt x="74" y="27"/>
                      <a:pt x="75" y="25"/>
                    </a:cubicBezTo>
                    <a:cubicBezTo>
                      <a:pt x="79" y="22"/>
                      <a:pt x="79" y="22"/>
                      <a:pt x="79" y="22"/>
                    </a:cubicBezTo>
                    <a:cubicBezTo>
                      <a:pt x="78" y="23"/>
                      <a:pt x="77" y="24"/>
                      <a:pt x="75" y="25"/>
                    </a:cubicBezTo>
                    <a:cubicBezTo>
                      <a:pt x="75" y="25"/>
                      <a:pt x="75" y="25"/>
                      <a:pt x="75" y="25"/>
                    </a:cubicBezTo>
                    <a:cubicBezTo>
                      <a:pt x="75" y="25"/>
                      <a:pt x="75" y="26"/>
                      <a:pt x="74" y="26"/>
                    </a:cubicBezTo>
                    <a:cubicBezTo>
                      <a:pt x="76" y="25"/>
                      <a:pt x="76" y="25"/>
                      <a:pt x="76" y="25"/>
                    </a:cubicBezTo>
                    <a:cubicBezTo>
                      <a:pt x="76" y="25"/>
                      <a:pt x="76" y="25"/>
                      <a:pt x="76" y="25"/>
                    </a:cubicBezTo>
                    <a:cubicBezTo>
                      <a:pt x="74" y="27"/>
                      <a:pt x="74" y="28"/>
                      <a:pt x="72" y="31"/>
                    </a:cubicBezTo>
                    <a:cubicBezTo>
                      <a:pt x="71" y="32"/>
                      <a:pt x="69" y="34"/>
                      <a:pt x="68" y="35"/>
                    </a:cubicBezTo>
                    <a:cubicBezTo>
                      <a:pt x="70" y="34"/>
                      <a:pt x="75" y="31"/>
                      <a:pt x="76" y="31"/>
                    </a:cubicBezTo>
                    <a:cubicBezTo>
                      <a:pt x="74" y="32"/>
                      <a:pt x="67" y="36"/>
                      <a:pt x="66" y="38"/>
                    </a:cubicBezTo>
                    <a:cubicBezTo>
                      <a:pt x="66" y="38"/>
                      <a:pt x="66" y="38"/>
                      <a:pt x="66" y="39"/>
                    </a:cubicBezTo>
                    <a:cubicBezTo>
                      <a:pt x="66" y="38"/>
                      <a:pt x="66" y="38"/>
                      <a:pt x="66" y="38"/>
                    </a:cubicBezTo>
                    <a:cubicBezTo>
                      <a:pt x="66" y="38"/>
                      <a:pt x="65" y="39"/>
                      <a:pt x="65" y="39"/>
                    </a:cubicBezTo>
                    <a:cubicBezTo>
                      <a:pt x="67" y="39"/>
                      <a:pt x="69" y="38"/>
                      <a:pt x="71" y="37"/>
                    </a:cubicBezTo>
                    <a:cubicBezTo>
                      <a:pt x="71" y="37"/>
                      <a:pt x="71" y="37"/>
                      <a:pt x="71" y="37"/>
                    </a:cubicBezTo>
                    <a:cubicBezTo>
                      <a:pt x="68" y="38"/>
                      <a:pt x="68" y="38"/>
                      <a:pt x="68" y="38"/>
                    </a:cubicBezTo>
                    <a:cubicBezTo>
                      <a:pt x="77" y="36"/>
                      <a:pt x="77" y="36"/>
                      <a:pt x="77" y="36"/>
                    </a:cubicBezTo>
                    <a:cubicBezTo>
                      <a:pt x="77" y="36"/>
                      <a:pt x="77" y="36"/>
                      <a:pt x="77" y="36"/>
                    </a:cubicBezTo>
                    <a:cubicBezTo>
                      <a:pt x="73" y="37"/>
                      <a:pt x="69" y="38"/>
                      <a:pt x="66" y="39"/>
                    </a:cubicBezTo>
                    <a:cubicBezTo>
                      <a:pt x="66" y="40"/>
                      <a:pt x="66" y="40"/>
                      <a:pt x="66" y="40"/>
                    </a:cubicBezTo>
                    <a:cubicBezTo>
                      <a:pt x="66" y="40"/>
                      <a:pt x="66" y="40"/>
                      <a:pt x="66" y="40"/>
                    </a:cubicBezTo>
                    <a:cubicBezTo>
                      <a:pt x="66" y="40"/>
                      <a:pt x="66" y="41"/>
                      <a:pt x="66" y="41"/>
                    </a:cubicBezTo>
                    <a:cubicBezTo>
                      <a:pt x="66" y="40"/>
                      <a:pt x="67" y="40"/>
                      <a:pt x="67" y="39"/>
                    </a:cubicBezTo>
                    <a:cubicBezTo>
                      <a:pt x="66" y="40"/>
                      <a:pt x="66" y="41"/>
                      <a:pt x="65" y="43"/>
                    </a:cubicBezTo>
                    <a:cubicBezTo>
                      <a:pt x="66" y="42"/>
                      <a:pt x="68" y="41"/>
                      <a:pt x="69" y="40"/>
                    </a:cubicBezTo>
                    <a:cubicBezTo>
                      <a:pt x="65" y="42"/>
                      <a:pt x="65" y="42"/>
                      <a:pt x="65" y="45"/>
                    </a:cubicBezTo>
                    <a:cubicBezTo>
                      <a:pt x="66" y="45"/>
                      <a:pt x="71" y="40"/>
                      <a:pt x="72" y="40"/>
                    </a:cubicBezTo>
                    <a:cubicBezTo>
                      <a:pt x="69" y="42"/>
                      <a:pt x="67" y="44"/>
                      <a:pt x="65" y="46"/>
                    </a:cubicBezTo>
                    <a:cubicBezTo>
                      <a:pt x="65" y="46"/>
                      <a:pt x="66" y="45"/>
                      <a:pt x="67" y="46"/>
                    </a:cubicBezTo>
                    <a:cubicBezTo>
                      <a:pt x="65" y="46"/>
                      <a:pt x="65" y="46"/>
                      <a:pt x="65" y="46"/>
                    </a:cubicBezTo>
                    <a:cubicBezTo>
                      <a:pt x="64" y="47"/>
                      <a:pt x="64" y="47"/>
                      <a:pt x="64" y="48"/>
                    </a:cubicBezTo>
                    <a:cubicBezTo>
                      <a:pt x="65" y="48"/>
                      <a:pt x="66" y="48"/>
                      <a:pt x="67" y="48"/>
                    </a:cubicBezTo>
                    <a:cubicBezTo>
                      <a:pt x="66" y="48"/>
                      <a:pt x="65" y="48"/>
                      <a:pt x="64" y="48"/>
                    </a:cubicBezTo>
                    <a:cubicBezTo>
                      <a:pt x="63" y="50"/>
                      <a:pt x="62" y="51"/>
                      <a:pt x="61" y="53"/>
                    </a:cubicBezTo>
                    <a:cubicBezTo>
                      <a:pt x="63" y="53"/>
                      <a:pt x="64" y="53"/>
                      <a:pt x="65" y="53"/>
                    </a:cubicBezTo>
                    <a:cubicBezTo>
                      <a:pt x="64" y="53"/>
                      <a:pt x="63" y="53"/>
                      <a:pt x="61" y="53"/>
                    </a:cubicBezTo>
                    <a:cubicBezTo>
                      <a:pt x="61" y="54"/>
                      <a:pt x="60" y="55"/>
                      <a:pt x="60" y="56"/>
                    </a:cubicBezTo>
                    <a:cubicBezTo>
                      <a:pt x="63" y="55"/>
                      <a:pt x="63" y="55"/>
                      <a:pt x="66" y="54"/>
                    </a:cubicBezTo>
                    <a:cubicBezTo>
                      <a:pt x="67" y="51"/>
                      <a:pt x="69" y="47"/>
                      <a:pt x="71" y="44"/>
                    </a:cubicBezTo>
                    <a:cubicBezTo>
                      <a:pt x="71" y="44"/>
                      <a:pt x="71" y="44"/>
                      <a:pt x="71" y="44"/>
                    </a:cubicBezTo>
                    <a:cubicBezTo>
                      <a:pt x="71" y="45"/>
                      <a:pt x="69" y="48"/>
                      <a:pt x="68" y="49"/>
                    </a:cubicBezTo>
                    <a:cubicBezTo>
                      <a:pt x="67" y="51"/>
                      <a:pt x="67" y="52"/>
                      <a:pt x="66" y="54"/>
                    </a:cubicBezTo>
                    <a:cubicBezTo>
                      <a:pt x="67" y="54"/>
                      <a:pt x="68" y="53"/>
                      <a:pt x="69" y="52"/>
                    </a:cubicBezTo>
                    <a:cubicBezTo>
                      <a:pt x="69" y="51"/>
                      <a:pt x="70" y="51"/>
                      <a:pt x="71" y="50"/>
                    </a:cubicBezTo>
                    <a:cubicBezTo>
                      <a:pt x="71" y="50"/>
                      <a:pt x="71" y="50"/>
                      <a:pt x="71" y="50"/>
                    </a:cubicBezTo>
                    <a:cubicBezTo>
                      <a:pt x="67" y="54"/>
                      <a:pt x="67" y="54"/>
                      <a:pt x="67" y="54"/>
                    </a:cubicBezTo>
                    <a:cubicBezTo>
                      <a:pt x="69" y="53"/>
                      <a:pt x="72" y="52"/>
                      <a:pt x="74" y="51"/>
                    </a:cubicBezTo>
                    <a:cubicBezTo>
                      <a:pt x="74" y="51"/>
                      <a:pt x="74" y="52"/>
                      <a:pt x="74" y="52"/>
                    </a:cubicBezTo>
                    <a:cubicBezTo>
                      <a:pt x="74" y="52"/>
                      <a:pt x="74" y="52"/>
                      <a:pt x="74" y="52"/>
                    </a:cubicBezTo>
                    <a:cubicBezTo>
                      <a:pt x="78" y="49"/>
                      <a:pt x="76" y="49"/>
                      <a:pt x="80" y="42"/>
                    </a:cubicBezTo>
                    <a:cubicBezTo>
                      <a:pt x="80" y="42"/>
                      <a:pt x="82" y="38"/>
                      <a:pt x="82" y="38"/>
                    </a:cubicBezTo>
                    <a:cubicBezTo>
                      <a:pt x="81" y="41"/>
                      <a:pt x="79" y="44"/>
                      <a:pt x="79" y="47"/>
                    </a:cubicBezTo>
                    <a:cubicBezTo>
                      <a:pt x="81" y="44"/>
                      <a:pt x="83" y="42"/>
                      <a:pt x="85" y="39"/>
                    </a:cubicBezTo>
                    <a:cubicBezTo>
                      <a:pt x="85" y="39"/>
                      <a:pt x="85" y="39"/>
                      <a:pt x="85" y="39"/>
                    </a:cubicBezTo>
                    <a:cubicBezTo>
                      <a:pt x="87" y="38"/>
                      <a:pt x="88" y="38"/>
                      <a:pt x="90" y="37"/>
                    </a:cubicBezTo>
                    <a:cubicBezTo>
                      <a:pt x="89" y="38"/>
                      <a:pt x="87" y="38"/>
                      <a:pt x="85" y="39"/>
                    </a:cubicBezTo>
                    <a:cubicBezTo>
                      <a:pt x="85" y="39"/>
                      <a:pt x="85" y="39"/>
                      <a:pt x="85" y="39"/>
                    </a:cubicBezTo>
                    <a:cubicBezTo>
                      <a:pt x="85" y="40"/>
                      <a:pt x="84" y="41"/>
                      <a:pt x="84" y="42"/>
                    </a:cubicBezTo>
                    <a:cubicBezTo>
                      <a:pt x="84" y="42"/>
                      <a:pt x="85" y="41"/>
                      <a:pt x="85" y="41"/>
                    </a:cubicBezTo>
                    <a:cubicBezTo>
                      <a:pt x="85" y="41"/>
                      <a:pt x="85" y="41"/>
                      <a:pt x="85" y="41"/>
                    </a:cubicBezTo>
                    <a:cubicBezTo>
                      <a:pt x="85" y="41"/>
                      <a:pt x="84" y="42"/>
                      <a:pt x="84" y="42"/>
                    </a:cubicBezTo>
                    <a:cubicBezTo>
                      <a:pt x="86" y="41"/>
                      <a:pt x="88" y="40"/>
                      <a:pt x="90" y="40"/>
                    </a:cubicBezTo>
                    <a:cubicBezTo>
                      <a:pt x="82" y="43"/>
                      <a:pt x="85" y="41"/>
                      <a:pt x="81" y="46"/>
                    </a:cubicBezTo>
                    <a:cubicBezTo>
                      <a:pt x="79" y="48"/>
                      <a:pt x="77" y="51"/>
                      <a:pt x="75" y="53"/>
                    </a:cubicBezTo>
                    <a:cubicBezTo>
                      <a:pt x="79" y="51"/>
                      <a:pt x="82" y="50"/>
                      <a:pt x="86" y="49"/>
                    </a:cubicBezTo>
                    <a:cubicBezTo>
                      <a:pt x="87" y="49"/>
                      <a:pt x="87" y="49"/>
                      <a:pt x="87" y="49"/>
                    </a:cubicBezTo>
                    <a:cubicBezTo>
                      <a:pt x="82" y="50"/>
                      <a:pt x="78" y="52"/>
                      <a:pt x="74" y="53"/>
                    </a:cubicBezTo>
                    <a:cubicBezTo>
                      <a:pt x="74" y="53"/>
                      <a:pt x="75" y="54"/>
                      <a:pt x="75" y="54"/>
                    </a:cubicBezTo>
                    <a:cubicBezTo>
                      <a:pt x="76" y="53"/>
                      <a:pt x="77" y="53"/>
                      <a:pt x="78" y="53"/>
                    </a:cubicBezTo>
                    <a:cubicBezTo>
                      <a:pt x="78" y="53"/>
                      <a:pt x="75" y="54"/>
                      <a:pt x="75" y="54"/>
                    </a:cubicBezTo>
                    <a:cubicBezTo>
                      <a:pt x="75" y="54"/>
                      <a:pt x="75" y="55"/>
                      <a:pt x="75" y="55"/>
                    </a:cubicBezTo>
                    <a:cubicBezTo>
                      <a:pt x="75" y="55"/>
                      <a:pt x="75" y="55"/>
                      <a:pt x="75" y="55"/>
                    </a:cubicBezTo>
                    <a:cubicBezTo>
                      <a:pt x="75" y="55"/>
                      <a:pt x="75" y="55"/>
                      <a:pt x="75" y="55"/>
                    </a:cubicBezTo>
                    <a:cubicBezTo>
                      <a:pt x="76" y="55"/>
                      <a:pt x="77" y="55"/>
                      <a:pt x="78" y="54"/>
                    </a:cubicBezTo>
                    <a:cubicBezTo>
                      <a:pt x="78" y="54"/>
                      <a:pt x="78" y="54"/>
                      <a:pt x="78" y="54"/>
                    </a:cubicBezTo>
                    <a:cubicBezTo>
                      <a:pt x="78" y="54"/>
                      <a:pt x="78" y="55"/>
                      <a:pt x="78" y="55"/>
                    </a:cubicBezTo>
                    <a:cubicBezTo>
                      <a:pt x="81" y="54"/>
                      <a:pt x="83" y="54"/>
                      <a:pt x="86" y="54"/>
                    </a:cubicBezTo>
                    <a:cubicBezTo>
                      <a:pt x="83" y="54"/>
                      <a:pt x="80" y="55"/>
                      <a:pt x="78" y="55"/>
                    </a:cubicBezTo>
                    <a:cubicBezTo>
                      <a:pt x="77" y="55"/>
                      <a:pt x="73" y="60"/>
                      <a:pt x="73" y="60"/>
                    </a:cubicBezTo>
                    <a:cubicBezTo>
                      <a:pt x="74" y="60"/>
                      <a:pt x="76" y="59"/>
                      <a:pt x="77" y="59"/>
                    </a:cubicBezTo>
                    <a:cubicBezTo>
                      <a:pt x="76" y="59"/>
                      <a:pt x="74" y="60"/>
                      <a:pt x="73" y="60"/>
                    </a:cubicBezTo>
                    <a:cubicBezTo>
                      <a:pt x="72" y="62"/>
                      <a:pt x="72" y="62"/>
                      <a:pt x="72" y="62"/>
                    </a:cubicBezTo>
                    <a:cubicBezTo>
                      <a:pt x="73" y="62"/>
                      <a:pt x="74" y="61"/>
                      <a:pt x="75" y="60"/>
                    </a:cubicBezTo>
                    <a:cubicBezTo>
                      <a:pt x="77" y="60"/>
                      <a:pt x="79" y="59"/>
                      <a:pt x="80" y="58"/>
                    </a:cubicBezTo>
                    <a:cubicBezTo>
                      <a:pt x="78" y="59"/>
                      <a:pt x="75" y="60"/>
                      <a:pt x="73" y="62"/>
                    </a:cubicBezTo>
                    <a:cubicBezTo>
                      <a:pt x="73" y="62"/>
                      <a:pt x="74" y="62"/>
                      <a:pt x="74" y="62"/>
                    </a:cubicBezTo>
                    <a:cubicBezTo>
                      <a:pt x="71" y="62"/>
                      <a:pt x="72" y="63"/>
                      <a:pt x="69" y="67"/>
                    </a:cubicBezTo>
                    <a:cubicBezTo>
                      <a:pt x="71" y="65"/>
                      <a:pt x="74" y="63"/>
                      <a:pt x="77" y="61"/>
                    </a:cubicBezTo>
                    <a:cubicBezTo>
                      <a:pt x="77" y="61"/>
                      <a:pt x="77" y="61"/>
                      <a:pt x="77" y="61"/>
                    </a:cubicBezTo>
                    <a:cubicBezTo>
                      <a:pt x="75" y="63"/>
                      <a:pt x="70" y="66"/>
                      <a:pt x="68" y="68"/>
                    </a:cubicBezTo>
                    <a:cubicBezTo>
                      <a:pt x="68" y="69"/>
                      <a:pt x="67" y="70"/>
                      <a:pt x="67" y="71"/>
                    </a:cubicBezTo>
                    <a:cubicBezTo>
                      <a:pt x="67" y="71"/>
                      <a:pt x="68" y="72"/>
                      <a:pt x="69" y="72"/>
                    </a:cubicBezTo>
                    <a:cubicBezTo>
                      <a:pt x="73" y="71"/>
                      <a:pt x="77" y="71"/>
                      <a:pt x="81" y="70"/>
                    </a:cubicBezTo>
                    <a:cubicBezTo>
                      <a:pt x="70" y="72"/>
                      <a:pt x="70" y="72"/>
                      <a:pt x="70" y="72"/>
                    </a:cubicBezTo>
                    <a:cubicBezTo>
                      <a:pt x="70" y="72"/>
                      <a:pt x="71" y="72"/>
                      <a:pt x="71" y="72"/>
                    </a:cubicBezTo>
                    <a:cubicBezTo>
                      <a:pt x="71" y="73"/>
                      <a:pt x="71" y="73"/>
                      <a:pt x="71" y="73"/>
                    </a:cubicBezTo>
                    <a:cubicBezTo>
                      <a:pt x="70" y="72"/>
                      <a:pt x="69" y="72"/>
                      <a:pt x="68" y="72"/>
                    </a:cubicBezTo>
                    <a:cubicBezTo>
                      <a:pt x="70" y="73"/>
                      <a:pt x="73" y="74"/>
                      <a:pt x="75" y="75"/>
                    </a:cubicBezTo>
                    <a:cubicBezTo>
                      <a:pt x="73" y="74"/>
                      <a:pt x="71" y="74"/>
                      <a:pt x="69" y="73"/>
                    </a:cubicBezTo>
                    <a:cubicBezTo>
                      <a:pt x="68" y="73"/>
                      <a:pt x="68" y="73"/>
                      <a:pt x="68" y="72"/>
                    </a:cubicBezTo>
                    <a:cubicBezTo>
                      <a:pt x="67" y="73"/>
                      <a:pt x="66" y="73"/>
                      <a:pt x="65" y="73"/>
                    </a:cubicBezTo>
                    <a:cubicBezTo>
                      <a:pt x="64" y="73"/>
                      <a:pt x="63" y="74"/>
                      <a:pt x="63" y="75"/>
                    </a:cubicBezTo>
                    <a:cubicBezTo>
                      <a:pt x="61" y="76"/>
                      <a:pt x="58" y="77"/>
                      <a:pt x="56" y="78"/>
                    </a:cubicBezTo>
                    <a:cubicBezTo>
                      <a:pt x="57" y="79"/>
                      <a:pt x="60" y="82"/>
                      <a:pt x="61" y="82"/>
                    </a:cubicBezTo>
                    <a:cubicBezTo>
                      <a:pt x="62" y="82"/>
                      <a:pt x="63" y="82"/>
                      <a:pt x="64" y="82"/>
                    </a:cubicBezTo>
                    <a:cubicBezTo>
                      <a:pt x="72" y="79"/>
                      <a:pt x="72" y="79"/>
                      <a:pt x="72" y="79"/>
                    </a:cubicBezTo>
                    <a:cubicBezTo>
                      <a:pt x="74" y="77"/>
                      <a:pt x="75" y="76"/>
                      <a:pt x="77" y="74"/>
                    </a:cubicBezTo>
                    <a:cubicBezTo>
                      <a:pt x="77" y="74"/>
                      <a:pt x="77" y="74"/>
                      <a:pt x="77" y="74"/>
                    </a:cubicBezTo>
                    <a:cubicBezTo>
                      <a:pt x="77" y="75"/>
                      <a:pt x="74" y="77"/>
                      <a:pt x="72" y="78"/>
                    </a:cubicBezTo>
                    <a:cubicBezTo>
                      <a:pt x="74" y="77"/>
                      <a:pt x="81" y="74"/>
                      <a:pt x="82" y="74"/>
                    </a:cubicBezTo>
                    <a:cubicBezTo>
                      <a:pt x="80" y="75"/>
                      <a:pt x="74" y="77"/>
                      <a:pt x="72" y="79"/>
                    </a:cubicBezTo>
                    <a:cubicBezTo>
                      <a:pt x="70" y="80"/>
                      <a:pt x="69" y="81"/>
                      <a:pt x="68" y="82"/>
                    </a:cubicBezTo>
                    <a:cubicBezTo>
                      <a:pt x="70" y="82"/>
                      <a:pt x="72" y="81"/>
                      <a:pt x="74" y="81"/>
                    </a:cubicBezTo>
                    <a:cubicBezTo>
                      <a:pt x="76" y="80"/>
                      <a:pt x="78" y="79"/>
                      <a:pt x="80" y="79"/>
                    </a:cubicBezTo>
                    <a:cubicBezTo>
                      <a:pt x="80" y="78"/>
                      <a:pt x="81" y="78"/>
                      <a:pt x="81" y="77"/>
                    </a:cubicBezTo>
                    <a:cubicBezTo>
                      <a:pt x="82" y="76"/>
                      <a:pt x="83" y="76"/>
                      <a:pt x="84" y="75"/>
                    </a:cubicBezTo>
                    <a:cubicBezTo>
                      <a:pt x="84" y="74"/>
                      <a:pt x="87" y="69"/>
                      <a:pt x="88" y="68"/>
                    </a:cubicBezTo>
                    <a:cubicBezTo>
                      <a:pt x="88" y="69"/>
                      <a:pt x="86" y="70"/>
                      <a:pt x="86" y="71"/>
                    </a:cubicBezTo>
                    <a:cubicBezTo>
                      <a:pt x="85" y="72"/>
                      <a:pt x="85" y="73"/>
                      <a:pt x="84" y="74"/>
                    </a:cubicBezTo>
                    <a:cubicBezTo>
                      <a:pt x="86" y="72"/>
                      <a:pt x="88" y="71"/>
                      <a:pt x="91" y="69"/>
                    </a:cubicBezTo>
                    <a:cubicBezTo>
                      <a:pt x="91" y="69"/>
                      <a:pt x="91" y="69"/>
                      <a:pt x="91" y="69"/>
                    </a:cubicBezTo>
                    <a:cubicBezTo>
                      <a:pt x="88" y="71"/>
                      <a:pt x="84" y="73"/>
                      <a:pt x="83" y="76"/>
                    </a:cubicBezTo>
                    <a:cubicBezTo>
                      <a:pt x="83" y="77"/>
                      <a:pt x="83" y="77"/>
                      <a:pt x="83" y="77"/>
                    </a:cubicBezTo>
                    <a:cubicBezTo>
                      <a:pt x="88" y="74"/>
                      <a:pt x="89" y="73"/>
                      <a:pt x="93" y="70"/>
                    </a:cubicBezTo>
                    <a:cubicBezTo>
                      <a:pt x="93" y="70"/>
                      <a:pt x="94" y="70"/>
                      <a:pt x="94" y="70"/>
                    </a:cubicBezTo>
                    <a:cubicBezTo>
                      <a:pt x="93" y="71"/>
                      <a:pt x="93" y="71"/>
                      <a:pt x="92" y="71"/>
                    </a:cubicBezTo>
                    <a:cubicBezTo>
                      <a:pt x="94" y="71"/>
                      <a:pt x="96" y="70"/>
                      <a:pt x="98" y="69"/>
                    </a:cubicBezTo>
                    <a:cubicBezTo>
                      <a:pt x="96" y="70"/>
                      <a:pt x="93" y="71"/>
                      <a:pt x="90" y="73"/>
                    </a:cubicBezTo>
                    <a:cubicBezTo>
                      <a:pt x="91" y="73"/>
                      <a:pt x="91" y="73"/>
                      <a:pt x="91" y="73"/>
                    </a:cubicBezTo>
                    <a:cubicBezTo>
                      <a:pt x="90" y="73"/>
                      <a:pt x="89" y="74"/>
                      <a:pt x="89" y="74"/>
                    </a:cubicBezTo>
                    <a:cubicBezTo>
                      <a:pt x="91" y="74"/>
                      <a:pt x="94" y="74"/>
                      <a:pt x="97" y="74"/>
                    </a:cubicBezTo>
                    <a:cubicBezTo>
                      <a:pt x="96" y="74"/>
                      <a:pt x="89" y="74"/>
                      <a:pt x="88" y="74"/>
                    </a:cubicBezTo>
                    <a:cubicBezTo>
                      <a:pt x="88" y="75"/>
                      <a:pt x="88" y="75"/>
                      <a:pt x="88" y="75"/>
                    </a:cubicBezTo>
                    <a:cubicBezTo>
                      <a:pt x="85" y="77"/>
                      <a:pt x="82" y="79"/>
                      <a:pt x="79" y="80"/>
                    </a:cubicBezTo>
                    <a:cubicBezTo>
                      <a:pt x="80" y="80"/>
                      <a:pt x="92" y="79"/>
                      <a:pt x="93" y="79"/>
                    </a:cubicBezTo>
                    <a:cubicBezTo>
                      <a:pt x="93" y="78"/>
                      <a:pt x="94" y="77"/>
                      <a:pt x="94" y="77"/>
                    </a:cubicBezTo>
                    <a:cubicBezTo>
                      <a:pt x="94" y="77"/>
                      <a:pt x="94" y="77"/>
                      <a:pt x="94" y="77"/>
                    </a:cubicBezTo>
                    <a:cubicBezTo>
                      <a:pt x="94" y="77"/>
                      <a:pt x="93" y="78"/>
                      <a:pt x="93" y="79"/>
                    </a:cubicBezTo>
                    <a:cubicBezTo>
                      <a:pt x="93" y="79"/>
                      <a:pt x="93" y="79"/>
                      <a:pt x="94" y="79"/>
                    </a:cubicBezTo>
                    <a:cubicBezTo>
                      <a:pt x="93" y="79"/>
                      <a:pt x="93" y="79"/>
                      <a:pt x="93" y="79"/>
                    </a:cubicBezTo>
                    <a:cubicBezTo>
                      <a:pt x="92" y="80"/>
                      <a:pt x="91" y="81"/>
                      <a:pt x="90" y="82"/>
                    </a:cubicBezTo>
                    <a:cubicBezTo>
                      <a:pt x="90" y="83"/>
                      <a:pt x="91" y="83"/>
                      <a:pt x="91" y="83"/>
                    </a:cubicBezTo>
                    <a:cubicBezTo>
                      <a:pt x="90" y="83"/>
                      <a:pt x="89" y="84"/>
                      <a:pt x="89" y="85"/>
                    </a:cubicBezTo>
                    <a:cubicBezTo>
                      <a:pt x="89" y="85"/>
                      <a:pt x="89" y="85"/>
                      <a:pt x="89" y="84"/>
                    </a:cubicBezTo>
                    <a:cubicBezTo>
                      <a:pt x="89" y="84"/>
                      <a:pt x="89" y="84"/>
                      <a:pt x="89" y="84"/>
                    </a:cubicBezTo>
                    <a:cubicBezTo>
                      <a:pt x="88" y="86"/>
                      <a:pt x="86" y="88"/>
                      <a:pt x="85" y="89"/>
                    </a:cubicBezTo>
                    <a:cubicBezTo>
                      <a:pt x="86" y="89"/>
                      <a:pt x="93" y="87"/>
                      <a:pt x="95" y="87"/>
                    </a:cubicBezTo>
                    <a:cubicBezTo>
                      <a:pt x="95" y="87"/>
                      <a:pt x="95" y="87"/>
                      <a:pt x="95" y="87"/>
                    </a:cubicBezTo>
                    <a:cubicBezTo>
                      <a:pt x="94" y="87"/>
                      <a:pt x="94" y="87"/>
                      <a:pt x="93" y="87"/>
                    </a:cubicBezTo>
                    <a:cubicBezTo>
                      <a:pt x="93" y="87"/>
                      <a:pt x="93" y="87"/>
                      <a:pt x="93" y="87"/>
                    </a:cubicBezTo>
                    <a:cubicBezTo>
                      <a:pt x="91" y="88"/>
                      <a:pt x="89" y="89"/>
                      <a:pt x="86" y="89"/>
                    </a:cubicBezTo>
                    <a:cubicBezTo>
                      <a:pt x="86" y="89"/>
                      <a:pt x="87" y="90"/>
                      <a:pt x="87" y="90"/>
                    </a:cubicBezTo>
                    <a:cubicBezTo>
                      <a:pt x="87" y="90"/>
                      <a:pt x="87" y="90"/>
                      <a:pt x="87" y="90"/>
                    </a:cubicBezTo>
                    <a:cubicBezTo>
                      <a:pt x="87" y="90"/>
                      <a:pt x="86" y="90"/>
                      <a:pt x="86" y="89"/>
                    </a:cubicBezTo>
                    <a:cubicBezTo>
                      <a:pt x="85" y="90"/>
                      <a:pt x="84" y="90"/>
                      <a:pt x="82" y="91"/>
                    </a:cubicBezTo>
                    <a:cubicBezTo>
                      <a:pt x="81" y="92"/>
                      <a:pt x="80" y="92"/>
                      <a:pt x="79" y="93"/>
                    </a:cubicBezTo>
                    <a:cubicBezTo>
                      <a:pt x="77" y="94"/>
                      <a:pt x="75" y="95"/>
                      <a:pt x="73" y="96"/>
                    </a:cubicBezTo>
                    <a:cubicBezTo>
                      <a:pt x="72" y="96"/>
                      <a:pt x="67" y="97"/>
                      <a:pt x="66" y="97"/>
                    </a:cubicBezTo>
                    <a:cubicBezTo>
                      <a:pt x="64" y="97"/>
                      <a:pt x="62" y="97"/>
                      <a:pt x="60" y="97"/>
                    </a:cubicBezTo>
                    <a:cubicBezTo>
                      <a:pt x="58" y="96"/>
                      <a:pt x="57" y="96"/>
                      <a:pt x="56" y="95"/>
                    </a:cubicBezTo>
                    <a:cubicBezTo>
                      <a:pt x="56" y="105"/>
                      <a:pt x="59" y="110"/>
                      <a:pt x="60" y="116"/>
                    </a:cubicBezTo>
                    <a:cubicBezTo>
                      <a:pt x="61" y="123"/>
                      <a:pt x="62" y="133"/>
                      <a:pt x="62" y="137"/>
                    </a:cubicBezTo>
                    <a:cubicBezTo>
                      <a:pt x="63" y="142"/>
                      <a:pt x="64" y="147"/>
                      <a:pt x="67" y="155"/>
                    </a:cubicBezTo>
                    <a:cubicBezTo>
                      <a:pt x="60" y="156"/>
                      <a:pt x="60" y="156"/>
                      <a:pt x="60" y="156"/>
                    </a:cubicBezTo>
                    <a:cubicBezTo>
                      <a:pt x="59" y="149"/>
                      <a:pt x="58" y="148"/>
                      <a:pt x="57" y="138"/>
                    </a:cubicBezTo>
                    <a:cubicBezTo>
                      <a:pt x="57" y="127"/>
                      <a:pt x="58" y="125"/>
                      <a:pt x="56" y="115"/>
                    </a:cubicBezTo>
                    <a:cubicBezTo>
                      <a:pt x="54" y="106"/>
                      <a:pt x="53" y="101"/>
                      <a:pt x="52" y="93"/>
                    </a:cubicBezTo>
                    <a:cubicBezTo>
                      <a:pt x="51" y="93"/>
                      <a:pt x="50" y="94"/>
                      <a:pt x="50" y="94"/>
                    </a:cubicBezTo>
                    <a:cubicBezTo>
                      <a:pt x="48" y="95"/>
                      <a:pt x="47" y="95"/>
                      <a:pt x="45" y="95"/>
                    </a:cubicBezTo>
                    <a:cubicBezTo>
                      <a:pt x="44" y="95"/>
                      <a:pt x="41" y="94"/>
                      <a:pt x="40" y="94"/>
                    </a:cubicBezTo>
                    <a:cubicBezTo>
                      <a:pt x="38" y="95"/>
                      <a:pt x="35" y="97"/>
                      <a:pt x="33" y="98"/>
                    </a:cubicBezTo>
                    <a:cubicBezTo>
                      <a:pt x="33" y="98"/>
                      <a:pt x="33" y="98"/>
                      <a:pt x="33" y="98"/>
                    </a:cubicBezTo>
                    <a:cubicBezTo>
                      <a:pt x="35" y="96"/>
                      <a:pt x="38" y="95"/>
                      <a:pt x="40" y="93"/>
                    </a:cubicBezTo>
                    <a:cubicBezTo>
                      <a:pt x="39" y="92"/>
                      <a:pt x="38" y="92"/>
                      <a:pt x="35" y="92"/>
                    </a:cubicBezTo>
                    <a:cubicBezTo>
                      <a:pt x="28" y="91"/>
                      <a:pt x="28" y="92"/>
                      <a:pt x="22" y="96"/>
                    </a:cubicBezTo>
                    <a:cubicBezTo>
                      <a:pt x="19" y="98"/>
                      <a:pt x="16" y="99"/>
                      <a:pt x="13" y="101"/>
                    </a:cubicBezTo>
                    <a:cubicBezTo>
                      <a:pt x="14" y="100"/>
                      <a:pt x="22" y="96"/>
                      <a:pt x="24" y="94"/>
                    </a:cubicBezTo>
                    <a:cubicBezTo>
                      <a:pt x="25" y="94"/>
                      <a:pt x="27" y="93"/>
                      <a:pt x="28" y="92"/>
                    </a:cubicBezTo>
                    <a:cubicBezTo>
                      <a:pt x="23" y="93"/>
                      <a:pt x="19" y="94"/>
                      <a:pt x="14" y="94"/>
                    </a:cubicBezTo>
                    <a:cubicBezTo>
                      <a:pt x="16" y="94"/>
                      <a:pt x="28" y="92"/>
                      <a:pt x="29" y="91"/>
                    </a:cubicBezTo>
                    <a:cubicBezTo>
                      <a:pt x="28" y="91"/>
                      <a:pt x="27" y="91"/>
                      <a:pt x="26" y="91"/>
                    </a:cubicBezTo>
                    <a:cubicBezTo>
                      <a:pt x="26" y="91"/>
                      <a:pt x="26" y="91"/>
                      <a:pt x="26" y="91"/>
                    </a:cubicBezTo>
                    <a:cubicBezTo>
                      <a:pt x="27" y="91"/>
                      <a:pt x="28" y="91"/>
                      <a:pt x="29" y="91"/>
                    </a:cubicBezTo>
                    <a:cubicBezTo>
                      <a:pt x="27" y="91"/>
                      <a:pt x="26" y="91"/>
                      <a:pt x="25" y="91"/>
                    </a:cubicBezTo>
                    <a:cubicBezTo>
                      <a:pt x="23" y="91"/>
                      <a:pt x="15" y="93"/>
                      <a:pt x="14" y="92"/>
                    </a:cubicBezTo>
                    <a:cubicBezTo>
                      <a:pt x="17" y="92"/>
                      <a:pt x="21" y="91"/>
                      <a:pt x="24" y="91"/>
                    </a:cubicBezTo>
                    <a:cubicBezTo>
                      <a:pt x="23" y="90"/>
                      <a:pt x="21" y="90"/>
                      <a:pt x="20" y="90"/>
                    </a:cubicBezTo>
                    <a:cubicBezTo>
                      <a:pt x="16" y="89"/>
                      <a:pt x="15" y="88"/>
                      <a:pt x="11" y="88"/>
                    </a:cubicBezTo>
                    <a:cubicBezTo>
                      <a:pt x="6" y="88"/>
                      <a:pt x="5" y="88"/>
                      <a:pt x="0" y="89"/>
                    </a:cubicBezTo>
                    <a:cubicBezTo>
                      <a:pt x="2" y="88"/>
                      <a:pt x="4" y="88"/>
                      <a:pt x="5" y="88"/>
                    </a:cubicBezTo>
                    <a:cubicBezTo>
                      <a:pt x="5" y="88"/>
                      <a:pt x="5" y="88"/>
                      <a:pt x="4" y="88"/>
                    </a:cubicBezTo>
                    <a:cubicBezTo>
                      <a:pt x="6" y="88"/>
                      <a:pt x="8" y="87"/>
                      <a:pt x="10" y="87"/>
                    </a:cubicBezTo>
                    <a:cubicBezTo>
                      <a:pt x="6" y="85"/>
                      <a:pt x="6" y="85"/>
                      <a:pt x="1" y="84"/>
                    </a:cubicBezTo>
                    <a:cubicBezTo>
                      <a:pt x="1" y="84"/>
                      <a:pt x="5" y="85"/>
                      <a:pt x="6" y="85"/>
                    </a:cubicBezTo>
                    <a:cubicBezTo>
                      <a:pt x="5" y="84"/>
                      <a:pt x="4" y="84"/>
                      <a:pt x="4" y="84"/>
                    </a:cubicBezTo>
                    <a:cubicBezTo>
                      <a:pt x="4" y="83"/>
                      <a:pt x="1" y="81"/>
                      <a:pt x="0" y="80"/>
                    </a:cubicBezTo>
                    <a:cubicBezTo>
                      <a:pt x="2" y="81"/>
                      <a:pt x="3" y="82"/>
                      <a:pt x="4" y="83"/>
                    </a:cubicBezTo>
                    <a:cubicBezTo>
                      <a:pt x="4" y="83"/>
                      <a:pt x="4" y="83"/>
                      <a:pt x="4" y="83"/>
                    </a:cubicBezTo>
                    <a:cubicBezTo>
                      <a:pt x="11" y="86"/>
                      <a:pt x="11" y="86"/>
                      <a:pt x="18" y="88"/>
                    </a:cubicBezTo>
                    <a:cubicBezTo>
                      <a:pt x="15" y="85"/>
                      <a:pt x="12" y="82"/>
                      <a:pt x="9" y="80"/>
                    </a:cubicBezTo>
                    <a:cubicBezTo>
                      <a:pt x="9" y="80"/>
                      <a:pt x="9" y="80"/>
                      <a:pt x="9" y="80"/>
                    </a:cubicBezTo>
                    <a:cubicBezTo>
                      <a:pt x="15" y="84"/>
                      <a:pt x="18" y="89"/>
                      <a:pt x="18" y="89"/>
                    </a:cubicBezTo>
                    <a:cubicBezTo>
                      <a:pt x="19" y="89"/>
                      <a:pt x="21" y="89"/>
                      <a:pt x="21" y="89"/>
                    </a:cubicBezTo>
                    <a:cubicBezTo>
                      <a:pt x="21" y="88"/>
                      <a:pt x="18" y="85"/>
                      <a:pt x="17" y="85"/>
                    </a:cubicBezTo>
                    <a:cubicBezTo>
                      <a:pt x="17" y="85"/>
                      <a:pt x="17" y="85"/>
                      <a:pt x="17" y="85"/>
                    </a:cubicBezTo>
                    <a:cubicBezTo>
                      <a:pt x="17" y="85"/>
                      <a:pt x="17" y="85"/>
                      <a:pt x="17" y="85"/>
                    </a:cubicBezTo>
                    <a:cubicBezTo>
                      <a:pt x="15" y="84"/>
                      <a:pt x="13" y="83"/>
                      <a:pt x="11" y="81"/>
                    </a:cubicBezTo>
                    <a:cubicBezTo>
                      <a:pt x="11" y="81"/>
                      <a:pt x="11" y="81"/>
                      <a:pt x="11" y="81"/>
                    </a:cubicBezTo>
                    <a:cubicBezTo>
                      <a:pt x="11" y="81"/>
                      <a:pt x="11" y="81"/>
                      <a:pt x="11" y="81"/>
                    </a:cubicBezTo>
                    <a:cubicBezTo>
                      <a:pt x="12" y="82"/>
                      <a:pt x="13" y="82"/>
                      <a:pt x="14" y="83"/>
                    </a:cubicBezTo>
                    <a:cubicBezTo>
                      <a:pt x="18" y="85"/>
                      <a:pt x="16" y="85"/>
                      <a:pt x="20" y="86"/>
                    </a:cubicBezTo>
                    <a:cubicBezTo>
                      <a:pt x="25" y="87"/>
                      <a:pt x="30" y="88"/>
                      <a:pt x="34" y="90"/>
                    </a:cubicBezTo>
                    <a:cubicBezTo>
                      <a:pt x="35" y="90"/>
                      <a:pt x="36" y="91"/>
                      <a:pt x="36" y="91"/>
                    </a:cubicBezTo>
                    <a:cubicBezTo>
                      <a:pt x="34" y="88"/>
                      <a:pt x="34" y="88"/>
                      <a:pt x="31" y="87"/>
                    </a:cubicBezTo>
                    <a:cubicBezTo>
                      <a:pt x="29" y="86"/>
                      <a:pt x="28" y="86"/>
                      <a:pt x="26" y="85"/>
                    </a:cubicBezTo>
                    <a:cubicBezTo>
                      <a:pt x="26" y="85"/>
                      <a:pt x="26" y="85"/>
                      <a:pt x="26" y="85"/>
                    </a:cubicBezTo>
                    <a:cubicBezTo>
                      <a:pt x="29" y="86"/>
                      <a:pt x="31" y="87"/>
                      <a:pt x="34" y="88"/>
                    </a:cubicBezTo>
                    <a:cubicBezTo>
                      <a:pt x="31" y="85"/>
                      <a:pt x="31" y="85"/>
                      <a:pt x="28" y="85"/>
                    </a:cubicBezTo>
                    <a:cubicBezTo>
                      <a:pt x="28" y="85"/>
                      <a:pt x="28" y="85"/>
                      <a:pt x="28" y="85"/>
                    </a:cubicBezTo>
                    <a:cubicBezTo>
                      <a:pt x="29" y="85"/>
                      <a:pt x="30" y="85"/>
                      <a:pt x="30" y="85"/>
                    </a:cubicBezTo>
                    <a:cubicBezTo>
                      <a:pt x="29" y="85"/>
                      <a:pt x="28" y="84"/>
                      <a:pt x="26" y="83"/>
                    </a:cubicBezTo>
                    <a:cubicBezTo>
                      <a:pt x="27" y="83"/>
                      <a:pt x="27" y="83"/>
                      <a:pt x="27" y="83"/>
                    </a:cubicBezTo>
                    <a:cubicBezTo>
                      <a:pt x="28" y="83"/>
                      <a:pt x="30" y="85"/>
                      <a:pt x="31" y="85"/>
                    </a:cubicBezTo>
                    <a:cubicBezTo>
                      <a:pt x="31" y="85"/>
                      <a:pt x="32" y="85"/>
                      <a:pt x="32" y="85"/>
                    </a:cubicBezTo>
                    <a:cubicBezTo>
                      <a:pt x="32" y="85"/>
                      <a:pt x="32" y="85"/>
                      <a:pt x="32" y="85"/>
                    </a:cubicBezTo>
                    <a:cubicBezTo>
                      <a:pt x="32" y="85"/>
                      <a:pt x="32" y="85"/>
                      <a:pt x="32" y="85"/>
                    </a:cubicBezTo>
                    <a:cubicBezTo>
                      <a:pt x="32" y="85"/>
                      <a:pt x="32" y="85"/>
                      <a:pt x="32" y="85"/>
                    </a:cubicBezTo>
                    <a:cubicBezTo>
                      <a:pt x="32" y="85"/>
                      <a:pt x="32" y="85"/>
                      <a:pt x="32" y="85"/>
                    </a:cubicBezTo>
                    <a:cubicBezTo>
                      <a:pt x="31" y="83"/>
                      <a:pt x="31" y="83"/>
                      <a:pt x="27" y="82"/>
                    </a:cubicBezTo>
                    <a:cubicBezTo>
                      <a:pt x="26" y="81"/>
                      <a:pt x="25" y="81"/>
                      <a:pt x="24" y="81"/>
                    </a:cubicBezTo>
                    <a:cubicBezTo>
                      <a:pt x="27" y="81"/>
                      <a:pt x="29" y="82"/>
                      <a:pt x="31" y="83"/>
                    </a:cubicBezTo>
                    <a:cubicBezTo>
                      <a:pt x="30" y="82"/>
                      <a:pt x="30" y="82"/>
                      <a:pt x="30" y="81"/>
                    </a:cubicBezTo>
                    <a:cubicBezTo>
                      <a:pt x="29" y="81"/>
                      <a:pt x="29" y="81"/>
                      <a:pt x="29" y="81"/>
                    </a:cubicBezTo>
                    <a:cubicBezTo>
                      <a:pt x="29" y="81"/>
                      <a:pt x="29" y="81"/>
                      <a:pt x="30" y="81"/>
                    </a:cubicBezTo>
                    <a:cubicBezTo>
                      <a:pt x="30" y="81"/>
                      <a:pt x="29" y="81"/>
                      <a:pt x="29" y="81"/>
                    </a:cubicBezTo>
                    <a:cubicBezTo>
                      <a:pt x="29" y="81"/>
                      <a:pt x="30" y="81"/>
                      <a:pt x="30" y="81"/>
                    </a:cubicBezTo>
                    <a:cubicBezTo>
                      <a:pt x="29" y="80"/>
                      <a:pt x="28" y="79"/>
                      <a:pt x="28" y="79"/>
                    </a:cubicBezTo>
                    <a:cubicBezTo>
                      <a:pt x="25" y="79"/>
                      <a:pt x="22" y="80"/>
                      <a:pt x="19" y="81"/>
                    </a:cubicBezTo>
                    <a:cubicBezTo>
                      <a:pt x="20" y="81"/>
                      <a:pt x="26" y="79"/>
                      <a:pt x="28" y="78"/>
                    </a:cubicBezTo>
                    <a:cubicBezTo>
                      <a:pt x="27" y="78"/>
                      <a:pt x="27" y="78"/>
                      <a:pt x="27" y="78"/>
                    </a:cubicBezTo>
                    <a:cubicBezTo>
                      <a:pt x="22" y="79"/>
                      <a:pt x="18" y="81"/>
                      <a:pt x="13" y="82"/>
                    </a:cubicBezTo>
                    <a:cubicBezTo>
                      <a:pt x="14" y="81"/>
                      <a:pt x="19" y="80"/>
                      <a:pt x="20" y="80"/>
                    </a:cubicBezTo>
                    <a:cubicBezTo>
                      <a:pt x="22" y="79"/>
                      <a:pt x="24" y="78"/>
                      <a:pt x="27" y="78"/>
                    </a:cubicBezTo>
                    <a:cubicBezTo>
                      <a:pt x="26" y="77"/>
                      <a:pt x="25" y="77"/>
                      <a:pt x="24" y="77"/>
                    </a:cubicBezTo>
                    <a:cubicBezTo>
                      <a:pt x="21" y="78"/>
                      <a:pt x="18" y="78"/>
                      <a:pt x="15" y="79"/>
                    </a:cubicBezTo>
                    <a:cubicBezTo>
                      <a:pt x="18" y="78"/>
                      <a:pt x="21" y="78"/>
                      <a:pt x="23" y="77"/>
                    </a:cubicBezTo>
                    <a:cubicBezTo>
                      <a:pt x="21" y="77"/>
                      <a:pt x="17" y="76"/>
                      <a:pt x="14" y="75"/>
                    </a:cubicBezTo>
                    <a:cubicBezTo>
                      <a:pt x="13" y="74"/>
                      <a:pt x="11" y="73"/>
                      <a:pt x="10" y="73"/>
                    </a:cubicBezTo>
                    <a:cubicBezTo>
                      <a:pt x="7" y="74"/>
                      <a:pt x="5" y="74"/>
                      <a:pt x="3" y="74"/>
                    </a:cubicBezTo>
                    <a:cubicBezTo>
                      <a:pt x="5" y="74"/>
                      <a:pt x="7" y="74"/>
                      <a:pt x="9" y="73"/>
                    </a:cubicBezTo>
                    <a:cubicBezTo>
                      <a:pt x="8" y="73"/>
                      <a:pt x="6" y="72"/>
                      <a:pt x="5" y="72"/>
                    </a:cubicBezTo>
                    <a:cubicBezTo>
                      <a:pt x="7" y="72"/>
                      <a:pt x="9" y="73"/>
                      <a:pt x="10" y="73"/>
                    </a:cubicBezTo>
                    <a:cubicBezTo>
                      <a:pt x="7" y="71"/>
                      <a:pt x="7" y="71"/>
                      <a:pt x="7" y="71"/>
                    </a:cubicBezTo>
                    <a:cubicBezTo>
                      <a:pt x="7" y="71"/>
                      <a:pt x="7" y="71"/>
                      <a:pt x="7" y="71"/>
                    </a:cubicBezTo>
                    <a:cubicBezTo>
                      <a:pt x="6" y="71"/>
                      <a:pt x="5" y="71"/>
                      <a:pt x="4" y="71"/>
                    </a:cubicBezTo>
                    <a:cubicBezTo>
                      <a:pt x="7" y="71"/>
                      <a:pt x="7" y="71"/>
                      <a:pt x="7" y="71"/>
                    </a:cubicBezTo>
                    <a:cubicBezTo>
                      <a:pt x="7" y="71"/>
                      <a:pt x="7" y="71"/>
                      <a:pt x="7" y="71"/>
                    </a:cubicBezTo>
                    <a:cubicBezTo>
                      <a:pt x="11" y="73"/>
                      <a:pt x="13" y="74"/>
                      <a:pt x="17" y="75"/>
                    </a:cubicBezTo>
                    <a:cubicBezTo>
                      <a:pt x="14" y="72"/>
                      <a:pt x="11" y="71"/>
                      <a:pt x="8" y="69"/>
                    </a:cubicBezTo>
                    <a:cubicBezTo>
                      <a:pt x="8" y="69"/>
                      <a:pt x="8" y="69"/>
                      <a:pt x="8" y="69"/>
                    </a:cubicBezTo>
                    <a:cubicBezTo>
                      <a:pt x="15" y="72"/>
                      <a:pt x="17" y="75"/>
                      <a:pt x="17" y="75"/>
                    </a:cubicBezTo>
                    <a:cubicBezTo>
                      <a:pt x="18" y="75"/>
                      <a:pt x="19" y="76"/>
                      <a:pt x="20" y="76"/>
                    </a:cubicBezTo>
                    <a:cubicBezTo>
                      <a:pt x="18" y="73"/>
                      <a:pt x="15" y="71"/>
                      <a:pt x="12" y="70"/>
                    </a:cubicBezTo>
                    <a:cubicBezTo>
                      <a:pt x="15" y="71"/>
                      <a:pt x="17" y="72"/>
                      <a:pt x="19" y="74"/>
                    </a:cubicBezTo>
                    <a:cubicBezTo>
                      <a:pt x="20" y="75"/>
                      <a:pt x="21" y="76"/>
                      <a:pt x="22" y="76"/>
                    </a:cubicBezTo>
                    <a:cubicBezTo>
                      <a:pt x="23" y="76"/>
                      <a:pt x="34" y="77"/>
                      <a:pt x="35" y="76"/>
                    </a:cubicBezTo>
                    <a:cubicBezTo>
                      <a:pt x="32" y="75"/>
                      <a:pt x="29" y="73"/>
                      <a:pt x="27" y="73"/>
                    </a:cubicBezTo>
                    <a:cubicBezTo>
                      <a:pt x="26" y="73"/>
                      <a:pt x="23" y="72"/>
                      <a:pt x="23" y="72"/>
                    </a:cubicBezTo>
                    <a:cubicBezTo>
                      <a:pt x="24" y="72"/>
                      <a:pt x="25" y="72"/>
                      <a:pt x="26" y="72"/>
                    </a:cubicBezTo>
                    <a:cubicBezTo>
                      <a:pt x="25" y="72"/>
                      <a:pt x="20" y="71"/>
                      <a:pt x="20" y="71"/>
                    </a:cubicBezTo>
                    <a:cubicBezTo>
                      <a:pt x="20" y="70"/>
                      <a:pt x="25" y="72"/>
                      <a:pt x="27" y="73"/>
                    </a:cubicBezTo>
                    <a:cubicBezTo>
                      <a:pt x="30" y="73"/>
                      <a:pt x="32" y="73"/>
                      <a:pt x="36" y="74"/>
                    </a:cubicBezTo>
                    <a:cubicBezTo>
                      <a:pt x="36" y="74"/>
                      <a:pt x="37" y="74"/>
                      <a:pt x="37" y="73"/>
                    </a:cubicBezTo>
                    <a:cubicBezTo>
                      <a:pt x="37" y="73"/>
                      <a:pt x="35" y="71"/>
                      <a:pt x="34" y="71"/>
                    </a:cubicBezTo>
                    <a:cubicBezTo>
                      <a:pt x="34" y="71"/>
                      <a:pt x="34" y="71"/>
                      <a:pt x="33" y="71"/>
                    </a:cubicBezTo>
                    <a:cubicBezTo>
                      <a:pt x="34" y="71"/>
                      <a:pt x="34" y="71"/>
                      <a:pt x="34" y="71"/>
                    </a:cubicBezTo>
                    <a:cubicBezTo>
                      <a:pt x="33" y="70"/>
                      <a:pt x="32" y="70"/>
                      <a:pt x="30" y="69"/>
                    </a:cubicBezTo>
                    <a:cubicBezTo>
                      <a:pt x="31" y="69"/>
                      <a:pt x="34" y="71"/>
                      <a:pt x="35" y="71"/>
                    </a:cubicBezTo>
                    <a:cubicBezTo>
                      <a:pt x="35" y="71"/>
                      <a:pt x="35" y="71"/>
                      <a:pt x="35" y="71"/>
                    </a:cubicBezTo>
                    <a:cubicBezTo>
                      <a:pt x="35" y="70"/>
                      <a:pt x="34" y="70"/>
                      <a:pt x="34" y="69"/>
                    </a:cubicBezTo>
                    <a:cubicBezTo>
                      <a:pt x="33" y="69"/>
                      <a:pt x="32" y="69"/>
                      <a:pt x="30" y="69"/>
                    </a:cubicBezTo>
                    <a:cubicBezTo>
                      <a:pt x="32" y="69"/>
                      <a:pt x="33" y="69"/>
                      <a:pt x="34" y="69"/>
                    </a:cubicBezTo>
                    <a:cubicBezTo>
                      <a:pt x="34" y="69"/>
                      <a:pt x="34" y="69"/>
                      <a:pt x="34" y="69"/>
                    </a:cubicBezTo>
                    <a:cubicBezTo>
                      <a:pt x="35" y="69"/>
                      <a:pt x="37" y="72"/>
                      <a:pt x="37" y="73"/>
                    </a:cubicBezTo>
                    <a:cubicBezTo>
                      <a:pt x="38" y="70"/>
                      <a:pt x="37" y="70"/>
                      <a:pt x="36" y="68"/>
                    </a:cubicBezTo>
                    <a:cubicBezTo>
                      <a:pt x="36" y="68"/>
                      <a:pt x="36" y="68"/>
                      <a:pt x="36" y="68"/>
                    </a:cubicBezTo>
                    <a:cubicBezTo>
                      <a:pt x="38" y="70"/>
                      <a:pt x="38" y="70"/>
                      <a:pt x="38" y="70"/>
                    </a:cubicBezTo>
                    <a:cubicBezTo>
                      <a:pt x="38" y="70"/>
                      <a:pt x="38" y="70"/>
                      <a:pt x="38" y="69"/>
                    </a:cubicBezTo>
                    <a:cubicBezTo>
                      <a:pt x="37" y="71"/>
                      <a:pt x="38" y="71"/>
                      <a:pt x="38" y="72"/>
                    </a:cubicBezTo>
                    <a:cubicBezTo>
                      <a:pt x="40" y="70"/>
                      <a:pt x="41" y="68"/>
                      <a:pt x="43" y="65"/>
                    </a:cubicBezTo>
                    <a:cubicBezTo>
                      <a:pt x="41" y="65"/>
                      <a:pt x="39" y="66"/>
                      <a:pt x="37" y="66"/>
                    </a:cubicBezTo>
                    <a:cubicBezTo>
                      <a:pt x="39" y="66"/>
                      <a:pt x="41" y="65"/>
                      <a:pt x="43" y="65"/>
                    </a:cubicBezTo>
                    <a:cubicBezTo>
                      <a:pt x="43" y="64"/>
                      <a:pt x="43" y="64"/>
                      <a:pt x="44" y="63"/>
                    </a:cubicBezTo>
                    <a:cubicBezTo>
                      <a:pt x="42" y="64"/>
                      <a:pt x="41" y="64"/>
                      <a:pt x="39" y="64"/>
                    </a:cubicBezTo>
                    <a:cubicBezTo>
                      <a:pt x="37" y="65"/>
                      <a:pt x="35" y="66"/>
                      <a:pt x="33" y="66"/>
                    </a:cubicBezTo>
                    <a:cubicBezTo>
                      <a:pt x="30" y="67"/>
                      <a:pt x="28" y="68"/>
                      <a:pt x="25" y="69"/>
                    </a:cubicBezTo>
                    <a:cubicBezTo>
                      <a:pt x="25" y="69"/>
                      <a:pt x="25" y="69"/>
                      <a:pt x="25" y="69"/>
                    </a:cubicBezTo>
                    <a:cubicBezTo>
                      <a:pt x="29" y="67"/>
                      <a:pt x="33" y="66"/>
                      <a:pt x="37" y="64"/>
                    </a:cubicBezTo>
                    <a:cubicBezTo>
                      <a:pt x="37" y="65"/>
                      <a:pt x="36" y="65"/>
                      <a:pt x="35" y="65"/>
                    </a:cubicBezTo>
                    <a:cubicBezTo>
                      <a:pt x="34" y="65"/>
                      <a:pt x="32" y="64"/>
                      <a:pt x="30" y="64"/>
                    </a:cubicBezTo>
                    <a:cubicBezTo>
                      <a:pt x="30" y="65"/>
                      <a:pt x="29" y="65"/>
                      <a:pt x="28" y="66"/>
                    </a:cubicBezTo>
                    <a:cubicBezTo>
                      <a:pt x="27" y="67"/>
                      <a:pt x="26" y="67"/>
                      <a:pt x="25" y="68"/>
                    </a:cubicBezTo>
                    <a:cubicBezTo>
                      <a:pt x="27" y="67"/>
                      <a:pt x="28" y="66"/>
                      <a:pt x="30" y="64"/>
                    </a:cubicBezTo>
                    <a:cubicBezTo>
                      <a:pt x="24" y="63"/>
                      <a:pt x="30" y="63"/>
                      <a:pt x="20" y="66"/>
                    </a:cubicBezTo>
                    <a:cubicBezTo>
                      <a:pt x="18" y="66"/>
                      <a:pt x="17" y="67"/>
                      <a:pt x="15" y="67"/>
                    </a:cubicBezTo>
                    <a:cubicBezTo>
                      <a:pt x="19" y="66"/>
                      <a:pt x="23" y="65"/>
                      <a:pt x="27" y="63"/>
                    </a:cubicBezTo>
                    <a:cubicBezTo>
                      <a:pt x="23" y="62"/>
                      <a:pt x="22" y="62"/>
                      <a:pt x="17" y="62"/>
                    </a:cubicBezTo>
                    <a:cubicBezTo>
                      <a:pt x="15" y="62"/>
                      <a:pt x="13" y="62"/>
                      <a:pt x="11" y="62"/>
                    </a:cubicBezTo>
                    <a:cubicBezTo>
                      <a:pt x="11" y="62"/>
                      <a:pt x="11" y="62"/>
                      <a:pt x="11" y="62"/>
                    </a:cubicBezTo>
                    <a:cubicBezTo>
                      <a:pt x="15" y="62"/>
                      <a:pt x="18" y="62"/>
                      <a:pt x="22" y="62"/>
                    </a:cubicBezTo>
                    <a:cubicBezTo>
                      <a:pt x="21" y="61"/>
                      <a:pt x="19" y="60"/>
                      <a:pt x="17" y="59"/>
                    </a:cubicBezTo>
                    <a:cubicBezTo>
                      <a:pt x="16" y="58"/>
                      <a:pt x="13" y="56"/>
                      <a:pt x="12" y="55"/>
                    </a:cubicBezTo>
                    <a:cubicBezTo>
                      <a:pt x="11" y="55"/>
                      <a:pt x="10" y="55"/>
                      <a:pt x="9" y="55"/>
                    </a:cubicBezTo>
                    <a:cubicBezTo>
                      <a:pt x="10" y="55"/>
                      <a:pt x="12" y="55"/>
                      <a:pt x="13" y="55"/>
                    </a:cubicBezTo>
                    <a:cubicBezTo>
                      <a:pt x="14" y="56"/>
                      <a:pt x="17" y="59"/>
                      <a:pt x="18" y="59"/>
                    </a:cubicBezTo>
                    <a:cubicBezTo>
                      <a:pt x="17" y="56"/>
                      <a:pt x="18" y="57"/>
                      <a:pt x="16" y="55"/>
                    </a:cubicBezTo>
                    <a:cubicBezTo>
                      <a:pt x="15" y="54"/>
                      <a:pt x="14" y="54"/>
                      <a:pt x="14" y="53"/>
                    </a:cubicBezTo>
                    <a:cubicBezTo>
                      <a:pt x="15" y="54"/>
                      <a:pt x="16" y="55"/>
                      <a:pt x="17" y="56"/>
                    </a:cubicBezTo>
                    <a:cubicBezTo>
                      <a:pt x="17" y="55"/>
                      <a:pt x="17" y="54"/>
                      <a:pt x="17" y="52"/>
                    </a:cubicBezTo>
                    <a:cubicBezTo>
                      <a:pt x="18" y="58"/>
                      <a:pt x="17" y="55"/>
                      <a:pt x="20" y="60"/>
                    </a:cubicBezTo>
                    <a:cubicBezTo>
                      <a:pt x="21" y="61"/>
                      <a:pt x="21" y="61"/>
                      <a:pt x="23" y="62"/>
                    </a:cubicBezTo>
                    <a:cubicBezTo>
                      <a:pt x="26" y="63"/>
                      <a:pt x="30" y="63"/>
                      <a:pt x="33" y="63"/>
                    </a:cubicBezTo>
                    <a:cubicBezTo>
                      <a:pt x="30" y="62"/>
                      <a:pt x="27" y="60"/>
                      <a:pt x="24" y="59"/>
                    </a:cubicBezTo>
                    <a:cubicBezTo>
                      <a:pt x="24" y="59"/>
                      <a:pt x="24" y="59"/>
                      <a:pt x="24" y="59"/>
                    </a:cubicBezTo>
                    <a:cubicBezTo>
                      <a:pt x="27" y="60"/>
                      <a:pt x="30" y="61"/>
                      <a:pt x="33" y="63"/>
                    </a:cubicBezTo>
                    <a:cubicBezTo>
                      <a:pt x="34" y="64"/>
                      <a:pt x="35" y="64"/>
                      <a:pt x="37" y="64"/>
                    </a:cubicBezTo>
                    <a:cubicBezTo>
                      <a:pt x="31" y="61"/>
                      <a:pt x="26" y="59"/>
                      <a:pt x="20" y="58"/>
                    </a:cubicBezTo>
                    <a:cubicBezTo>
                      <a:pt x="26" y="59"/>
                      <a:pt x="31" y="61"/>
                      <a:pt x="37" y="63"/>
                    </a:cubicBezTo>
                    <a:cubicBezTo>
                      <a:pt x="39" y="62"/>
                      <a:pt x="40" y="61"/>
                      <a:pt x="42" y="59"/>
                    </a:cubicBezTo>
                    <a:cubicBezTo>
                      <a:pt x="41" y="58"/>
                      <a:pt x="40" y="57"/>
                      <a:pt x="38" y="56"/>
                    </a:cubicBezTo>
                    <a:cubicBezTo>
                      <a:pt x="40" y="57"/>
                      <a:pt x="41" y="58"/>
                      <a:pt x="42" y="59"/>
                    </a:cubicBezTo>
                    <a:cubicBezTo>
                      <a:pt x="42" y="58"/>
                      <a:pt x="43" y="58"/>
                      <a:pt x="43" y="58"/>
                    </a:cubicBezTo>
                    <a:cubicBezTo>
                      <a:pt x="40" y="57"/>
                      <a:pt x="36" y="55"/>
                      <a:pt x="33" y="53"/>
                    </a:cubicBezTo>
                    <a:cubicBezTo>
                      <a:pt x="32" y="54"/>
                      <a:pt x="31" y="54"/>
                      <a:pt x="30" y="55"/>
                    </a:cubicBezTo>
                    <a:cubicBezTo>
                      <a:pt x="30" y="54"/>
                      <a:pt x="33" y="53"/>
                      <a:pt x="33" y="53"/>
                    </a:cubicBezTo>
                    <a:cubicBezTo>
                      <a:pt x="33" y="53"/>
                      <a:pt x="33" y="52"/>
                      <a:pt x="32" y="52"/>
                    </a:cubicBezTo>
                    <a:cubicBezTo>
                      <a:pt x="27" y="53"/>
                      <a:pt x="23" y="53"/>
                      <a:pt x="18" y="54"/>
                    </a:cubicBezTo>
                    <a:cubicBezTo>
                      <a:pt x="22" y="53"/>
                      <a:pt x="27" y="53"/>
                      <a:pt x="32" y="52"/>
                    </a:cubicBezTo>
                    <a:cubicBezTo>
                      <a:pt x="29" y="50"/>
                      <a:pt x="26" y="49"/>
                      <a:pt x="23" y="48"/>
                    </a:cubicBezTo>
                    <a:cubicBezTo>
                      <a:pt x="23" y="48"/>
                      <a:pt x="23" y="48"/>
                      <a:pt x="23" y="48"/>
                    </a:cubicBezTo>
                    <a:cubicBezTo>
                      <a:pt x="26" y="49"/>
                      <a:pt x="26" y="49"/>
                      <a:pt x="26" y="49"/>
                    </a:cubicBezTo>
                    <a:cubicBezTo>
                      <a:pt x="24" y="48"/>
                      <a:pt x="22" y="47"/>
                      <a:pt x="20" y="47"/>
                    </a:cubicBezTo>
                    <a:cubicBezTo>
                      <a:pt x="20" y="46"/>
                      <a:pt x="20" y="46"/>
                      <a:pt x="20" y="46"/>
                    </a:cubicBezTo>
                    <a:cubicBezTo>
                      <a:pt x="22" y="47"/>
                      <a:pt x="26" y="49"/>
                      <a:pt x="29" y="50"/>
                    </a:cubicBezTo>
                    <a:cubicBezTo>
                      <a:pt x="28" y="48"/>
                      <a:pt x="27" y="47"/>
                      <a:pt x="26" y="46"/>
                    </a:cubicBezTo>
                    <a:cubicBezTo>
                      <a:pt x="25" y="46"/>
                      <a:pt x="23" y="46"/>
                      <a:pt x="22" y="46"/>
                    </a:cubicBezTo>
                    <a:cubicBezTo>
                      <a:pt x="23" y="46"/>
                      <a:pt x="24" y="46"/>
                      <a:pt x="26" y="46"/>
                    </a:cubicBezTo>
                    <a:cubicBezTo>
                      <a:pt x="24" y="44"/>
                      <a:pt x="23" y="42"/>
                      <a:pt x="21" y="40"/>
                    </a:cubicBezTo>
                    <a:cubicBezTo>
                      <a:pt x="20" y="40"/>
                      <a:pt x="20" y="40"/>
                      <a:pt x="19" y="40"/>
                    </a:cubicBezTo>
                    <a:cubicBezTo>
                      <a:pt x="19" y="40"/>
                      <a:pt x="19" y="40"/>
                      <a:pt x="19" y="40"/>
                    </a:cubicBezTo>
                    <a:cubicBezTo>
                      <a:pt x="21" y="40"/>
                      <a:pt x="21" y="40"/>
                      <a:pt x="21" y="40"/>
                    </a:cubicBezTo>
                    <a:cubicBezTo>
                      <a:pt x="19" y="38"/>
                      <a:pt x="18" y="38"/>
                      <a:pt x="15" y="37"/>
                    </a:cubicBezTo>
                    <a:cubicBezTo>
                      <a:pt x="17" y="38"/>
                      <a:pt x="18" y="38"/>
                      <a:pt x="19" y="39"/>
                    </a:cubicBezTo>
                    <a:cubicBezTo>
                      <a:pt x="19" y="38"/>
                      <a:pt x="18" y="37"/>
                      <a:pt x="17" y="37"/>
                    </a:cubicBezTo>
                    <a:cubicBezTo>
                      <a:pt x="17" y="37"/>
                      <a:pt x="20" y="38"/>
                      <a:pt x="20" y="39"/>
                    </a:cubicBezTo>
                    <a:cubicBezTo>
                      <a:pt x="20" y="39"/>
                      <a:pt x="20" y="39"/>
                      <a:pt x="21" y="39"/>
                    </a:cubicBezTo>
                    <a:cubicBezTo>
                      <a:pt x="20" y="38"/>
                      <a:pt x="19" y="38"/>
                      <a:pt x="19" y="37"/>
                    </a:cubicBezTo>
                    <a:cubicBezTo>
                      <a:pt x="19" y="37"/>
                      <a:pt x="19" y="37"/>
                      <a:pt x="19" y="37"/>
                    </a:cubicBezTo>
                    <a:cubicBezTo>
                      <a:pt x="18" y="36"/>
                      <a:pt x="17" y="36"/>
                      <a:pt x="17" y="35"/>
                    </a:cubicBezTo>
                    <a:cubicBezTo>
                      <a:pt x="17" y="36"/>
                      <a:pt x="18" y="36"/>
                      <a:pt x="19" y="37"/>
                    </a:cubicBezTo>
                    <a:cubicBezTo>
                      <a:pt x="19" y="37"/>
                      <a:pt x="19" y="37"/>
                      <a:pt x="19" y="37"/>
                    </a:cubicBezTo>
                    <a:cubicBezTo>
                      <a:pt x="20" y="38"/>
                      <a:pt x="21" y="39"/>
                      <a:pt x="22" y="40"/>
                    </a:cubicBezTo>
                    <a:cubicBezTo>
                      <a:pt x="22" y="40"/>
                      <a:pt x="23" y="40"/>
                      <a:pt x="24" y="40"/>
                    </a:cubicBezTo>
                    <a:cubicBezTo>
                      <a:pt x="23" y="36"/>
                      <a:pt x="23" y="36"/>
                      <a:pt x="23" y="36"/>
                    </a:cubicBezTo>
                    <a:cubicBezTo>
                      <a:pt x="20" y="35"/>
                      <a:pt x="18" y="35"/>
                      <a:pt x="16" y="34"/>
                    </a:cubicBezTo>
                    <a:cubicBezTo>
                      <a:pt x="18" y="34"/>
                      <a:pt x="20" y="35"/>
                      <a:pt x="22" y="36"/>
                    </a:cubicBezTo>
                    <a:cubicBezTo>
                      <a:pt x="22" y="36"/>
                      <a:pt x="22" y="36"/>
                      <a:pt x="22" y="36"/>
                    </a:cubicBezTo>
                    <a:cubicBezTo>
                      <a:pt x="22" y="35"/>
                      <a:pt x="22" y="35"/>
                      <a:pt x="22" y="35"/>
                    </a:cubicBezTo>
                    <a:cubicBezTo>
                      <a:pt x="23" y="36"/>
                      <a:pt x="24" y="37"/>
                      <a:pt x="25" y="37"/>
                    </a:cubicBezTo>
                    <a:cubicBezTo>
                      <a:pt x="24" y="36"/>
                      <a:pt x="23" y="35"/>
                      <a:pt x="23" y="35"/>
                    </a:cubicBezTo>
                    <a:cubicBezTo>
                      <a:pt x="19" y="31"/>
                      <a:pt x="21" y="31"/>
                      <a:pt x="16" y="31"/>
                    </a:cubicBezTo>
                    <a:cubicBezTo>
                      <a:pt x="16" y="31"/>
                      <a:pt x="16" y="31"/>
                      <a:pt x="16" y="31"/>
                    </a:cubicBezTo>
                    <a:cubicBezTo>
                      <a:pt x="20" y="31"/>
                      <a:pt x="20" y="31"/>
                      <a:pt x="20" y="31"/>
                    </a:cubicBezTo>
                    <a:cubicBezTo>
                      <a:pt x="20" y="31"/>
                      <a:pt x="19" y="30"/>
                      <a:pt x="19" y="30"/>
                    </a:cubicBezTo>
                    <a:cubicBezTo>
                      <a:pt x="18" y="30"/>
                      <a:pt x="17" y="30"/>
                      <a:pt x="16" y="30"/>
                    </a:cubicBezTo>
                    <a:cubicBezTo>
                      <a:pt x="17" y="30"/>
                      <a:pt x="18" y="30"/>
                      <a:pt x="19" y="30"/>
                    </a:cubicBezTo>
                    <a:cubicBezTo>
                      <a:pt x="19" y="29"/>
                      <a:pt x="18" y="29"/>
                      <a:pt x="18" y="28"/>
                    </a:cubicBezTo>
                    <a:cubicBezTo>
                      <a:pt x="18" y="28"/>
                      <a:pt x="19" y="29"/>
                      <a:pt x="19" y="30"/>
                    </a:cubicBezTo>
                    <a:cubicBezTo>
                      <a:pt x="19" y="30"/>
                      <a:pt x="19" y="30"/>
                      <a:pt x="19" y="30"/>
                    </a:cubicBezTo>
                    <a:cubicBezTo>
                      <a:pt x="19" y="30"/>
                      <a:pt x="19" y="30"/>
                      <a:pt x="19" y="30"/>
                    </a:cubicBezTo>
                    <a:cubicBezTo>
                      <a:pt x="20" y="30"/>
                      <a:pt x="20" y="30"/>
                      <a:pt x="20" y="30"/>
                    </a:cubicBezTo>
                    <a:cubicBezTo>
                      <a:pt x="20" y="30"/>
                      <a:pt x="20" y="30"/>
                      <a:pt x="20" y="29"/>
                    </a:cubicBezTo>
                    <a:cubicBezTo>
                      <a:pt x="20" y="29"/>
                      <a:pt x="20" y="30"/>
                      <a:pt x="20" y="30"/>
                    </a:cubicBezTo>
                    <a:cubicBezTo>
                      <a:pt x="21" y="30"/>
                      <a:pt x="21" y="30"/>
                      <a:pt x="21" y="30"/>
                    </a:cubicBezTo>
                    <a:cubicBezTo>
                      <a:pt x="21" y="30"/>
                      <a:pt x="21" y="30"/>
                      <a:pt x="21" y="30"/>
                    </a:cubicBezTo>
                    <a:cubicBezTo>
                      <a:pt x="23" y="30"/>
                      <a:pt x="24" y="31"/>
                      <a:pt x="26" y="31"/>
                    </a:cubicBezTo>
                    <a:cubicBezTo>
                      <a:pt x="24" y="29"/>
                      <a:pt x="22" y="27"/>
                      <a:pt x="20" y="24"/>
                    </a:cubicBezTo>
                    <a:cubicBezTo>
                      <a:pt x="19" y="22"/>
                      <a:pt x="18" y="20"/>
                      <a:pt x="16" y="18"/>
                    </a:cubicBezTo>
                    <a:cubicBezTo>
                      <a:pt x="14" y="18"/>
                      <a:pt x="14" y="18"/>
                      <a:pt x="14" y="18"/>
                    </a:cubicBezTo>
                    <a:cubicBezTo>
                      <a:pt x="14" y="18"/>
                      <a:pt x="14" y="18"/>
                      <a:pt x="14" y="18"/>
                    </a:cubicBezTo>
                    <a:cubicBezTo>
                      <a:pt x="16" y="19"/>
                      <a:pt x="16" y="19"/>
                      <a:pt x="16" y="19"/>
                    </a:cubicBezTo>
                    <a:cubicBezTo>
                      <a:pt x="16" y="19"/>
                      <a:pt x="16" y="19"/>
                      <a:pt x="16" y="18"/>
                    </a:cubicBezTo>
                    <a:cubicBezTo>
                      <a:pt x="16" y="18"/>
                      <a:pt x="16" y="18"/>
                      <a:pt x="16" y="18"/>
                    </a:cubicBezTo>
                    <a:cubicBezTo>
                      <a:pt x="17" y="19"/>
                      <a:pt x="17" y="19"/>
                      <a:pt x="17" y="19"/>
                    </a:cubicBezTo>
                    <a:cubicBezTo>
                      <a:pt x="17" y="19"/>
                      <a:pt x="17" y="19"/>
                      <a:pt x="17" y="19"/>
                    </a:cubicBezTo>
                    <a:cubicBezTo>
                      <a:pt x="17" y="19"/>
                      <a:pt x="17" y="19"/>
                      <a:pt x="17" y="19"/>
                    </a:cubicBezTo>
                    <a:cubicBezTo>
                      <a:pt x="17" y="19"/>
                      <a:pt x="17" y="19"/>
                      <a:pt x="17" y="19"/>
                    </a:cubicBezTo>
                    <a:cubicBezTo>
                      <a:pt x="18" y="21"/>
                      <a:pt x="20" y="24"/>
                      <a:pt x="21" y="25"/>
                    </a:cubicBezTo>
                    <a:cubicBezTo>
                      <a:pt x="22" y="22"/>
                      <a:pt x="22" y="20"/>
                      <a:pt x="24" y="17"/>
                    </a:cubicBezTo>
                    <a:cubicBezTo>
                      <a:pt x="23" y="18"/>
                      <a:pt x="22" y="21"/>
                      <a:pt x="22" y="23"/>
                    </a:cubicBezTo>
                    <a:cubicBezTo>
                      <a:pt x="22" y="24"/>
                      <a:pt x="23" y="24"/>
                      <a:pt x="23" y="25"/>
                    </a:cubicBezTo>
                    <a:cubicBezTo>
                      <a:pt x="24" y="29"/>
                      <a:pt x="23" y="27"/>
                      <a:pt x="26" y="29"/>
                    </a:cubicBezTo>
                    <a:cubicBezTo>
                      <a:pt x="29" y="31"/>
                      <a:pt x="30" y="33"/>
                      <a:pt x="31" y="35"/>
                    </a:cubicBezTo>
                    <a:cubicBezTo>
                      <a:pt x="32" y="35"/>
                      <a:pt x="32" y="36"/>
                      <a:pt x="33" y="37"/>
                    </a:cubicBezTo>
                    <a:cubicBezTo>
                      <a:pt x="33" y="36"/>
                      <a:pt x="33" y="36"/>
                      <a:pt x="33" y="36"/>
                    </a:cubicBezTo>
                    <a:cubicBezTo>
                      <a:pt x="33" y="36"/>
                      <a:pt x="33" y="36"/>
                      <a:pt x="33" y="35"/>
                    </a:cubicBezTo>
                    <a:cubicBezTo>
                      <a:pt x="33" y="35"/>
                      <a:pt x="33" y="36"/>
                      <a:pt x="33" y="36"/>
                    </a:cubicBezTo>
                    <a:cubicBezTo>
                      <a:pt x="33" y="35"/>
                      <a:pt x="33" y="34"/>
                      <a:pt x="33" y="33"/>
                    </a:cubicBezTo>
                    <a:cubicBezTo>
                      <a:pt x="33" y="34"/>
                      <a:pt x="33" y="35"/>
                      <a:pt x="33" y="36"/>
                    </a:cubicBezTo>
                    <a:cubicBezTo>
                      <a:pt x="34" y="36"/>
                      <a:pt x="34" y="36"/>
                      <a:pt x="34" y="36"/>
                    </a:cubicBezTo>
                    <a:cubicBezTo>
                      <a:pt x="34" y="35"/>
                      <a:pt x="32" y="26"/>
                      <a:pt x="32" y="25"/>
                    </a:cubicBezTo>
                    <a:cubicBezTo>
                      <a:pt x="33" y="27"/>
                      <a:pt x="34" y="36"/>
                      <a:pt x="34" y="37"/>
                    </a:cubicBezTo>
                    <a:cubicBezTo>
                      <a:pt x="35" y="37"/>
                      <a:pt x="35" y="37"/>
                      <a:pt x="36" y="38"/>
                    </a:cubicBezTo>
                    <a:cubicBezTo>
                      <a:pt x="37" y="40"/>
                      <a:pt x="37" y="39"/>
                      <a:pt x="39" y="41"/>
                    </a:cubicBezTo>
                    <a:cubicBezTo>
                      <a:pt x="40" y="41"/>
                      <a:pt x="42" y="42"/>
                      <a:pt x="43" y="42"/>
                    </a:cubicBezTo>
                    <a:cubicBezTo>
                      <a:pt x="43" y="40"/>
                      <a:pt x="43" y="41"/>
                      <a:pt x="43" y="40"/>
                    </a:cubicBezTo>
                    <a:cubicBezTo>
                      <a:pt x="43" y="40"/>
                      <a:pt x="43" y="30"/>
                      <a:pt x="43" y="30"/>
                    </a:cubicBezTo>
                    <a:cubicBezTo>
                      <a:pt x="42" y="28"/>
                      <a:pt x="38" y="24"/>
                      <a:pt x="37" y="23"/>
                    </a:cubicBezTo>
                    <a:cubicBezTo>
                      <a:pt x="37" y="23"/>
                      <a:pt x="37" y="23"/>
                      <a:pt x="37" y="23"/>
                    </a:cubicBezTo>
                    <a:cubicBezTo>
                      <a:pt x="39" y="25"/>
                      <a:pt x="41" y="27"/>
                      <a:pt x="43" y="29"/>
                    </a:cubicBezTo>
                    <a:cubicBezTo>
                      <a:pt x="43" y="27"/>
                      <a:pt x="43" y="27"/>
                      <a:pt x="41" y="25"/>
                    </a:cubicBezTo>
                    <a:cubicBezTo>
                      <a:pt x="38" y="22"/>
                      <a:pt x="35" y="20"/>
                      <a:pt x="31" y="18"/>
                    </a:cubicBezTo>
                    <a:cubicBezTo>
                      <a:pt x="34" y="18"/>
                      <a:pt x="40" y="23"/>
                      <a:pt x="41" y="25"/>
                    </a:cubicBezTo>
                    <a:cubicBezTo>
                      <a:pt x="42" y="25"/>
                      <a:pt x="42" y="26"/>
                      <a:pt x="43" y="26"/>
                    </a:cubicBezTo>
                    <a:cubicBezTo>
                      <a:pt x="42" y="21"/>
                      <a:pt x="42" y="17"/>
                      <a:pt x="41" y="12"/>
                    </a:cubicBezTo>
                    <a:cubicBezTo>
                      <a:pt x="41" y="11"/>
                      <a:pt x="39" y="9"/>
                      <a:pt x="38" y="8"/>
                    </a:cubicBezTo>
                    <a:cubicBezTo>
                      <a:pt x="40" y="9"/>
                      <a:pt x="41" y="11"/>
                      <a:pt x="41" y="12"/>
                    </a:cubicBezTo>
                    <a:cubicBezTo>
                      <a:pt x="41" y="9"/>
                      <a:pt x="41" y="8"/>
                      <a:pt x="39" y="6"/>
                    </a:cubicBezTo>
                    <a:cubicBezTo>
                      <a:pt x="39" y="6"/>
                      <a:pt x="38" y="5"/>
                      <a:pt x="38" y="5"/>
                    </a:cubicBezTo>
                    <a:cubicBezTo>
                      <a:pt x="38" y="5"/>
                      <a:pt x="38" y="5"/>
                      <a:pt x="38" y="5"/>
                    </a:cubicBezTo>
                    <a:cubicBezTo>
                      <a:pt x="39" y="6"/>
                      <a:pt x="40" y="7"/>
                      <a:pt x="41" y="8"/>
                    </a:cubicBezTo>
                    <a:cubicBezTo>
                      <a:pt x="41" y="5"/>
                      <a:pt x="41" y="5"/>
                      <a:pt x="41" y="5"/>
                    </a:cubicBezTo>
                    <a:cubicBezTo>
                      <a:pt x="41" y="5"/>
                      <a:pt x="41" y="5"/>
                      <a:pt x="41" y="5"/>
                    </a:cubicBezTo>
                    <a:cubicBezTo>
                      <a:pt x="41" y="5"/>
                      <a:pt x="41" y="5"/>
                      <a:pt x="41" y="5"/>
                    </a:cubicBezTo>
                    <a:close/>
                    <a:moveTo>
                      <a:pt x="42" y="15"/>
                    </a:moveTo>
                    <a:cubicBezTo>
                      <a:pt x="43" y="15"/>
                      <a:pt x="43" y="14"/>
                      <a:pt x="43" y="14"/>
                    </a:cubicBezTo>
                    <a:cubicBezTo>
                      <a:pt x="43" y="15"/>
                      <a:pt x="43" y="16"/>
                      <a:pt x="43" y="18"/>
                    </a:cubicBezTo>
                    <a:cubicBezTo>
                      <a:pt x="42" y="17"/>
                      <a:pt x="42" y="16"/>
                      <a:pt x="42" y="15"/>
                    </a:cubicBezTo>
                    <a:cubicBezTo>
                      <a:pt x="42" y="15"/>
                      <a:pt x="42" y="15"/>
                      <a:pt x="42" y="15"/>
                    </a:cubicBezTo>
                    <a:close/>
                    <a:moveTo>
                      <a:pt x="21" y="25"/>
                    </a:moveTo>
                    <a:cubicBezTo>
                      <a:pt x="22" y="24"/>
                      <a:pt x="22" y="24"/>
                      <a:pt x="22" y="23"/>
                    </a:cubicBezTo>
                    <a:cubicBezTo>
                      <a:pt x="23" y="24"/>
                      <a:pt x="23" y="26"/>
                      <a:pt x="23" y="27"/>
                    </a:cubicBezTo>
                    <a:cubicBezTo>
                      <a:pt x="23" y="27"/>
                      <a:pt x="22" y="26"/>
                      <a:pt x="21" y="25"/>
                    </a:cubicBezTo>
                    <a:cubicBezTo>
                      <a:pt x="21" y="25"/>
                      <a:pt x="21" y="25"/>
                      <a:pt x="21" y="25"/>
                    </a:cubicBezTo>
                    <a:close/>
                    <a:moveTo>
                      <a:pt x="24" y="28"/>
                    </a:moveTo>
                    <a:cubicBezTo>
                      <a:pt x="24" y="28"/>
                      <a:pt x="24" y="28"/>
                      <a:pt x="24" y="28"/>
                    </a:cubicBezTo>
                    <a:cubicBezTo>
                      <a:pt x="26" y="30"/>
                      <a:pt x="28" y="32"/>
                      <a:pt x="30" y="35"/>
                    </a:cubicBezTo>
                    <a:cubicBezTo>
                      <a:pt x="28" y="33"/>
                      <a:pt x="26" y="30"/>
                      <a:pt x="24" y="28"/>
                    </a:cubicBezTo>
                    <a:cubicBezTo>
                      <a:pt x="24" y="28"/>
                      <a:pt x="24" y="28"/>
                      <a:pt x="24" y="28"/>
                    </a:cubicBezTo>
                    <a:close/>
                    <a:moveTo>
                      <a:pt x="19" y="30"/>
                    </a:moveTo>
                    <a:cubicBezTo>
                      <a:pt x="20" y="30"/>
                      <a:pt x="20" y="30"/>
                      <a:pt x="20" y="30"/>
                    </a:cubicBezTo>
                    <a:cubicBezTo>
                      <a:pt x="21" y="31"/>
                      <a:pt x="21" y="31"/>
                      <a:pt x="21" y="32"/>
                    </a:cubicBezTo>
                    <a:cubicBezTo>
                      <a:pt x="20" y="31"/>
                      <a:pt x="20" y="31"/>
                      <a:pt x="19" y="30"/>
                    </a:cubicBezTo>
                    <a:cubicBezTo>
                      <a:pt x="19" y="30"/>
                      <a:pt x="19" y="30"/>
                      <a:pt x="19" y="30"/>
                    </a:cubicBezTo>
                    <a:close/>
                    <a:moveTo>
                      <a:pt x="21" y="30"/>
                    </a:moveTo>
                    <a:cubicBezTo>
                      <a:pt x="21" y="30"/>
                      <a:pt x="21" y="30"/>
                      <a:pt x="21" y="30"/>
                    </a:cubicBezTo>
                    <a:cubicBezTo>
                      <a:pt x="21" y="30"/>
                      <a:pt x="21" y="31"/>
                      <a:pt x="21" y="31"/>
                    </a:cubicBezTo>
                    <a:cubicBezTo>
                      <a:pt x="21" y="31"/>
                      <a:pt x="21" y="30"/>
                      <a:pt x="21" y="30"/>
                    </a:cubicBezTo>
                    <a:cubicBezTo>
                      <a:pt x="21" y="30"/>
                      <a:pt x="21" y="30"/>
                      <a:pt x="21" y="30"/>
                    </a:cubicBezTo>
                    <a:close/>
                    <a:moveTo>
                      <a:pt x="21" y="31"/>
                    </a:moveTo>
                    <a:cubicBezTo>
                      <a:pt x="21" y="31"/>
                      <a:pt x="21" y="30"/>
                      <a:pt x="21" y="30"/>
                    </a:cubicBezTo>
                    <a:cubicBezTo>
                      <a:pt x="26" y="31"/>
                      <a:pt x="25" y="30"/>
                      <a:pt x="28" y="33"/>
                    </a:cubicBezTo>
                    <a:cubicBezTo>
                      <a:pt x="22" y="32"/>
                      <a:pt x="22" y="32"/>
                      <a:pt x="22" y="32"/>
                    </a:cubicBezTo>
                    <a:cubicBezTo>
                      <a:pt x="21" y="31"/>
                      <a:pt x="21" y="31"/>
                      <a:pt x="21" y="31"/>
                    </a:cubicBezTo>
                    <a:cubicBezTo>
                      <a:pt x="21" y="31"/>
                      <a:pt x="21" y="31"/>
                      <a:pt x="21" y="31"/>
                    </a:cubicBezTo>
                    <a:close/>
                    <a:moveTo>
                      <a:pt x="79" y="22"/>
                    </a:moveTo>
                    <a:cubicBezTo>
                      <a:pt x="79" y="22"/>
                      <a:pt x="79" y="22"/>
                      <a:pt x="79" y="22"/>
                    </a:cubicBezTo>
                    <a:cubicBezTo>
                      <a:pt x="79" y="22"/>
                      <a:pt x="79" y="22"/>
                      <a:pt x="79" y="22"/>
                    </a:cubicBezTo>
                    <a:cubicBezTo>
                      <a:pt x="79" y="22"/>
                      <a:pt x="79" y="22"/>
                      <a:pt x="79" y="22"/>
                    </a:cubicBezTo>
                    <a:cubicBezTo>
                      <a:pt x="79" y="22"/>
                      <a:pt x="79" y="22"/>
                      <a:pt x="79" y="22"/>
                    </a:cubicBezTo>
                    <a:close/>
                    <a:moveTo>
                      <a:pt x="21" y="32"/>
                    </a:moveTo>
                    <a:cubicBezTo>
                      <a:pt x="21" y="31"/>
                      <a:pt x="21" y="31"/>
                      <a:pt x="21" y="31"/>
                    </a:cubicBezTo>
                    <a:cubicBezTo>
                      <a:pt x="21" y="31"/>
                      <a:pt x="21" y="32"/>
                      <a:pt x="22" y="32"/>
                    </a:cubicBezTo>
                    <a:cubicBezTo>
                      <a:pt x="21" y="32"/>
                      <a:pt x="21" y="32"/>
                      <a:pt x="21" y="32"/>
                    </a:cubicBezTo>
                    <a:cubicBezTo>
                      <a:pt x="21" y="32"/>
                      <a:pt x="21" y="32"/>
                      <a:pt x="21" y="32"/>
                    </a:cubicBezTo>
                    <a:close/>
                    <a:moveTo>
                      <a:pt x="21" y="32"/>
                    </a:moveTo>
                    <a:cubicBezTo>
                      <a:pt x="21" y="32"/>
                      <a:pt x="21" y="32"/>
                      <a:pt x="21" y="32"/>
                    </a:cubicBezTo>
                    <a:cubicBezTo>
                      <a:pt x="21" y="32"/>
                      <a:pt x="21" y="32"/>
                      <a:pt x="21" y="32"/>
                    </a:cubicBezTo>
                    <a:cubicBezTo>
                      <a:pt x="21" y="32"/>
                      <a:pt x="21" y="32"/>
                      <a:pt x="21" y="32"/>
                    </a:cubicBezTo>
                    <a:cubicBezTo>
                      <a:pt x="21" y="32"/>
                      <a:pt x="21" y="32"/>
                      <a:pt x="21" y="32"/>
                    </a:cubicBezTo>
                    <a:close/>
                    <a:moveTo>
                      <a:pt x="21" y="32"/>
                    </a:moveTo>
                    <a:cubicBezTo>
                      <a:pt x="22" y="32"/>
                      <a:pt x="23" y="33"/>
                      <a:pt x="23" y="34"/>
                    </a:cubicBezTo>
                    <a:cubicBezTo>
                      <a:pt x="22" y="34"/>
                      <a:pt x="21" y="33"/>
                      <a:pt x="21" y="32"/>
                    </a:cubicBezTo>
                    <a:cubicBezTo>
                      <a:pt x="21" y="32"/>
                      <a:pt x="21" y="32"/>
                      <a:pt x="21" y="32"/>
                    </a:cubicBezTo>
                    <a:close/>
                    <a:moveTo>
                      <a:pt x="50" y="27"/>
                    </a:moveTo>
                    <a:cubicBezTo>
                      <a:pt x="49" y="27"/>
                      <a:pt x="49" y="27"/>
                      <a:pt x="49" y="26"/>
                    </a:cubicBezTo>
                    <a:cubicBezTo>
                      <a:pt x="49" y="27"/>
                      <a:pt x="49" y="28"/>
                      <a:pt x="49" y="29"/>
                    </a:cubicBezTo>
                    <a:cubicBezTo>
                      <a:pt x="49" y="29"/>
                      <a:pt x="49" y="28"/>
                      <a:pt x="50" y="27"/>
                    </a:cubicBezTo>
                    <a:cubicBezTo>
                      <a:pt x="50" y="27"/>
                      <a:pt x="50" y="27"/>
                      <a:pt x="50" y="27"/>
                    </a:cubicBezTo>
                    <a:close/>
                    <a:moveTo>
                      <a:pt x="54" y="27"/>
                    </a:moveTo>
                    <a:cubicBezTo>
                      <a:pt x="54" y="27"/>
                      <a:pt x="53" y="27"/>
                      <a:pt x="53" y="27"/>
                    </a:cubicBezTo>
                    <a:cubicBezTo>
                      <a:pt x="53" y="28"/>
                      <a:pt x="53" y="28"/>
                      <a:pt x="54" y="29"/>
                    </a:cubicBezTo>
                    <a:cubicBezTo>
                      <a:pt x="54" y="28"/>
                      <a:pt x="54" y="27"/>
                      <a:pt x="54" y="27"/>
                    </a:cubicBezTo>
                    <a:cubicBezTo>
                      <a:pt x="54" y="27"/>
                      <a:pt x="54" y="27"/>
                      <a:pt x="54" y="27"/>
                    </a:cubicBezTo>
                    <a:close/>
                    <a:moveTo>
                      <a:pt x="53" y="29"/>
                    </a:moveTo>
                    <a:cubicBezTo>
                      <a:pt x="53" y="28"/>
                      <a:pt x="53" y="28"/>
                      <a:pt x="53" y="27"/>
                    </a:cubicBezTo>
                    <a:cubicBezTo>
                      <a:pt x="52" y="29"/>
                      <a:pt x="51" y="30"/>
                      <a:pt x="49" y="32"/>
                    </a:cubicBezTo>
                    <a:cubicBezTo>
                      <a:pt x="51" y="31"/>
                      <a:pt x="52" y="30"/>
                      <a:pt x="53" y="29"/>
                    </a:cubicBezTo>
                    <a:cubicBezTo>
                      <a:pt x="53" y="29"/>
                      <a:pt x="53" y="29"/>
                      <a:pt x="53" y="29"/>
                    </a:cubicBezTo>
                    <a:close/>
                    <a:moveTo>
                      <a:pt x="49" y="30"/>
                    </a:moveTo>
                    <a:cubicBezTo>
                      <a:pt x="49" y="29"/>
                      <a:pt x="49" y="27"/>
                      <a:pt x="49" y="26"/>
                    </a:cubicBezTo>
                    <a:cubicBezTo>
                      <a:pt x="47" y="28"/>
                      <a:pt x="43" y="32"/>
                      <a:pt x="44" y="34"/>
                    </a:cubicBezTo>
                    <a:cubicBezTo>
                      <a:pt x="44" y="35"/>
                      <a:pt x="45" y="35"/>
                      <a:pt x="45" y="35"/>
                    </a:cubicBezTo>
                    <a:cubicBezTo>
                      <a:pt x="48" y="33"/>
                      <a:pt x="48" y="33"/>
                      <a:pt x="49" y="30"/>
                    </a:cubicBezTo>
                    <a:cubicBezTo>
                      <a:pt x="49" y="30"/>
                      <a:pt x="49" y="30"/>
                      <a:pt x="49" y="30"/>
                    </a:cubicBezTo>
                    <a:close/>
                    <a:moveTo>
                      <a:pt x="53" y="29"/>
                    </a:moveTo>
                    <a:cubicBezTo>
                      <a:pt x="54" y="30"/>
                      <a:pt x="53" y="33"/>
                      <a:pt x="53" y="35"/>
                    </a:cubicBezTo>
                    <a:cubicBezTo>
                      <a:pt x="51" y="35"/>
                      <a:pt x="49" y="35"/>
                      <a:pt x="47" y="36"/>
                    </a:cubicBezTo>
                    <a:cubicBezTo>
                      <a:pt x="49" y="31"/>
                      <a:pt x="49" y="32"/>
                      <a:pt x="53" y="29"/>
                    </a:cubicBezTo>
                    <a:cubicBezTo>
                      <a:pt x="53" y="29"/>
                      <a:pt x="53" y="29"/>
                      <a:pt x="53" y="29"/>
                    </a:cubicBezTo>
                    <a:close/>
                    <a:moveTo>
                      <a:pt x="25" y="33"/>
                    </a:moveTo>
                    <a:cubicBezTo>
                      <a:pt x="24" y="32"/>
                      <a:pt x="23" y="32"/>
                      <a:pt x="22" y="32"/>
                    </a:cubicBezTo>
                    <a:cubicBezTo>
                      <a:pt x="22" y="32"/>
                      <a:pt x="23" y="35"/>
                      <a:pt x="23" y="35"/>
                    </a:cubicBezTo>
                    <a:cubicBezTo>
                      <a:pt x="24" y="36"/>
                      <a:pt x="26" y="37"/>
                      <a:pt x="27" y="38"/>
                    </a:cubicBezTo>
                    <a:cubicBezTo>
                      <a:pt x="29" y="40"/>
                      <a:pt x="31" y="41"/>
                      <a:pt x="33" y="42"/>
                    </a:cubicBezTo>
                    <a:cubicBezTo>
                      <a:pt x="33" y="41"/>
                      <a:pt x="33" y="41"/>
                      <a:pt x="31" y="39"/>
                    </a:cubicBezTo>
                    <a:cubicBezTo>
                      <a:pt x="29" y="37"/>
                      <a:pt x="27" y="35"/>
                      <a:pt x="24" y="34"/>
                    </a:cubicBezTo>
                    <a:cubicBezTo>
                      <a:pt x="26" y="34"/>
                      <a:pt x="30" y="38"/>
                      <a:pt x="31" y="39"/>
                    </a:cubicBezTo>
                    <a:cubicBezTo>
                      <a:pt x="32" y="39"/>
                      <a:pt x="32" y="40"/>
                      <a:pt x="33" y="41"/>
                    </a:cubicBezTo>
                    <a:cubicBezTo>
                      <a:pt x="33" y="38"/>
                      <a:pt x="33" y="38"/>
                      <a:pt x="33" y="38"/>
                    </a:cubicBezTo>
                    <a:cubicBezTo>
                      <a:pt x="28" y="34"/>
                      <a:pt x="30" y="34"/>
                      <a:pt x="25" y="33"/>
                    </a:cubicBezTo>
                    <a:cubicBezTo>
                      <a:pt x="25" y="33"/>
                      <a:pt x="25" y="33"/>
                      <a:pt x="25" y="33"/>
                    </a:cubicBezTo>
                    <a:close/>
                    <a:moveTo>
                      <a:pt x="24" y="37"/>
                    </a:moveTo>
                    <a:cubicBezTo>
                      <a:pt x="24" y="37"/>
                      <a:pt x="23" y="36"/>
                      <a:pt x="23" y="36"/>
                    </a:cubicBezTo>
                    <a:cubicBezTo>
                      <a:pt x="23" y="37"/>
                      <a:pt x="24" y="39"/>
                      <a:pt x="24" y="40"/>
                    </a:cubicBezTo>
                    <a:cubicBezTo>
                      <a:pt x="25" y="40"/>
                      <a:pt x="26" y="40"/>
                      <a:pt x="28" y="40"/>
                    </a:cubicBezTo>
                    <a:cubicBezTo>
                      <a:pt x="26" y="39"/>
                      <a:pt x="25" y="38"/>
                      <a:pt x="24" y="37"/>
                    </a:cubicBezTo>
                    <a:cubicBezTo>
                      <a:pt x="24" y="37"/>
                      <a:pt x="24" y="37"/>
                      <a:pt x="24" y="37"/>
                    </a:cubicBezTo>
                    <a:close/>
                    <a:moveTo>
                      <a:pt x="33" y="37"/>
                    </a:moveTo>
                    <a:cubicBezTo>
                      <a:pt x="33" y="36"/>
                      <a:pt x="33" y="36"/>
                      <a:pt x="33" y="36"/>
                    </a:cubicBezTo>
                    <a:cubicBezTo>
                      <a:pt x="34" y="36"/>
                      <a:pt x="34" y="36"/>
                      <a:pt x="34" y="38"/>
                    </a:cubicBezTo>
                    <a:cubicBezTo>
                      <a:pt x="34" y="37"/>
                      <a:pt x="34" y="37"/>
                      <a:pt x="33" y="37"/>
                    </a:cubicBezTo>
                    <a:cubicBezTo>
                      <a:pt x="33" y="37"/>
                      <a:pt x="33" y="37"/>
                      <a:pt x="33" y="37"/>
                    </a:cubicBezTo>
                    <a:close/>
                    <a:moveTo>
                      <a:pt x="45" y="36"/>
                    </a:moveTo>
                    <a:cubicBezTo>
                      <a:pt x="45" y="35"/>
                      <a:pt x="44" y="35"/>
                      <a:pt x="44" y="34"/>
                    </a:cubicBezTo>
                    <a:cubicBezTo>
                      <a:pt x="44" y="35"/>
                      <a:pt x="44" y="36"/>
                      <a:pt x="44" y="36"/>
                    </a:cubicBezTo>
                    <a:cubicBezTo>
                      <a:pt x="44" y="36"/>
                      <a:pt x="45" y="36"/>
                      <a:pt x="45" y="36"/>
                    </a:cubicBezTo>
                    <a:cubicBezTo>
                      <a:pt x="45" y="36"/>
                      <a:pt x="45" y="36"/>
                      <a:pt x="45" y="36"/>
                    </a:cubicBezTo>
                    <a:close/>
                    <a:moveTo>
                      <a:pt x="20" y="39"/>
                    </a:moveTo>
                    <a:cubicBezTo>
                      <a:pt x="21" y="39"/>
                      <a:pt x="21" y="40"/>
                      <a:pt x="21" y="40"/>
                    </a:cubicBezTo>
                    <a:cubicBezTo>
                      <a:pt x="21" y="40"/>
                      <a:pt x="21" y="39"/>
                      <a:pt x="20" y="39"/>
                    </a:cubicBezTo>
                    <a:cubicBezTo>
                      <a:pt x="20" y="39"/>
                      <a:pt x="20" y="39"/>
                      <a:pt x="20" y="39"/>
                    </a:cubicBezTo>
                    <a:close/>
                    <a:moveTo>
                      <a:pt x="47" y="34"/>
                    </a:moveTo>
                    <a:cubicBezTo>
                      <a:pt x="46" y="35"/>
                      <a:pt x="46" y="35"/>
                      <a:pt x="45" y="36"/>
                    </a:cubicBezTo>
                    <a:cubicBezTo>
                      <a:pt x="45" y="36"/>
                      <a:pt x="46" y="36"/>
                      <a:pt x="46" y="37"/>
                    </a:cubicBezTo>
                    <a:cubicBezTo>
                      <a:pt x="46" y="36"/>
                      <a:pt x="47" y="35"/>
                      <a:pt x="47" y="34"/>
                    </a:cubicBezTo>
                    <a:cubicBezTo>
                      <a:pt x="47" y="34"/>
                      <a:pt x="47" y="34"/>
                      <a:pt x="47" y="34"/>
                    </a:cubicBezTo>
                    <a:cubicBezTo>
                      <a:pt x="47" y="34"/>
                      <a:pt x="47" y="34"/>
                      <a:pt x="47" y="34"/>
                    </a:cubicBezTo>
                    <a:close/>
                    <a:moveTo>
                      <a:pt x="61" y="33"/>
                    </a:moveTo>
                    <a:cubicBezTo>
                      <a:pt x="61" y="33"/>
                      <a:pt x="61" y="33"/>
                      <a:pt x="61" y="33"/>
                    </a:cubicBezTo>
                    <a:cubicBezTo>
                      <a:pt x="61" y="33"/>
                      <a:pt x="61" y="33"/>
                      <a:pt x="61" y="34"/>
                    </a:cubicBezTo>
                    <a:cubicBezTo>
                      <a:pt x="61" y="33"/>
                      <a:pt x="61" y="33"/>
                      <a:pt x="61" y="33"/>
                    </a:cubicBezTo>
                    <a:cubicBezTo>
                      <a:pt x="61" y="34"/>
                      <a:pt x="60" y="34"/>
                      <a:pt x="60" y="34"/>
                    </a:cubicBezTo>
                    <a:cubicBezTo>
                      <a:pt x="59" y="36"/>
                      <a:pt x="58" y="39"/>
                      <a:pt x="57" y="41"/>
                    </a:cubicBezTo>
                    <a:cubicBezTo>
                      <a:pt x="56" y="40"/>
                      <a:pt x="56" y="39"/>
                      <a:pt x="56" y="39"/>
                    </a:cubicBezTo>
                    <a:cubicBezTo>
                      <a:pt x="57" y="38"/>
                      <a:pt x="58" y="37"/>
                      <a:pt x="58" y="36"/>
                    </a:cubicBezTo>
                    <a:cubicBezTo>
                      <a:pt x="57" y="36"/>
                      <a:pt x="57" y="38"/>
                      <a:pt x="56" y="38"/>
                    </a:cubicBezTo>
                    <a:cubicBezTo>
                      <a:pt x="55" y="38"/>
                      <a:pt x="55" y="37"/>
                      <a:pt x="55" y="37"/>
                    </a:cubicBezTo>
                    <a:cubicBezTo>
                      <a:pt x="55" y="37"/>
                      <a:pt x="56" y="37"/>
                      <a:pt x="56" y="36"/>
                    </a:cubicBezTo>
                    <a:cubicBezTo>
                      <a:pt x="56" y="36"/>
                      <a:pt x="56" y="36"/>
                      <a:pt x="56" y="36"/>
                    </a:cubicBezTo>
                    <a:cubicBezTo>
                      <a:pt x="56" y="37"/>
                      <a:pt x="55" y="37"/>
                      <a:pt x="55" y="37"/>
                    </a:cubicBezTo>
                    <a:cubicBezTo>
                      <a:pt x="55" y="36"/>
                      <a:pt x="54" y="36"/>
                      <a:pt x="54" y="35"/>
                    </a:cubicBezTo>
                    <a:cubicBezTo>
                      <a:pt x="54" y="35"/>
                      <a:pt x="55" y="35"/>
                      <a:pt x="55" y="34"/>
                    </a:cubicBezTo>
                    <a:cubicBezTo>
                      <a:pt x="57" y="34"/>
                      <a:pt x="59" y="34"/>
                      <a:pt x="61" y="33"/>
                    </a:cubicBezTo>
                    <a:cubicBezTo>
                      <a:pt x="61" y="33"/>
                      <a:pt x="61" y="33"/>
                      <a:pt x="61" y="33"/>
                    </a:cubicBezTo>
                    <a:close/>
                    <a:moveTo>
                      <a:pt x="55" y="35"/>
                    </a:moveTo>
                    <a:cubicBezTo>
                      <a:pt x="54" y="35"/>
                      <a:pt x="54" y="35"/>
                      <a:pt x="54" y="35"/>
                    </a:cubicBezTo>
                    <a:cubicBezTo>
                      <a:pt x="54" y="35"/>
                      <a:pt x="54" y="35"/>
                      <a:pt x="54" y="35"/>
                    </a:cubicBezTo>
                    <a:cubicBezTo>
                      <a:pt x="54" y="35"/>
                      <a:pt x="54" y="35"/>
                      <a:pt x="55" y="35"/>
                    </a:cubicBezTo>
                    <a:cubicBezTo>
                      <a:pt x="55" y="35"/>
                      <a:pt x="55" y="35"/>
                      <a:pt x="55" y="35"/>
                    </a:cubicBezTo>
                    <a:close/>
                    <a:moveTo>
                      <a:pt x="54" y="35"/>
                    </a:moveTo>
                    <a:cubicBezTo>
                      <a:pt x="53" y="35"/>
                      <a:pt x="53" y="35"/>
                      <a:pt x="53" y="35"/>
                    </a:cubicBezTo>
                    <a:cubicBezTo>
                      <a:pt x="53" y="35"/>
                      <a:pt x="53" y="36"/>
                      <a:pt x="53" y="36"/>
                    </a:cubicBezTo>
                    <a:cubicBezTo>
                      <a:pt x="53" y="36"/>
                      <a:pt x="54" y="35"/>
                      <a:pt x="54" y="35"/>
                    </a:cubicBezTo>
                    <a:cubicBezTo>
                      <a:pt x="54" y="35"/>
                      <a:pt x="54" y="35"/>
                      <a:pt x="54" y="35"/>
                    </a:cubicBezTo>
                    <a:cubicBezTo>
                      <a:pt x="54" y="35"/>
                      <a:pt x="54" y="35"/>
                      <a:pt x="54" y="35"/>
                    </a:cubicBezTo>
                    <a:close/>
                    <a:moveTo>
                      <a:pt x="35" y="38"/>
                    </a:moveTo>
                    <a:cubicBezTo>
                      <a:pt x="35" y="37"/>
                      <a:pt x="35" y="37"/>
                      <a:pt x="34" y="37"/>
                    </a:cubicBezTo>
                    <a:cubicBezTo>
                      <a:pt x="35" y="37"/>
                      <a:pt x="36" y="38"/>
                      <a:pt x="36" y="39"/>
                    </a:cubicBezTo>
                    <a:cubicBezTo>
                      <a:pt x="36" y="38"/>
                      <a:pt x="35" y="38"/>
                      <a:pt x="35" y="38"/>
                    </a:cubicBezTo>
                    <a:cubicBezTo>
                      <a:pt x="35" y="38"/>
                      <a:pt x="35" y="38"/>
                      <a:pt x="35" y="38"/>
                    </a:cubicBezTo>
                    <a:close/>
                    <a:moveTo>
                      <a:pt x="60" y="34"/>
                    </a:moveTo>
                    <a:cubicBezTo>
                      <a:pt x="60" y="34"/>
                      <a:pt x="60" y="34"/>
                      <a:pt x="60" y="34"/>
                    </a:cubicBezTo>
                    <a:cubicBezTo>
                      <a:pt x="60" y="34"/>
                      <a:pt x="60" y="34"/>
                      <a:pt x="60" y="34"/>
                    </a:cubicBezTo>
                    <a:cubicBezTo>
                      <a:pt x="60" y="34"/>
                      <a:pt x="60" y="34"/>
                      <a:pt x="60" y="34"/>
                    </a:cubicBezTo>
                    <a:cubicBezTo>
                      <a:pt x="60" y="34"/>
                      <a:pt x="60" y="34"/>
                      <a:pt x="60" y="34"/>
                    </a:cubicBezTo>
                    <a:close/>
                    <a:moveTo>
                      <a:pt x="47" y="36"/>
                    </a:moveTo>
                    <a:cubicBezTo>
                      <a:pt x="49" y="36"/>
                      <a:pt x="51" y="35"/>
                      <a:pt x="53" y="35"/>
                    </a:cubicBezTo>
                    <a:cubicBezTo>
                      <a:pt x="52" y="37"/>
                      <a:pt x="51" y="40"/>
                      <a:pt x="51" y="42"/>
                    </a:cubicBezTo>
                    <a:cubicBezTo>
                      <a:pt x="50" y="41"/>
                      <a:pt x="49" y="40"/>
                      <a:pt x="48" y="39"/>
                    </a:cubicBezTo>
                    <a:cubicBezTo>
                      <a:pt x="52" y="38"/>
                      <a:pt x="52" y="38"/>
                      <a:pt x="52" y="38"/>
                    </a:cubicBezTo>
                    <a:cubicBezTo>
                      <a:pt x="50" y="38"/>
                      <a:pt x="49" y="39"/>
                      <a:pt x="48" y="39"/>
                    </a:cubicBezTo>
                    <a:cubicBezTo>
                      <a:pt x="48" y="38"/>
                      <a:pt x="48" y="38"/>
                      <a:pt x="47" y="38"/>
                    </a:cubicBezTo>
                    <a:cubicBezTo>
                      <a:pt x="48" y="38"/>
                      <a:pt x="48" y="38"/>
                      <a:pt x="48" y="39"/>
                    </a:cubicBezTo>
                    <a:cubicBezTo>
                      <a:pt x="48" y="39"/>
                      <a:pt x="47" y="39"/>
                      <a:pt x="47" y="39"/>
                    </a:cubicBezTo>
                    <a:cubicBezTo>
                      <a:pt x="47" y="38"/>
                      <a:pt x="47" y="38"/>
                      <a:pt x="46" y="37"/>
                    </a:cubicBezTo>
                    <a:cubicBezTo>
                      <a:pt x="47" y="36"/>
                      <a:pt x="47" y="36"/>
                      <a:pt x="47" y="36"/>
                    </a:cubicBezTo>
                    <a:cubicBezTo>
                      <a:pt x="47" y="36"/>
                      <a:pt x="47" y="36"/>
                      <a:pt x="47" y="36"/>
                    </a:cubicBezTo>
                    <a:close/>
                    <a:moveTo>
                      <a:pt x="24" y="40"/>
                    </a:moveTo>
                    <a:cubicBezTo>
                      <a:pt x="23" y="40"/>
                      <a:pt x="23" y="40"/>
                      <a:pt x="22" y="40"/>
                    </a:cubicBezTo>
                    <a:cubicBezTo>
                      <a:pt x="23" y="42"/>
                      <a:pt x="24" y="43"/>
                      <a:pt x="25" y="44"/>
                    </a:cubicBezTo>
                    <a:cubicBezTo>
                      <a:pt x="24" y="40"/>
                      <a:pt x="24" y="40"/>
                      <a:pt x="24" y="40"/>
                    </a:cubicBezTo>
                    <a:cubicBezTo>
                      <a:pt x="24" y="40"/>
                      <a:pt x="24" y="40"/>
                      <a:pt x="24" y="40"/>
                    </a:cubicBezTo>
                    <a:close/>
                    <a:moveTo>
                      <a:pt x="44" y="37"/>
                    </a:moveTo>
                    <a:cubicBezTo>
                      <a:pt x="45" y="36"/>
                      <a:pt x="45" y="36"/>
                      <a:pt x="45" y="36"/>
                    </a:cubicBezTo>
                    <a:cubicBezTo>
                      <a:pt x="45" y="36"/>
                      <a:pt x="46" y="36"/>
                      <a:pt x="46" y="37"/>
                    </a:cubicBezTo>
                    <a:cubicBezTo>
                      <a:pt x="45" y="38"/>
                      <a:pt x="45" y="38"/>
                      <a:pt x="44" y="39"/>
                    </a:cubicBezTo>
                    <a:cubicBezTo>
                      <a:pt x="44" y="38"/>
                      <a:pt x="44" y="38"/>
                      <a:pt x="44" y="37"/>
                    </a:cubicBezTo>
                    <a:cubicBezTo>
                      <a:pt x="44" y="37"/>
                      <a:pt x="44" y="37"/>
                      <a:pt x="44" y="37"/>
                    </a:cubicBezTo>
                    <a:close/>
                    <a:moveTo>
                      <a:pt x="28" y="40"/>
                    </a:moveTo>
                    <a:cubicBezTo>
                      <a:pt x="27" y="40"/>
                      <a:pt x="25" y="40"/>
                      <a:pt x="24" y="40"/>
                    </a:cubicBezTo>
                    <a:cubicBezTo>
                      <a:pt x="25" y="45"/>
                      <a:pt x="25" y="45"/>
                      <a:pt x="25" y="45"/>
                    </a:cubicBezTo>
                    <a:cubicBezTo>
                      <a:pt x="26" y="45"/>
                      <a:pt x="26" y="45"/>
                      <a:pt x="26" y="46"/>
                    </a:cubicBezTo>
                    <a:cubicBezTo>
                      <a:pt x="27" y="46"/>
                      <a:pt x="27" y="46"/>
                      <a:pt x="28" y="46"/>
                    </a:cubicBezTo>
                    <a:cubicBezTo>
                      <a:pt x="27" y="44"/>
                      <a:pt x="27" y="42"/>
                      <a:pt x="27" y="41"/>
                    </a:cubicBezTo>
                    <a:cubicBezTo>
                      <a:pt x="27" y="41"/>
                      <a:pt x="27" y="41"/>
                      <a:pt x="27" y="41"/>
                    </a:cubicBezTo>
                    <a:cubicBezTo>
                      <a:pt x="27" y="42"/>
                      <a:pt x="27" y="44"/>
                      <a:pt x="28" y="46"/>
                    </a:cubicBezTo>
                    <a:cubicBezTo>
                      <a:pt x="30" y="46"/>
                      <a:pt x="31" y="45"/>
                      <a:pt x="32" y="45"/>
                    </a:cubicBezTo>
                    <a:cubicBezTo>
                      <a:pt x="32" y="44"/>
                      <a:pt x="32" y="44"/>
                      <a:pt x="32" y="44"/>
                    </a:cubicBezTo>
                    <a:cubicBezTo>
                      <a:pt x="32" y="44"/>
                      <a:pt x="32" y="44"/>
                      <a:pt x="33" y="45"/>
                    </a:cubicBezTo>
                    <a:cubicBezTo>
                      <a:pt x="33" y="45"/>
                      <a:pt x="34" y="44"/>
                      <a:pt x="34" y="44"/>
                    </a:cubicBezTo>
                    <a:cubicBezTo>
                      <a:pt x="32" y="43"/>
                      <a:pt x="30" y="41"/>
                      <a:pt x="28" y="40"/>
                    </a:cubicBezTo>
                    <a:cubicBezTo>
                      <a:pt x="28" y="40"/>
                      <a:pt x="28" y="40"/>
                      <a:pt x="28" y="40"/>
                    </a:cubicBezTo>
                    <a:close/>
                    <a:moveTo>
                      <a:pt x="54" y="35"/>
                    </a:moveTo>
                    <a:cubicBezTo>
                      <a:pt x="52" y="37"/>
                      <a:pt x="53" y="37"/>
                      <a:pt x="52" y="39"/>
                    </a:cubicBezTo>
                    <a:cubicBezTo>
                      <a:pt x="55" y="37"/>
                      <a:pt x="55" y="37"/>
                      <a:pt x="55" y="37"/>
                    </a:cubicBezTo>
                    <a:cubicBezTo>
                      <a:pt x="55" y="36"/>
                      <a:pt x="54" y="36"/>
                      <a:pt x="54" y="35"/>
                    </a:cubicBezTo>
                    <a:cubicBezTo>
                      <a:pt x="54" y="35"/>
                      <a:pt x="54" y="35"/>
                      <a:pt x="54" y="35"/>
                    </a:cubicBezTo>
                    <a:close/>
                    <a:moveTo>
                      <a:pt x="46" y="38"/>
                    </a:moveTo>
                    <a:cubicBezTo>
                      <a:pt x="46" y="38"/>
                      <a:pt x="46" y="38"/>
                      <a:pt x="46" y="38"/>
                    </a:cubicBezTo>
                    <a:cubicBezTo>
                      <a:pt x="46" y="38"/>
                      <a:pt x="47" y="38"/>
                      <a:pt x="47" y="39"/>
                    </a:cubicBezTo>
                    <a:cubicBezTo>
                      <a:pt x="46" y="39"/>
                      <a:pt x="46" y="38"/>
                      <a:pt x="46" y="38"/>
                    </a:cubicBezTo>
                    <a:cubicBezTo>
                      <a:pt x="46" y="38"/>
                      <a:pt x="46" y="38"/>
                      <a:pt x="46" y="38"/>
                    </a:cubicBezTo>
                    <a:close/>
                    <a:moveTo>
                      <a:pt x="59" y="36"/>
                    </a:moveTo>
                    <a:cubicBezTo>
                      <a:pt x="60" y="35"/>
                      <a:pt x="61" y="35"/>
                      <a:pt x="63" y="34"/>
                    </a:cubicBezTo>
                    <a:cubicBezTo>
                      <a:pt x="60" y="39"/>
                      <a:pt x="62" y="37"/>
                      <a:pt x="57" y="41"/>
                    </a:cubicBezTo>
                    <a:cubicBezTo>
                      <a:pt x="58" y="40"/>
                      <a:pt x="59" y="38"/>
                      <a:pt x="59" y="36"/>
                    </a:cubicBezTo>
                    <a:cubicBezTo>
                      <a:pt x="59" y="36"/>
                      <a:pt x="59" y="36"/>
                      <a:pt x="59" y="36"/>
                    </a:cubicBezTo>
                    <a:close/>
                    <a:moveTo>
                      <a:pt x="47" y="39"/>
                    </a:moveTo>
                    <a:cubicBezTo>
                      <a:pt x="47" y="39"/>
                      <a:pt x="46" y="39"/>
                      <a:pt x="46" y="39"/>
                    </a:cubicBezTo>
                    <a:cubicBezTo>
                      <a:pt x="45" y="39"/>
                      <a:pt x="45" y="40"/>
                      <a:pt x="44" y="41"/>
                    </a:cubicBezTo>
                    <a:cubicBezTo>
                      <a:pt x="45" y="42"/>
                      <a:pt x="45" y="45"/>
                      <a:pt x="45" y="46"/>
                    </a:cubicBezTo>
                    <a:cubicBezTo>
                      <a:pt x="45" y="47"/>
                      <a:pt x="45" y="48"/>
                      <a:pt x="45" y="49"/>
                    </a:cubicBezTo>
                    <a:cubicBezTo>
                      <a:pt x="46" y="48"/>
                      <a:pt x="47" y="48"/>
                      <a:pt x="47" y="47"/>
                    </a:cubicBezTo>
                    <a:cubicBezTo>
                      <a:pt x="47" y="48"/>
                      <a:pt x="46" y="48"/>
                      <a:pt x="46" y="49"/>
                    </a:cubicBezTo>
                    <a:cubicBezTo>
                      <a:pt x="47" y="49"/>
                      <a:pt x="48" y="49"/>
                      <a:pt x="49" y="49"/>
                    </a:cubicBezTo>
                    <a:cubicBezTo>
                      <a:pt x="51" y="45"/>
                      <a:pt x="49" y="43"/>
                      <a:pt x="47" y="39"/>
                    </a:cubicBezTo>
                    <a:cubicBezTo>
                      <a:pt x="47" y="39"/>
                      <a:pt x="47" y="39"/>
                      <a:pt x="47" y="39"/>
                    </a:cubicBezTo>
                    <a:close/>
                    <a:moveTo>
                      <a:pt x="33" y="41"/>
                    </a:moveTo>
                    <a:cubicBezTo>
                      <a:pt x="33" y="40"/>
                      <a:pt x="33" y="39"/>
                      <a:pt x="33" y="38"/>
                    </a:cubicBezTo>
                    <a:cubicBezTo>
                      <a:pt x="35" y="39"/>
                      <a:pt x="38" y="41"/>
                      <a:pt x="40" y="42"/>
                    </a:cubicBezTo>
                    <a:cubicBezTo>
                      <a:pt x="39" y="43"/>
                      <a:pt x="37" y="43"/>
                      <a:pt x="36" y="44"/>
                    </a:cubicBezTo>
                    <a:cubicBezTo>
                      <a:pt x="33" y="41"/>
                      <a:pt x="33" y="41"/>
                      <a:pt x="33" y="41"/>
                    </a:cubicBezTo>
                    <a:cubicBezTo>
                      <a:pt x="33" y="41"/>
                      <a:pt x="33" y="41"/>
                      <a:pt x="33" y="41"/>
                    </a:cubicBezTo>
                    <a:close/>
                    <a:moveTo>
                      <a:pt x="48" y="39"/>
                    </a:moveTo>
                    <a:cubicBezTo>
                      <a:pt x="48" y="39"/>
                      <a:pt x="48" y="39"/>
                      <a:pt x="47" y="39"/>
                    </a:cubicBezTo>
                    <a:cubicBezTo>
                      <a:pt x="49" y="43"/>
                      <a:pt x="49" y="43"/>
                      <a:pt x="49" y="43"/>
                    </a:cubicBezTo>
                    <a:cubicBezTo>
                      <a:pt x="49" y="41"/>
                      <a:pt x="49" y="41"/>
                      <a:pt x="49" y="41"/>
                    </a:cubicBezTo>
                    <a:cubicBezTo>
                      <a:pt x="49" y="41"/>
                      <a:pt x="49" y="41"/>
                      <a:pt x="49" y="41"/>
                    </a:cubicBezTo>
                    <a:cubicBezTo>
                      <a:pt x="49" y="43"/>
                      <a:pt x="50" y="44"/>
                      <a:pt x="50" y="45"/>
                    </a:cubicBezTo>
                    <a:cubicBezTo>
                      <a:pt x="50" y="44"/>
                      <a:pt x="51" y="43"/>
                      <a:pt x="51" y="42"/>
                    </a:cubicBezTo>
                    <a:cubicBezTo>
                      <a:pt x="50" y="41"/>
                      <a:pt x="49" y="40"/>
                      <a:pt x="48" y="39"/>
                    </a:cubicBezTo>
                    <a:cubicBezTo>
                      <a:pt x="48" y="39"/>
                      <a:pt x="48" y="39"/>
                      <a:pt x="48" y="39"/>
                    </a:cubicBezTo>
                    <a:close/>
                    <a:moveTo>
                      <a:pt x="56" y="39"/>
                    </a:moveTo>
                    <a:cubicBezTo>
                      <a:pt x="55" y="38"/>
                      <a:pt x="55" y="38"/>
                      <a:pt x="55" y="37"/>
                    </a:cubicBezTo>
                    <a:cubicBezTo>
                      <a:pt x="51" y="40"/>
                      <a:pt x="52" y="39"/>
                      <a:pt x="51" y="45"/>
                    </a:cubicBezTo>
                    <a:cubicBezTo>
                      <a:pt x="52" y="43"/>
                      <a:pt x="54" y="41"/>
                      <a:pt x="56" y="39"/>
                    </a:cubicBezTo>
                    <a:cubicBezTo>
                      <a:pt x="56" y="39"/>
                      <a:pt x="56" y="39"/>
                      <a:pt x="56" y="39"/>
                    </a:cubicBezTo>
                    <a:close/>
                    <a:moveTo>
                      <a:pt x="33" y="42"/>
                    </a:moveTo>
                    <a:cubicBezTo>
                      <a:pt x="33" y="42"/>
                      <a:pt x="33" y="42"/>
                      <a:pt x="33" y="41"/>
                    </a:cubicBezTo>
                    <a:cubicBezTo>
                      <a:pt x="34" y="42"/>
                      <a:pt x="35" y="43"/>
                      <a:pt x="35" y="43"/>
                    </a:cubicBezTo>
                    <a:cubicBezTo>
                      <a:pt x="35" y="43"/>
                      <a:pt x="34" y="43"/>
                      <a:pt x="33" y="42"/>
                    </a:cubicBezTo>
                    <a:cubicBezTo>
                      <a:pt x="33" y="42"/>
                      <a:pt x="33" y="42"/>
                      <a:pt x="33" y="42"/>
                    </a:cubicBezTo>
                    <a:close/>
                    <a:moveTo>
                      <a:pt x="66" y="39"/>
                    </a:moveTo>
                    <a:cubicBezTo>
                      <a:pt x="66" y="39"/>
                      <a:pt x="67" y="39"/>
                      <a:pt x="67" y="39"/>
                    </a:cubicBezTo>
                    <a:cubicBezTo>
                      <a:pt x="67" y="39"/>
                      <a:pt x="66" y="39"/>
                      <a:pt x="66" y="39"/>
                    </a:cubicBezTo>
                    <a:cubicBezTo>
                      <a:pt x="66" y="39"/>
                      <a:pt x="66" y="39"/>
                      <a:pt x="66" y="39"/>
                    </a:cubicBezTo>
                    <a:cubicBezTo>
                      <a:pt x="66" y="39"/>
                      <a:pt x="66" y="39"/>
                      <a:pt x="66" y="39"/>
                    </a:cubicBezTo>
                    <a:cubicBezTo>
                      <a:pt x="65" y="40"/>
                      <a:pt x="64" y="40"/>
                      <a:pt x="63" y="41"/>
                    </a:cubicBezTo>
                    <a:cubicBezTo>
                      <a:pt x="64" y="39"/>
                      <a:pt x="64" y="39"/>
                      <a:pt x="66" y="39"/>
                    </a:cubicBezTo>
                    <a:cubicBezTo>
                      <a:pt x="66" y="39"/>
                      <a:pt x="66" y="39"/>
                      <a:pt x="66" y="39"/>
                    </a:cubicBezTo>
                    <a:close/>
                    <a:moveTo>
                      <a:pt x="36" y="44"/>
                    </a:moveTo>
                    <a:cubicBezTo>
                      <a:pt x="37" y="43"/>
                      <a:pt x="39" y="43"/>
                      <a:pt x="40" y="42"/>
                    </a:cubicBezTo>
                    <a:cubicBezTo>
                      <a:pt x="41" y="43"/>
                      <a:pt x="42" y="43"/>
                      <a:pt x="43" y="44"/>
                    </a:cubicBezTo>
                    <a:cubicBezTo>
                      <a:pt x="43" y="44"/>
                      <a:pt x="43" y="45"/>
                      <a:pt x="43" y="46"/>
                    </a:cubicBezTo>
                    <a:cubicBezTo>
                      <a:pt x="39" y="45"/>
                      <a:pt x="39" y="45"/>
                      <a:pt x="36" y="44"/>
                    </a:cubicBezTo>
                    <a:cubicBezTo>
                      <a:pt x="36" y="44"/>
                      <a:pt x="36" y="44"/>
                      <a:pt x="36" y="44"/>
                    </a:cubicBezTo>
                    <a:close/>
                    <a:moveTo>
                      <a:pt x="57" y="41"/>
                    </a:moveTo>
                    <a:cubicBezTo>
                      <a:pt x="56" y="40"/>
                      <a:pt x="56" y="39"/>
                      <a:pt x="56" y="39"/>
                    </a:cubicBezTo>
                    <a:cubicBezTo>
                      <a:pt x="54" y="40"/>
                      <a:pt x="50" y="45"/>
                      <a:pt x="50" y="47"/>
                    </a:cubicBezTo>
                    <a:cubicBezTo>
                      <a:pt x="50" y="48"/>
                      <a:pt x="50" y="48"/>
                      <a:pt x="50" y="48"/>
                    </a:cubicBezTo>
                    <a:cubicBezTo>
                      <a:pt x="52" y="48"/>
                      <a:pt x="54" y="45"/>
                      <a:pt x="55" y="43"/>
                    </a:cubicBezTo>
                    <a:cubicBezTo>
                      <a:pt x="55" y="42"/>
                      <a:pt x="55" y="42"/>
                      <a:pt x="55" y="41"/>
                    </a:cubicBezTo>
                    <a:cubicBezTo>
                      <a:pt x="55" y="41"/>
                      <a:pt x="55" y="42"/>
                      <a:pt x="56" y="43"/>
                    </a:cubicBezTo>
                    <a:cubicBezTo>
                      <a:pt x="56" y="42"/>
                      <a:pt x="56" y="42"/>
                      <a:pt x="57" y="41"/>
                    </a:cubicBezTo>
                    <a:cubicBezTo>
                      <a:pt x="57" y="41"/>
                      <a:pt x="57" y="41"/>
                      <a:pt x="57" y="41"/>
                    </a:cubicBezTo>
                    <a:close/>
                    <a:moveTo>
                      <a:pt x="33" y="45"/>
                    </a:moveTo>
                    <a:cubicBezTo>
                      <a:pt x="33" y="45"/>
                      <a:pt x="34" y="44"/>
                      <a:pt x="35" y="44"/>
                    </a:cubicBezTo>
                    <a:cubicBezTo>
                      <a:pt x="35" y="45"/>
                      <a:pt x="36" y="45"/>
                      <a:pt x="37" y="45"/>
                    </a:cubicBezTo>
                    <a:cubicBezTo>
                      <a:pt x="36" y="45"/>
                      <a:pt x="34" y="45"/>
                      <a:pt x="33" y="45"/>
                    </a:cubicBezTo>
                    <a:cubicBezTo>
                      <a:pt x="33" y="45"/>
                      <a:pt x="33" y="45"/>
                      <a:pt x="33" y="45"/>
                    </a:cubicBezTo>
                    <a:cubicBezTo>
                      <a:pt x="33" y="45"/>
                      <a:pt x="33" y="45"/>
                      <a:pt x="33" y="45"/>
                    </a:cubicBezTo>
                    <a:close/>
                    <a:moveTo>
                      <a:pt x="28" y="46"/>
                    </a:moveTo>
                    <a:cubicBezTo>
                      <a:pt x="27" y="46"/>
                      <a:pt x="27" y="46"/>
                      <a:pt x="26" y="46"/>
                    </a:cubicBezTo>
                    <a:cubicBezTo>
                      <a:pt x="27" y="46"/>
                      <a:pt x="27" y="47"/>
                      <a:pt x="28" y="47"/>
                    </a:cubicBezTo>
                    <a:cubicBezTo>
                      <a:pt x="28" y="47"/>
                      <a:pt x="28" y="46"/>
                      <a:pt x="28" y="46"/>
                    </a:cubicBezTo>
                    <a:cubicBezTo>
                      <a:pt x="28" y="46"/>
                      <a:pt x="28" y="46"/>
                      <a:pt x="28" y="46"/>
                    </a:cubicBezTo>
                    <a:close/>
                    <a:moveTo>
                      <a:pt x="30" y="46"/>
                    </a:moveTo>
                    <a:cubicBezTo>
                      <a:pt x="31" y="45"/>
                      <a:pt x="32" y="45"/>
                      <a:pt x="32" y="45"/>
                    </a:cubicBezTo>
                    <a:cubicBezTo>
                      <a:pt x="33" y="45"/>
                      <a:pt x="33" y="45"/>
                      <a:pt x="33" y="45"/>
                    </a:cubicBezTo>
                    <a:cubicBezTo>
                      <a:pt x="32" y="46"/>
                      <a:pt x="31" y="46"/>
                      <a:pt x="30" y="46"/>
                    </a:cubicBezTo>
                    <a:cubicBezTo>
                      <a:pt x="30" y="46"/>
                      <a:pt x="30" y="46"/>
                      <a:pt x="30" y="46"/>
                    </a:cubicBezTo>
                    <a:close/>
                    <a:moveTo>
                      <a:pt x="28" y="46"/>
                    </a:moveTo>
                    <a:cubicBezTo>
                      <a:pt x="28" y="46"/>
                      <a:pt x="29" y="46"/>
                      <a:pt x="29" y="46"/>
                    </a:cubicBezTo>
                    <a:cubicBezTo>
                      <a:pt x="29" y="46"/>
                      <a:pt x="29" y="46"/>
                      <a:pt x="29" y="46"/>
                    </a:cubicBezTo>
                    <a:cubicBezTo>
                      <a:pt x="30" y="46"/>
                      <a:pt x="31" y="46"/>
                      <a:pt x="33" y="46"/>
                    </a:cubicBezTo>
                    <a:cubicBezTo>
                      <a:pt x="34" y="47"/>
                      <a:pt x="35" y="49"/>
                      <a:pt x="36" y="51"/>
                    </a:cubicBezTo>
                    <a:cubicBezTo>
                      <a:pt x="35" y="51"/>
                      <a:pt x="35" y="52"/>
                      <a:pt x="34" y="52"/>
                    </a:cubicBezTo>
                    <a:cubicBezTo>
                      <a:pt x="33" y="52"/>
                      <a:pt x="33" y="52"/>
                      <a:pt x="32" y="51"/>
                    </a:cubicBezTo>
                    <a:cubicBezTo>
                      <a:pt x="31" y="50"/>
                      <a:pt x="29" y="49"/>
                      <a:pt x="28" y="48"/>
                    </a:cubicBezTo>
                    <a:cubicBezTo>
                      <a:pt x="28" y="47"/>
                      <a:pt x="28" y="46"/>
                      <a:pt x="28" y="46"/>
                    </a:cubicBezTo>
                    <a:cubicBezTo>
                      <a:pt x="28" y="46"/>
                      <a:pt x="28" y="46"/>
                      <a:pt x="28" y="46"/>
                    </a:cubicBezTo>
                    <a:close/>
                    <a:moveTo>
                      <a:pt x="66" y="40"/>
                    </a:moveTo>
                    <a:cubicBezTo>
                      <a:pt x="66" y="40"/>
                      <a:pt x="66" y="40"/>
                      <a:pt x="66" y="39"/>
                    </a:cubicBezTo>
                    <a:cubicBezTo>
                      <a:pt x="65" y="40"/>
                      <a:pt x="63" y="41"/>
                      <a:pt x="62" y="41"/>
                    </a:cubicBezTo>
                    <a:cubicBezTo>
                      <a:pt x="62" y="41"/>
                      <a:pt x="60" y="44"/>
                      <a:pt x="59" y="44"/>
                    </a:cubicBezTo>
                    <a:cubicBezTo>
                      <a:pt x="59" y="45"/>
                      <a:pt x="60" y="45"/>
                      <a:pt x="60" y="45"/>
                    </a:cubicBezTo>
                    <a:cubicBezTo>
                      <a:pt x="60" y="45"/>
                      <a:pt x="61" y="45"/>
                      <a:pt x="61" y="45"/>
                    </a:cubicBezTo>
                    <a:cubicBezTo>
                      <a:pt x="61" y="45"/>
                      <a:pt x="60" y="45"/>
                      <a:pt x="60" y="45"/>
                    </a:cubicBezTo>
                    <a:cubicBezTo>
                      <a:pt x="60" y="46"/>
                      <a:pt x="60" y="46"/>
                      <a:pt x="60" y="46"/>
                    </a:cubicBezTo>
                    <a:cubicBezTo>
                      <a:pt x="61" y="46"/>
                      <a:pt x="62" y="46"/>
                      <a:pt x="63" y="46"/>
                    </a:cubicBezTo>
                    <a:cubicBezTo>
                      <a:pt x="65" y="44"/>
                      <a:pt x="65" y="42"/>
                      <a:pt x="66" y="40"/>
                    </a:cubicBezTo>
                    <a:cubicBezTo>
                      <a:pt x="66" y="40"/>
                      <a:pt x="66" y="40"/>
                      <a:pt x="66" y="40"/>
                    </a:cubicBezTo>
                    <a:cubicBezTo>
                      <a:pt x="66" y="40"/>
                      <a:pt x="66" y="40"/>
                      <a:pt x="66" y="40"/>
                    </a:cubicBezTo>
                    <a:close/>
                    <a:moveTo>
                      <a:pt x="59" y="41"/>
                    </a:moveTo>
                    <a:cubicBezTo>
                      <a:pt x="59" y="40"/>
                      <a:pt x="60" y="39"/>
                      <a:pt x="60" y="39"/>
                    </a:cubicBezTo>
                    <a:cubicBezTo>
                      <a:pt x="56" y="42"/>
                      <a:pt x="58" y="41"/>
                      <a:pt x="55" y="45"/>
                    </a:cubicBezTo>
                    <a:cubicBezTo>
                      <a:pt x="55" y="45"/>
                      <a:pt x="56" y="45"/>
                      <a:pt x="56" y="45"/>
                    </a:cubicBezTo>
                    <a:cubicBezTo>
                      <a:pt x="57" y="44"/>
                      <a:pt x="57" y="43"/>
                      <a:pt x="58" y="42"/>
                    </a:cubicBezTo>
                    <a:cubicBezTo>
                      <a:pt x="58" y="42"/>
                      <a:pt x="58" y="42"/>
                      <a:pt x="58" y="42"/>
                    </a:cubicBezTo>
                    <a:cubicBezTo>
                      <a:pt x="58" y="42"/>
                      <a:pt x="58" y="42"/>
                      <a:pt x="58" y="42"/>
                    </a:cubicBezTo>
                    <a:cubicBezTo>
                      <a:pt x="58" y="42"/>
                      <a:pt x="59" y="42"/>
                      <a:pt x="59" y="41"/>
                    </a:cubicBezTo>
                    <a:cubicBezTo>
                      <a:pt x="59" y="41"/>
                      <a:pt x="59" y="41"/>
                      <a:pt x="59" y="41"/>
                    </a:cubicBezTo>
                    <a:close/>
                    <a:moveTo>
                      <a:pt x="38" y="46"/>
                    </a:moveTo>
                    <a:cubicBezTo>
                      <a:pt x="36" y="46"/>
                      <a:pt x="35" y="46"/>
                      <a:pt x="33" y="46"/>
                    </a:cubicBezTo>
                    <a:cubicBezTo>
                      <a:pt x="34" y="47"/>
                      <a:pt x="35" y="49"/>
                      <a:pt x="36" y="51"/>
                    </a:cubicBezTo>
                    <a:cubicBezTo>
                      <a:pt x="38" y="49"/>
                      <a:pt x="39" y="48"/>
                      <a:pt x="41" y="47"/>
                    </a:cubicBezTo>
                    <a:cubicBezTo>
                      <a:pt x="40" y="46"/>
                      <a:pt x="39" y="46"/>
                      <a:pt x="38" y="46"/>
                    </a:cubicBezTo>
                    <a:cubicBezTo>
                      <a:pt x="38" y="46"/>
                      <a:pt x="38" y="46"/>
                      <a:pt x="38" y="46"/>
                    </a:cubicBezTo>
                    <a:close/>
                    <a:moveTo>
                      <a:pt x="58" y="42"/>
                    </a:moveTo>
                    <a:cubicBezTo>
                      <a:pt x="58" y="42"/>
                      <a:pt x="59" y="42"/>
                      <a:pt x="59" y="42"/>
                    </a:cubicBezTo>
                    <a:cubicBezTo>
                      <a:pt x="59" y="42"/>
                      <a:pt x="59" y="43"/>
                      <a:pt x="58" y="43"/>
                    </a:cubicBezTo>
                    <a:cubicBezTo>
                      <a:pt x="58" y="43"/>
                      <a:pt x="58" y="43"/>
                      <a:pt x="58" y="42"/>
                    </a:cubicBezTo>
                    <a:cubicBezTo>
                      <a:pt x="58" y="42"/>
                      <a:pt x="58" y="42"/>
                      <a:pt x="58" y="42"/>
                    </a:cubicBezTo>
                    <a:close/>
                    <a:moveTo>
                      <a:pt x="58" y="43"/>
                    </a:moveTo>
                    <a:cubicBezTo>
                      <a:pt x="58" y="43"/>
                      <a:pt x="58" y="43"/>
                      <a:pt x="58" y="43"/>
                    </a:cubicBezTo>
                    <a:cubicBezTo>
                      <a:pt x="57" y="43"/>
                      <a:pt x="57" y="44"/>
                      <a:pt x="56" y="45"/>
                    </a:cubicBezTo>
                    <a:cubicBezTo>
                      <a:pt x="57" y="45"/>
                      <a:pt x="58" y="44"/>
                      <a:pt x="58" y="44"/>
                    </a:cubicBezTo>
                    <a:cubicBezTo>
                      <a:pt x="58" y="44"/>
                      <a:pt x="58" y="43"/>
                      <a:pt x="58" y="43"/>
                    </a:cubicBezTo>
                    <a:cubicBezTo>
                      <a:pt x="58" y="43"/>
                      <a:pt x="58" y="43"/>
                      <a:pt x="58" y="43"/>
                    </a:cubicBezTo>
                    <a:close/>
                    <a:moveTo>
                      <a:pt x="59" y="43"/>
                    </a:moveTo>
                    <a:cubicBezTo>
                      <a:pt x="59" y="43"/>
                      <a:pt x="59" y="43"/>
                      <a:pt x="59" y="43"/>
                    </a:cubicBezTo>
                    <a:cubicBezTo>
                      <a:pt x="59" y="43"/>
                      <a:pt x="59" y="44"/>
                      <a:pt x="59" y="44"/>
                    </a:cubicBezTo>
                    <a:cubicBezTo>
                      <a:pt x="59" y="43"/>
                      <a:pt x="59" y="43"/>
                      <a:pt x="59" y="43"/>
                    </a:cubicBezTo>
                    <a:cubicBezTo>
                      <a:pt x="59" y="43"/>
                      <a:pt x="59" y="43"/>
                      <a:pt x="59" y="43"/>
                    </a:cubicBezTo>
                    <a:close/>
                    <a:moveTo>
                      <a:pt x="50" y="45"/>
                    </a:moveTo>
                    <a:cubicBezTo>
                      <a:pt x="50" y="45"/>
                      <a:pt x="50" y="45"/>
                      <a:pt x="50" y="45"/>
                    </a:cubicBezTo>
                    <a:cubicBezTo>
                      <a:pt x="50" y="45"/>
                      <a:pt x="50" y="45"/>
                      <a:pt x="50" y="45"/>
                    </a:cubicBezTo>
                    <a:cubicBezTo>
                      <a:pt x="50" y="45"/>
                      <a:pt x="50" y="45"/>
                      <a:pt x="50" y="45"/>
                    </a:cubicBezTo>
                    <a:cubicBezTo>
                      <a:pt x="50" y="45"/>
                      <a:pt x="50" y="45"/>
                      <a:pt x="50" y="45"/>
                    </a:cubicBezTo>
                    <a:close/>
                    <a:moveTo>
                      <a:pt x="43" y="47"/>
                    </a:moveTo>
                    <a:cubicBezTo>
                      <a:pt x="42" y="47"/>
                      <a:pt x="42" y="47"/>
                      <a:pt x="41" y="47"/>
                    </a:cubicBezTo>
                    <a:cubicBezTo>
                      <a:pt x="39" y="48"/>
                      <a:pt x="38" y="50"/>
                      <a:pt x="36" y="51"/>
                    </a:cubicBezTo>
                    <a:cubicBezTo>
                      <a:pt x="39" y="55"/>
                      <a:pt x="37" y="54"/>
                      <a:pt x="40" y="56"/>
                    </a:cubicBezTo>
                    <a:cubicBezTo>
                      <a:pt x="40" y="55"/>
                      <a:pt x="39" y="54"/>
                      <a:pt x="38" y="53"/>
                    </a:cubicBezTo>
                    <a:cubicBezTo>
                      <a:pt x="38" y="53"/>
                      <a:pt x="38" y="53"/>
                      <a:pt x="38" y="53"/>
                    </a:cubicBezTo>
                    <a:cubicBezTo>
                      <a:pt x="39" y="53"/>
                      <a:pt x="39" y="54"/>
                      <a:pt x="40" y="54"/>
                    </a:cubicBezTo>
                    <a:cubicBezTo>
                      <a:pt x="42" y="57"/>
                      <a:pt x="40" y="56"/>
                      <a:pt x="45" y="57"/>
                    </a:cubicBezTo>
                    <a:cubicBezTo>
                      <a:pt x="44" y="53"/>
                      <a:pt x="44" y="54"/>
                      <a:pt x="41" y="51"/>
                    </a:cubicBezTo>
                    <a:cubicBezTo>
                      <a:pt x="41" y="51"/>
                      <a:pt x="41" y="51"/>
                      <a:pt x="41" y="51"/>
                    </a:cubicBezTo>
                    <a:cubicBezTo>
                      <a:pt x="42" y="52"/>
                      <a:pt x="43" y="52"/>
                      <a:pt x="44" y="53"/>
                    </a:cubicBezTo>
                    <a:cubicBezTo>
                      <a:pt x="43" y="51"/>
                      <a:pt x="43" y="50"/>
                      <a:pt x="42" y="49"/>
                    </a:cubicBezTo>
                    <a:cubicBezTo>
                      <a:pt x="42" y="49"/>
                      <a:pt x="42" y="49"/>
                      <a:pt x="42" y="49"/>
                    </a:cubicBezTo>
                    <a:cubicBezTo>
                      <a:pt x="43" y="51"/>
                      <a:pt x="43" y="51"/>
                      <a:pt x="43" y="51"/>
                    </a:cubicBezTo>
                    <a:cubicBezTo>
                      <a:pt x="43" y="50"/>
                      <a:pt x="43" y="48"/>
                      <a:pt x="43" y="47"/>
                    </a:cubicBezTo>
                    <a:cubicBezTo>
                      <a:pt x="43" y="47"/>
                      <a:pt x="43" y="47"/>
                      <a:pt x="43" y="47"/>
                    </a:cubicBezTo>
                    <a:close/>
                    <a:moveTo>
                      <a:pt x="56" y="45"/>
                    </a:moveTo>
                    <a:cubicBezTo>
                      <a:pt x="55" y="45"/>
                      <a:pt x="55" y="45"/>
                      <a:pt x="55" y="45"/>
                    </a:cubicBezTo>
                    <a:cubicBezTo>
                      <a:pt x="54" y="46"/>
                      <a:pt x="54" y="46"/>
                      <a:pt x="54" y="46"/>
                    </a:cubicBezTo>
                    <a:cubicBezTo>
                      <a:pt x="55" y="46"/>
                      <a:pt x="55" y="46"/>
                      <a:pt x="56" y="45"/>
                    </a:cubicBezTo>
                    <a:cubicBezTo>
                      <a:pt x="56" y="45"/>
                      <a:pt x="56" y="45"/>
                      <a:pt x="56" y="45"/>
                    </a:cubicBezTo>
                    <a:close/>
                    <a:moveTo>
                      <a:pt x="56" y="45"/>
                    </a:moveTo>
                    <a:cubicBezTo>
                      <a:pt x="56" y="45"/>
                      <a:pt x="56" y="45"/>
                      <a:pt x="56" y="45"/>
                    </a:cubicBezTo>
                    <a:cubicBezTo>
                      <a:pt x="56" y="45"/>
                      <a:pt x="56" y="45"/>
                      <a:pt x="56" y="46"/>
                    </a:cubicBezTo>
                    <a:cubicBezTo>
                      <a:pt x="56" y="45"/>
                      <a:pt x="56" y="45"/>
                      <a:pt x="56" y="45"/>
                    </a:cubicBezTo>
                    <a:cubicBezTo>
                      <a:pt x="56" y="45"/>
                      <a:pt x="56" y="45"/>
                      <a:pt x="56" y="45"/>
                    </a:cubicBezTo>
                    <a:close/>
                    <a:moveTo>
                      <a:pt x="58" y="45"/>
                    </a:moveTo>
                    <a:cubicBezTo>
                      <a:pt x="58" y="45"/>
                      <a:pt x="59" y="45"/>
                      <a:pt x="59" y="44"/>
                    </a:cubicBezTo>
                    <a:cubicBezTo>
                      <a:pt x="59" y="45"/>
                      <a:pt x="59" y="45"/>
                      <a:pt x="60" y="45"/>
                    </a:cubicBezTo>
                    <a:cubicBezTo>
                      <a:pt x="59" y="45"/>
                      <a:pt x="59" y="45"/>
                      <a:pt x="58" y="45"/>
                    </a:cubicBezTo>
                    <a:cubicBezTo>
                      <a:pt x="58" y="45"/>
                      <a:pt x="58" y="45"/>
                      <a:pt x="58" y="45"/>
                    </a:cubicBezTo>
                    <a:close/>
                    <a:moveTo>
                      <a:pt x="64" y="44"/>
                    </a:moveTo>
                    <a:cubicBezTo>
                      <a:pt x="64" y="44"/>
                      <a:pt x="64" y="44"/>
                      <a:pt x="65" y="44"/>
                    </a:cubicBezTo>
                    <a:cubicBezTo>
                      <a:pt x="64" y="44"/>
                      <a:pt x="64" y="44"/>
                      <a:pt x="64" y="45"/>
                    </a:cubicBezTo>
                    <a:cubicBezTo>
                      <a:pt x="64" y="45"/>
                      <a:pt x="64" y="44"/>
                      <a:pt x="64" y="44"/>
                    </a:cubicBezTo>
                    <a:cubicBezTo>
                      <a:pt x="64" y="44"/>
                      <a:pt x="64" y="44"/>
                      <a:pt x="64" y="44"/>
                    </a:cubicBezTo>
                    <a:close/>
                    <a:moveTo>
                      <a:pt x="30" y="50"/>
                    </a:moveTo>
                    <a:cubicBezTo>
                      <a:pt x="29" y="50"/>
                      <a:pt x="29" y="50"/>
                      <a:pt x="28" y="49"/>
                    </a:cubicBezTo>
                    <a:cubicBezTo>
                      <a:pt x="29" y="50"/>
                      <a:pt x="29" y="50"/>
                      <a:pt x="30" y="50"/>
                    </a:cubicBezTo>
                    <a:cubicBezTo>
                      <a:pt x="30" y="50"/>
                      <a:pt x="30" y="50"/>
                      <a:pt x="30" y="50"/>
                    </a:cubicBezTo>
                    <a:cubicBezTo>
                      <a:pt x="30" y="50"/>
                      <a:pt x="30" y="50"/>
                      <a:pt x="30" y="50"/>
                    </a:cubicBezTo>
                    <a:close/>
                    <a:moveTo>
                      <a:pt x="47" y="47"/>
                    </a:moveTo>
                    <a:cubicBezTo>
                      <a:pt x="47" y="47"/>
                      <a:pt x="47" y="47"/>
                      <a:pt x="47" y="47"/>
                    </a:cubicBezTo>
                    <a:cubicBezTo>
                      <a:pt x="47" y="47"/>
                      <a:pt x="47" y="47"/>
                      <a:pt x="47" y="47"/>
                    </a:cubicBezTo>
                    <a:cubicBezTo>
                      <a:pt x="47" y="47"/>
                      <a:pt x="47" y="47"/>
                      <a:pt x="47" y="47"/>
                    </a:cubicBezTo>
                    <a:cubicBezTo>
                      <a:pt x="47" y="47"/>
                      <a:pt x="47" y="47"/>
                      <a:pt x="47" y="47"/>
                    </a:cubicBezTo>
                    <a:close/>
                    <a:moveTo>
                      <a:pt x="58" y="45"/>
                    </a:moveTo>
                    <a:cubicBezTo>
                      <a:pt x="58" y="45"/>
                      <a:pt x="59" y="45"/>
                      <a:pt x="60" y="45"/>
                    </a:cubicBezTo>
                    <a:cubicBezTo>
                      <a:pt x="60" y="46"/>
                      <a:pt x="60" y="46"/>
                      <a:pt x="60" y="46"/>
                    </a:cubicBezTo>
                    <a:cubicBezTo>
                      <a:pt x="59" y="46"/>
                      <a:pt x="58" y="46"/>
                      <a:pt x="57" y="46"/>
                    </a:cubicBezTo>
                    <a:cubicBezTo>
                      <a:pt x="57" y="46"/>
                      <a:pt x="58" y="46"/>
                      <a:pt x="58" y="45"/>
                    </a:cubicBezTo>
                    <a:cubicBezTo>
                      <a:pt x="58" y="45"/>
                      <a:pt x="58" y="45"/>
                      <a:pt x="58" y="45"/>
                    </a:cubicBezTo>
                    <a:close/>
                    <a:moveTo>
                      <a:pt x="64" y="45"/>
                    </a:moveTo>
                    <a:cubicBezTo>
                      <a:pt x="64" y="45"/>
                      <a:pt x="64" y="45"/>
                      <a:pt x="64" y="46"/>
                    </a:cubicBezTo>
                    <a:cubicBezTo>
                      <a:pt x="64" y="46"/>
                      <a:pt x="64" y="46"/>
                      <a:pt x="64" y="46"/>
                    </a:cubicBezTo>
                    <a:cubicBezTo>
                      <a:pt x="64" y="45"/>
                      <a:pt x="64" y="45"/>
                      <a:pt x="64" y="45"/>
                    </a:cubicBezTo>
                    <a:cubicBezTo>
                      <a:pt x="64" y="45"/>
                      <a:pt x="64" y="45"/>
                      <a:pt x="64" y="45"/>
                    </a:cubicBezTo>
                    <a:close/>
                    <a:moveTo>
                      <a:pt x="54" y="47"/>
                    </a:moveTo>
                    <a:cubicBezTo>
                      <a:pt x="54" y="47"/>
                      <a:pt x="54" y="47"/>
                      <a:pt x="54" y="47"/>
                    </a:cubicBezTo>
                    <a:cubicBezTo>
                      <a:pt x="54" y="47"/>
                      <a:pt x="53" y="47"/>
                      <a:pt x="53" y="48"/>
                    </a:cubicBezTo>
                    <a:cubicBezTo>
                      <a:pt x="53" y="47"/>
                      <a:pt x="53" y="47"/>
                      <a:pt x="54" y="47"/>
                    </a:cubicBezTo>
                    <a:cubicBezTo>
                      <a:pt x="54" y="47"/>
                      <a:pt x="54" y="47"/>
                      <a:pt x="54" y="47"/>
                    </a:cubicBezTo>
                    <a:close/>
                    <a:moveTo>
                      <a:pt x="84" y="42"/>
                    </a:moveTo>
                    <a:cubicBezTo>
                      <a:pt x="83" y="42"/>
                      <a:pt x="83" y="42"/>
                      <a:pt x="83" y="42"/>
                    </a:cubicBezTo>
                    <a:cubicBezTo>
                      <a:pt x="84" y="42"/>
                      <a:pt x="84" y="42"/>
                      <a:pt x="84" y="42"/>
                    </a:cubicBezTo>
                    <a:cubicBezTo>
                      <a:pt x="84" y="42"/>
                      <a:pt x="84" y="42"/>
                      <a:pt x="84" y="42"/>
                    </a:cubicBezTo>
                    <a:close/>
                    <a:moveTo>
                      <a:pt x="60" y="46"/>
                    </a:moveTo>
                    <a:cubicBezTo>
                      <a:pt x="56" y="46"/>
                      <a:pt x="57" y="46"/>
                      <a:pt x="53" y="49"/>
                    </a:cubicBezTo>
                    <a:cubicBezTo>
                      <a:pt x="56" y="49"/>
                      <a:pt x="58" y="48"/>
                      <a:pt x="60" y="47"/>
                    </a:cubicBezTo>
                    <a:cubicBezTo>
                      <a:pt x="60" y="47"/>
                      <a:pt x="60" y="46"/>
                      <a:pt x="60" y="46"/>
                    </a:cubicBezTo>
                    <a:cubicBezTo>
                      <a:pt x="60" y="46"/>
                      <a:pt x="60" y="46"/>
                      <a:pt x="60" y="46"/>
                    </a:cubicBezTo>
                    <a:close/>
                    <a:moveTo>
                      <a:pt x="64" y="46"/>
                    </a:moveTo>
                    <a:cubicBezTo>
                      <a:pt x="64" y="46"/>
                      <a:pt x="64" y="45"/>
                      <a:pt x="64" y="45"/>
                    </a:cubicBezTo>
                    <a:cubicBezTo>
                      <a:pt x="64" y="45"/>
                      <a:pt x="64" y="46"/>
                      <a:pt x="64" y="46"/>
                    </a:cubicBezTo>
                    <a:cubicBezTo>
                      <a:pt x="64" y="46"/>
                      <a:pt x="64" y="46"/>
                      <a:pt x="64" y="46"/>
                    </a:cubicBezTo>
                    <a:cubicBezTo>
                      <a:pt x="64" y="46"/>
                      <a:pt x="64" y="46"/>
                      <a:pt x="64" y="46"/>
                    </a:cubicBezTo>
                    <a:close/>
                    <a:moveTo>
                      <a:pt x="63" y="46"/>
                    </a:moveTo>
                    <a:cubicBezTo>
                      <a:pt x="62" y="46"/>
                      <a:pt x="61" y="46"/>
                      <a:pt x="60" y="46"/>
                    </a:cubicBezTo>
                    <a:cubicBezTo>
                      <a:pt x="60" y="46"/>
                      <a:pt x="60" y="47"/>
                      <a:pt x="61" y="47"/>
                    </a:cubicBezTo>
                    <a:cubicBezTo>
                      <a:pt x="61" y="47"/>
                      <a:pt x="62" y="47"/>
                      <a:pt x="63" y="46"/>
                    </a:cubicBezTo>
                    <a:cubicBezTo>
                      <a:pt x="62" y="47"/>
                      <a:pt x="61" y="47"/>
                      <a:pt x="61" y="47"/>
                    </a:cubicBezTo>
                    <a:cubicBezTo>
                      <a:pt x="61" y="47"/>
                      <a:pt x="61" y="48"/>
                      <a:pt x="61" y="48"/>
                    </a:cubicBezTo>
                    <a:cubicBezTo>
                      <a:pt x="61" y="48"/>
                      <a:pt x="61" y="48"/>
                      <a:pt x="62" y="48"/>
                    </a:cubicBezTo>
                    <a:cubicBezTo>
                      <a:pt x="62" y="47"/>
                      <a:pt x="63" y="47"/>
                      <a:pt x="63" y="46"/>
                    </a:cubicBezTo>
                    <a:cubicBezTo>
                      <a:pt x="63" y="46"/>
                      <a:pt x="63" y="46"/>
                      <a:pt x="63" y="46"/>
                    </a:cubicBezTo>
                    <a:close/>
                    <a:moveTo>
                      <a:pt x="64" y="46"/>
                    </a:moveTo>
                    <a:cubicBezTo>
                      <a:pt x="64" y="46"/>
                      <a:pt x="64" y="46"/>
                      <a:pt x="64" y="46"/>
                    </a:cubicBezTo>
                    <a:cubicBezTo>
                      <a:pt x="64" y="47"/>
                      <a:pt x="63" y="47"/>
                      <a:pt x="63" y="48"/>
                    </a:cubicBezTo>
                    <a:cubicBezTo>
                      <a:pt x="63" y="48"/>
                      <a:pt x="62" y="48"/>
                      <a:pt x="62" y="48"/>
                    </a:cubicBezTo>
                    <a:cubicBezTo>
                      <a:pt x="64" y="46"/>
                      <a:pt x="64" y="46"/>
                      <a:pt x="64" y="46"/>
                    </a:cubicBezTo>
                    <a:cubicBezTo>
                      <a:pt x="64" y="46"/>
                      <a:pt x="64" y="46"/>
                      <a:pt x="64" y="46"/>
                    </a:cubicBezTo>
                    <a:close/>
                    <a:moveTo>
                      <a:pt x="64" y="46"/>
                    </a:moveTo>
                    <a:cubicBezTo>
                      <a:pt x="64" y="46"/>
                      <a:pt x="64" y="46"/>
                      <a:pt x="64" y="46"/>
                    </a:cubicBezTo>
                    <a:cubicBezTo>
                      <a:pt x="64" y="46"/>
                      <a:pt x="64" y="46"/>
                      <a:pt x="64" y="46"/>
                    </a:cubicBezTo>
                    <a:cubicBezTo>
                      <a:pt x="64" y="46"/>
                      <a:pt x="64" y="46"/>
                      <a:pt x="64" y="46"/>
                    </a:cubicBezTo>
                    <a:cubicBezTo>
                      <a:pt x="64" y="46"/>
                      <a:pt x="64" y="46"/>
                      <a:pt x="64" y="46"/>
                    </a:cubicBezTo>
                    <a:close/>
                    <a:moveTo>
                      <a:pt x="50" y="48"/>
                    </a:moveTo>
                    <a:cubicBezTo>
                      <a:pt x="50" y="48"/>
                      <a:pt x="50" y="48"/>
                      <a:pt x="50" y="48"/>
                    </a:cubicBezTo>
                    <a:cubicBezTo>
                      <a:pt x="50" y="48"/>
                      <a:pt x="50" y="48"/>
                      <a:pt x="50" y="48"/>
                    </a:cubicBezTo>
                    <a:cubicBezTo>
                      <a:pt x="50" y="48"/>
                      <a:pt x="50" y="48"/>
                      <a:pt x="50" y="48"/>
                    </a:cubicBezTo>
                    <a:cubicBezTo>
                      <a:pt x="50" y="48"/>
                      <a:pt x="50" y="48"/>
                      <a:pt x="50" y="48"/>
                    </a:cubicBezTo>
                    <a:close/>
                    <a:moveTo>
                      <a:pt x="55" y="49"/>
                    </a:moveTo>
                    <a:cubicBezTo>
                      <a:pt x="60" y="47"/>
                      <a:pt x="60" y="47"/>
                      <a:pt x="60" y="47"/>
                    </a:cubicBezTo>
                    <a:cubicBezTo>
                      <a:pt x="61" y="48"/>
                      <a:pt x="61" y="48"/>
                      <a:pt x="61" y="48"/>
                    </a:cubicBezTo>
                    <a:cubicBezTo>
                      <a:pt x="59" y="48"/>
                      <a:pt x="57" y="48"/>
                      <a:pt x="55" y="49"/>
                    </a:cubicBezTo>
                    <a:cubicBezTo>
                      <a:pt x="55" y="49"/>
                      <a:pt x="55" y="49"/>
                      <a:pt x="55" y="49"/>
                    </a:cubicBezTo>
                    <a:close/>
                    <a:moveTo>
                      <a:pt x="54" y="49"/>
                    </a:moveTo>
                    <a:cubicBezTo>
                      <a:pt x="53" y="49"/>
                      <a:pt x="53" y="49"/>
                      <a:pt x="52" y="50"/>
                    </a:cubicBezTo>
                    <a:cubicBezTo>
                      <a:pt x="53" y="49"/>
                      <a:pt x="53" y="49"/>
                      <a:pt x="54" y="49"/>
                    </a:cubicBezTo>
                    <a:cubicBezTo>
                      <a:pt x="54" y="49"/>
                      <a:pt x="54" y="49"/>
                      <a:pt x="54" y="49"/>
                    </a:cubicBezTo>
                    <a:close/>
                    <a:moveTo>
                      <a:pt x="47" y="50"/>
                    </a:moveTo>
                    <a:cubicBezTo>
                      <a:pt x="46" y="50"/>
                      <a:pt x="46" y="50"/>
                      <a:pt x="46" y="50"/>
                    </a:cubicBezTo>
                    <a:cubicBezTo>
                      <a:pt x="46" y="50"/>
                      <a:pt x="46" y="51"/>
                      <a:pt x="46" y="51"/>
                    </a:cubicBezTo>
                    <a:cubicBezTo>
                      <a:pt x="46" y="51"/>
                      <a:pt x="47" y="51"/>
                      <a:pt x="47" y="51"/>
                    </a:cubicBezTo>
                    <a:cubicBezTo>
                      <a:pt x="47" y="50"/>
                      <a:pt x="47" y="50"/>
                      <a:pt x="47" y="50"/>
                    </a:cubicBezTo>
                    <a:cubicBezTo>
                      <a:pt x="47" y="50"/>
                      <a:pt x="47" y="50"/>
                      <a:pt x="47" y="50"/>
                    </a:cubicBezTo>
                    <a:close/>
                    <a:moveTo>
                      <a:pt x="47" y="50"/>
                    </a:moveTo>
                    <a:cubicBezTo>
                      <a:pt x="47" y="50"/>
                      <a:pt x="48" y="50"/>
                      <a:pt x="48" y="50"/>
                    </a:cubicBezTo>
                    <a:cubicBezTo>
                      <a:pt x="48" y="50"/>
                      <a:pt x="48" y="50"/>
                      <a:pt x="47" y="50"/>
                    </a:cubicBezTo>
                    <a:cubicBezTo>
                      <a:pt x="47" y="50"/>
                      <a:pt x="47" y="50"/>
                      <a:pt x="47" y="50"/>
                    </a:cubicBezTo>
                    <a:cubicBezTo>
                      <a:pt x="47" y="50"/>
                      <a:pt x="47" y="50"/>
                      <a:pt x="47" y="50"/>
                    </a:cubicBezTo>
                    <a:close/>
                    <a:moveTo>
                      <a:pt x="34" y="52"/>
                    </a:moveTo>
                    <a:cubicBezTo>
                      <a:pt x="35" y="52"/>
                      <a:pt x="35" y="51"/>
                      <a:pt x="36" y="51"/>
                    </a:cubicBezTo>
                    <a:cubicBezTo>
                      <a:pt x="38" y="55"/>
                      <a:pt x="38" y="55"/>
                      <a:pt x="38" y="55"/>
                    </a:cubicBezTo>
                    <a:cubicBezTo>
                      <a:pt x="36" y="54"/>
                      <a:pt x="35" y="53"/>
                      <a:pt x="34" y="52"/>
                    </a:cubicBezTo>
                    <a:cubicBezTo>
                      <a:pt x="34" y="52"/>
                      <a:pt x="34" y="52"/>
                      <a:pt x="34" y="52"/>
                    </a:cubicBezTo>
                    <a:close/>
                    <a:moveTo>
                      <a:pt x="61" y="48"/>
                    </a:moveTo>
                    <a:cubicBezTo>
                      <a:pt x="56" y="49"/>
                      <a:pt x="54" y="49"/>
                      <a:pt x="50" y="51"/>
                    </a:cubicBezTo>
                    <a:cubicBezTo>
                      <a:pt x="53" y="52"/>
                      <a:pt x="56" y="52"/>
                      <a:pt x="59" y="52"/>
                    </a:cubicBezTo>
                    <a:cubicBezTo>
                      <a:pt x="60" y="51"/>
                      <a:pt x="60" y="50"/>
                      <a:pt x="61" y="49"/>
                    </a:cubicBezTo>
                    <a:cubicBezTo>
                      <a:pt x="61" y="49"/>
                      <a:pt x="61" y="49"/>
                      <a:pt x="61" y="48"/>
                    </a:cubicBezTo>
                    <a:cubicBezTo>
                      <a:pt x="61" y="48"/>
                      <a:pt x="61" y="48"/>
                      <a:pt x="61" y="48"/>
                    </a:cubicBezTo>
                    <a:close/>
                    <a:moveTo>
                      <a:pt x="61" y="48"/>
                    </a:moveTo>
                    <a:cubicBezTo>
                      <a:pt x="61" y="48"/>
                      <a:pt x="61" y="48"/>
                      <a:pt x="61" y="48"/>
                    </a:cubicBezTo>
                    <a:cubicBezTo>
                      <a:pt x="61" y="48"/>
                      <a:pt x="61" y="49"/>
                      <a:pt x="61" y="49"/>
                    </a:cubicBezTo>
                    <a:cubicBezTo>
                      <a:pt x="61" y="49"/>
                      <a:pt x="61" y="48"/>
                      <a:pt x="61" y="48"/>
                    </a:cubicBezTo>
                    <a:cubicBezTo>
                      <a:pt x="61" y="48"/>
                      <a:pt x="61" y="48"/>
                      <a:pt x="61" y="48"/>
                    </a:cubicBezTo>
                    <a:close/>
                    <a:moveTo>
                      <a:pt x="62" y="48"/>
                    </a:moveTo>
                    <a:cubicBezTo>
                      <a:pt x="62" y="48"/>
                      <a:pt x="63" y="48"/>
                      <a:pt x="63" y="48"/>
                    </a:cubicBezTo>
                    <a:cubicBezTo>
                      <a:pt x="63" y="49"/>
                      <a:pt x="62" y="50"/>
                      <a:pt x="62" y="50"/>
                    </a:cubicBezTo>
                    <a:cubicBezTo>
                      <a:pt x="62" y="50"/>
                      <a:pt x="62" y="49"/>
                      <a:pt x="61" y="49"/>
                    </a:cubicBezTo>
                    <a:cubicBezTo>
                      <a:pt x="61" y="49"/>
                      <a:pt x="62" y="49"/>
                      <a:pt x="62" y="48"/>
                    </a:cubicBezTo>
                    <a:cubicBezTo>
                      <a:pt x="62" y="48"/>
                      <a:pt x="62" y="48"/>
                      <a:pt x="62" y="48"/>
                    </a:cubicBezTo>
                    <a:close/>
                    <a:moveTo>
                      <a:pt x="49" y="51"/>
                    </a:moveTo>
                    <a:cubicBezTo>
                      <a:pt x="49" y="51"/>
                      <a:pt x="49" y="51"/>
                      <a:pt x="49" y="51"/>
                    </a:cubicBezTo>
                    <a:cubicBezTo>
                      <a:pt x="49" y="51"/>
                      <a:pt x="48" y="52"/>
                      <a:pt x="49" y="52"/>
                    </a:cubicBezTo>
                    <a:cubicBezTo>
                      <a:pt x="49" y="53"/>
                      <a:pt x="50" y="54"/>
                      <a:pt x="51" y="56"/>
                    </a:cubicBezTo>
                    <a:cubicBezTo>
                      <a:pt x="51" y="56"/>
                      <a:pt x="53" y="56"/>
                      <a:pt x="53" y="57"/>
                    </a:cubicBezTo>
                    <a:cubicBezTo>
                      <a:pt x="54" y="56"/>
                      <a:pt x="54" y="56"/>
                      <a:pt x="54" y="55"/>
                    </a:cubicBezTo>
                    <a:cubicBezTo>
                      <a:pt x="54" y="55"/>
                      <a:pt x="54" y="55"/>
                      <a:pt x="54" y="56"/>
                    </a:cubicBezTo>
                    <a:cubicBezTo>
                      <a:pt x="54" y="56"/>
                      <a:pt x="54" y="56"/>
                      <a:pt x="54" y="57"/>
                    </a:cubicBezTo>
                    <a:cubicBezTo>
                      <a:pt x="54" y="57"/>
                      <a:pt x="54" y="57"/>
                      <a:pt x="54" y="57"/>
                    </a:cubicBezTo>
                    <a:cubicBezTo>
                      <a:pt x="54" y="57"/>
                      <a:pt x="54" y="57"/>
                      <a:pt x="53" y="57"/>
                    </a:cubicBezTo>
                    <a:cubicBezTo>
                      <a:pt x="53" y="57"/>
                      <a:pt x="53" y="58"/>
                      <a:pt x="53" y="58"/>
                    </a:cubicBezTo>
                    <a:cubicBezTo>
                      <a:pt x="54" y="58"/>
                      <a:pt x="54" y="59"/>
                      <a:pt x="55" y="60"/>
                    </a:cubicBezTo>
                    <a:cubicBezTo>
                      <a:pt x="57" y="59"/>
                      <a:pt x="57" y="56"/>
                      <a:pt x="59" y="53"/>
                    </a:cubicBezTo>
                    <a:cubicBezTo>
                      <a:pt x="56" y="52"/>
                      <a:pt x="52" y="52"/>
                      <a:pt x="49" y="51"/>
                    </a:cubicBezTo>
                    <a:cubicBezTo>
                      <a:pt x="49" y="51"/>
                      <a:pt x="49" y="51"/>
                      <a:pt x="49" y="51"/>
                    </a:cubicBezTo>
                    <a:close/>
                    <a:moveTo>
                      <a:pt x="49" y="51"/>
                    </a:moveTo>
                    <a:cubicBezTo>
                      <a:pt x="48" y="51"/>
                      <a:pt x="48" y="52"/>
                      <a:pt x="48" y="52"/>
                    </a:cubicBezTo>
                    <a:cubicBezTo>
                      <a:pt x="48" y="52"/>
                      <a:pt x="48" y="52"/>
                      <a:pt x="48" y="52"/>
                    </a:cubicBezTo>
                    <a:cubicBezTo>
                      <a:pt x="49" y="52"/>
                      <a:pt x="49" y="51"/>
                      <a:pt x="49" y="51"/>
                    </a:cubicBezTo>
                    <a:cubicBezTo>
                      <a:pt x="49" y="51"/>
                      <a:pt x="49" y="51"/>
                      <a:pt x="49" y="51"/>
                    </a:cubicBezTo>
                    <a:close/>
                    <a:moveTo>
                      <a:pt x="61" y="50"/>
                    </a:moveTo>
                    <a:cubicBezTo>
                      <a:pt x="61" y="49"/>
                      <a:pt x="61" y="49"/>
                      <a:pt x="61" y="49"/>
                    </a:cubicBezTo>
                    <a:cubicBezTo>
                      <a:pt x="60" y="50"/>
                      <a:pt x="60" y="51"/>
                      <a:pt x="59" y="52"/>
                    </a:cubicBezTo>
                    <a:cubicBezTo>
                      <a:pt x="60" y="52"/>
                      <a:pt x="60" y="53"/>
                      <a:pt x="61" y="53"/>
                    </a:cubicBezTo>
                    <a:cubicBezTo>
                      <a:pt x="61" y="52"/>
                      <a:pt x="61" y="51"/>
                      <a:pt x="61" y="50"/>
                    </a:cubicBezTo>
                    <a:cubicBezTo>
                      <a:pt x="61" y="50"/>
                      <a:pt x="61" y="50"/>
                      <a:pt x="61" y="50"/>
                    </a:cubicBezTo>
                    <a:cubicBezTo>
                      <a:pt x="61" y="50"/>
                      <a:pt x="61" y="51"/>
                      <a:pt x="61" y="52"/>
                    </a:cubicBezTo>
                    <a:cubicBezTo>
                      <a:pt x="61" y="52"/>
                      <a:pt x="62" y="51"/>
                      <a:pt x="62" y="51"/>
                    </a:cubicBezTo>
                    <a:cubicBezTo>
                      <a:pt x="62" y="50"/>
                      <a:pt x="62" y="50"/>
                      <a:pt x="61" y="50"/>
                    </a:cubicBezTo>
                    <a:cubicBezTo>
                      <a:pt x="61" y="50"/>
                      <a:pt x="61" y="50"/>
                      <a:pt x="61" y="50"/>
                    </a:cubicBezTo>
                    <a:close/>
                    <a:moveTo>
                      <a:pt x="47" y="52"/>
                    </a:moveTo>
                    <a:cubicBezTo>
                      <a:pt x="47" y="52"/>
                      <a:pt x="47" y="52"/>
                      <a:pt x="46" y="52"/>
                    </a:cubicBezTo>
                    <a:cubicBezTo>
                      <a:pt x="46" y="53"/>
                      <a:pt x="46" y="53"/>
                      <a:pt x="46" y="53"/>
                    </a:cubicBezTo>
                    <a:cubicBezTo>
                      <a:pt x="47" y="53"/>
                      <a:pt x="47" y="52"/>
                      <a:pt x="47" y="52"/>
                    </a:cubicBezTo>
                    <a:cubicBezTo>
                      <a:pt x="47" y="52"/>
                      <a:pt x="47" y="52"/>
                      <a:pt x="47" y="52"/>
                    </a:cubicBezTo>
                    <a:close/>
                    <a:moveTo>
                      <a:pt x="48" y="52"/>
                    </a:moveTo>
                    <a:cubicBezTo>
                      <a:pt x="48" y="52"/>
                      <a:pt x="48" y="52"/>
                      <a:pt x="48" y="52"/>
                    </a:cubicBezTo>
                    <a:cubicBezTo>
                      <a:pt x="48" y="52"/>
                      <a:pt x="48" y="52"/>
                      <a:pt x="48" y="53"/>
                    </a:cubicBezTo>
                    <a:cubicBezTo>
                      <a:pt x="48" y="53"/>
                      <a:pt x="48" y="53"/>
                      <a:pt x="48" y="54"/>
                    </a:cubicBezTo>
                    <a:cubicBezTo>
                      <a:pt x="48" y="54"/>
                      <a:pt x="48" y="53"/>
                      <a:pt x="48" y="53"/>
                    </a:cubicBezTo>
                    <a:cubicBezTo>
                      <a:pt x="48" y="53"/>
                      <a:pt x="48" y="53"/>
                      <a:pt x="47" y="53"/>
                    </a:cubicBezTo>
                    <a:cubicBezTo>
                      <a:pt x="48" y="53"/>
                      <a:pt x="48" y="54"/>
                      <a:pt x="48" y="54"/>
                    </a:cubicBezTo>
                    <a:cubicBezTo>
                      <a:pt x="48" y="54"/>
                      <a:pt x="48" y="54"/>
                      <a:pt x="48" y="54"/>
                    </a:cubicBezTo>
                    <a:cubicBezTo>
                      <a:pt x="48" y="54"/>
                      <a:pt x="48" y="53"/>
                      <a:pt x="47" y="53"/>
                    </a:cubicBezTo>
                    <a:cubicBezTo>
                      <a:pt x="48" y="53"/>
                      <a:pt x="48" y="53"/>
                      <a:pt x="48" y="52"/>
                    </a:cubicBezTo>
                    <a:cubicBezTo>
                      <a:pt x="48" y="52"/>
                      <a:pt x="48" y="52"/>
                      <a:pt x="48" y="52"/>
                    </a:cubicBezTo>
                    <a:close/>
                    <a:moveTo>
                      <a:pt x="78" y="48"/>
                    </a:moveTo>
                    <a:cubicBezTo>
                      <a:pt x="79" y="46"/>
                      <a:pt x="80" y="44"/>
                      <a:pt x="80" y="42"/>
                    </a:cubicBezTo>
                    <a:cubicBezTo>
                      <a:pt x="79" y="44"/>
                      <a:pt x="77" y="48"/>
                      <a:pt x="76" y="50"/>
                    </a:cubicBezTo>
                    <a:cubicBezTo>
                      <a:pt x="77" y="49"/>
                      <a:pt x="78" y="48"/>
                      <a:pt x="78" y="48"/>
                    </a:cubicBezTo>
                    <a:cubicBezTo>
                      <a:pt x="78" y="48"/>
                      <a:pt x="78" y="48"/>
                      <a:pt x="78" y="48"/>
                    </a:cubicBezTo>
                    <a:close/>
                    <a:moveTo>
                      <a:pt x="48" y="54"/>
                    </a:moveTo>
                    <a:cubicBezTo>
                      <a:pt x="48" y="53"/>
                      <a:pt x="48" y="53"/>
                      <a:pt x="48" y="53"/>
                    </a:cubicBezTo>
                    <a:cubicBezTo>
                      <a:pt x="49" y="54"/>
                      <a:pt x="50" y="54"/>
                      <a:pt x="50" y="55"/>
                    </a:cubicBezTo>
                    <a:cubicBezTo>
                      <a:pt x="50" y="55"/>
                      <a:pt x="49" y="54"/>
                      <a:pt x="48" y="54"/>
                    </a:cubicBezTo>
                    <a:cubicBezTo>
                      <a:pt x="48" y="54"/>
                      <a:pt x="48" y="54"/>
                      <a:pt x="48" y="54"/>
                    </a:cubicBezTo>
                    <a:close/>
                    <a:moveTo>
                      <a:pt x="48" y="54"/>
                    </a:moveTo>
                    <a:cubicBezTo>
                      <a:pt x="48" y="54"/>
                      <a:pt x="48" y="54"/>
                      <a:pt x="48" y="54"/>
                    </a:cubicBezTo>
                    <a:cubicBezTo>
                      <a:pt x="48" y="54"/>
                      <a:pt x="48" y="54"/>
                      <a:pt x="49" y="54"/>
                    </a:cubicBezTo>
                    <a:cubicBezTo>
                      <a:pt x="48" y="54"/>
                      <a:pt x="48" y="54"/>
                      <a:pt x="48" y="54"/>
                    </a:cubicBezTo>
                    <a:cubicBezTo>
                      <a:pt x="48" y="54"/>
                      <a:pt x="48" y="54"/>
                      <a:pt x="48" y="54"/>
                    </a:cubicBezTo>
                    <a:close/>
                    <a:moveTo>
                      <a:pt x="48" y="54"/>
                    </a:moveTo>
                    <a:cubicBezTo>
                      <a:pt x="48" y="54"/>
                      <a:pt x="48" y="54"/>
                      <a:pt x="47" y="54"/>
                    </a:cubicBezTo>
                    <a:cubicBezTo>
                      <a:pt x="47" y="54"/>
                      <a:pt x="47" y="54"/>
                      <a:pt x="47" y="54"/>
                    </a:cubicBezTo>
                    <a:cubicBezTo>
                      <a:pt x="47" y="55"/>
                      <a:pt x="47" y="56"/>
                      <a:pt x="48" y="56"/>
                    </a:cubicBezTo>
                    <a:cubicBezTo>
                      <a:pt x="48" y="56"/>
                      <a:pt x="48" y="55"/>
                      <a:pt x="48" y="54"/>
                    </a:cubicBezTo>
                    <a:cubicBezTo>
                      <a:pt x="48" y="54"/>
                      <a:pt x="48" y="54"/>
                      <a:pt x="48" y="54"/>
                    </a:cubicBezTo>
                    <a:close/>
                    <a:moveTo>
                      <a:pt x="18" y="59"/>
                    </a:moveTo>
                    <a:cubicBezTo>
                      <a:pt x="18" y="58"/>
                      <a:pt x="18" y="57"/>
                      <a:pt x="18" y="57"/>
                    </a:cubicBezTo>
                    <a:cubicBezTo>
                      <a:pt x="19" y="58"/>
                      <a:pt x="20" y="59"/>
                      <a:pt x="20" y="60"/>
                    </a:cubicBezTo>
                    <a:cubicBezTo>
                      <a:pt x="20" y="60"/>
                      <a:pt x="19" y="59"/>
                      <a:pt x="18" y="59"/>
                    </a:cubicBezTo>
                    <a:cubicBezTo>
                      <a:pt x="18" y="59"/>
                      <a:pt x="18" y="59"/>
                      <a:pt x="18" y="59"/>
                    </a:cubicBezTo>
                    <a:close/>
                    <a:moveTo>
                      <a:pt x="61" y="53"/>
                    </a:moveTo>
                    <a:cubicBezTo>
                      <a:pt x="60" y="53"/>
                      <a:pt x="60" y="53"/>
                      <a:pt x="59" y="53"/>
                    </a:cubicBezTo>
                    <a:cubicBezTo>
                      <a:pt x="58" y="54"/>
                      <a:pt x="57" y="56"/>
                      <a:pt x="57" y="58"/>
                    </a:cubicBezTo>
                    <a:cubicBezTo>
                      <a:pt x="59" y="56"/>
                      <a:pt x="59" y="55"/>
                      <a:pt x="61" y="53"/>
                    </a:cubicBezTo>
                    <a:cubicBezTo>
                      <a:pt x="61" y="53"/>
                      <a:pt x="61" y="53"/>
                      <a:pt x="61" y="53"/>
                    </a:cubicBezTo>
                    <a:close/>
                    <a:moveTo>
                      <a:pt x="50" y="55"/>
                    </a:moveTo>
                    <a:cubicBezTo>
                      <a:pt x="49" y="55"/>
                      <a:pt x="49" y="55"/>
                      <a:pt x="48" y="54"/>
                    </a:cubicBezTo>
                    <a:cubicBezTo>
                      <a:pt x="47" y="57"/>
                      <a:pt x="48" y="57"/>
                      <a:pt x="49" y="60"/>
                    </a:cubicBezTo>
                    <a:cubicBezTo>
                      <a:pt x="50" y="59"/>
                      <a:pt x="51" y="58"/>
                      <a:pt x="52" y="58"/>
                    </a:cubicBezTo>
                    <a:cubicBezTo>
                      <a:pt x="50" y="55"/>
                      <a:pt x="50" y="55"/>
                      <a:pt x="50" y="55"/>
                    </a:cubicBezTo>
                    <a:cubicBezTo>
                      <a:pt x="50" y="55"/>
                      <a:pt x="50" y="55"/>
                      <a:pt x="50" y="55"/>
                    </a:cubicBezTo>
                    <a:close/>
                    <a:moveTo>
                      <a:pt x="50" y="55"/>
                    </a:moveTo>
                    <a:cubicBezTo>
                      <a:pt x="51" y="56"/>
                      <a:pt x="52" y="57"/>
                      <a:pt x="52" y="57"/>
                    </a:cubicBezTo>
                    <a:cubicBezTo>
                      <a:pt x="52" y="57"/>
                      <a:pt x="52" y="58"/>
                      <a:pt x="52" y="58"/>
                    </a:cubicBezTo>
                    <a:cubicBezTo>
                      <a:pt x="50" y="55"/>
                      <a:pt x="50" y="55"/>
                      <a:pt x="50" y="55"/>
                    </a:cubicBezTo>
                    <a:cubicBezTo>
                      <a:pt x="50" y="55"/>
                      <a:pt x="50" y="55"/>
                      <a:pt x="50" y="55"/>
                    </a:cubicBezTo>
                    <a:close/>
                    <a:moveTo>
                      <a:pt x="74" y="52"/>
                    </a:moveTo>
                    <a:cubicBezTo>
                      <a:pt x="74" y="52"/>
                      <a:pt x="74" y="52"/>
                      <a:pt x="74" y="52"/>
                    </a:cubicBezTo>
                    <a:cubicBezTo>
                      <a:pt x="72" y="54"/>
                      <a:pt x="70" y="55"/>
                      <a:pt x="68" y="56"/>
                    </a:cubicBezTo>
                    <a:cubicBezTo>
                      <a:pt x="68" y="56"/>
                      <a:pt x="68" y="56"/>
                      <a:pt x="68" y="56"/>
                    </a:cubicBezTo>
                    <a:cubicBezTo>
                      <a:pt x="68" y="56"/>
                      <a:pt x="68" y="56"/>
                      <a:pt x="68" y="56"/>
                    </a:cubicBezTo>
                    <a:cubicBezTo>
                      <a:pt x="68" y="56"/>
                      <a:pt x="68" y="56"/>
                      <a:pt x="68" y="56"/>
                    </a:cubicBezTo>
                    <a:cubicBezTo>
                      <a:pt x="67" y="57"/>
                      <a:pt x="66" y="58"/>
                      <a:pt x="64" y="59"/>
                    </a:cubicBezTo>
                    <a:cubicBezTo>
                      <a:pt x="66" y="54"/>
                      <a:pt x="65" y="55"/>
                      <a:pt x="70" y="55"/>
                    </a:cubicBezTo>
                    <a:cubicBezTo>
                      <a:pt x="69" y="54"/>
                      <a:pt x="67" y="55"/>
                      <a:pt x="66" y="55"/>
                    </a:cubicBezTo>
                    <a:cubicBezTo>
                      <a:pt x="66" y="55"/>
                      <a:pt x="67" y="54"/>
                      <a:pt x="67" y="54"/>
                    </a:cubicBezTo>
                    <a:cubicBezTo>
                      <a:pt x="69" y="53"/>
                      <a:pt x="71" y="52"/>
                      <a:pt x="74" y="52"/>
                    </a:cubicBezTo>
                    <a:cubicBezTo>
                      <a:pt x="74" y="52"/>
                      <a:pt x="74" y="52"/>
                      <a:pt x="74" y="52"/>
                    </a:cubicBezTo>
                    <a:close/>
                    <a:moveTo>
                      <a:pt x="66" y="54"/>
                    </a:moveTo>
                    <a:cubicBezTo>
                      <a:pt x="66" y="54"/>
                      <a:pt x="66" y="54"/>
                      <a:pt x="67" y="54"/>
                    </a:cubicBezTo>
                    <a:cubicBezTo>
                      <a:pt x="66" y="54"/>
                      <a:pt x="66" y="55"/>
                      <a:pt x="66" y="55"/>
                    </a:cubicBezTo>
                    <a:cubicBezTo>
                      <a:pt x="66" y="55"/>
                      <a:pt x="66" y="55"/>
                      <a:pt x="66" y="54"/>
                    </a:cubicBezTo>
                    <a:cubicBezTo>
                      <a:pt x="66" y="54"/>
                      <a:pt x="66" y="54"/>
                      <a:pt x="66" y="54"/>
                    </a:cubicBezTo>
                    <a:close/>
                    <a:moveTo>
                      <a:pt x="53" y="57"/>
                    </a:moveTo>
                    <a:cubicBezTo>
                      <a:pt x="53" y="57"/>
                      <a:pt x="52" y="56"/>
                      <a:pt x="51" y="56"/>
                    </a:cubicBezTo>
                    <a:cubicBezTo>
                      <a:pt x="52" y="56"/>
                      <a:pt x="52" y="57"/>
                      <a:pt x="52" y="57"/>
                    </a:cubicBezTo>
                    <a:cubicBezTo>
                      <a:pt x="53" y="57"/>
                      <a:pt x="53" y="57"/>
                      <a:pt x="53" y="57"/>
                    </a:cubicBezTo>
                    <a:cubicBezTo>
                      <a:pt x="53" y="57"/>
                      <a:pt x="53" y="57"/>
                      <a:pt x="53" y="57"/>
                    </a:cubicBezTo>
                    <a:close/>
                    <a:moveTo>
                      <a:pt x="63" y="55"/>
                    </a:moveTo>
                    <a:cubicBezTo>
                      <a:pt x="64" y="55"/>
                      <a:pt x="65" y="55"/>
                      <a:pt x="66" y="54"/>
                    </a:cubicBezTo>
                    <a:cubicBezTo>
                      <a:pt x="65" y="55"/>
                      <a:pt x="65" y="55"/>
                      <a:pt x="65" y="55"/>
                    </a:cubicBezTo>
                    <a:cubicBezTo>
                      <a:pt x="65" y="55"/>
                      <a:pt x="64" y="55"/>
                      <a:pt x="63" y="55"/>
                    </a:cubicBezTo>
                    <a:cubicBezTo>
                      <a:pt x="63" y="55"/>
                      <a:pt x="63" y="55"/>
                      <a:pt x="63" y="55"/>
                    </a:cubicBezTo>
                    <a:close/>
                    <a:moveTo>
                      <a:pt x="53" y="57"/>
                    </a:moveTo>
                    <a:cubicBezTo>
                      <a:pt x="53" y="57"/>
                      <a:pt x="53" y="57"/>
                      <a:pt x="53" y="57"/>
                    </a:cubicBezTo>
                    <a:cubicBezTo>
                      <a:pt x="53" y="57"/>
                      <a:pt x="53" y="57"/>
                      <a:pt x="53" y="58"/>
                    </a:cubicBezTo>
                    <a:cubicBezTo>
                      <a:pt x="53" y="58"/>
                      <a:pt x="53" y="58"/>
                      <a:pt x="52" y="57"/>
                    </a:cubicBezTo>
                    <a:cubicBezTo>
                      <a:pt x="53" y="57"/>
                      <a:pt x="53" y="57"/>
                      <a:pt x="53" y="57"/>
                    </a:cubicBezTo>
                    <a:cubicBezTo>
                      <a:pt x="53" y="57"/>
                      <a:pt x="53" y="57"/>
                      <a:pt x="53" y="57"/>
                    </a:cubicBezTo>
                    <a:close/>
                    <a:moveTo>
                      <a:pt x="60" y="56"/>
                    </a:moveTo>
                    <a:cubicBezTo>
                      <a:pt x="60" y="56"/>
                      <a:pt x="61" y="56"/>
                      <a:pt x="62" y="56"/>
                    </a:cubicBezTo>
                    <a:cubicBezTo>
                      <a:pt x="61" y="56"/>
                      <a:pt x="60" y="56"/>
                      <a:pt x="59" y="57"/>
                    </a:cubicBezTo>
                    <a:cubicBezTo>
                      <a:pt x="59" y="57"/>
                      <a:pt x="59" y="56"/>
                      <a:pt x="60" y="56"/>
                    </a:cubicBezTo>
                    <a:cubicBezTo>
                      <a:pt x="60" y="56"/>
                      <a:pt x="60" y="56"/>
                      <a:pt x="60" y="56"/>
                    </a:cubicBezTo>
                    <a:close/>
                    <a:moveTo>
                      <a:pt x="46" y="58"/>
                    </a:moveTo>
                    <a:cubicBezTo>
                      <a:pt x="45" y="58"/>
                      <a:pt x="44" y="58"/>
                      <a:pt x="43" y="58"/>
                    </a:cubicBezTo>
                    <a:cubicBezTo>
                      <a:pt x="43" y="58"/>
                      <a:pt x="43" y="59"/>
                      <a:pt x="42" y="59"/>
                    </a:cubicBezTo>
                    <a:cubicBezTo>
                      <a:pt x="43" y="60"/>
                      <a:pt x="44" y="61"/>
                      <a:pt x="45" y="61"/>
                    </a:cubicBezTo>
                    <a:cubicBezTo>
                      <a:pt x="45" y="61"/>
                      <a:pt x="46" y="61"/>
                      <a:pt x="46" y="61"/>
                    </a:cubicBezTo>
                    <a:cubicBezTo>
                      <a:pt x="46" y="60"/>
                      <a:pt x="46" y="59"/>
                      <a:pt x="46" y="58"/>
                    </a:cubicBezTo>
                    <a:cubicBezTo>
                      <a:pt x="46" y="58"/>
                      <a:pt x="46" y="58"/>
                      <a:pt x="46" y="58"/>
                    </a:cubicBezTo>
                    <a:close/>
                    <a:moveTo>
                      <a:pt x="63" y="56"/>
                    </a:moveTo>
                    <a:cubicBezTo>
                      <a:pt x="64" y="55"/>
                      <a:pt x="64" y="55"/>
                      <a:pt x="65" y="55"/>
                    </a:cubicBezTo>
                    <a:cubicBezTo>
                      <a:pt x="61" y="61"/>
                      <a:pt x="61" y="61"/>
                      <a:pt x="61" y="61"/>
                    </a:cubicBezTo>
                    <a:cubicBezTo>
                      <a:pt x="60" y="62"/>
                      <a:pt x="54" y="64"/>
                      <a:pt x="53" y="65"/>
                    </a:cubicBezTo>
                    <a:cubicBezTo>
                      <a:pt x="52" y="64"/>
                      <a:pt x="52" y="64"/>
                      <a:pt x="52" y="64"/>
                    </a:cubicBezTo>
                    <a:cubicBezTo>
                      <a:pt x="53" y="62"/>
                      <a:pt x="55" y="61"/>
                      <a:pt x="56" y="60"/>
                    </a:cubicBezTo>
                    <a:cubicBezTo>
                      <a:pt x="56" y="60"/>
                      <a:pt x="56" y="60"/>
                      <a:pt x="56" y="60"/>
                    </a:cubicBezTo>
                    <a:cubicBezTo>
                      <a:pt x="56" y="60"/>
                      <a:pt x="56" y="60"/>
                      <a:pt x="56" y="60"/>
                    </a:cubicBezTo>
                    <a:cubicBezTo>
                      <a:pt x="59" y="57"/>
                      <a:pt x="58" y="58"/>
                      <a:pt x="63" y="56"/>
                    </a:cubicBezTo>
                    <a:cubicBezTo>
                      <a:pt x="63" y="56"/>
                      <a:pt x="63" y="56"/>
                      <a:pt x="63" y="56"/>
                    </a:cubicBezTo>
                    <a:close/>
                    <a:moveTo>
                      <a:pt x="75" y="54"/>
                    </a:moveTo>
                    <a:cubicBezTo>
                      <a:pt x="74" y="54"/>
                      <a:pt x="74" y="53"/>
                      <a:pt x="74" y="53"/>
                    </a:cubicBezTo>
                    <a:cubicBezTo>
                      <a:pt x="73" y="54"/>
                      <a:pt x="72" y="55"/>
                      <a:pt x="71" y="56"/>
                    </a:cubicBezTo>
                    <a:cubicBezTo>
                      <a:pt x="75" y="54"/>
                      <a:pt x="75" y="54"/>
                      <a:pt x="75" y="54"/>
                    </a:cubicBezTo>
                    <a:cubicBezTo>
                      <a:pt x="75" y="54"/>
                      <a:pt x="75" y="54"/>
                      <a:pt x="75" y="54"/>
                    </a:cubicBezTo>
                    <a:close/>
                    <a:moveTo>
                      <a:pt x="52" y="58"/>
                    </a:moveTo>
                    <a:cubicBezTo>
                      <a:pt x="52" y="58"/>
                      <a:pt x="52" y="58"/>
                      <a:pt x="52" y="58"/>
                    </a:cubicBezTo>
                    <a:cubicBezTo>
                      <a:pt x="53" y="58"/>
                      <a:pt x="53" y="58"/>
                      <a:pt x="53" y="58"/>
                    </a:cubicBezTo>
                    <a:cubicBezTo>
                      <a:pt x="53" y="58"/>
                      <a:pt x="53" y="58"/>
                      <a:pt x="53" y="58"/>
                    </a:cubicBezTo>
                    <a:cubicBezTo>
                      <a:pt x="53" y="58"/>
                      <a:pt x="52" y="58"/>
                      <a:pt x="52" y="58"/>
                    </a:cubicBezTo>
                    <a:cubicBezTo>
                      <a:pt x="52" y="58"/>
                      <a:pt x="52" y="58"/>
                      <a:pt x="52" y="58"/>
                    </a:cubicBezTo>
                    <a:close/>
                    <a:moveTo>
                      <a:pt x="53" y="58"/>
                    </a:moveTo>
                    <a:cubicBezTo>
                      <a:pt x="53" y="58"/>
                      <a:pt x="53" y="58"/>
                      <a:pt x="53" y="58"/>
                    </a:cubicBezTo>
                    <a:cubicBezTo>
                      <a:pt x="54" y="59"/>
                      <a:pt x="54" y="59"/>
                      <a:pt x="55" y="60"/>
                    </a:cubicBezTo>
                    <a:cubicBezTo>
                      <a:pt x="55" y="60"/>
                      <a:pt x="54" y="60"/>
                      <a:pt x="54" y="60"/>
                    </a:cubicBezTo>
                    <a:cubicBezTo>
                      <a:pt x="54" y="60"/>
                      <a:pt x="53" y="59"/>
                      <a:pt x="53" y="58"/>
                    </a:cubicBezTo>
                    <a:cubicBezTo>
                      <a:pt x="53" y="58"/>
                      <a:pt x="53" y="58"/>
                      <a:pt x="53" y="58"/>
                    </a:cubicBezTo>
                    <a:close/>
                    <a:moveTo>
                      <a:pt x="72" y="55"/>
                    </a:moveTo>
                    <a:cubicBezTo>
                      <a:pt x="73" y="55"/>
                      <a:pt x="74" y="54"/>
                      <a:pt x="75" y="54"/>
                    </a:cubicBezTo>
                    <a:cubicBezTo>
                      <a:pt x="75" y="55"/>
                      <a:pt x="75" y="55"/>
                      <a:pt x="75" y="55"/>
                    </a:cubicBezTo>
                    <a:cubicBezTo>
                      <a:pt x="72" y="55"/>
                      <a:pt x="72" y="55"/>
                      <a:pt x="72" y="55"/>
                    </a:cubicBezTo>
                    <a:cubicBezTo>
                      <a:pt x="72" y="55"/>
                      <a:pt x="72" y="55"/>
                      <a:pt x="72" y="55"/>
                    </a:cubicBezTo>
                    <a:cubicBezTo>
                      <a:pt x="72" y="55"/>
                      <a:pt x="72" y="55"/>
                      <a:pt x="72" y="55"/>
                    </a:cubicBezTo>
                    <a:close/>
                    <a:moveTo>
                      <a:pt x="52" y="58"/>
                    </a:moveTo>
                    <a:cubicBezTo>
                      <a:pt x="52" y="58"/>
                      <a:pt x="52" y="58"/>
                      <a:pt x="52" y="58"/>
                    </a:cubicBezTo>
                    <a:cubicBezTo>
                      <a:pt x="51" y="59"/>
                      <a:pt x="50" y="59"/>
                      <a:pt x="49" y="60"/>
                    </a:cubicBezTo>
                    <a:cubicBezTo>
                      <a:pt x="49" y="61"/>
                      <a:pt x="50" y="62"/>
                      <a:pt x="50" y="63"/>
                    </a:cubicBezTo>
                    <a:cubicBezTo>
                      <a:pt x="50" y="62"/>
                      <a:pt x="51" y="62"/>
                      <a:pt x="51" y="62"/>
                    </a:cubicBezTo>
                    <a:cubicBezTo>
                      <a:pt x="52" y="58"/>
                      <a:pt x="52" y="58"/>
                      <a:pt x="52" y="58"/>
                    </a:cubicBezTo>
                    <a:cubicBezTo>
                      <a:pt x="52" y="58"/>
                      <a:pt x="52" y="58"/>
                      <a:pt x="52" y="58"/>
                    </a:cubicBezTo>
                    <a:close/>
                    <a:moveTo>
                      <a:pt x="71" y="56"/>
                    </a:moveTo>
                    <a:cubicBezTo>
                      <a:pt x="75" y="55"/>
                      <a:pt x="75" y="55"/>
                      <a:pt x="75" y="55"/>
                    </a:cubicBezTo>
                    <a:cubicBezTo>
                      <a:pt x="74" y="56"/>
                      <a:pt x="74" y="57"/>
                      <a:pt x="74" y="57"/>
                    </a:cubicBezTo>
                    <a:cubicBezTo>
                      <a:pt x="73" y="57"/>
                      <a:pt x="73" y="56"/>
                      <a:pt x="73" y="56"/>
                    </a:cubicBezTo>
                    <a:cubicBezTo>
                      <a:pt x="73" y="56"/>
                      <a:pt x="73" y="57"/>
                      <a:pt x="74" y="57"/>
                    </a:cubicBezTo>
                    <a:cubicBezTo>
                      <a:pt x="73" y="59"/>
                      <a:pt x="72" y="61"/>
                      <a:pt x="71" y="62"/>
                    </a:cubicBezTo>
                    <a:cubicBezTo>
                      <a:pt x="70" y="62"/>
                      <a:pt x="69" y="62"/>
                      <a:pt x="68" y="62"/>
                    </a:cubicBezTo>
                    <a:cubicBezTo>
                      <a:pt x="68" y="58"/>
                      <a:pt x="68" y="58"/>
                      <a:pt x="68" y="58"/>
                    </a:cubicBezTo>
                    <a:cubicBezTo>
                      <a:pt x="69" y="57"/>
                      <a:pt x="70" y="56"/>
                      <a:pt x="71" y="56"/>
                    </a:cubicBezTo>
                    <a:cubicBezTo>
                      <a:pt x="71" y="56"/>
                      <a:pt x="71" y="56"/>
                      <a:pt x="71" y="56"/>
                    </a:cubicBezTo>
                    <a:close/>
                    <a:moveTo>
                      <a:pt x="75" y="55"/>
                    </a:moveTo>
                    <a:cubicBezTo>
                      <a:pt x="76" y="55"/>
                      <a:pt x="77" y="55"/>
                      <a:pt x="77" y="55"/>
                    </a:cubicBezTo>
                    <a:cubicBezTo>
                      <a:pt x="76" y="56"/>
                      <a:pt x="75" y="58"/>
                      <a:pt x="73" y="59"/>
                    </a:cubicBezTo>
                    <a:cubicBezTo>
                      <a:pt x="74" y="58"/>
                      <a:pt x="74" y="57"/>
                      <a:pt x="75" y="55"/>
                    </a:cubicBezTo>
                    <a:cubicBezTo>
                      <a:pt x="75" y="55"/>
                      <a:pt x="75" y="55"/>
                      <a:pt x="75" y="55"/>
                    </a:cubicBezTo>
                    <a:close/>
                    <a:moveTo>
                      <a:pt x="45" y="61"/>
                    </a:moveTo>
                    <a:cubicBezTo>
                      <a:pt x="44" y="61"/>
                      <a:pt x="43" y="60"/>
                      <a:pt x="42" y="59"/>
                    </a:cubicBezTo>
                    <a:cubicBezTo>
                      <a:pt x="41" y="61"/>
                      <a:pt x="39" y="62"/>
                      <a:pt x="37" y="63"/>
                    </a:cubicBezTo>
                    <a:cubicBezTo>
                      <a:pt x="41" y="63"/>
                      <a:pt x="42" y="63"/>
                      <a:pt x="45" y="61"/>
                    </a:cubicBezTo>
                    <a:cubicBezTo>
                      <a:pt x="45" y="61"/>
                      <a:pt x="45" y="61"/>
                      <a:pt x="45" y="61"/>
                    </a:cubicBezTo>
                    <a:close/>
                    <a:moveTo>
                      <a:pt x="54" y="60"/>
                    </a:moveTo>
                    <a:cubicBezTo>
                      <a:pt x="53" y="60"/>
                      <a:pt x="53" y="59"/>
                      <a:pt x="53" y="58"/>
                    </a:cubicBezTo>
                    <a:cubicBezTo>
                      <a:pt x="52" y="60"/>
                      <a:pt x="52" y="61"/>
                      <a:pt x="51" y="62"/>
                    </a:cubicBezTo>
                    <a:cubicBezTo>
                      <a:pt x="52" y="62"/>
                      <a:pt x="53" y="61"/>
                      <a:pt x="54" y="60"/>
                    </a:cubicBezTo>
                    <a:cubicBezTo>
                      <a:pt x="54" y="60"/>
                      <a:pt x="54" y="60"/>
                      <a:pt x="54" y="60"/>
                    </a:cubicBezTo>
                    <a:close/>
                    <a:moveTo>
                      <a:pt x="64" y="59"/>
                    </a:moveTo>
                    <a:cubicBezTo>
                      <a:pt x="64" y="58"/>
                      <a:pt x="65" y="57"/>
                      <a:pt x="65" y="56"/>
                    </a:cubicBezTo>
                    <a:cubicBezTo>
                      <a:pt x="64" y="57"/>
                      <a:pt x="63" y="59"/>
                      <a:pt x="62" y="60"/>
                    </a:cubicBezTo>
                    <a:cubicBezTo>
                      <a:pt x="62" y="60"/>
                      <a:pt x="63" y="60"/>
                      <a:pt x="64" y="59"/>
                    </a:cubicBezTo>
                    <a:cubicBezTo>
                      <a:pt x="64" y="59"/>
                      <a:pt x="64" y="59"/>
                      <a:pt x="64" y="59"/>
                    </a:cubicBezTo>
                    <a:close/>
                    <a:moveTo>
                      <a:pt x="46" y="62"/>
                    </a:moveTo>
                    <a:cubicBezTo>
                      <a:pt x="46" y="62"/>
                      <a:pt x="47" y="62"/>
                      <a:pt x="47" y="62"/>
                    </a:cubicBezTo>
                    <a:cubicBezTo>
                      <a:pt x="48" y="64"/>
                      <a:pt x="48" y="64"/>
                      <a:pt x="48" y="64"/>
                    </a:cubicBezTo>
                    <a:cubicBezTo>
                      <a:pt x="47" y="64"/>
                      <a:pt x="46" y="63"/>
                      <a:pt x="46" y="62"/>
                    </a:cubicBezTo>
                    <a:cubicBezTo>
                      <a:pt x="46" y="62"/>
                      <a:pt x="46" y="62"/>
                      <a:pt x="46" y="62"/>
                    </a:cubicBezTo>
                    <a:close/>
                    <a:moveTo>
                      <a:pt x="46" y="62"/>
                    </a:moveTo>
                    <a:cubicBezTo>
                      <a:pt x="43" y="63"/>
                      <a:pt x="44" y="63"/>
                      <a:pt x="43" y="65"/>
                    </a:cubicBezTo>
                    <a:cubicBezTo>
                      <a:pt x="45" y="65"/>
                      <a:pt x="46" y="65"/>
                      <a:pt x="48" y="65"/>
                    </a:cubicBezTo>
                    <a:cubicBezTo>
                      <a:pt x="47" y="64"/>
                      <a:pt x="46" y="63"/>
                      <a:pt x="46" y="62"/>
                    </a:cubicBezTo>
                    <a:cubicBezTo>
                      <a:pt x="46" y="62"/>
                      <a:pt x="46" y="62"/>
                      <a:pt x="46" y="62"/>
                    </a:cubicBezTo>
                    <a:close/>
                    <a:moveTo>
                      <a:pt x="52" y="63"/>
                    </a:moveTo>
                    <a:cubicBezTo>
                      <a:pt x="52" y="63"/>
                      <a:pt x="52" y="63"/>
                      <a:pt x="52" y="63"/>
                    </a:cubicBezTo>
                    <a:cubicBezTo>
                      <a:pt x="52" y="63"/>
                      <a:pt x="52" y="63"/>
                      <a:pt x="52" y="64"/>
                    </a:cubicBezTo>
                    <a:cubicBezTo>
                      <a:pt x="52" y="63"/>
                      <a:pt x="52" y="63"/>
                      <a:pt x="52" y="63"/>
                    </a:cubicBezTo>
                    <a:cubicBezTo>
                      <a:pt x="52" y="63"/>
                      <a:pt x="52" y="63"/>
                      <a:pt x="52" y="63"/>
                    </a:cubicBezTo>
                    <a:close/>
                    <a:moveTo>
                      <a:pt x="51" y="64"/>
                    </a:moveTo>
                    <a:cubicBezTo>
                      <a:pt x="51" y="64"/>
                      <a:pt x="51" y="64"/>
                      <a:pt x="51" y="63"/>
                    </a:cubicBezTo>
                    <a:cubicBezTo>
                      <a:pt x="51" y="64"/>
                      <a:pt x="52" y="64"/>
                      <a:pt x="52" y="64"/>
                    </a:cubicBezTo>
                    <a:cubicBezTo>
                      <a:pt x="51" y="64"/>
                      <a:pt x="51" y="65"/>
                      <a:pt x="51" y="65"/>
                    </a:cubicBezTo>
                    <a:cubicBezTo>
                      <a:pt x="51" y="65"/>
                      <a:pt x="50" y="64"/>
                      <a:pt x="51" y="64"/>
                    </a:cubicBezTo>
                    <a:cubicBezTo>
                      <a:pt x="51" y="64"/>
                      <a:pt x="51" y="64"/>
                      <a:pt x="51" y="64"/>
                    </a:cubicBezTo>
                    <a:close/>
                    <a:moveTo>
                      <a:pt x="59" y="63"/>
                    </a:moveTo>
                    <a:cubicBezTo>
                      <a:pt x="62" y="61"/>
                      <a:pt x="65" y="60"/>
                      <a:pt x="68" y="58"/>
                    </a:cubicBezTo>
                    <a:cubicBezTo>
                      <a:pt x="68" y="62"/>
                      <a:pt x="68" y="62"/>
                      <a:pt x="68" y="62"/>
                    </a:cubicBezTo>
                    <a:cubicBezTo>
                      <a:pt x="59" y="63"/>
                      <a:pt x="59" y="63"/>
                      <a:pt x="59" y="63"/>
                    </a:cubicBezTo>
                    <a:cubicBezTo>
                      <a:pt x="59" y="63"/>
                      <a:pt x="59" y="63"/>
                      <a:pt x="59" y="63"/>
                    </a:cubicBezTo>
                    <a:close/>
                    <a:moveTo>
                      <a:pt x="48" y="65"/>
                    </a:moveTo>
                    <a:cubicBezTo>
                      <a:pt x="46" y="65"/>
                      <a:pt x="45" y="65"/>
                      <a:pt x="43" y="65"/>
                    </a:cubicBezTo>
                    <a:cubicBezTo>
                      <a:pt x="41" y="68"/>
                      <a:pt x="40" y="70"/>
                      <a:pt x="38" y="72"/>
                    </a:cubicBezTo>
                    <a:cubicBezTo>
                      <a:pt x="39" y="74"/>
                      <a:pt x="39" y="74"/>
                      <a:pt x="40" y="75"/>
                    </a:cubicBezTo>
                    <a:cubicBezTo>
                      <a:pt x="42" y="75"/>
                      <a:pt x="44" y="74"/>
                      <a:pt x="46" y="74"/>
                    </a:cubicBezTo>
                    <a:cubicBezTo>
                      <a:pt x="46" y="72"/>
                      <a:pt x="46" y="70"/>
                      <a:pt x="46" y="69"/>
                    </a:cubicBezTo>
                    <a:cubicBezTo>
                      <a:pt x="46" y="69"/>
                      <a:pt x="46" y="69"/>
                      <a:pt x="46" y="69"/>
                    </a:cubicBezTo>
                    <a:cubicBezTo>
                      <a:pt x="46" y="70"/>
                      <a:pt x="46" y="72"/>
                      <a:pt x="46" y="74"/>
                    </a:cubicBezTo>
                    <a:cubicBezTo>
                      <a:pt x="47" y="73"/>
                      <a:pt x="49" y="73"/>
                      <a:pt x="50" y="72"/>
                    </a:cubicBezTo>
                    <a:cubicBezTo>
                      <a:pt x="50" y="70"/>
                      <a:pt x="49" y="66"/>
                      <a:pt x="48" y="65"/>
                    </a:cubicBezTo>
                    <a:cubicBezTo>
                      <a:pt x="48" y="65"/>
                      <a:pt x="48" y="65"/>
                      <a:pt x="48" y="65"/>
                    </a:cubicBezTo>
                    <a:close/>
                    <a:moveTo>
                      <a:pt x="52" y="65"/>
                    </a:moveTo>
                    <a:cubicBezTo>
                      <a:pt x="52" y="64"/>
                      <a:pt x="52" y="64"/>
                      <a:pt x="52" y="64"/>
                    </a:cubicBezTo>
                    <a:cubicBezTo>
                      <a:pt x="51" y="64"/>
                      <a:pt x="51" y="65"/>
                      <a:pt x="51" y="65"/>
                    </a:cubicBezTo>
                    <a:cubicBezTo>
                      <a:pt x="51" y="65"/>
                      <a:pt x="52" y="65"/>
                      <a:pt x="52" y="65"/>
                    </a:cubicBezTo>
                    <a:cubicBezTo>
                      <a:pt x="52" y="65"/>
                      <a:pt x="52" y="65"/>
                      <a:pt x="52" y="65"/>
                    </a:cubicBezTo>
                    <a:close/>
                    <a:moveTo>
                      <a:pt x="68" y="62"/>
                    </a:moveTo>
                    <a:cubicBezTo>
                      <a:pt x="65" y="63"/>
                      <a:pt x="62" y="63"/>
                      <a:pt x="59" y="63"/>
                    </a:cubicBezTo>
                    <a:cubicBezTo>
                      <a:pt x="58" y="64"/>
                      <a:pt x="58" y="64"/>
                      <a:pt x="57" y="64"/>
                    </a:cubicBezTo>
                    <a:cubicBezTo>
                      <a:pt x="56" y="65"/>
                      <a:pt x="56" y="65"/>
                      <a:pt x="55" y="65"/>
                    </a:cubicBezTo>
                    <a:cubicBezTo>
                      <a:pt x="58" y="67"/>
                      <a:pt x="57" y="67"/>
                      <a:pt x="61" y="67"/>
                    </a:cubicBezTo>
                    <a:cubicBezTo>
                      <a:pt x="62" y="63"/>
                      <a:pt x="62" y="63"/>
                      <a:pt x="62" y="63"/>
                    </a:cubicBezTo>
                    <a:cubicBezTo>
                      <a:pt x="62" y="63"/>
                      <a:pt x="62" y="63"/>
                      <a:pt x="62" y="63"/>
                    </a:cubicBezTo>
                    <a:cubicBezTo>
                      <a:pt x="61" y="67"/>
                      <a:pt x="61" y="67"/>
                      <a:pt x="61" y="67"/>
                    </a:cubicBezTo>
                    <a:cubicBezTo>
                      <a:pt x="62" y="67"/>
                      <a:pt x="62" y="67"/>
                      <a:pt x="63" y="66"/>
                    </a:cubicBezTo>
                    <a:cubicBezTo>
                      <a:pt x="62" y="67"/>
                      <a:pt x="62" y="67"/>
                      <a:pt x="61" y="67"/>
                    </a:cubicBezTo>
                    <a:cubicBezTo>
                      <a:pt x="61" y="67"/>
                      <a:pt x="61" y="68"/>
                      <a:pt x="61" y="69"/>
                    </a:cubicBezTo>
                    <a:cubicBezTo>
                      <a:pt x="63" y="69"/>
                      <a:pt x="64" y="70"/>
                      <a:pt x="65" y="71"/>
                    </a:cubicBezTo>
                    <a:cubicBezTo>
                      <a:pt x="66" y="70"/>
                      <a:pt x="66" y="70"/>
                      <a:pt x="67" y="69"/>
                    </a:cubicBezTo>
                    <a:cubicBezTo>
                      <a:pt x="65" y="68"/>
                      <a:pt x="64" y="67"/>
                      <a:pt x="62" y="66"/>
                    </a:cubicBezTo>
                    <a:cubicBezTo>
                      <a:pt x="62" y="66"/>
                      <a:pt x="62" y="66"/>
                      <a:pt x="62" y="66"/>
                    </a:cubicBezTo>
                    <a:cubicBezTo>
                      <a:pt x="64" y="67"/>
                      <a:pt x="65" y="68"/>
                      <a:pt x="67" y="69"/>
                    </a:cubicBezTo>
                    <a:cubicBezTo>
                      <a:pt x="69" y="66"/>
                      <a:pt x="68" y="67"/>
                      <a:pt x="68" y="62"/>
                    </a:cubicBezTo>
                    <a:cubicBezTo>
                      <a:pt x="68" y="62"/>
                      <a:pt x="68" y="62"/>
                      <a:pt x="68" y="62"/>
                    </a:cubicBezTo>
                    <a:close/>
                    <a:moveTo>
                      <a:pt x="71" y="62"/>
                    </a:moveTo>
                    <a:cubicBezTo>
                      <a:pt x="70" y="62"/>
                      <a:pt x="69" y="62"/>
                      <a:pt x="68" y="62"/>
                    </a:cubicBezTo>
                    <a:cubicBezTo>
                      <a:pt x="68" y="64"/>
                      <a:pt x="68" y="65"/>
                      <a:pt x="69" y="67"/>
                    </a:cubicBezTo>
                    <a:cubicBezTo>
                      <a:pt x="69" y="66"/>
                      <a:pt x="71" y="63"/>
                      <a:pt x="71" y="62"/>
                    </a:cubicBezTo>
                    <a:cubicBezTo>
                      <a:pt x="71" y="62"/>
                      <a:pt x="71" y="62"/>
                      <a:pt x="71" y="62"/>
                    </a:cubicBezTo>
                    <a:close/>
                    <a:moveTo>
                      <a:pt x="72" y="62"/>
                    </a:moveTo>
                    <a:cubicBezTo>
                      <a:pt x="72" y="62"/>
                      <a:pt x="72" y="62"/>
                      <a:pt x="72" y="62"/>
                    </a:cubicBezTo>
                    <a:cubicBezTo>
                      <a:pt x="72" y="62"/>
                      <a:pt x="72" y="62"/>
                      <a:pt x="72" y="62"/>
                    </a:cubicBezTo>
                    <a:cubicBezTo>
                      <a:pt x="72" y="62"/>
                      <a:pt x="72" y="62"/>
                      <a:pt x="72" y="62"/>
                    </a:cubicBezTo>
                    <a:cubicBezTo>
                      <a:pt x="72" y="62"/>
                      <a:pt x="72" y="62"/>
                      <a:pt x="72" y="62"/>
                    </a:cubicBezTo>
                    <a:close/>
                    <a:moveTo>
                      <a:pt x="55" y="65"/>
                    </a:moveTo>
                    <a:cubicBezTo>
                      <a:pt x="54" y="65"/>
                      <a:pt x="54" y="66"/>
                      <a:pt x="54" y="66"/>
                    </a:cubicBezTo>
                    <a:cubicBezTo>
                      <a:pt x="56" y="67"/>
                      <a:pt x="56" y="67"/>
                      <a:pt x="56" y="67"/>
                    </a:cubicBezTo>
                    <a:cubicBezTo>
                      <a:pt x="56" y="67"/>
                      <a:pt x="57" y="67"/>
                      <a:pt x="58" y="67"/>
                    </a:cubicBezTo>
                    <a:cubicBezTo>
                      <a:pt x="57" y="67"/>
                      <a:pt x="56" y="66"/>
                      <a:pt x="55" y="65"/>
                    </a:cubicBezTo>
                    <a:cubicBezTo>
                      <a:pt x="55" y="65"/>
                      <a:pt x="55" y="65"/>
                      <a:pt x="55" y="65"/>
                    </a:cubicBezTo>
                    <a:close/>
                    <a:moveTo>
                      <a:pt x="10" y="73"/>
                    </a:moveTo>
                    <a:cubicBezTo>
                      <a:pt x="10" y="73"/>
                      <a:pt x="10" y="73"/>
                      <a:pt x="10" y="73"/>
                    </a:cubicBezTo>
                    <a:cubicBezTo>
                      <a:pt x="10" y="73"/>
                      <a:pt x="11" y="74"/>
                      <a:pt x="12" y="74"/>
                    </a:cubicBezTo>
                    <a:cubicBezTo>
                      <a:pt x="11" y="73"/>
                      <a:pt x="11" y="73"/>
                      <a:pt x="10" y="73"/>
                    </a:cubicBezTo>
                    <a:cubicBezTo>
                      <a:pt x="10" y="73"/>
                      <a:pt x="10" y="73"/>
                      <a:pt x="10" y="73"/>
                    </a:cubicBezTo>
                    <a:close/>
                    <a:moveTo>
                      <a:pt x="51" y="67"/>
                    </a:moveTo>
                    <a:cubicBezTo>
                      <a:pt x="52" y="66"/>
                      <a:pt x="53" y="66"/>
                      <a:pt x="54" y="66"/>
                    </a:cubicBezTo>
                    <a:cubicBezTo>
                      <a:pt x="55" y="67"/>
                      <a:pt x="55" y="67"/>
                      <a:pt x="55" y="67"/>
                    </a:cubicBezTo>
                    <a:cubicBezTo>
                      <a:pt x="54" y="68"/>
                      <a:pt x="53" y="68"/>
                      <a:pt x="52" y="68"/>
                    </a:cubicBezTo>
                    <a:cubicBezTo>
                      <a:pt x="52" y="67"/>
                      <a:pt x="51" y="67"/>
                      <a:pt x="51" y="67"/>
                    </a:cubicBezTo>
                    <a:cubicBezTo>
                      <a:pt x="51" y="67"/>
                      <a:pt x="51" y="67"/>
                      <a:pt x="51" y="67"/>
                    </a:cubicBezTo>
                    <a:close/>
                    <a:moveTo>
                      <a:pt x="52" y="68"/>
                    </a:moveTo>
                    <a:cubicBezTo>
                      <a:pt x="53" y="68"/>
                      <a:pt x="54" y="68"/>
                      <a:pt x="56" y="68"/>
                    </a:cubicBezTo>
                    <a:cubicBezTo>
                      <a:pt x="57" y="69"/>
                      <a:pt x="59" y="70"/>
                      <a:pt x="60" y="71"/>
                    </a:cubicBezTo>
                    <a:cubicBezTo>
                      <a:pt x="60" y="75"/>
                      <a:pt x="60" y="75"/>
                      <a:pt x="60" y="75"/>
                    </a:cubicBezTo>
                    <a:cubicBezTo>
                      <a:pt x="58" y="76"/>
                      <a:pt x="57" y="76"/>
                      <a:pt x="54" y="77"/>
                    </a:cubicBezTo>
                    <a:cubicBezTo>
                      <a:pt x="55" y="77"/>
                      <a:pt x="55" y="76"/>
                      <a:pt x="55" y="75"/>
                    </a:cubicBezTo>
                    <a:cubicBezTo>
                      <a:pt x="55" y="75"/>
                      <a:pt x="55" y="75"/>
                      <a:pt x="55" y="75"/>
                    </a:cubicBezTo>
                    <a:cubicBezTo>
                      <a:pt x="55" y="76"/>
                      <a:pt x="55" y="77"/>
                      <a:pt x="54" y="77"/>
                    </a:cubicBezTo>
                    <a:cubicBezTo>
                      <a:pt x="53" y="74"/>
                      <a:pt x="53" y="71"/>
                      <a:pt x="52" y="68"/>
                    </a:cubicBezTo>
                    <a:cubicBezTo>
                      <a:pt x="52" y="68"/>
                      <a:pt x="52" y="68"/>
                      <a:pt x="52" y="68"/>
                    </a:cubicBezTo>
                    <a:close/>
                    <a:moveTo>
                      <a:pt x="58" y="67"/>
                    </a:moveTo>
                    <a:cubicBezTo>
                      <a:pt x="57" y="67"/>
                      <a:pt x="57" y="67"/>
                      <a:pt x="56" y="68"/>
                    </a:cubicBezTo>
                    <a:cubicBezTo>
                      <a:pt x="57" y="69"/>
                      <a:pt x="59" y="70"/>
                      <a:pt x="60" y="71"/>
                    </a:cubicBezTo>
                    <a:cubicBezTo>
                      <a:pt x="61" y="70"/>
                      <a:pt x="61" y="69"/>
                      <a:pt x="61" y="69"/>
                    </a:cubicBezTo>
                    <a:cubicBezTo>
                      <a:pt x="58" y="67"/>
                      <a:pt x="58" y="67"/>
                      <a:pt x="58" y="67"/>
                    </a:cubicBezTo>
                    <a:cubicBezTo>
                      <a:pt x="58" y="67"/>
                      <a:pt x="58" y="67"/>
                      <a:pt x="58" y="67"/>
                    </a:cubicBezTo>
                    <a:close/>
                    <a:moveTo>
                      <a:pt x="58" y="67"/>
                    </a:moveTo>
                    <a:cubicBezTo>
                      <a:pt x="59" y="67"/>
                      <a:pt x="60" y="67"/>
                      <a:pt x="61" y="67"/>
                    </a:cubicBezTo>
                    <a:cubicBezTo>
                      <a:pt x="61" y="67"/>
                      <a:pt x="61" y="68"/>
                      <a:pt x="61" y="69"/>
                    </a:cubicBezTo>
                    <a:cubicBezTo>
                      <a:pt x="58" y="67"/>
                      <a:pt x="58" y="67"/>
                      <a:pt x="58" y="67"/>
                    </a:cubicBezTo>
                    <a:cubicBezTo>
                      <a:pt x="58" y="67"/>
                      <a:pt x="58" y="67"/>
                      <a:pt x="58" y="67"/>
                    </a:cubicBezTo>
                    <a:close/>
                    <a:moveTo>
                      <a:pt x="35" y="71"/>
                    </a:moveTo>
                    <a:cubicBezTo>
                      <a:pt x="35" y="71"/>
                      <a:pt x="35" y="71"/>
                      <a:pt x="35" y="71"/>
                    </a:cubicBezTo>
                    <a:cubicBezTo>
                      <a:pt x="35" y="72"/>
                      <a:pt x="36" y="72"/>
                      <a:pt x="36" y="73"/>
                    </a:cubicBezTo>
                    <a:cubicBezTo>
                      <a:pt x="36" y="72"/>
                      <a:pt x="36" y="72"/>
                      <a:pt x="35" y="71"/>
                    </a:cubicBezTo>
                    <a:cubicBezTo>
                      <a:pt x="35" y="71"/>
                      <a:pt x="35" y="71"/>
                      <a:pt x="35" y="71"/>
                    </a:cubicBezTo>
                    <a:close/>
                    <a:moveTo>
                      <a:pt x="38" y="72"/>
                    </a:moveTo>
                    <a:cubicBezTo>
                      <a:pt x="38" y="72"/>
                      <a:pt x="38" y="71"/>
                      <a:pt x="38" y="71"/>
                    </a:cubicBezTo>
                    <a:cubicBezTo>
                      <a:pt x="37" y="71"/>
                      <a:pt x="37" y="72"/>
                      <a:pt x="37" y="73"/>
                    </a:cubicBezTo>
                    <a:cubicBezTo>
                      <a:pt x="38" y="73"/>
                      <a:pt x="38" y="72"/>
                      <a:pt x="38" y="72"/>
                    </a:cubicBezTo>
                    <a:cubicBezTo>
                      <a:pt x="38" y="72"/>
                      <a:pt x="38" y="72"/>
                      <a:pt x="38" y="72"/>
                    </a:cubicBezTo>
                    <a:close/>
                    <a:moveTo>
                      <a:pt x="37" y="73"/>
                    </a:moveTo>
                    <a:cubicBezTo>
                      <a:pt x="38" y="73"/>
                      <a:pt x="38" y="73"/>
                      <a:pt x="38" y="72"/>
                    </a:cubicBezTo>
                    <a:cubicBezTo>
                      <a:pt x="38" y="73"/>
                      <a:pt x="38" y="73"/>
                      <a:pt x="38" y="74"/>
                    </a:cubicBezTo>
                    <a:cubicBezTo>
                      <a:pt x="38" y="74"/>
                      <a:pt x="38" y="73"/>
                      <a:pt x="37" y="73"/>
                    </a:cubicBezTo>
                    <a:cubicBezTo>
                      <a:pt x="37" y="73"/>
                      <a:pt x="37" y="73"/>
                      <a:pt x="37" y="73"/>
                    </a:cubicBezTo>
                    <a:close/>
                    <a:moveTo>
                      <a:pt x="31" y="73"/>
                    </a:moveTo>
                    <a:cubicBezTo>
                      <a:pt x="30" y="73"/>
                      <a:pt x="29" y="73"/>
                      <a:pt x="28" y="73"/>
                    </a:cubicBezTo>
                    <a:cubicBezTo>
                      <a:pt x="30" y="74"/>
                      <a:pt x="32" y="75"/>
                      <a:pt x="35" y="76"/>
                    </a:cubicBezTo>
                    <a:cubicBezTo>
                      <a:pt x="35" y="75"/>
                      <a:pt x="35" y="75"/>
                      <a:pt x="36" y="75"/>
                    </a:cubicBezTo>
                    <a:cubicBezTo>
                      <a:pt x="35" y="75"/>
                      <a:pt x="34" y="74"/>
                      <a:pt x="34" y="74"/>
                    </a:cubicBezTo>
                    <a:cubicBezTo>
                      <a:pt x="34" y="74"/>
                      <a:pt x="34" y="74"/>
                      <a:pt x="34" y="74"/>
                    </a:cubicBezTo>
                    <a:cubicBezTo>
                      <a:pt x="33" y="74"/>
                      <a:pt x="32" y="74"/>
                      <a:pt x="31" y="73"/>
                    </a:cubicBezTo>
                    <a:cubicBezTo>
                      <a:pt x="31" y="73"/>
                      <a:pt x="31" y="73"/>
                      <a:pt x="31" y="73"/>
                    </a:cubicBezTo>
                    <a:close/>
                    <a:moveTo>
                      <a:pt x="36" y="75"/>
                    </a:moveTo>
                    <a:cubicBezTo>
                      <a:pt x="37" y="74"/>
                      <a:pt x="37" y="74"/>
                      <a:pt x="37" y="73"/>
                    </a:cubicBezTo>
                    <a:cubicBezTo>
                      <a:pt x="38" y="74"/>
                      <a:pt x="38" y="75"/>
                      <a:pt x="39" y="75"/>
                    </a:cubicBezTo>
                    <a:cubicBezTo>
                      <a:pt x="36" y="75"/>
                      <a:pt x="36" y="75"/>
                      <a:pt x="36" y="75"/>
                    </a:cubicBezTo>
                    <a:cubicBezTo>
                      <a:pt x="36" y="75"/>
                      <a:pt x="36" y="75"/>
                      <a:pt x="36" y="75"/>
                    </a:cubicBezTo>
                    <a:close/>
                    <a:moveTo>
                      <a:pt x="61" y="71"/>
                    </a:moveTo>
                    <a:cubicBezTo>
                      <a:pt x="61" y="70"/>
                      <a:pt x="61" y="70"/>
                      <a:pt x="61" y="69"/>
                    </a:cubicBezTo>
                    <a:cubicBezTo>
                      <a:pt x="63" y="69"/>
                      <a:pt x="64" y="70"/>
                      <a:pt x="65" y="71"/>
                    </a:cubicBezTo>
                    <a:cubicBezTo>
                      <a:pt x="64" y="72"/>
                      <a:pt x="63" y="73"/>
                      <a:pt x="60" y="75"/>
                    </a:cubicBezTo>
                    <a:cubicBezTo>
                      <a:pt x="60" y="73"/>
                      <a:pt x="61" y="72"/>
                      <a:pt x="61" y="71"/>
                    </a:cubicBezTo>
                    <a:cubicBezTo>
                      <a:pt x="61" y="71"/>
                      <a:pt x="62" y="72"/>
                      <a:pt x="63" y="72"/>
                    </a:cubicBezTo>
                    <a:cubicBezTo>
                      <a:pt x="62" y="72"/>
                      <a:pt x="61" y="71"/>
                      <a:pt x="61" y="71"/>
                    </a:cubicBezTo>
                    <a:cubicBezTo>
                      <a:pt x="61" y="71"/>
                      <a:pt x="61" y="71"/>
                      <a:pt x="61" y="71"/>
                    </a:cubicBezTo>
                    <a:close/>
                    <a:moveTo>
                      <a:pt x="35" y="76"/>
                    </a:moveTo>
                    <a:cubicBezTo>
                      <a:pt x="35" y="75"/>
                      <a:pt x="36" y="75"/>
                      <a:pt x="36" y="75"/>
                    </a:cubicBezTo>
                    <a:cubicBezTo>
                      <a:pt x="39" y="76"/>
                      <a:pt x="39" y="76"/>
                      <a:pt x="39" y="76"/>
                    </a:cubicBezTo>
                    <a:cubicBezTo>
                      <a:pt x="37" y="76"/>
                      <a:pt x="36" y="76"/>
                      <a:pt x="35" y="76"/>
                    </a:cubicBezTo>
                    <a:cubicBezTo>
                      <a:pt x="35" y="76"/>
                      <a:pt x="35" y="76"/>
                      <a:pt x="35" y="76"/>
                    </a:cubicBezTo>
                    <a:close/>
                    <a:moveTo>
                      <a:pt x="39" y="75"/>
                    </a:moveTo>
                    <a:cubicBezTo>
                      <a:pt x="39" y="75"/>
                      <a:pt x="38" y="75"/>
                      <a:pt x="38" y="75"/>
                    </a:cubicBezTo>
                    <a:cubicBezTo>
                      <a:pt x="38" y="75"/>
                      <a:pt x="39" y="75"/>
                      <a:pt x="39" y="75"/>
                    </a:cubicBezTo>
                    <a:cubicBezTo>
                      <a:pt x="39" y="75"/>
                      <a:pt x="39" y="75"/>
                      <a:pt x="39" y="75"/>
                    </a:cubicBezTo>
                    <a:cubicBezTo>
                      <a:pt x="39" y="75"/>
                      <a:pt x="39" y="75"/>
                      <a:pt x="39" y="75"/>
                    </a:cubicBezTo>
                    <a:close/>
                    <a:moveTo>
                      <a:pt x="34" y="76"/>
                    </a:moveTo>
                    <a:cubicBezTo>
                      <a:pt x="34" y="76"/>
                      <a:pt x="35" y="76"/>
                      <a:pt x="35" y="76"/>
                    </a:cubicBezTo>
                    <a:cubicBezTo>
                      <a:pt x="35" y="76"/>
                      <a:pt x="35" y="76"/>
                      <a:pt x="35" y="76"/>
                    </a:cubicBezTo>
                    <a:cubicBezTo>
                      <a:pt x="35" y="76"/>
                      <a:pt x="35" y="76"/>
                      <a:pt x="34" y="76"/>
                    </a:cubicBezTo>
                    <a:cubicBezTo>
                      <a:pt x="34" y="76"/>
                      <a:pt x="34" y="76"/>
                      <a:pt x="34" y="76"/>
                    </a:cubicBezTo>
                    <a:close/>
                    <a:moveTo>
                      <a:pt x="27" y="77"/>
                    </a:moveTo>
                    <a:cubicBezTo>
                      <a:pt x="27" y="77"/>
                      <a:pt x="27" y="77"/>
                      <a:pt x="26" y="77"/>
                    </a:cubicBezTo>
                    <a:cubicBezTo>
                      <a:pt x="27" y="77"/>
                      <a:pt x="27" y="77"/>
                      <a:pt x="27" y="78"/>
                    </a:cubicBezTo>
                    <a:cubicBezTo>
                      <a:pt x="27" y="78"/>
                      <a:pt x="27" y="77"/>
                      <a:pt x="27" y="77"/>
                    </a:cubicBezTo>
                    <a:cubicBezTo>
                      <a:pt x="27" y="77"/>
                      <a:pt x="27" y="77"/>
                      <a:pt x="27" y="77"/>
                    </a:cubicBezTo>
                    <a:close/>
                    <a:moveTo>
                      <a:pt x="66" y="71"/>
                    </a:moveTo>
                    <a:cubicBezTo>
                      <a:pt x="66" y="71"/>
                      <a:pt x="66" y="71"/>
                      <a:pt x="66" y="71"/>
                    </a:cubicBezTo>
                    <a:cubicBezTo>
                      <a:pt x="67" y="71"/>
                      <a:pt x="68" y="72"/>
                      <a:pt x="69" y="72"/>
                    </a:cubicBezTo>
                    <a:cubicBezTo>
                      <a:pt x="67" y="72"/>
                      <a:pt x="68" y="72"/>
                      <a:pt x="66" y="71"/>
                    </a:cubicBezTo>
                    <a:cubicBezTo>
                      <a:pt x="66" y="71"/>
                      <a:pt x="66" y="71"/>
                      <a:pt x="66" y="71"/>
                    </a:cubicBezTo>
                    <a:close/>
                    <a:moveTo>
                      <a:pt x="28" y="77"/>
                    </a:moveTo>
                    <a:cubicBezTo>
                      <a:pt x="28" y="78"/>
                      <a:pt x="27" y="78"/>
                      <a:pt x="27" y="78"/>
                    </a:cubicBezTo>
                    <a:cubicBezTo>
                      <a:pt x="27" y="78"/>
                      <a:pt x="27" y="78"/>
                      <a:pt x="28" y="78"/>
                    </a:cubicBezTo>
                    <a:cubicBezTo>
                      <a:pt x="29" y="78"/>
                      <a:pt x="30" y="78"/>
                      <a:pt x="30" y="77"/>
                    </a:cubicBezTo>
                    <a:cubicBezTo>
                      <a:pt x="28" y="77"/>
                      <a:pt x="28" y="77"/>
                      <a:pt x="28" y="77"/>
                    </a:cubicBezTo>
                    <a:cubicBezTo>
                      <a:pt x="28" y="77"/>
                      <a:pt x="28" y="77"/>
                      <a:pt x="28" y="77"/>
                    </a:cubicBezTo>
                    <a:close/>
                    <a:moveTo>
                      <a:pt x="47" y="75"/>
                    </a:moveTo>
                    <a:cubicBezTo>
                      <a:pt x="48" y="74"/>
                      <a:pt x="49" y="74"/>
                      <a:pt x="50" y="74"/>
                    </a:cubicBezTo>
                    <a:cubicBezTo>
                      <a:pt x="50" y="74"/>
                      <a:pt x="51" y="75"/>
                      <a:pt x="51" y="76"/>
                    </a:cubicBezTo>
                    <a:cubicBezTo>
                      <a:pt x="50" y="76"/>
                      <a:pt x="49" y="77"/>
                      <a:pt x="48" y="77"/>
                    </a:cubicBezTo>
                    <a:cubicBezTo>
                      <a:pt x="49" y="76"/>
                      <a:pt x="49" y="75"/>
                      <a:pt x="50" y="74"/>
                    </a:cubicBezTo>
                    <a:cubicBezTo>
                      <a:pt x="50" y="74"/>
                      <a:pt x="50" y="74"/>
                      <a:pt x="50" y="74"/>
                    </a:cubicBezTo>
                    <a:cubicBezTo>
                      <a:pt x="49" y="75"/>
                      <a:pt x="49" y="76"/>
                      <a:pt x="48" y="77"/>
                    </a:cubicBezTo>
                    <a:cubicBezTo>
                      <a:pt x="48" y="77"/>
                      <a:pt x="47" y="78"/>
                      <a:pt x="46" y="77"/>
                    </a:cubicBezTo>
                    <a:cubicBezTo>
                      <a:pt x="46" y="76"/>
                      <a:pt x="46" y="76"/>
                      <a:pt x="47" y="75"/>
                    </a:cubicBezTo>
                    <a:cubicBezTo>
                      <a:pt x="47" y="75"/>
                      <a:pt x="47" y="75"/>
                      <a:pt x="47" y="75"/>
                    </a:cubicBezTo>
                    <a:close/>
                    <a:moveTo>
                      <a:pt x="46" y="75"/>
                    </a:moveTo>
                    <a:cubicBezTo>
                      <a:pt x="46" y="75"/>
                      <a:pt x="46" y="75"/>
                      <a:pt x="46" y="75"/>
                    </a:cubicBezTo>
                    <a:cubicBezTo>
                      <a:pt x="46" y="75"/>
                      <a:pt x="46" y="75"/>
                      <a:pt x="46" y="75"/>
                    </a:cubicBezTo>
                    <a:cubicBezTo>
                      <a:pt x="46" y="75"/>
                      <a:pt x="46" y="75"/>
                      <a:pt x="46" y="75"/>
                    </a:cubicBezTo>
                    <a:cubicBezTo>
                      <a:pt x="46" y="75"/>
                      <a:pt x="46" y="75"/>
                      <a:pt x="46" y="75"/>
                    </a:cubicBezTo>
                    <a:close/>
                    <a:moveTo>
                      <a:pt x="31" y="77"/>
                    </a:moveTo>
                    <a:cubicBezTo>
                      <a:pt x="31" y="78"/>
                      <a:pt x="30" y="78"/>
                      <a:pt x="30" y="78"/>
                    </a:cubicBezTo>
                    <a:cubicBezTo>
                      <a:pt x="32" y="78"/>
                      <a:pt x="34" y="77"/>
                      <a:pt x="36" y="77"/>
                    </a:cubicBezTo>
                    <a:cubicBezTo>
                      <a:pt x="35" y="77"/>
                      <a:pt x="33" y="77"/>
                      <a:pt x="31" y="77"/>
                    </a:cubicBezTo>
                    <a:cubicBezTo>
                      <a:pt x="31" y="77"/>
                      <a:pt x="31" y="77"/>
                      <a:pt x="31" y="77"/>
                    </a:cubicBezTo>
                    <a:close/>
                    <a:moveTo>
                      <a:pt x="46" y="75"/>
                    </a:moveTo>
                    <a:cubicBezTo>
                      <a:pt x="46" y="76"/>
                      <a:pt x="45" y="76"/>
                      <a:pt x="45" y="77"/>
                    </a:cubicBezTo>
                    <a:cubicBezTo>
                      <a:pt x="42" y="76"/>
                      <a:pt x="42" y="76"/>
                      <a:pt x="42" y="76"/>
                    </a:cubicBezTo>
                    <a:cubicBezTo>
                      <a:pt x="44" y="76"/>
                      <a:pt x="45" y="75"/>
                      <a:pt x="46" y="75"/>
                    </a:cubicBezTo>
                    <a:cubicBezTo>
                      <a:pt x="46" y="75"/>
                      <a:pt x="46" y="75"/>
                      <a:pt x="46" y="75"/>
                    </a:cubicBezTo>
                    <a:close/>
                    <a:moveTo>
                      <a:pt x="42" y="76"/>
                    </a:moveTo>
                    <a:cubicBezTo>
                      <a:pt x="41" y="76"/>
                      <a:pt x="41" y="76"/>
                      <a:pt x="41" y="76"/>
                    </a:cubicBezTo>
                    <a:cubicBezTo>
                      <a:pt x="42" y="77"/>
                      <a:pt x="43" y="77"/>
                      <a:pt x="44" y="77"/>
                    </a:cubicBezTo>
                    <a:cubicBezTo>
                      <a:pt x="43" y="77"/>
                      <a:pt x="43" y="76"/>
                      <a:pt x="42" y="76"/>
                    </a:cubicBezTo>
                    <a:cubicBezTo>
                      <a:pt x="42" y="76"/>
                      <a:pt x="42" y="76"/>
                      <a:pt x="42" y="76"/>
                    </a:cubicBezTo>
                    <a:close/>
                    <a:moveTo>
                      <a:pt x="65" y="73"/>
                    </a:moveTo>
                    <a:cubicBezTo>
                      <a:pt x="65" y="72"/>
                      <a:pt x="66" y="72"/>
                      <a:pt x="66" y="72"/>
                    </a:cubicBezTo>
                    <a:cubicBezTo>
                      <a:pt x="66" y="72"/>
                      <a:pt x="67" y="72"/>
                      <a:pt x="67" y="72"/>
                    </a:cubicBezTo>
                    <a:cubicBezTo>
                      <a:pt x="67" y="72"/>
                      <a:pt x="66" y="72"/>
                      <a:pt x="65" y="73"/>
                    </a:cubicBezTo>
                    <a:cubicBezTo>
                      <a:pt x="65" y="73"/>
                      <a:pt x="65" y="73"/>
                      <a:pt x="65" y="73"/>
                    </a:cubicBezTo>
                    <a:close/>
                    <a:moveTo>
                      <a:pt x="28" y="79"/>
                    </a:moveTo>
                    <a:cubicBezTo>
                      <a:pt x="31" y="77"/>
                      <a:pt x="35" y="77"/>
                      <a:pt x="39" y="77"/>
                    </a:cubicBezTo>
                    <a:cubicBezTo>
                      <a:pt x="36" y="78"/>
                      <a:pt x="33" y="80"/>
                      <a:pt x="30" y="81"/>
                    </a:cubicBezTo>
                    <a:cubicBezTo>
                      <a:pt x="30" y="81"/>
                      <a:pt x="30" y="81"/>
                      <a:pt x="30" y="81"/>
                    </a:cubicBezTo>
                    <a:cubicBezTo>
                      <a:pt x="30" y="81"/>
                      <a:pt x="30" y="81"/>
                      <a:pt x="30" y="81"/>
                    </a:cubicBezTo>
                    <a:cubicBezTo>
                      <a:pt x="29" y="80"/>
                      <a:pt x="29" y="79"/>
                      <a:pt x="28" y="79"/>
                    </a:cubicBezTo>
                    <a:cubicBezTo>
                      <a:pt x="28" y="79"/>
                      <a:pt x="28" y="79"/>
                      <a:pt x="28" y="79"/>
                    </a:cubicBezTo>
                    <a:close/>
                    <a:moveTo>
                      <a:pt x="37" y="77"/>
                    </a:moveTo>
                    <a:cubicBezTo>
                      <a:pt x="38" y="77"/>
                      <a:pt x="39" y="77"/>
                      <a:pt x="40" y="76"/>
                    </a:cubicBezTo>
                    <a:cubicBezTo>
                      <a:pt x="39" y="77"/>
                      <a:pt x="38" y="77"/>
                      <a:pt x="37" y="77"/>
                    </a:cubicBezTo>
                    <a:cubicBezTo>
                      <a:pt x="37" y="77"/>
                      <a:pt x="37" y="77"/>
                      <a:pt x="37" y="77"/>
                    </a:cubicBezTo>
                    <a:close/>
                    <a:moveTo>
                      <a:pt x="40" y="77"/>
                    </a:moveTo>
                    <a:cubicBezTo>
                      <a:pt x="40" y="77"/>
                      <a:pt x="40" y="77"/>
                      <a:pt x="41" y="77"/>
                    </a:cubicBezTo>
                    <a:cubicBezTo>
                      <a:pt x="41" y="77"/>
                      <a:pt x="41" y="77"/>
                      <a:pt x="41" y="77"/>
                    </a:cubicBezTo>
                    <a:cubicBezTo>
                      <a:pt x="41" y="77"/>
                      <a:pt x="40" y="77"/>
                      <a:pt x="40" y="77"/>
                    </a:cubicBezTo>
                    <a:cubicBezTo>
                      <a:pt x="40" y="77"/>
                      <a:pt x="40" y="77"/>
                      <a:pt x="40" y="77"/>
                    </a:cubicBezTo>
                    <a:close/>
                    <a:moveTo>
                      <a:pt x="39" y="77"/>
                    </a:moveTo>
                    <a:cubicBezTo>
                      <a:pt x="41" y="77"/>
                      <a:pt x="41" y="77"/>
                      <a:pt x="43" y="78"/>
                    </a:cubicBezTo>
                    <a:cubicBezTo>
                      <a:pt x="42" y="79"/>
                      <a:pt x="41" y="80"/>
                      <a:pt x="39" y="81"/>
                    </a:cubicBezTo>
                    <a:cubicBezTo>
                      <a:pt x="39" y="81"/>
                      <a:pt x="39" y="81"/>
                      <a:pt x="39" y="81"/>
                    </a:cubicBezTo>
                    <a:cubicBezTo>
                      <a:pt x="41" y="80"/>
                      <a:pt x="42" y="79"/>
                      <a:pt x="43" y="78"/>
                    </a:cubicBezTo>
                    <a:cubicBezTo>
                      <a:pt x="43" y="78"/>
                      <a:pt x="44" y="78"/>
                      <a:pt x="44" y="78"/>
                    </a:cubicBezTo>
                    <a:cubicBezTo>
                      <a:pt x="41" y="81"/>
                      <a:pt x="41" y="81"/>
                      <a:pt x="37" y="83"/>
                    </a:cubicBezTo>
                    <a:cubicBezTo>
                      <a:pt x="38" y="82"/>
                      <a:pt x="39" y="78"/>
                      <a:pt x="39" y="78"/>
                    </a:cubicBezTo>
                    <a:cubicBezTo>
                      <a:pt x="38" y="80"/>
                      <a:pt x="38" y="81"/>
                      <a:pt x="37" y="83"/>
                    </a:cubicBezTo>
                    <a:cubicBezTo>
                      <a:pt x="36" y="83"/>
                      <a:pt x="36" y="84"/>
                      <a:pt x="35" y="84"/>
                    </a:cubicBezTo>
                    <a:cubicBezTo>
                      <a:pt x="35" y="84"/>
                      <a:pt x="35" y="84"/>
                      <a:pt x="35" y="83"/>
                    </a:cubicBezTo>
                    <a:cubicBezTo>
                      <a:pt x="35" y="83"/>
                      <a:pt x="35" y="83"/>
                      <a:pt x="35" y="83"/>
                    </a:cubicBezTo>
                    <a:cubicBezTo>
                      <a:pt x="35" y="84"/>
                      <a:pt x="35" y="84"/>
                      <a:pt x="35" y="84"/>
                    </a:cubicBezTo>
                    <a:cubicBezTo>
                      <a:pt x="34" y="84"/>
                      <a:pt x="33" y="84"/>
                      <a:pt x="33" y="85"/>
                    </a:cubicBezTo>
                    <a:cubicBezTo>
                      <a:pt x="32" y="83"/>
                      <a:pt x="31" y="82"/>
                      <a:pt x="30" y="81"/>
                    </a:cubicBezTo>
                    <a:cubicBezTo>
                      <a:pt x="39" y="77"/>
                      <a:pt x="39" y="77"/>
                      <a:pt x="39" y="77"/>
                    </a:cubicBezTo>
                    <a:cubicBezTo>
                      <a:pt x="39" y="77"/>
                      <a:pt x="39" y="77"/>
                      <a:pt x="39" y="77"/>
                    </a:cubicBezTo>
                    <a:close/>
                    <a:moveTo>
                      <a:pt x="45" y="77"/>
                    </a:moveTo>
                    <a:cubicBezTo>
                      <a:pt x="45" y="77"/>
                      <a:pt x="46" y="76"/>
                      <a:pt x="46" y="76"/>
                    </a:cubicBezTo>
                    <a:cubicBezTo>
                      <a:pt x="46" y="76"/>
                      <a:pt x="46" y="77"/>
                      <a:pt x="46" y="77"/>
                    </a:cubicBezTo>
                    <a:cubicBezTo>
                      <a:pt x="46" y="77"/>
                      <a:pt x="45" y="77"/>
                      <a:pt x="45" y="77"/>
                    </a:cubicBezTo>
                    <a:cubicBezTo>
                      <a:pt x="45" y="77"/>
                      <a:pt x="45" y="77"/>
                      <a:pt x="45" y="77"/>
                    </a:cubicBezTo>
                    <a:close/>
                    <a:moveTo>
                      <a:pt x="45" y="77"/>
                    </a:moveTo>
                    <a:cubicBezTo>
                      <a:pt x="44" y="77"/>
                      <a:pt x="44" y="77"/>
                      <a:pt x="44" y="77"/>
                    </a:cubicBezTo>
                    <a:cubicBezTo>
                      <a:pt x="44" y="77"/>
                      <a:pt x="44" y="77"/>
                      <a:pt x="45" y="77"/>
                    </a:cubicBezTo>
                    <a:cubicBezTo>
                      <a:pt x="45" y="77"/>
                      <a:pt x="45" y="77"/>
                      <a:pt x="45" y="77"/>
                    </a:cubicBezTo>
                    <a:cubicBezTo>
                      <a:pt x="45" y="77"/>
                      <a:pt x="45" y="77"/>
                      <a:pt x="45" y="77"/>
                    </a:cubicBezTo>
                    <a:close/>
                    <a:moveTo>
                      <a:pt x="45" y="77"/>
                    </a:moveTo>
                    <a:cubicBezTo>
                      <a:pt x="45" y="77"/>
                      <a:pt x="45" y="77"/>
                      <a:pt x="45" y="77"/>
                    </a:cubicBezTo>
                    <a:cubicBezTo>
                      <a:pt x="45" y="77"/>
                      <a:pt x="46" y="77"/>
                      <a:pt x="46" y="77"/>
                    </a:cubicBezTo>
                    <a:cubicBezTo>
                      <a:pt x="46" y="77"/>
                      <a:pt x="46" y="78"/>
                      <a:pt x="46" y="78"/>
                    </a:cubicBezTo>
                    <a:cubicBezTo>
                      <a:pt x="46" y="78"/>
                      <a:pt x="45" y="78"/>
                      <a:pt x="45" y="77"/>
                    </a:cubicBezTo>
                    <a:cubicBezTo>
                      <a:pt x="45" y="77"/>
                      <a:pt x="45" y="77"/>
                      <a:pt x="45" y="77"/>
                    </a:cubicBezTo>
                    <a:close/>
                    <a:moveTo>
                      <a:pt x="94" y="70"/>
                    </a:moveTo>
                    <a:cubicBezTo>
                      <a:pt x="94" y="70"/>
                      <a:pt x="94" y="70"/>
                      <a:pt x="93" y="70"/>
                    </a:cubicBezTo>
                    <a:cubicBezTo>
                      <a:pt x="95" y="68"/>
                      <a:pt x="97" y="67"/>
                      <a:pt x="98" y="66"/>
                    </a:cubicBezTo>
                    <a:cubicBezTo>
                      <a:pt x="97" y="67"/>
                      <a:pt x="95" y="68"/>
                      <a:pt x="94" y="70"/>
                    </a:cubicBezTo>
                    <a:cubicBezTo>
                      <a:pt x="94" y="70"/>
                      <a:pt x="94" y="70"/>
                      <a:pt x="94" y="70"/>
                    </a:cubicBezTo>
                    <a:close/>
                    <a:moveTo>
                      <a:pt x="51" y="77"/>
                    </a:moveTo>
                    <a:cubicBezTo>
                      <a:pt x="51" y="77"/>
                      <a:pt x="51" y="77"/>
                      <a:pt x="51" y="77"/>
                    </a:cubicBezTo>
                    <a:cubicBezTo>
                      <a:pt x="51" y="79"/>
                      <a:pt x="52" y="82"/>
                      <a:pt x="52" y="83"/>
                    </a:cubicBezTo>
                    <a:cubicBezTo>
                      <a:pt x="52" y="84"/>
                      <a:pt x="51" y="84"/>
                      <a:pt x="51" y="85"/>
                    </a:cubicBezTo>
                    <a:cubicBezTo>
                      <a:pt x="50" y="83"/>
                      <a:pt x="51" y="83"/>
                      <a:pt x="51" y="80"/>
                    </a:cubicBezTo>
                    <a:cubicBezTo>
                      <a:pt x="51" y="79"/>
                      <a:pt x="51" y="79"/>
                      <a:pt x="51" y="78"/>
                    </a:cubicBezTo>
                    <a:cubicBezTo>
                      <a:pt x="51" y="78"/>
                      <a:pt x="51" y="78"/>
                      <a:pt x="51" y="78"/>
                    </a:cubicBezTo>
                    <a:cubicBezTo>
                      <a:pt x="51" y="78"/>
                      <a:pt x="51" y="78"/>
                      <a:pt x="51" y="78"/>
                    </a:cubicBezTo>
                    <a:cubicBezTo>
                      <a:pt x="51" y="78"/>
                      <a:pt x="51" y="77"/>
                      <a:pt x="51" y="77"/>
                    </a:cubicBezTo>
                    <a:cubicBezTo>
                      <a:pt x="51" y="77"/>
                      <a:pt x="51" y="77"/>
                      <a:pt x="51" y="77"/>
                    </a:cubicBezTo>
                    <a:close/>
                    <a:moveTo>
                      <a:pt x="46" y="79"/>
                    </a:moveTo>
                    <a:cubicBezTo>
                      <a:pt x="45" y="79"/>
                      <a:pt x="45" y="78"/>
                      <a:pt x="44" y="78"/>
                    </a:cubicBezTo>
                    <a:cubicBezTo>
                      <a:pt x="43" y="79"/>
                      <a:pt x="43" y="80"/>
                      <a:pt x="42" y="81"/>
                    </a:cubicBezTo>
                    <a:cubicBezTo>
                      <a:pt x="43" y="80"/>
                      <a:pt x="45" y="80"/>
                      <a:pt x="46" y="79"/>
                    </a:cubicBezTo>
                    <a:cubicBezTo>
                      <a:pt x="46" y="79"/>
                      <a:pt x="46" y="79"/>
                      <a:pt x="46" y="79"/>
                    </a:cubicBezTo>
                    <a:cubicBezTo>
                      <a:pt x="46" y="79"/>
                      <a:pt x="46" y="79"/>
                      <a:pt x="46" y="79"/>
                    </a:cubicBezTo>
                    <a:close/>
                    <a:moveTo>
                      <a:pt x="50" y="78"/>
                    </a:moveTo>
                    <a:cubicBezTo>
                      <a:pt x="50" y="78"/>
                      <a:pt x="50" y="78"/>
                      <a:pt x="50" y="78"/>
                    </a:cubicBezTo>
                    <a:cubicBezTo>
                      <a:pt x="50" y="78"/>
                      <a:pt x="49" y="78"/>
                      <a:pt x="48" y="78"/>
                    </a:cubicBezTo>
                    <a:cubicBezTo>
                      <a:pt x="49" y="79"/>
                      <a:pt x="49" y="79"/>
                      <a:pt x="49" y="79"/>
                    </a:cubicBezTo>
                    <a:cubicBezTo>
                      <a:pt x="49" y="79"/>
                      <a:pt x="49" y="79"/>
                      <a:pt x="49" y="79"/>
                    </a:cubicBezTo>
                    <a:cubicBezTo>
                      <a:pt x="49" y="79"/>
                      <a:pt x="49" y="79"/>
                      <a:pt x="49" y="80"/>
                    </a:cubicBezTo>
                    <a:cubicBezTo>
                      <a:pt x="49" y="80"/>
                      <a:pt x="49" y="80"/>
                      <a:pt x="49" y="80"/>
                    </a:cubicBezTo>
                    <a:cubicBezTo>
                      <a:pt x="50" y="78"/>
                      <a:pt x="50" y="78"/>
                      <a:pt x="50" y="78"/>
                    </a:cubicBezTo>
                    <a:cubicBezTo>
                      <a:pt x="50" y="78"/>
                      <a:pt x="50" y="78"/>
                      <a:pt x="50" y="78"/>
                    </a:cubicBezTo>
                    <a:close/>
                    <a:moveTo>
                      <a:pt x="46" y="79"/>
                    </a:moveTo>
                    <a:cubicBezTo>
                      <a:pt x="46" y="79"/>
                      <a:pt x="46" y="79"/>
                      <a:pt x="46" y="79"/>
                    </a:cubicBezTo>
                    <a:cubicBezTo>
                      <a:pt x="46" y="79"/>
                      <a:pt x="46" y="79"/>
                      <a:pt x="46" y="79"/>
                    </a:cubicBezTo>
                    <a:cubicBezTo>
                      <a:pt x="46" y="79"/>
                      <a:pt x="46" y="79"/>
                      <a:pt x="46" y="79"/>
                    </a:cubicBezTo>
                    <a:cubicBezTo>
                      <a:pt x="46" y="79"/>
                      <a:pt x="46" y="79"/>
                      <a:pt x="46" y="79"/>
                    </a:cubicBezTo>
                    <a:close/>
                    <a:moveTo>
                      <a:pt x="47" y="79"/>
                    </a:moveTo>
                    <a:cubicBezTo>
                      <a:pt x="47" y="79"/>
                      <a:pt x="48" y="78"/>
                      <a:pt x="48" y="78"/>
                    </a:cubicBezTo>
                    <a:cubicBezTo>
                      <a:pt x="48" y="79"/>
                      <a:pt x="48" y="79"/>
                      <a:pt x="48" y="79"/>
                    </a:cubicBezTo>
                    <a:cubicBezTo>
                      <a:pt x="48" y="79"/>
                      <a:pt x="47" y="79"/>
                      <a:pt x="47" y="79"/>
                    </a:cubicBezTo>
                    <a:cubicBezTo>
                      <a:pt x="47" y="79"/>
                      <a:pt x="47" y="79"/>
                      <a:pt x="47" y="79"/>
                    </a:cubicBezTo>
                    <a:cubicBezTo>
                      <a:pt x="47" y="79"/>
                      <a:pt x="47" y="79"/>
                      <a:pt x="47" y="79"/>
                    </a:cubicBezTo>
                    <a:close/>
                    <a:moveTo>
                      <a:pt x="46" y="79"/>
                    </a:moveTo>
                    <a:cubicBezTo>
                      <a:pt x="47" y="79"/>
                      <a:pt x="48" y="79"/>
                      <a:pt x="48" y="79"/>
                    </a:cubicBezTo>
                    <a:cubicBezTo>
                      <a:pt x="49" y="80"/>
                      <a:pt x="49" y="81"/>
                      <a:pt x="49" y="82"/>
                    </a:cubicBezTo>
                    <a:cubicBezTo>
                      <a:pt x="49" y="82"/>
                      <a:pt x="49" y="82"/>
                      <a:pt x="49" y="82"/>
                    </a:cubicBezTo>
                    <a:cubicBezTo>
                      <a:pt x="48" y="81"/>
                      <a:pt x="47" y="80"/>
                      <a:pt x="46" y="79"/>
                    </a:cubicBezTo>
                    <a:cubicBezTo>
                      <a:pt x="46" y="79"/>
                      <a:pt x="46" y="79"/>
                      <a:pt x="46" y="79"/>
                    </a:cubicBezTo>
                    <a:close/>
                    <a:moveTo>
                      <a:pt x="56" y="78"/>
                    </a:moveTo>
                    <a:cubicBezTo>
                      <a:pt x="55" y="78"/>
                      <a:pt x="55" y="78"/>
                      <a:pt x="54" y="79"/>
                    </a:cubicBezTo>
                    <a:cubicBezTo>
                      <a:pt x="54" y="79"/>
                      <a:pt x="54" y="80"/>
                      <a:pt x="55" y="81"/>
                    </a:cubicBezTo>
                    <a:cubicBezTo>
                      <a:pt x="56" y="81"/>
                      <a:pt x="59" y="82"/>
                      <a:pt x="61" y="82"/>
                    </a:cubicBezTo>
                    <a:cubicBezTo>
                      <a:pt x="59" y="81"/>
                      <a:pt x="58" y="80"/>
                      <a:pt x="56" y="78"/>
                    </a:cubicBezTo>
                    <a:cubicBezTo>
                      <a:pt x="56" y="78"/>
                      <a:pt x="56" y="78"/>
                      <a:pt x="56" y="78"/>
                    </a:cubicBezTo>
                    <a:close/>
                    <a:moveTo>
                      <a:pt x="49" y="80"/>
                    </a:moveTo>
                    <a:cubicBezTo>
                      <a:pt x="49" y="79"/>
                      <a:pt x="50" y="79"/>
                      <a:pt x="50" y="78"/>
                    </a:cubicBezTo>
                    <a:cubicBezTo>
                      <a:pt x="50" y="80"/>
                      <a:pt x="50" y="81"/>
                      <a:pt x="50" y="83"/>
                    </a:cubicBezTo>
                    <a:cubicBezTo>
                      <a:pt x="50" y="82"/>
                      <a:pt x="50" y="81"/>
                      <a:pt x="49" y="80"/>
                    </a:cubicBezTo>
                    <a:cubicBezTo>
                      <a:pt x="49" y="80"/>
                      <a:pt x="49" y="80"/>
                      <a:pt x="49" y="80"/>
                    </a:cubicBezTo>
                    <a:close/>
                    <a:moveTo>
                      <a:pt x="41" y="81"/>
                    </a:moveTo>
                    <a:cubicBezTo>
                      <a:pt x="41" y="82"/>
                      <a:pt x="40" y="83"/>
                      <a:pt x="39" y="83"/>
                    </a:cubicBezTo>
                    <a:cubicBezTo>
                      <a:pt x="36" y="86"/>
                      <a:pt x="37" y="84"/>
                      <a:pt x="36" y="89"/>
                    </a:cubicBezTo>
                    <a:cubicBezTo>
                      <a:pt x="38" y="89"/>
                      <a:pt x="40" y="90"/>
                      <a:pt x="41" y="90"/>
                    </a:cubicBezTo>
                    <a:cubicBezTo>
                      <a:pt x="40" y="89"/>
                      <a:pt x="40" y="89"/>
                      <a:pt x="39" y="88"/>
                    </a:cubicBezTo>
                    <a:cubicBezTo>
                      <a:pt x="40" y="89"/>
                      <a:pt x="41" y="89"/>
                      <a:pt x="41" y="90"/>
                    </a:cubicBezTo>
                    <a:cubicBezTo>
                      <a:pt x="46" y="90"/>
                      <a:pt x="46" y="89"/>
                      <a:pt x="50" y="88"/>
                    </a:cubicBezTo>
                    <a:cubicBezTo>
                      <a:pt x="50" y="87"/>
                      <a:pt x="50" y="87"/>
                      <a:pt x="50" y="87"/>
                    </a:cubicBezTo>
                    <a:cubicBezTo>
                      <a:pt x="47" y="86"/>
                      <a:pt x="44" y="84"/>
                      <a:pt x="41" y="83"/>
                    </a:cubicBezTo>
                    <a:cubicBezTo>
                      <a:pt x="41" y="83"/>
                      <a:pt x="41" y="83"/>
                      <a:pt x="41" y="83"/>
                    </a:cubicBezTo>
                    <a:cubicBezTo>
                      <a:pt x="44" y="84"/>
                      <a:pt x="47" y="85"/>
                      <a:pt x="50" y="87"/>
                    </a:cubicBezTo>
                    <a:cubicBezTo>
                      <a:pt x="50" y="85"/>
                      <a:pt x="50" y="83"/>
                      <a:pt x="49" y="83"/>
                    </a:cubicBezTo>
                    <a:cubicBezTo>
                      <a:pt x="49" y="83"/>
                      <a:pt x="48" y="83"/>
                      <a:pt x="48" y="84"/>
                    </a:cubicBezTo>
                    <a:cubicBezTo>
                      <a:pt x="48" y="83"/>
                      <a:pt x="49" y="83"/>
                      <a:pt x="49" y="83"/>
                    </a:cubicBezTo>
                    <a:cubicBezTo>
                      <a:pt x="47" y="82"/>
                      <a:pt x="45" y="82"/>
                      <a:pt x="43" y="82"/>
                    </a:cubicBezTo>
                    <a:cubicBezTo>
                      <a:pt x="45" y="82"/>
                      <a:pt x="47" y="82"/>
                      <a:pt x="49" y="83"/>
                    </a:cubicBezTo>
                    <a:cubicBezTo>
                      <a:pt x="49" y="83"/>
                      <a:pt x="49" y="82"/>
                      <a:pt x="49" y="82"/>
                    </a:cubicBezTo>
                    <a:cubicBezTo>
                      <a:pt x="48" y="81"/>
                      <a:pt x="47" y="80"/>
                      <a:pt x="46" y="79"/>
                    </a:cubicBezTo>
                    <a:cubicBezTo>
                      <a:pt x="41" y="81"/>
                      <a:pt x="41" y="81"/>
                      <a:pt x="41" y="81"/>
                    </a:cubicBezTo>
                    <a:cubicBezTo>
                      <a:pt x="41" y="81"/>
                      <a:pt x="41" y="81"/>
                      <a:pt x="41" y="81"/>
                    </a:cubicBezTo>
                    <a:close/>
                    <a:moveTo>
                      <a:pt x="10" y="87"/>
                    </a:moveTo>
                    <a:cubicBezTo>
                      <a:pt x="9" y="87"/>
                      <a:pt x="8" y="87"/>
                      <a:pt x="6" y="88"/>
                    </a:cubicBezTo>
                    <a:cubicBezTo>
                      <a:pt x="13" y="88"/>
                      <a:pt x="13" y="88"/>
                      <a:pt x="13" y="88"/>
                    </a:cubicBezTo>
                    <a:cubicBezTo>
                      <a:pt x="10" y="87"/>
                      <a:pt x="10" y="87"/>
                      <a:pt x="10" y="87"/>
                    </a:cubicBezTo>
                    <a:cubicBezTo>
                      <a:pt x="10" y="87"/>
                      <a:pt x="10" y="87"/>
                      <a:pt x="10" y="87"/>
                    </a:cubicBezTo>
                    <a:close/>
                    <a:moveTo>
                      <a:pt x="37" y="83"/>
                    </a:moveTo>
                    <a:cubicBezTo>
                      <a:pt x="38" y="83"/>
                      <a:pt x="40" y="82"/>
                      <a:pt x="41" y="82"/>
                    </a:cubicBezTo>
                    <a:cubicBezTo>
                      <a:pt x="40" y="83"/>
                      <a:pt x="38" y="84"/>
                      <a:pt x="37" y="85"/>
                    </a:cubicBezTo>
                    <a:cubicBezTo>
                      <a:pt x="37" y="84"/>
                      <a:pt x="37" y="84"/>
                      <a:pt x="37" y="83"/>
                    </a:cubicBezTo>
                    <a:cubicBezTo>
                      <a:pt x="37" y="83"/>
                      <a:pt x="37" y="83"/>
                      <a:pt x="37" y="83"/>
                    </a:cubicBezTo>
                    <a:close/>
                    <a:moveTo>
                      <a:pt x="35" y="84"/>
                    </a:moveTo>
                    <a:cubicBezTo>
                      <a:pt x="35" y="84"/>
                      <a:pt x="36" y="83"/>
                      <a:pt x="37" y="83"/>
                    </a:cubicBezTo>
                    <a:cubicBezTo>
                      <a:pt x="37" y="86"/>
                      <a:pt x="37" y="85"/>
                      <a:pt x="35" y="87"/>
                    </a:cubicBezTo>
                    <a:cubicBezTo>
                      <a:pt x="35" y="86"/>
                      <a:pt x="35" y="85"/>
                      <a:pt x="35" y="84"/>
                    </a:cubicBezTo>
                    <a:cubicBezTo>
                      <a:pt x="35" y="84"/>
                      <a:pt x="35" y="84"/>
                      <a:pt x="35" y="84"/>
                    </a:cubicBezTo>
                    <a:close/>
                    <a:moveTo>
                      <a:pt x="35" y="84"/>
                    </a:moveTo>
                    <a:cubicBezTo>
                      <a:pt x="34" y="84"/>
                      <a:pt x="33" y="85"/>
                      <a:pt x="33" y="85"/>
                    </a:cubicBezTo>
                    <a:cubicBezTo>
                      <a:pt x="34" y="87"/>
                      <a:pt x="34" y="87"/>
                      <a:pt x="34" y="87"/>
                    </a:cubicBezTo>
                    <a:cubicBezTo>
                      <a:pt x="35" y="87"/>
                      <a:pt x="35" y="85"/>
                      <a:pt x="35" y="84"/>
                    </a:cubicBezTo>
                    <a:cubicBezTo>
                      <a:pt x="35" y="84"/>
                      <a:pt x="35" y="84"/>
                      <a:pt x="35" y="84"/>
                    </a:cubicBezTo>
                    <a:close/>
                    <a:moveTo>
                      <a:pt x="49" y="82"/>
                    </a:moveTo>
                    <a:cubicBezTo>
                      <a:pt x="49" y="82"/>
                      <a:pt x="49" y="82"/>
                      <a:pt x="49" y="82"/>
                    </a:cubicBezTo>
                    <a:cubicBezTo>
                      <a:pt x="50" y="82"/>
                      <a:pt x="50" y="83"/>
                      <a:pt x="50" y="83"/>
                    </a:cubicBezTo>
                    <a:cubicBezTo>
                      <a:pt x="50" y="83"/>
                      <a:pt x="49" y="83"/>
                      <a:pt x="49" y="82"/>
                    </a:cubicBezTo>
                    <a:cubicBezTo>
                      <a:pt x="49" y="82"/>
                      <a:pt x="49" y="82"/>
                      <a:pt x="49" y="82"/>
                    </a:cubicBezTo>
                    <a:close/>
                    <a:moveTo>
                      <a:pt x="49" y="83"/>
                    </a:moveTo>
                    <a:cubicBezTo>
                      <a:pt x="49" y="83"/>
                      <a:pt x="49" y="83"/>
                      <a:pt x="49" y="83"/>
                    </a:cubicBezTo>
                    <a:cubicBezTo>
                      <a:pt x="49" y="83"/>
                      <a:pt x="49" y="83"/>
                      <a:pt x="49" y="83"/>
                    </a:cubicBezTo>
                    <a:cubicBezTo>
                      <a:pt x="49" y="83"/>
                      <a:pt x="49" y="83"/>
                      <a:pt x="49" y="83"/>
                    </a:cubicBezTo>
                    <a:cubicBezTo>
                      <a:pt x="49" y="83"/>
                      <a:pt x="49" y="83"/>
                      <a:pt x="49" y="83"/>
                    </a:cubicBezTo>
                    <a:close/>
                    <a:moveTo>
                      <a:pt x="82" y="77"/>
                    </a:moveTo>
                    <a:cubicBezTo>
                      <a:pt x="83" y="77"/>
                      <a:pt x="83" y="76"/>
                      <a:pt x="83" y="75"/>
                    </a:cubicBezTo>
                    <a:cubicBezTo>
                      <a:pt x="82" y="76"/>
                      <a:pt x="81" y="77"/>
                      <a:pt x="80" y="79"/>
                    </a:cubicBezTo>
                    <a:cubicBezTo>
                      <a:pt x="81" y="78"/>
                      <a:pt x="82" y="78"/>
                      <a:pt x="82" y="77"/>
                    </a:cubicBezTo>
                    <a:cubicBezTo>
                      <a:pt x="82" y="77"/>
                      <a:pt x="82" y="77"/>
                      <a:pt x="82" y="77"/>
                    </a:cubicBezTo>
                    <a:close/>
                    <a:moveTo>
                      <a:pt x="33" y="86"/>
                    </a:moveTo>
                    <a:cubicBezTo>
                      <a:pt x="32" y="86"/>
                      <a:pt x="31" y="86"/>
                      <a:pt x="31" y="86"/>
                    </a:cubicBezTo>
                    <a:cubicBezTo>
                      <a:pt x="34" y="88"/>
                      <a:pt x="34" y="88"/>
                      <a:pt x="34" y="88"/>
                    </a:cubicBezTo>
                    <a:cubicBezTo>
                      <a:pt x="34" y="87"/>
                      <a:pt x="33" y="86"/>
                      <a:pt x="33" y="86"/>
                    </a:cubicBezTo>
                    <a:cubicBezTo>
                      <a:pt x="33" y="86"/>
                      <a:pt x="33" y="86"/>
                      <a:pt x="33" y="86"/>
                    </a:cubicBezTo>
                    <a:close/>
                    <a:moveTo>
                      <a:pt x="57" y="83"/>
                    </a:moveTo>
                    <a:cubicBezTo>
                      <a:pt x="56" y="83"/>
                      <a:pt x="55" y="83"/>
                      <a:pt x="55" y="83"/>
                    </a:cubicBezTo>
                    <a:cubicBezTo>
                      <a:pt x="55" y="83"/>
                      <a:pt x="55" y="84"/>
                      <a:pt x="55" y="85"/>
                    </a:cubicBezTo>
                    <a:cubicBezTo>
                      <a:pt x="55" y="84"/>
                      <a:pt x="56" y="84"/>
                      <a:pt x="57" y="83"/>
                    </a:cubicBezTo>
                    <a:cubicBezTo>
                      <a:pt x="57" y="83"/>
                      <a:pt x="57" y="83"/>
                      <a:pt x="57" y="83"/>
                    </a:cubicBezTo>
                    <a:close/>
                    <a:moveTo>
                      <a:pt x="35" y="87"/>
                    </a:moveTo>
                    <a:cubicBezTo>
                      <a:pt x="35" y="86"/>
                      <a:pt x="36" y="86"/>
                      <a:pt x="37" y="85"/>
                    </a:cubicBezTo>
                    <a:cubicBezTo>
                      <a:pt x="37" y="86"/>
                      <a:pt x="36" y="87"/>
                      <a:pt x="36" y="88"/>
                    </a:cubicBezTo>
                    <a:cubicBezTo>
                      <a:pt x="35" y="88"/>
                      <a:pt x="35" y="88"/>
                      <a:pt x="35" y="87"/>
                    </a:cubicBezTo>
                    <a:cubicBezTo>
                      <a:pt x="35" y="87"/>
                      <a:pt x="35" y="87"/>
                      <a:pt x="35" y="87"/>
                    </a:cubicBezTo>
                    <a:close/>
                    <a:moveTo>
                      <a:pt x="65" y="82"/>
                    </a:moveTo>
                    <a:cubicBezTo>
                      <a:pt x="67" y="81"/>
                      <a:pt x="69" y="80"/>
                      <a:pt x="71" y="79"/>
                    </a:cubicBezTo>
                    <a:cubicBezTo>
                      <a:pt x="67" y="82"/>
                      <a:pt x="68" y="82"/>
                      <a:pt x="65" y="82"/>
                    </a:cubicBezTo>
                    <a:cubicBezTo>
                      <a:pt x="65" y="82"/>
                      <a:pt x="65" y="82"/>
                      <a:pt x="65" y="82"/>
                    </a:cubicBezTo>
                    <a:close/>
                    <a:moveTo>
                      <a:pt x="22" y="89"/>
                    </a:moveTo>
                    <a:cubicBezTo>
                      <a:pt x="20" y="88"/>
                      <a:pt x="19" y="87"/>
                      <a:pt x="18" y="85"/>
                    </a:cubicBezTo>
                    <a:cubicBezTo>
                      <a:pt x="23" y="86"/>
                      <a:pt x="30" y="88"/>
                      <a:pt x="35" y="90"/>
                    </a:cubicBezTo>
                    <a:cubicBezTo>
                      <a:pt x="33" y="90"/>
                      <a:pt x="30" y="90"/>
                      <a:pt x="27" y="89"/>
                    </a:cubicBezTo>
                    <a:cubicBezTo>
                      <a:pt x="28" y="90"/>
                      <a:pt x="30" y="90"/>
                      <a:pt x="31" y="90"/>
                    </a:cubicBezTo>
                    <a:cubicBezTo>
                      <a:pt x="32" y="90"/>
                      <a:pt x="33" y="90"/>
                      <a:pt x="35" y="91"/>
                    </a:cubicBezTo>
                    <a:cubicBezTo>
                      <a:pt x="29" y="90"/>
                      <a:pt x="27" y="90"/>
                      <a:pt x="22" y="89"/>
                    </a:cubicBezTo>
                    <a:cubicBezTo>
                      <a:pt x="22" y="89"/>
                      <a:pt x="22" y="89"/>
                      <a:pt x="22" y="89"/>
                    </a:cubicBezTo>
                    <a:close/>
                    <a:moveTo>
                      <a:pt x="88" y="79"/>
                    </a:moveTo>
                    <a:cubicBezTo>
                      <a:pt x="85" y="80"/>
                      <a:pt x="81" y="80"/>
                      <a:pt x="78" y="80"/>
                    </a:cubicBezTo>
                    <a:cubicBezTo>
                      <a:pt x="77" y="81"/>
                      <a:pt x="75" y="82"/>
                      <a:pt x="74" y="82"/>
                    </a:cubicBezTo>
                    <a:cubicBezTo>
                      <a:pt x="77" y="85"/>
                      <a:pt x="80" y="87"/>
                      <a:pt x="84" y="89"/>
                    </a:cubicBezTo>
                    <a:cubicBezTo>
                      <a:pt x="85" y="88"/>
                      <a:pt x="88" y="85"/>
                      <a:pt x="88" y="85"/>
                    </a:cubicBezTo>
                    <a:cubicBezTo>
                      <a:pt x="89" y="84"/>
                      <a:pt x="89" y="80"/>
                      <a:pt x="90" y="79"/>
                    </a:cubicBezTo>
                    <a:cubicBezTo>
                      <a:pt x="90" y="79"/>
                      <a:pt x="89" y="81"/>
                      <a:pt x="89" y="82"/>
                    </a:cubicBezTo>
                    <a:cubicBezTo>
                      <a:pt x="89" y="83"/>
                      <a:pt x="89" y="83"/>
                      <a:pt x="88" y="84"/>
                    </a:cubicBezTo>
                    <a:cubicBezTo>
                      <a:pt x="89" y="84"/>
                      <a:pt x="90" y="83"/>
                      <a:pt x="90" y="82"/>
                    </a:cubicBezTo>
                    <a:cubicBezTo>
                      <a:pt x="90" y="82"/>
                      <a:pt x="90" y="82"/>
                      <a:pt x="90" y="82"/>
                    </a:cubicBezTo>
                    <a:cubicBezTo>
                      <a:pt x="91" y="81"/>
                      <a:pt x="92" y="80"/>
                      <a:pt x="93" y="79"/>
                    </a:cubicBezTo>
                    <a:cubicBezTo>
                      <a:pt x="91" y="79"/>
                      <a:pt x="90" y="79"/>
                      <a:pt x="88" y="79"/>
                    </a:cubicBezTo>
                    <a:cubicBezTo>
                      <a:pt x="88" y="79"/>
                      <a:pt x="88" y="79"/>
                      <a:pt x="88" y="79"/>
                    </a:cubicBezTo>
                    <a:close/>
                    <a:moveTo>
                      <a:pt x="60" y="84"/>
                    </a:moveTo>
                    <a:cubicBezTo>
                      <a:pt x="59" y="83"/>
                      <a:pt x="58" y="83"/>
                      <a:pt x="57" y="83"/>
                    </a:cubicBezTo>
                    <a:cubicBezTo>
                      <a:pt x="56" y="84"/>
                      <a:pt x="55" y="84"/>
                      <a:pt x="55" y="85"/>
                    </a:cubicBezTo>
                    <a:cubicBezTo>
                      <a:pt x="55" y="85"/>
                      <a:pt x="55" y="86"/>
                      <a:pt x="55" y="86"/>
                    </a:cubicBezTo>
                    <a:cubicBezTo>
                      <a:pt x="57" y="86"/>
                      <a:pt x="60" y="85"/>
                      <a:pt x="62" y="85"/>
                    </a:cubicBezTo>
                    <a:cubicBezTo>
                      <a:pt x="60" y="85"/>
                      <a:pt x="57" y="86"/>
                      <a:pt x="55" y="86"/>
                    </a:cubicBezTo>
                    <a:cubicBezTo>
                      <a:pt x="55" y="87"/>
                      <a:pt x="55" y="88"/>
                      <a:pt x="55" y="88"/>
                    </a:cubicBezTo>
                    <a:cubicBezTo>
                      <a:pt x="58" y="90"/>
                      <a:pt x="61" y="91"/>
                      <a:pt x="64" y="92"/>
                    </a:cubicBezTo>
                    <a:cubicBezTo>
                      <a:pt x="64" y="92"/>
                      <a:pt x="56" y="89"/>
                      <a:pt x="55" y="89"/>
                    </a:cubicBezTo>
                    <a:cubicBezTo>
                      <a:pt x="55" y="90"/>
                      <a:pt x="55" y="92"/>
                      <a:pt x="55" y="93"/>
                    </a:cubicBezTo>
                    <a:cubicBezTo>
                      <a:pt x="57" y="94"/>
                      <a:pt x="59" y="95"/>
                      <a:pt x="60" y="95"/>
                    </a:cubicBezTo>
                    <a:cubicBezTo>
                      <a:pt x="62" y="96"/>
                      <a:pt x="64" y="96"/>
                      <a:pt x="66" y="96"/>
                    </a:cubicBezTo>
                    <a:cubicBezTo>
                      <a:pt x="68" y="96"/>
                      <a:pt x="71" y="95"/>
                      <a:pt x="73" y="95"/>
                    </a:cubicBezTo>
                    <a:cubicBezTo>
                      <a:pt x="75" y="94"/>
                      <a:pt x="77" y="93"/>
                      <a:pt x="79" y="92"/>
                    </a:cubicBezTo>
                    <a:cubicBezTo>
                      <a:pt x="81" y="91"/>
                      <a:pt x="82" y="90"/>
                      <a:pt x="84" y="89"/>
                    </a:cubicBezTo>
                    <a:cubicBezTo>
                      <a:pt x="80" y="87"/>
                      <a:pt x="77" y="85"/>
                      <a:pt x="74" y="82"/>
                    </a:cubicBezTo>
                    <a:cubicBezTo>
                      <a:pt x="73" y="82"/>
                      <a:pt x="72" y="82"/>
                      <a:pt x="71" y="83"/>
                    </a:cubicBezTo>
                    <a:cubicBezTo>
                      <a:pt x="73" y="83"/>
                      <a:pt x="74" y="84"/>
                      <a:pt x="76" y="85"/>
                    </a:cubicBezTo>
                    <a:cubicBezTo>
                      <a:pt x="76" y="85"/>
                      <a:pt x="76" y="85"/>
                      <a:pt x="76" y="85"/>
                    </a:cubicBezTo>
                    <a:cubicBezTo>
                      <a:pt x="75" y="84"/>
                      <a:pt x="72" y="83"/>
                      <a:pt x="71" y="83"/>
                    </a:cubicBezTo>
                    <a:cubicBezTo>
                      <a:pt x="70" y="83"/>
                      <a:pt x="68" y="83"/>
                      <a:pt x="67" y="84"/>
                    </a:cubicBezTo>
                    <a:cubicBezTo>
                      <a:pt x="66" y="84"/>
                      <a:pt x="64" y="84"/>
                      <a:pt x="63" y="84"/>
                    </a:cubicBezTo>
                    <a:cubicBezTo>
                      <a:pt x="68" y="86"/>
                      <a:pt x="74" y="86"/>
                      <a:pt x="80" y="87"/>
                    </a:cubicBezTo>
                    <a:cubicBezTo>
                      <a:pt x="80" y="87"/>
                      <a:pt x="80" y="87"/>
                      <a:pt x="80" y="87"/>
                    </a:cubicBezTo>
                    <a:cubicBezTo>
                      <a:pt x="74" y="86"/>
                      <a:pt x="69" y="86"/>
                      <a:pt x="63" y="84"/>
                    </a:cubicBezTo>
                    <a:cubicBezTo>
                      <a:pt x="65" y="85"/>
                      <a:pt x="67" y="86"/>
                      <a:pt x="68" y="87"/>
                    </a:cubicBezTo>
                    <a:cubicBezTo>
                      <a:pt x="68" y="87"/>
                      <a:pt x="68" y="87"/>
                      <a:pt x="68" y="87"/>
                    </a:cubicBezTo>
                    <a:cubicBezTo>
                      <a:pt x="67" y="87"/>
                      <a:pt x="63" y="84"/>
                      <a:pt x="62" y="84"/>
                    </a:cubicBezTo>
                    <a:cubicBezTo>
                      <a:pt x="61" y="84"/>
                      <a:pt x="61" y="84"/>
                      <a:pt x="60" y="84"/>
                    </a:cubicBezTo>
                    <a:cubicBezTo>
                      <a:pt x="60" y="84"/>
                      <a:pt x="60" y="84"/>
                      <a:pt x="60" y="84"/>
                    </a:cubicBezTo>
                    <a:close/>
                    <a:moveTo>
                      <a:pt x="51" y="85"/>
                    </a:moveTo>
                    <a:cubicBezTo>
                      <a:pt x="51" y="85"/>
                      <a:pt x="52" y="85"/>
                      <a:pt x="52" y="84"/>
                    </a:cubicBezTo>
                    <a:cubicBezTo>
                      <a:pt x="52" y="85"/>
                      <a:pt x="52" y="85"/>
                      <a:pt x="52" y="86"/>
                    </a:cubicBezTo>
                    <a:cubicBezTo>
                      <a:pt x="52" y="86"/>
                      <a:pt x="52" y="86"/>
                      <a:pt x="51" y="85"/>
                    </a:cubicBezTo>
                    <a:cubicBezTo>
                      <a:pt x="51" y="85"/>
                      <a:pt x="51" y="85"/>
                      <a:pt x="51" y="85"/>
                    </a:cubicBezTo>
                    <a:close/>
                    <a:moveTo>
                      <a:pt x="36" y="89"/>
                    </a:moveTo>
                    <a:cubicBezTo>
                      <a:pt x="36" y="89"/>
                      <a:pt x="36" y="89"/>
                      <a:pt x="36" y="89"/>
                    </a:cubicBezTo>
                    <a:cubicBezTo>
                      <a:pt x="36" y="89"/>
                      <a:pt x="36" y="89"/>
                      <a:pt x="36" y="89"/>
                    </a:cubicBezTo>
                    <a:cubicBezTo>
                      <a:pt x="36" y="89"/>
                      <a:pt x="36" y="89"/>
                      <a:pt x="36" y="89"/>
                    </a:cubicBezTo>
                    <a:cubicBezTo>
                      <a:pt x="36" y="89"/>
                      <a:pt x="36" y="89"/>
                      <a:pt x="36" y="89"/>
                    </a:cubicBezTo>
                    <a:close/>
                    <a:moveTo>
                      <a:pt x="51" y="87"/>
                    </a:moveTo>
                    <a:cubicBezTo>
                      <a:pt x="51" y="86"/>
                      <a:pt x="51" y="86"/>
                      <a:pt x="51" y="86"/>
                    </a:cubicBezTo>
                    <a:cubicBezTo>
                      <a:pt x="51" y="86"/>
                      <a:pt x="51" y="87"/>
                      <a:pt x="51" y="87"/>
                    </a:cubicBezTo>
                    <a:cubicBezTo>
                      <a:pt x="51" y="87"/>
                      <a:pt x="51" y="87"/>
                      <a:pt x="51" y="87"/>
                    </a:cubicBezTo>
                    <a:cubicBezTo>
                      <a:pt x="51" y="87"/>
                      <a:pt x="51" y="87"/>
                      <a:pt x="51" y="87"/>
                    </a:cubicBezTo>
                    <a:close/>
                    <a:moveTo>
                      <a:pt x="36" y="89"/>
                    </a:moveTo>
                    <a:cubicBezTo>
                      <a:pt x="36" y="89"/>
                      <a:pt x="36" y="89"/>
                      <a:pt x="36" y="89"/>
                    </a:cubicBezTo>
                    <a:cubicBezTo>
                      <a:pt x="40" y="90"/>
                      <a:pt x="40" y="90"/>
                      <a:pt x="40" y="90"/>
                    </a:cubicBezTo>
                    <a:cubicBezTo>
                      <a:pt x="39" y="90"/>
                      <a:pt x="38" y="90"/>
                      <a:pt x="37" y="91"/>
                    </a:cubicBezTo>
                    <a:cubicBezTo>
                      <a:pt x="36" y="89"/>
                      <a:pt x="36" y="89"/>
                      <a:pt x="36" y="89"/>
                    </a:cubicBezTo>
                    <a:cubicBezTo>
                      <a:pt x="36" y="89"/>
                      <a:pt x="36" y="89"/>
                      <a:pt x="36" y="89"/>
                    </a:cubicBezTo>
                    <a:close/>
                    <a:moveTo>
                      <a:pt x="51" y="87"/>
                    </a:moveTo>
                    <a:cubicBezTo>
                      <a:pt x="51" y="87"/>
                      <a:pt x="51" y="87"/>
                      <a:pt x="51" y="87"/>
                    </a:cubicBezTo>
                    <a:cubicBezTo>
                      <a:pt x="51" y="88"/>
                      <a:pt x="51" y="88"/>
                      <a:pt x="50" y="88"/>
                    </a:cubicBezTo>
                    <a:cubicBezTo>
                      <a:pt x="51" y="88"/>
                      <a:pt x="51" y="87"/>
                      <a:pt x="51" y="87"/>
                    </a:cubicBezTo>
                    <a:cubicBezTo>
                      <a:pt x="51" y="87"/>
                      <a:pt x="51" y="87"/>
                      <a:pt x="51" y="87"/>
                    </a:cubicBezTo>
                    <a:close/>
                    <a:moveTo>
                      <a:pt x="29" y="91"/>
                    </a:moveTo>
                    <a:cubicBezTo>
                      <a:pt x="29" y="92"/>
                      <a:pt x="30" y="92"/>
                      <a:pt x="30" y="92"/>
                    </a:cubicBezTo>
                    <a:cubicBezTo>
                      <a:pt x="29" y="92"/>
                      <a:pt x="29" y="92"/>
                      <a:pt x="29" y="92"/>
                    </a:cubicBezTo>
                    <a:cubicBezTo>
                      <a:pt x="29" y="92"/>
                      <a:pt x="29" y="92"/>
                      <a:pt x="29" y="91"/>
                    </a:cubicBezTo>
                    <a:cubicBezTo>
                      <a:pt x="29" y="91"/>
                      <a:pt x="29" y="91"/>
                      <a:pt x="29" y="91"/>
                    </a:cubicBezTo>
                    <a:close/>
                    <a:moveTo>
                      <a:pt x="50" y="89"/>
                    </a:moveTo>
                    <a:cubicBezTo>
                      <a:pt x="51" y="89"/>
                      <a:pt x="51" y="89"/>
                      <a:pt x="52" y="89"/>
                    </a:cubicBezTo>
                    <a:cubicBezTo>
                      <a:pt x="52" y="90"/>
                      <a:pt x="52" y="90"/>
                      <a:pt x="52" y="91"/>
                    </a:cubicBezTo>
                    <a:cubicBezTo>
                      <a:pt x="51" y="91"/>
                      <a:pt x="51" y="92"/>
                      <a:pt x="50" y="92"/>
                    </a:cubicBezTo>
                    <a:cubicBezTo>
                      <a:pt x="50" y="91"/>
                      <a:pt x="50" y="90"/>
                      <a:pt x="50" y="89"/>
                    </a:cubicBezTo>
                    <a:cubicBezTo>
                      <a:pt x="50" y="89"/>
                      <a:pt x="50" y="89"/>
                      <a:pt x="50" y="89"/>
                    </a:cubicBezTo>
                    <a:close/>
                    <a:moveTo>
                      <a:pt x="37" y="92"/>
                    </a:moveTo>
                    <a:cubicBezTo>
                      <a:pt x="36" y="92"/>
                      <a:pt x="35" y="92"/>
                      <a:pt x="34" y="92"/>
                    </a:cubicBezTo>
                    <a:cubicBezTo>
                      <a:pt x="39" y="92"/>
                      <a:pt x="39" y="92"/>
                      <a:pt x="39" y="92"/>
                    </a:cubicBezTo>
                    <a:cubicBezTo>
                      <a:pt x="38" y="92"/>
                      <a:pt x="38" y="92"/>
                      <a:pt x="37" y="92"/>
                    </a:cubicBezTo>
                    <a:cubicBezTo>
                      <a:pt x="37" y="92"/>
                      <a:pt x="37" y="92"/>
                      <a:pt x="37" y="92"/>
                    </a:cubicBezTo>
                    <a:close/>
                    <a:moveTo>
                      <a:pt x="39" y="92"/>
                    </a:moveTo>
                    <a:cubicBezTo>
                      <a:pt x="39" y="92"/>
                      <a:pt x="40" y="92"/>
                      <a:pt x="40" y="92"/>
                    </a:cubicBezTo>
                    <a:cubicBezTo>
                      <a:pt x="40" y="92"/>
                      <a:pt x="40" y="92"/>
                      <a:pt x="40" y="92"/>
                    </a:cubicBezTo>
                    <a:cubicBezTo>
                      <a:pt x="41" y="92"/>
                      <a:pt x="41" y="92"/>
                      <a:pt x="42" y="92"/>
                    </a:cubicBezTo>
                    <a:cubicBezTo>
                      <a:pt x="41" y="93"/>
                      <a:pt x="41" y="93"/>
                      <a:pt x="41" y="93"/>
                    </a:cubicBezTo>
                    <a:cubicBezTo>
                      <a:pt x="40" y="92"/>
                      <a:pt x="40" y="92"/>
                      <a:pt x="39" y="92"/>
                    </a:cubicBezTo>
                    <a:cubicBezTo>
                      <a:pt x="39" y="92"/>
                      <a:pt x="39" y="92"/>
                      <a:pt x="39" y="92"/>
                    </a:cubicBezTo>
                    <a:close/>
                    <a:moveTo>
                      <a:pt x="40" y="92"/>
                    </a:moveTo>
                    <a:cubicBezTo>
                      <a:pt x="41" y="91"/>
                      <a:pt x="42" y="91"/>
                      <a:pt x="42" y="91"/>
                    </a:cubicBezTo>
                    <a:cubicBezTo>
                      <a:pt x="42" y="91"/>
                      <a:pt x="42" y="91"/>
                      <a:pt x="42" y="91"/>
                    </a:cubicBezTo>
                    <a:cubicBezTo>
                      <a:pt x="41" y="92"/>
                      <a:pt x="41" y="92"/>
                      <a:pt x="40" y="92"/>
                    </a:cubicBezTo>
                    <a:cubicBezTo>
                      <a:pt x="40" y="92"/>
                      <a:pt x="40" y="92"/>
                      <a:pt x="40" y="92"/>
                    </a:cubicBezTo>
                    <a:close/>
                    <a:moveTo>
                      <a:pt x="44" y="91"/>
                    </a:moveTo>
                    <a:cubicBezTo>
                      <a:pt x="46" y="91"/>
                      <a:pt x="48" y="90"/>
                      <a:pt x="50" y="89"/>
                    </a:cubicBezTo>
                    <a:cubicBezTo>
                      <a:pt x="50" y="90"/>
                      <a:pt x="50" y="91"/>
                      <a:pt x="50" y="92"/>
                    </a:cubicBezTo>
                    <a:cubicBezTo>
                      <a:pt x="49" y="93"/>
                      <a:pt x="47" y="94"/>
                      <a:pt x="47" y="94"/>
                    </a:cubicBezTo>
                    <a:cubicBezTo>
                      <a:pt x="46" y="93"/>
                      <a:pt x="45" y="93"/>
                      <a:pt x="44" y="93"/>
                    </a:cubicBezTo>
                    <a:cubicBezTo>
                      <a:pt x="44" y="92"/>
                      <a:pt x="43" y="92"/>
                      <a:pt x="43" y="92"/>
                    </a:cubicBezTo>
                    <a:cubicBezTo>
                      <a:pt x="43" y="92"/>
                      <a:pt x="44" y="91"/>
                      <a:pt x="44" y="91"/>
                    </a:cubicBezTo>
                    <a:cubicBezTo>
                      <a:pt x="44" y="91"/>
                      <a:pt x="44" y="91"/>
                      <a:pt x="44" y="91"/>
                    </a:cubicBezTo>
                    <a:close/>
                    <a:moveTo>
                      <a:pt x="43" y="91"/>
                    </a:moveTo>
                    <a:cubicBezTo>
                      <a:pt x="43" y="91"/>
                      <a:pt x="43" y="91"/>
                      <a:pt x="43" y="91"/>
                    </a:cubicBezTo>
                    <a:cubicBezTo>
                      <a:pt x="43" y="91"/>
                      <a:pt x="43" y="91"/>
                      <a:pt x="43" y="92"/>
                    </a:cubicBezTo>
                    <a:cubicBezTo>
                      <a:pt x="43" y="91"/>
                      <a:pt x="43" y="91"/>
                      <a:pt x="43" y="91"/>
                    </a:cubicBezTo>
                    <a:cubicBezTo>
                      <a:pt x="43" y="91"/>
                      <a:pt x="43" y="91"/>
                      <a:pt x="43" y="91"/>
                    </a:cubicBezTo>
                    <a:close/>
                    <a:moveTo>
                      <a:pt x="41" y="92"/>
                    </a:moveTo>
                    <a:cubicBezTo>
                      <a:pt x="42" y="92"/>
                      <a:pt x="42" y="92"/>
                      <a:pt x="43" y="91"/>
                    </a:cubicBezTo>
                    <a:cubicBezTo>
                      <a:pt x="43" y="92"/>
                      <a:pt x="43" y="92"/>
                      <a:pt x="43" y="92"/>
                    </a:cubicBezTo>
                    <a:cubicBezTo>
                      <a:pt x="43" y="92"/>
                      <a:pt x="42" y="92"/>
                      <a:pt x="42" y="92"/>
                    </a:cubicBezTo>
                    <a:cubicBezTo>
                      <a:pt x="42" y="92"/>
                      <a:pt x="41" y="92"/>
                      <a:pt x="41" y="92"/>
                    </a:cubicBezTo>
                    <a:cubicBezTo>
                      <a:pt x="41" y="92"/>
                      <a:pt x="41" y="92"/>
                      <a:pt x="41" y="92"/>
                    </a:cubicBezTo>
                    <a:close/>
                    <a:moveTo>
                      <a:pt x="43" y="92"/>
                    </a:moveTo>
                    <a:cubicBezTo>
                      <a:pt x="43" y="92"/>
                      <a:pt x="43" y="92"/>
                      <a:pt x="42" y="92"/>
                    </a:cubicBezTo>
                    <a:cubicBezTo>
                      <a:pt x="43" y="92"/>
                      <a:pt x="43" y="93"/>
                      <a:pt x="44" y="93"/>
                    </a:cubicBezTo>
                    <a:cubicBezTo>
                      <a:pt x="43" y="92"/>
                      <a:pt x="43" y="92"/>
                      <a:pt x="43" y="92"/>
                    </a:cubicBezTo>
                    <a:cubicBezTo>
                      <a:pt x="43" y="92"/>
                      <a:pt x="43" y="92"/>
                      <a:pt x="43" y="92"/>
                    </a:cubicBezTo>
                    <a:close/>
                    <a:moveTo>
                      <a:pt x="41" y="93"/>
                    </a:moveTo>
                    <a:cubicBezTo>
                      <a:pt x="41" y="93"/>
                      <a:pt x="42" y="93"/>
                      <a:pt x="42" y="92"/>
                    </a:cubicBezTo>
                    <a:cubicBezTo>
                      <a:pt x="44" y="93"/>
                      <a:pt x="44" y="93"/>
                      <a:pt x="45" y="94"/>
                    </a:cubicBezTo>
                    <a:cubicBezTo>
                      <a:pt x="43" y="94"/>
                      <a:pt x="42" y="93"/>
                      <a:pt x="41" y="93"/>
                    </a:cubicBezTo>
                    <a:cubicBezTo>
                      <a:pt x="41" y="93"/>
                      <a:pt x="41" y="93"/>
                      <a:pt x="41" y="93"/>
                    </a:cubicBezTo>
                    <a:close/>
                    <a:moveTo>
                      <a:pt x="44" y="93"/>
                    </a:moveTo>
                    <a:cubicBezTo>
                      <a:pt x="45" y="93"/>
                      <a:pt x="45" y="94"/>
                      <a:pt x="46" y="94"/>
                    </a:cubicBezTo>
                    <a:cubicBezTo>
                      <a:pt x="45" y="94"/>
                      <a:pt x="45" y="94"/>
                      <a:pt x="45" y="94"/>
                    </a:cubicBezTo>
                    <a:cubicBezTo>
                      <a:pt x="45" y="94"/>
                      <a:pt x="45" y="94"/>
                      <a:pt x="44" y="93"/>
                    </a:cubicBezTo>
                    <a:cubicBezTo>
                      <a:pt x="44" y="93"/>
                      <a:pt x="44" y="93"/>
                      <a:pt x="44" y="93"/>
                    </a:cubicBezTo>
                    <a:close/>
                    <a:moveTo>
                      <a:pt x="85" y="89"/>
                    </a:moveTo>
                    <a:cubicBezTo>
                      <a:pt x="85" y="89"/>
                      <a:pt x="85" y="89"/>
                      <a:pt x="85" y="89"/>
                    </a:cubicBezTo>
                    <a:cubicBezTo>
                      <a:pt x="85" y="89"/>
                      <a:pt x="85" y="89"/>
                      <a:pt x="85" y="89"/>
                    </a:cubicBezTo>
                    <a:cubicBezTo>
                      <a:pt x="85" y="89"/>
                      <a:pt x="85" y="89"/>
                      <a:pt x="85" y="89"/>
                    </a:cubicBezTo>
                    <a:cubicBezTo>
                      <a:pt x="85" y="89"/>
                      <a:pt x="85" y="89"/>
                      <a:pt x="85" y="89"/>
                    </a:cubicBezTo>
                    <a:close/>
                    <a:moveTo>
                      <a:pt x="85" y="89"/>
                    </a:moveTo>
                    <a:cubicBezTo>
                      <a:pt x="87" y="89"/>
                      <a:pt x="89" y="88"/>
                      <a:pt x="91" y="88"/>
                    </a:cubicBezTo>
                    <a:cubicBezTo>
                      <a:pt x="89" y="88"/>
                      <a:pt x="88" y="89"/>
                      <a:pt x="86" y="89"/>
                    </a:cubicBezTo>
                    <a:cubicBezTo>
                      <a:pt x="86" y="89"/>
                      <a:pt x="85" y="89"/>
                      <a:pt x="85" y="89"/>
                    </a:cubicBezTo>
                    <a:cubicBezTo>
                      <a:pt x="85" y="89"/>
                      <a:pt x="85" y="89"/>
                      <a:pt x="85" y="89"/>
                    </a:cubicBezTo>
                    <a:close/>
                    <a:moveTo>
                      <a:pt x="85" y="89"/>
                    </a:moveTo>
                    <a:cubicBezTo>
                      <a:pt x="84" y="89"/>
                      <a:pt x="83" y="90"/>
                      <a:pt x="83" y="90"/>
                    </a:cubicBezTo>
                    <a:cubicBezTo>
                      <a:pt x="84" y="90"/>
                      <a:pt x="85" y="90"/>
                      <a:pt x="86" y="89"/>
                    </a:cubicBezTo>
                    <a:cubicBezTo>
                      <a:pt x="86" y="89"/>
                      <a:pt x="85" y="89"/>
                      <a:pt x="85" y="89"/>
                    </a:cubicBezTo>
                    <a:cubicBezTo>
                      <a:pt x="85" y="89"/>
                      <a:pt x="85" y="89"/>
                      <a:pt x="85"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82">
                <a:extLst>
                  <a:ext uri="{FF2B5EF4-FFF2-40B4-BE49-F238E27FC236}">
                    <a16:creationId xmlns:a16="http://schemas.microsoft.com/office/drawing/2014/main" id="{A5101E79-15B4-47C8-B634-2F76345DC0C1}"/>
                  </a:ext>
                </a:extLst>
              </p:cNvPr>
              <p:cNvSpPr>
                <a:spLocks noEditPoints="1"/>
              </p:cNvSpPr>
              <p:nvPr/>
            </p:nvSpPr>
            <p:spPr bwMode="auto">
              <a:xfrm>
                <a:off x="5685901" y="2002913"/>
                <a:ext cx="296730" cy="240287"/>
              </a:xfrm>
              <a:custGeom>
                <a:avLst/>
                <a:gdLst/>
                <a:ahLst/>
                <a:cxnLst>
                  <a:cxn ang="0">
                    <a:pos x="316" y="447"/>
                  </a:cxn>
                  <a:cxn ang="0">
                    <a:pos x="205" y="399"/>
                  </a:cxn>
                  <a:cxn ang="0">
                    <a:pos x="205" y="359"/>
                  </a:cxn>
                  <a:cxn ang="0">
                    <a:pos x="205" y="321"/>
                  </a:cxn>
                  <a:cxn ang="0">
                    <a:pos x="205" y="281"/>
                  </a:cxn>
                  <a:cxn ang="0">
                    <a:pos x="205" y="239"/>
                  </a:cxn>
                  <a:cxn ang="0">
                    <a:pos x="205" y="199"/>
                  </a:cxn>
                  <a:cxn ang="0">
                    <a:pos x="205" y="156"/>
                  </a:cxn>
                  <a:cxn ang="0">
                    <a:pos x="205" y="116"/>
                  </a:cxn>
                  <a:cxn ang="0">
                    <a:pos x="252" y="399"/>
                  </a:cxn>
                  <a:cxn ang="0">
                    <a:pos x="252" y="359"/>
                  </a:cxn>
                  <a:cxn ang="0">
                    <a:pos x="252" y="321"/>
                  </a:cxn>
                  <a:cxn ang="0">
                    <a:pos x="252" y="281"/>
                  </a:cxn>
                  <a:cxn ang="0">
                    <a:pos x="252" y="239"/>
                  </a:cxn>
                  <a:cxn ang="0">
                    <a:pos x="252" y="199"/>
                  </a:cxn>
                  <a:cxn ang="0">
                    <a:pos x="252" y="156"/>
                  </a:cxn>
                  <a:cxn ang="0">
                    <a:pos x="252" y="116"/>
                  </a:cxn>
                  <a:cxn ang="0">
                    <a:pos x="300" y="399"/>
                  </a:cxn>
                  <a:cxn ang="0">
                    <a:pos x="300" y="359"/>
                  </a:cxn>
                  <a:cxn ang="0">
                    <a:pos x="300" y="321"/>
                  </a:cxn>
                  <a:cxn ang="0">
                    <a:pos x="300" y="281"/>
                  </a:cxn>
                  <a:cxn ang="0">
                    <a:pos x="300" y="239"/>
                  </a:cxn>
                  <a:cxn ang="0">
                    <a:pos x="300" y="199"/>
                  </a:cxn>
                  <a:cxn ang="0">
                    <a:pos x="300" y="156"/>
                  </a:cxn>
                  <a:cxn ang="0">
                    <a:pos x="236" y="0"/>
                  </a:cxn>
                  <a:cxn ang="0">
                    <a:pos x="9" y="288"/>
                  </a:cxn>
                  <a:cxn ang="0">
                    <a:pos x="9" y="350"/>
                  </a:cxn>
                  <a:cxn ang="0">
                    <a:pos x="9" y="232"/>
                  </a:cxn>
                  <a:cxn ang="0">
                    <a:pos x="9" y="411"/>
                  </a:cxn>
                  <a:cxn ang="0">
                    <a:pos x="40" y="411"/>
                  </a:cxn>
                  <a:cxn ang="0">
                    <a:pos x="96" y="288"/>
                  </a:cxn>
                  <a:cxn ang="0">
                    <a:pos x="96" y="350"/>
                  </a:cxn>
                  <a:cxn ang="0">
                    <a:pos x="96" y="232"/>
                  </a:cxn>
                  <a:cxn ang="0">
                    <a:pos x="96" y="411"/>
                  </a:cxn>
                  <a:cxn ang="0">
                    <a:pos x="68" y="288"/>
                  </a:cxn>
                  <a:cxn ang="0">
                    <a:pos x="68" y="350"/>
                  </a:cxn>
                  <a:cxn ang="0">
                    <a:pos x="68" y="232"/>
                  </a:cxn>
                  <a:cxn ang="0">
                    <a:pos x="68" y="411"/>
                  </a:cxn>
                  <a:cxn ang="0">
                    <a:pos x="40" y="288"/>
                  </a:cxn>
                  <a:cxn ang="0">
                    <a:pos x="40" y="350"/>
                  </a:cxn>
                  <a:cxn ang="0">
                    <a:pos x="40" y="232"/>
                  </a:cxn>
                  <a:cxn ang="0">
                    <a:pos x="130" y="447"/>
                  </a:cxn>
                  <a:cxn ang="0">
                    <a:pos x="300" y="116"/>
                  </a:cxn>
                  <a:cxn ang="0">
                    <a:pos x="359" y="288"/>
                  </a:cxn>
                  <a:cxn ang="0">
                    <a:pos x="359" y="350"/>
                  </a:cxn>
                  <a:cxn ang="0">
                    <a:pos x="359" y="411"/>
                  </a:cxn>
                  <a:cxn ang="0">
                    <a:pos x="408" y="411"/>
                  </a:cxn>
                  <a:cxn ang="0">
                    <a:pos x="498" y="288"/>
                  </a:cxn>
                  <a:cxn ang="0">
                    <a:pos x="498" y="350"/>
                  </a:cxn>
                  <a:cxn ang="0">
                    <a:pos x="498" y="411"/>
                  </a:cxn>
                  <a:cxn ang="0">
                    <a:pos x="453" y="288"/>
                  </a:cxn>
                  <a:cxn ang="0">
                    <a:pos x="453" y="350"/>
                  </a:cxn>
                  <a:cxn ang="0">
                    <a:pos x="453" y="411"/>
                  </a:cxn>
                  <a:cxn ang="0">
                    <a:pos x="408" y="288"/>
                  </a:cxn>
                  <a:cxn ang="0">
                    <a:pos x="408" y="350"/>
                  </a:cxn>
                  <a:cxn ang="0">
                    <a:pos x="552" y="447"/>
                  </a:cxn>
                </a:cxnLst>
                <a:rect l="0" t="0" r="r" b="b"/>
                <a:pathLst>
                  <a:path w="552" h="447">
                    <a:moveTo>
                      <a:pt x="316" y="447"/>
                    </a:moveTo>
                    <a:lnTo>
                      <a:pt x="155" y="447"/>
                    </a:lnTo>
                    <a:lnTo>
                      <a:pt x="155" y="99"/>
                    </a:lnTo>
                    <a:lnTo>
                      <a:pt x="316" y="99"/>
                    </a:lnTo>
                    <a:lnTo>
                      <a:pt x="316" y="447"/>
                    </a:lnTo>
                    <a:lnTo>
                      <a:pt x="316" y="447"/>
                    </a:lnTo>
                    <a:lnTo>
                      <a:pt x="316" y="447"/>
                    </a:lnTo>
                    <a:close/>
                    <a:moveTo>
                      <a:pt x="205" y="399"/>
                    </a:moveTo>
                    <a:lnTo>
                      <a:pt x="205" y="428"/>
                    </a:lnTo>
                    <a:lnTo>
                      <a:pt x="174" y="428"/>
                    </a:lnTo>
                    <a:lnTo>
                      <a:pt x="174" y="399"/>
                    </a:lnTo>
                    <a:lnTo>
                      <a:pt x="205" y="399"/>
                    </a:lnTo>
                    <a:lnTo>
                      <a:pt x="205" y="399"/>
                    </a:lnTo>
                    <a:lnTo>
                      <a:pt x="205" y="399"/>
                    </a:lnTo>
                    <a:close/>
                    <a:moveTo>
                      <a:pt x="205" y="359"/>
                    </a:moveTo>
                    <a:lnTo>
                      <a:pt x="205" y="388"/>
                    </a:lnTo>
                    <a:lnTo>
                      <a:pt x="174" y="388"/>
                    </a:lnTo>
                    <a:lnTo>
                      <a:pt x="174" y="359"/>
                    </a:lnTo>
                    <a:lnTo>
                      <a:pt x="205" y="359"/>
                    </a:lnTo>
                    <a:lnTo>
                      <a:pt x="205" y="359"/>
                    </a:lnTo>
                    <a:lnTo>
                      <a:pt x="205" y="359"/>
                    </a:lnTo>
                    <a:close/>
                    <a:moveTo>
                      <a:pt x="205" y="321"/>
                    </a:moveTo>
                    <a:lnTo>
                      <a:pt x="205" y="350"/>
                    </a:lnTo>
                    <a:lnTo>
                      <a:pt x="174" y="350"/>
                    </a:lnTo>
                    <a:lnTo>
                      <a:pt x="174" y="321"/>
                    </a:lnTo>
                    <a:lnTo>
                      <a:pt x="205" y="321"/>
                    </a:lnTo>
                    <a:lnTo>
                      <a:pt x="205" y="321"/>
                    </a:lnTo>
                    <a:lnTo>
                      <a:pt x="205" y="321"/>
                    </a:lnTo>
                    <a:close/>
                    <a:moveTo>
                      <a:pt x="205" y="281"/>
                    </a:moveTo>
                    <a:lnTo>
                      <a:pt x="205" y="307"/>
                    </a:lnTo>
                    <a:lnTo>
                      <a:pt x="174" y="307"/>
                    </a:lnTo>
                    <a:lnTo>
                      <a:pt x="174" y="281"/>
                    </a:lnTo>
                    <a:lnTo>
                      <a:pt x="205" y="281"/>
                    </a:lnTo>
                    <a:lnTo>
                      <a:pt x="205" y="281"/>
                    </a:lnTo>
                    <a:lnTo>
                      <a:pt x="205" y="281"/>
                    </a:lnTo>
                    <a:close/>
                    <a:moveTo>
                      <a:pt x="205" y="239"/>
                    </a:moveTo>
                    <a:lnTo>
                      <a:pt x="205" y="267"/>
                    </a:lnTo>
                    <a:lnTo>
                      <a:pt x="174" y="267"/>
                    </a:lnTo>
                    <a:lnTo>
                      <a:pt x="174" y="239"/>
                    </a:lnTo>
                    <a:lnTo>
                      <a:pt x="205" y="239"/>
                    </a:lnTo>
                    <a:lnTo>
                      <a:pt x="205" y="239"/>
                    </a:lnTo>
                    <a:lnTo>
                      <a:pt x="205" y="239"/>
                    </a:lnTo>
                    <a:close/>
                    <a:moveTo>
                      <a:pt x="205" y="199"/>
                    </a:moveTo>
                    <a:lnTo>
                      <a:pt x="205" y="225"/>
                    </a:lnTo>
                    <a:lnTo>
                      <a:pt x="174" y="225"/>
                    </a:lnTo>
                    <a:lnTo>
                      <a:pt x="174" y="199"/>
                    </a:lnTo>
                    <a:lnTo>
                      <a:pt x="205" y="199"/>
                    </a:lnTo>
                    <a:lnTo>
                      <a:pt x="205" y="199"/>
                    </a:lnTo>
                    <a:lnTo>
                      <a:pt x="205" y="199"/>
                    </a:lnTo>
                    <a:close/>
                    <a:moveTo>
                      <a:pt x="205" y="156"/>
                    </a:moveTo>
                    <a:lnTo>
                      <a:pt x="205" y="184"/>
                    </a:lnTo>
                    <a:lnTo>
                      <a:pt x="174" y="184"/>
                    </a:lnTo>
                    <a:lnTo>
                      <a:pt x="174" y="156"/>
                    </a:lnTo>
                    <a:lnTo>
                      <a:pt x="205" y="156"/>
                    </a:lnTo>
                    <a:lnTo>
                      <a:pt x="205" y="156"/>
                    </a:lnTo>
                    <a:lnTo>
                      <a:pt x="205" y="156"/>
                    </a:lnTo>
                    <a:close/>
                    <a:moveTo>
                      <a:pt x="205" y="116"/>
                    </a:moveTo>
                    <a:lnTo>
                      <a:pt x="205" y="144"/>
                    </a:lnTo>
                    <a:lnTo>
                      <a:pt x="174" y="144"/>
                    </a:lnTo>
                    <a:lnTo>
                      <a:pt x="174" y="116"/>
                    </a:lnTo>
                    <a:lnTo>
                      <a:pt x="205" y="116"/>
                    </a:lnTo>
                    <a:lnTo>
                      <a:pt x="205" y="116"/>
                    </a:lnTo>
                    <a:lnTo>
                      <a:pt x="205" y="116"/>
                    </a:lnTo>
                    <a:close/>
                    <a:moveTo>
                      <a:pt x="252" y="399"/>
                    </a:moveTo>
                    <a:lnTo>
                      <a:pt x="252" y="428"/>
                    </a:lnTo>
                    <a:lnTo>
                      <a:pt x="222" y="428"/>
                    </a:lnTo>
                    <a:lnTo>
                      <a:pt x="222" y="399"/>
                    </a:lnTo>
                    <a:lnTo>
                      <a:pt x="252" y="399"/>
                    </a:lnTo>
                    <a:lnTo>
                      <a:pt x="252" y="399"/>
                    </a:lnTo>
                    <a:lnTo>
                      <a:pt x="252" y="399"/>
                    </a:lnTo>
                    <a:close/>
                    <a:moveTo>
                      <a:pt x="252" y="359"/>
                    </a:moveTo>
                    <a:lnTo>
                      <a:pt x="252" y="388"/>
                    </a:lnTo>
                    <a:lnTo>
                      <a:pt x="222" y="388"/>
                    </a:lnTo>
                    <a:lnTo>
                      <a:pt x="222" y="359"/>
                    </a:lnTo>
                    <a:lnTo>
                      <a:pt x="252" y="359"/>
                    </a:lnTo>
                    <a:lnTo>
                      <a:pt x="252" y="359"/>
                    </a:lnTo>
                    <a:lnTo>
                      <a:pt x="252" y="359"/>
                    </a:lnTo>
                    <a:close/>
                    <a:moveTo>
                      <a:pt x="252" y="321"/>
                    </a:moveTo>
                    <a:lnTo>
                      <a:pt x="252" y="350"/>
                    </a:lnTo>
                    <a:lnTo>
                      <a:pt x="222" y="350"/>
                    </a:lnTo>
                    <a:lnTo>
                      <a:pt x="222" y="321"/>
                    </a:lnTo>
                    <a:lnTo>
                      <a:pt x="252" y="321"/>
                    </a:lnTo>
                    <a:lnTo>
                      <a:pt x="252" y="321"/>
                    </a:lnTo>
                    <a:lnTo>
                      <a:pt x="252" y="321"/>
                    </a:lnTo>
                    <a:close/>
                    <a:moveTo>
                      <a:pt x="252" y="281"/>
                    </a:moveTo>
                    <a:lnTo>
                      <a:pt x="252" y="307"/>
                    </a:lnTo>
                    <a:lnTo>
                      <a:pt x="222" y="307"/>
                    </a:lnTo>
                    <a:lnTo>
                      <a:pt x="222" y="281"/>
                    </a:lnTo>
                    <a:lnTo>
                      <a:pt x="252" y="281"/>
                    </a:lnTo>
                    <a:lnTo>
                      <a:pt x="252" y="281"/>
                    </a:lnTo>
                    <a:lnTo>
                      <a:pt x="252" y="281"/>
                    </a:lnTo>
                    <a:close/>
                    <a:moveTo>
                      <a:pt x="252" y="239"/>
                    </a:moveTo>
                    <a:lnTo>
                      <a:pt x="252" y="267"/>
                    </a:lnTo>
                    <a:lnTo>
                      <a:pt x="222" y="267"/>
                    </a:lnTo>
                    <a:lnTo>
                      <a:pt x="222" y="239"/>
                    </a:lnTo>
                    <a:lnTo>
                      <a:pt x="252" y="239"/>
                    </a:lnTo>
                    <a:lnTo>
                      <a:pt x="252" y="239"/>
                    </a:lnTo>
                    <a:lnTo>
                      <a:pt x="252" y="239"/>
                    </a:lnTo>
                    <a:close/>
                    <a:moveTo>
                      <a:pt x="252" y="199"/>
                    </a:moveTo>
                    <a:lnTo>
                      <a:pt x="252" y="225"/>
                    </a:lnTo>
                    <a:lnTo>
                      <a:pt x="222" y="225"/>
                    </a:lnTo>
                    <a:lnTo>
                      <a:pt x="222" y="199"/>
                    </a:lnTo>
                    <a:lnTo>
                      <a:pt x="252" y="199"/>
                    </a:lnTo>
                    <a:lnTo>
                      <a:pt x="252" y="199"/>
                    </a:lnTo>
                    <a:lnTo>
                      <a:pt x="252" y="199"/>
                    </a:lnTo>
                    <a:close/>
                    <a:moveTo>
                      <a:pt x="252" y="156"/>
                    </a:moveTo>
                    <a:lnTo>
                      <a:pt x="252" y="184"/>
                    </a:lnTo>
                    <a:lnTo>
                      <a:pt x="222" y="184"/>
                    </a:lnTo>
                    <a:lnTo>
                      <a:pt x="222" y="156"/>
                    </a:lnTo>
                    <a:lnTo>
                      <a:pt x="252" y="156"/>
                    </a:lnTo>
                    <a:lnTo>
                      <a:pt x="252" y="156"/>
                    </a:lnTo>
                    <a:lnTo>
                      <a:pt x="252" y="156"/>
                    </a:lnTo>
                    <a:close/>
                    <a:moveTo>
                      <a:pt x="252" y="116"/>
                    </a:moveTo>
                    <a:lnTo>
                      <a:pt x="252" y="144"/>
                    </a:lnTo>
                    <a:lnTo>
                      <a:pt x="222" y="144"/>
                    </a:lnTo>
                    <a:lnTo>
                      <a:pt x="222" y="116"/>
                    </a:lnTo>
                    <a:lnTo>
                      <a:pt x="252" y="116"/>
                    </a:lnTo>
                    <a:lnTo>
                      <a:pt x="252" y="116"/>
                    </a:lnTo>
                    <a:lnTo>
                      <a:pt x="252" y="116"/>
                    </a:lnTo>
                    <a:close/>
                    <a:moveTo>
                      <a:pt x="300" y="399"/>
                    </a:moveTo>
                    <a:lnTo>
                      <a:pt x="300" y="428"/>
                    </a:lnTo>
                    <a:lnTo>
                      <a:pt x="269" y="428"/>
                    </a:lnTo>
                    <a:lnTo>
                      <a:pt x="269" y="399"/>
                    </a:lnTo>
                    <a:lnTo>
                      <a:pt x="300" y="399"/>
                    </a:lnTo>
                    <a:lnTo>
                      <a:pt x="300" y="399"/>
                    </a:lnTo>
                    <a:lnTo>
                      <a:pt x="300" y="399"/>
                    </a:lnTo>
                    <a:close/>
                    <a:moveTo>
                      <a:pt x="300" y="359"/>
                    </a:moveTo>
                    <a:lnTo>
                      <a:pt x="300" y="388"/>
                    </a:lnTo>
                    <a:lnTo>
                      <a:pt x="269" y="388"/>
                    </a:lnTo>
                    <a:lnTo>
                      <a:pt x="269" y="359"/>
                    </a:lnTo>
                    <a:lnTo>
                      <a:pt x="300" y="359"/>
                    </a:lnTo>
                    <a:lnTo>
                      <a:pt x="300" y="359"/>
                    </a:lnTo>
                    <a:lnTo>
                      <a:pt x="300" y="359"/>
                    </a:lnTo>
                    <a:close/>
                    <a:moveTo>
                      <a:pt x="300" y="321"/>
                    </a:moveTo>
                    <a:lnTo>
                      <a:pt x="300" y="350"/>
                    </a:lnTo>
                    <a:lnTo>
                      <a:pt x="269" y="350"/>
                    </a:lnTo>
                    <a:lnTo>
                      <a:pt x="269" y="321"/>
                    </a:lnTo>
                    <a:lnTo>
                      <a:pt x="300" y="321"/>
                    </a:lnTo>
                    <a:lnTo>
                      <a:pt x="300" y="321"/>
                    </a:lnTo>
                    <a:lnTo>
                      <a:pt x="300" y="321"/>
                    </a:lnTo>
                    <a:close/>
                    <a:moveTo>
                      <a:pt x="300" y="281"/>
                    </a:moveTo>
                    <a:lnTo>
                      <a:pt x="300" y="307"/>
                    </a:lnTo>
                    <a:lnTo>
                      <a:pt x="269" y="307"/>
                    </a:lnTo>
                    <a:lnTo>
                      <a:pt x="269" y="281"/>
                    </a:lnTo>
                    <a:lnTo>
                      <a:pt x="300" y="281"/>
                    </a:lnTo>
                    <a:lnTo>
                      <a:pt x="300" y="281"/>
                    </a:lnTo>
                    <a:lnTo>
                      <a:pt x="300" y="281"/>
                    </a:lnTo>
                    <a:close/>
                    <a:moveTo>
                      <a:pt x="300" y="239"/>
                    </a:moveTo>
                    <a:lnTo>
                      <a:pt x="300" y="267"/>
                    </a:lnTo>
                    <a:lnTo>
                      <a:pt x="269" y="267"/>
                    </a:lnTo>
                    <a:lnTo>
                      <a:pt x="269" y="239"/>
                    </a:lnTo>
                    <a:lnTo>
                      <a:pt x="300" y="239"/>
                    </a:lnTo>
                    <a:lnTo>
                      <a:pt x="300" y="239"/>
                    </a:lnTo>
                    <a:lnTo>
                      <a:pt x="300" y="239"/>
                    </a:lnTo>
                    <a:close/>
                    <a:moveTo>
                      <a:pt x="300" y="199"/>
                    </a:moveTo>
                    <a:lnTo>
                      <a:pt x="300" y="225"/>
                    </a:lnTo>
                    <a:lnTo>
                      <a:pt x="269" y="225"/>
                    </a:lnTo>
                    <a:lnTo>
                      <a:pt x="269" y="199"/>
                    </a:lnTo>
                    <a:lnTo>
                      <a:pt x="300" y="199"/>
                    </a:lnTo>
                    <a:lnTo>
                      <a:pt x="300" y="199"/>
                    </a:lnTo>
                    <a:lnTo>
                      <a:pt x="300" y="199"/>
                    </a:lnTo>
                    <a:close/>
                    <a:moveTo>
                      <a:pt x="300" y="156"/>
                    </a:moveTo>
                    <a:lnTo>
                      <a:pt x="300" y="184"/>
                    </a:lnTo>
                    <a:lnTo>
                      <a:pt x="269" y="184"/>
                    </a:lnTo>
                    <a:lnTo>
                      <a:pt x="269" y="156"/>
                    </a:lnTo>
                    <a:lnTo>
                      <a:pt x="300" y="156"/>
                    </a:lnTo>
                    <a:lnTo>
                      <a:pt x="300" y="156"/>
                    </a:lnTo>
                    <a:lnTo>
                      <a:pt x="300" y="156"/>
                    </a:lnTo>
                    <a:close/>
                    <a:moveTo>
                      <a:pt x="236" y="0"/>
                    </a:moveTo>
                    <a:lnTo>
                      <a:pt x="276" y="47"/>
                    </a:lnTo>
                    <a:lnTo>
                      <a:pt x="316" y="92"/>
                    </a:lnTo>
                    <a:lnTo>
                      <a:pt x="236" y="92"/>
                    </a:lnTo>
                    <a:lnTo>
                      <a:pt x="158" y="92"/>
                    </a:lnTo>
                    <a:lnTo>
                      <a:pt x="196" y="47"/>
                    </a:lnTo>
                    <a:lnTo>
                      <a:pt x="236" y="0"/>
                    </a:lnTo>
                    <a:lnTo>
                      <a:pt x="236" y="0"/>
                    </a:lnTo>
                    <a:lnTo>
                      <a:pt x="236" y="0"/>
                    </a:lnTo>
                    <a:close/>
                    <a:moveTo>
                      <a:pt x="9" y="288"/>
                    </a:moveTo>
                    <a:lnTo>
                      <a:pt x="9" y="314"/>
                    </a:lnTo>
                    <a:lnTo>
                      <a:pt x="33" y="314"/>
                    </a:lnTo>
                    <a:lnTo>
                      <a:pt x="33" y="288"/>
                    </a:lnTo>
                    <a:lnTo>
                      <a:pt x="9" y="288"/>
                    </a:lnTo>
                    <a:lnTo>
                      <a:pt x="9" y="288"/>
                    </a:lnTo>
                    <a:lnTo>
                      <a:pt x="9" y="288"/>
                    </a:lnTo>
                    <a:close/>
                    <a:moveTo>
                      <a:pt x="9" y="350"/>
                    </a:moveTo>
                    <a:lnTo>
                      <a:pt x="9" y="373"/>
                    </a:lnTo>
                    <a:lnTo>
                      <a:pt x="33" y="373"/>
                    </a:lnTo>
                    <a:lnTo>
                      <a:pt x="33" y="350"/>
                    </a:lnTo>
                    <a:lnTo>
                      <a:pt x="9" y="350"/>
                    </a:lnTo>
                    <a:lnTo>
                      <a:pt x="9" y="350"/>
                    </a:lnTo>
                    <a:lnTo>
                      <a:pt x="9" y="350"/>
                    </a:lnTo>
                    <a:close/>
                    <a:moveTo>
                      <a:pt x="9" y="232"/>
                    </a:moveTo>
                    <a:lnTo>
                      <a:pt x="9" y="255"/>
                    </a:lnTo>
                    <a:lnTo>
                      <a:pt x="33" y="255"/>
                    </a:lnTo>
                    <a:lnTo>
                      <a:pt x="33" y="232"/>
                    </a:lnTo>
                    <a:lnTo>
                      <a:pt x="9" y="232"/>
                    </a:lnTo>
                    <a:lnTo>
                      <a:pt x="9" y="232"/>
                    </a:lnTo>
                    <a:lnTo>
                      <a:pt x="9" y="232"/>
                    </a:lnTo>
                    <a:close/>
                    <a:moveTo>
                      <a:pt x="9" y="411"/>
                    </a:moveTo>
                    <a:lnTo>
                      <a:pt x="9" y="435"/>
                    </a:lnTo>
                    <a:lnTo>
                      <a:pt x="33" y="435"/>
                    </a:lnTo>
                    <a:lnTo>
                      <a:pt x="33" y="411"/>
                    </a:lnTo>
                    <a:lnTo>
                      <a:pt x="9" y="411"/>
                    </a:lnTo>
                    <a:lnTo>
                      <a:pt x="9" y="411"/>
                    </a:lnTo>
                    <a:lnTo>
                      <a:pt x="9" y="411"/>
                    </a:lnTo>
                    <a:close/>
                    <a:moveTo>
                      <a:pt x="40" y="411"/>
                    </a:moveTo>
                    <a:lnTo>
                      <a:pt x="40" y="435"/>
                    </a:lnTo>
                    <a:lnTo>
                      <a:pt x="61" y="435"/>
                    </a:lnTo>
                    <a:lnTo>
                      <a:pt x="61" y="411"/>
                    </a:lnTo>
                    <a:lnTo>
                      <a:pt x="40" y="411"/>
                    </a:lnTo>
                    <a:lnTo>
                      <a:pt x="40" y="411"/>
                    </a:lnTo>
                    <a:lnTo>
                      <a:pt x="40" y="411"/>
                    </a:lnTo>
                    <a:close/>
                    <a:moveTo>
                      <a:pt x="96" y="288"/>
                    </a:moveTo>
                    <a:lnTo>
                      <a:pt x="96" y="314"/>
                    </a:lnTo>
                    <a:lnTo>
                      <a:pt x="120" y="314"/>
                    </a:lnTo>
                    <a:lnTo>
                      <a:pt x="120" y="288"/>
                    </a:lnTo>
                    <a:lnTo>
                      <a:pt x="96" y="288"/>
                    </a:lnTo>
                    <a:lnTo>
                      <a:pt x="96" y="288"/>
                    </a:lnTo>
                    <a:lnTo>
                      <a:pt x="96" y="288"/>
                    </a:lnTo>
                    <a:close/>
                    <a:moveTo>
                      <a:pt x="96" y="350"/>
                    </a:moveTo>
                    <a:lnTo>
                      <a:pt x="96" y="373"/>
                    </a:lnTo>
                    <a:lnTo>
                      <a:pt x="120" y="373"/>
                    </a:lnTo>
                    <a:lnTo>
                      <a:pt x="120" y="350"/>
                    </a:lnTo>
                    <a:lnTo>
                      <a:pt x="96" y="350"/>
                    </a:lnTo>
                    <a:lnTo>
                      <a:pt x="96" y="350"/>
                    </a:lnTo>
                    <a:lnTo>
                      <a:pt x="96" y="350"/>
                    </a:lnTo>
                    <a:close/>
                    <a:moveTo>
                      <a:pt x="96" y="232"/>
                    </a:moveTo>
                    <a:lnTo>
                      <a:pt x="96" y="255"/>
                    </a:lnTo>
                    <a:lnTo>
                      <a:pt x="120" y="255"/>
                    </a:lnTo>
                    <a:lnTo>
                      <a:pt x="120" y="232"/>
                    </a:lnTo>
                    <a:lnTo>
                      <a:pt x="96" y="232"/>
                    </a:lnTo>
                    <a:lnTo>
                      <a:pt x="96" y="232"/>
                    </a:lnTo>
                    <a:lnTo>
                      <a:pt x="96" y="232"/>
                    </a:lnTo>
                    <a:close/>
                    <a:moveTo>
                      <a:pt x="96" y="411"/>
                    </a:moveTo>
                    <a:lnTo>
                      <a:pt x="96" y="435"/>
                    </a:lnTo>
                    <a:lnTo>
                      <a:pt x="120" y="435"/>
                    </a:lnTo>
                    <a:lnTo>
                      <a:pt x="120" y="411"/>
                    </a:lnTo>
                    <a:lnTo>
                      <a:pt x="96" y="411"/>
                    </a:lnTo>
                    <a:lnTo>
                      <a:pt x="96" y="411"/>
                    </a:lnTo>
                    <a:lnTo>
                      <a:pt x="96" y="411"/>
                    </a:lnTo>
                    <a:close/>
                    <a:moveTo>
                      <a:pt x="68" y="288"/>
                    </a:moveTo>
                    <a:lnTo>
                      <a:pt x="68" y="314"/>
                    </a:lnTo>
                    <a:lnTo>
                      <a:pt x="89" y="314"/>
                    </a:lnTo>
                    <a:lnTo>
                      <a:pt x="89" y="288"/>
                    </a:lnTo>
                    <a:lnTo>
                      <a:pt x="68" y="288"/>
                    </a:lnTo>
                    <a:lnTo>
                      <a:pt x="68" y="288"/>
                    </a:lnTo>
                    <a:lnTo>
                      <a:pt x="68" y="288"/>
                    </a:lnTo>
                    <a:close/>
                    <a:moveTo>
                      <a:pt x="68" y="350"/>
                    </a:moveTo>
                    <a:lnTo>
                      <a:pt x="68" y="373"/>
                    </a:lnTo>
                    <a:lnTo>
                      <a:pt x="89" y="373"/>
                    </a:lnTo>
                    <a:lnTo>
                      <a:pt x="89" y="350"/>
                    </a:lnTo>
                    <a:lnTo>
                      <a:pt x="68" y="350"/>
                    </a:lnTo>
                    <a:lnTo>
                      <a:pt x="68" y="350"/>
                    </a:lnTo>
                    <a:lnTo>
                      <a:pt x="68" y="350"/>
                    </a:lnTo>
                    <a:close/>
                    <a:moveTo>
                      <a:pt x="68" y="232"/>
                    </a:moveTo>
                    <a:lnTo>
                      <a:pt x="68" y="255"/>
                    </a:lnTo>
                    <a:lnTo>
                      <a:pt x="89" y="255"/>
                    </a:lnTo>
                    <a:lnTo>
                      <a:pt x="89" y="232"/>
                    </a:lnTo>
                    <a:lnTo>
                      <a:pt x="68" y="232"/>
                    </a:lnTo>
                    <a:lnTo>
                      <a:pt x="68" y="232"/>
                    </a:lnTo>
                    <a:lnTo>
                      <a:pt x="68" y="232"/>
                    </a:lnTo>
                    <a:close/>
                    <a:moveTo>
                      <a:pt x="68" y="411"/>
                    </a:moveTo>
                    <a:lnTo>
                      <a:pt x="68" y="435"/>
                    </a:lnTo>
                    <a:lnTo>
                      <a:pt x="89" y="435"/>
                    </a:lnTo>
                    <a:lnTo>
                      <a:pt x="89" y="411"/>
                    </a:lnTo>
                    <a:lnTo>
                      <a:pt x="68" y="411"/>
                    </a:lnTo>
                    <a:lnTo>
                      <a:pt x="68" y="411"/>
                    </a:lnTo>
                    <a:lnTo>
                      <a:pt x="68" y="411"/>
                    </a:lnTo>
                    <a:close/>
                    <a:moveTo>
                      <a:pt x="40" y="288"/>
                    </a:moveTo>
                    <a:lnTo>
                      <a:pt x="40" y="314"/>
                    </a:lnTo>
                    <a:lnTo>
                      <a:pt x="61" y="314"/>
                    </a:lnTo>
                    <a:lnTo>
                      <a:pt x="61" y="288"/>
                    </a:lnTo>
                    <a:lnTo>
                      <a:pt x="40" y="288"/>
                    </a:lnTo>
                    <a:lnTo>
                      <a:pt x="40" y="288"/>
                    </a:lnTo>
                    <a:lnTo>
                      <a:pt x="40" y="288"/>
                    </a:lnTo>
                    <a:close/>
                    <a:moveTo>
                      <a:pt x="40" y="350"/>
                    </a:moveTo>
                    <a:lnTo>
                      <a:pt x="40" y="373"/>
                    </a:lnTo>
                    <a:lnTo>
                      <a:pt x="61" y="373"/>
                    </a:lnTo>
                    <a:lnTo>
                      <a:pt x="61" y="350"/>
                    </a:lnTo>
                    <a:lnTo>
                      <a:pt x="40" y="350"/>
                    </a:lnTo>
                    <a:lnTo>
                      <a:pt x="40" y="350"/>
                    </a:lnTo>
                    <a:lnTo>
                      <a:pt x="40" y="350"/>
                    </a:lnTo>
                    <a:close/>
                    <a:moveTo>
                      <a:pt x="40" y="232"/>
                    </a:moveTo>
                    <a:lnTo>
                      <a:pt x="40" y="255"/>
                    </a:lnTo>
                    <a:lnTo>
                      <a:pt x="61" y="255"/>
                    </a:lnTo>
                    <a:lnTo>
                      <a:pt x="61" y="232"/>
                    </a:lnTo>
                    <a:lnTo>
                      <a:pt x="40" y="232"/>
                    </a:lnTo>
                    <a:lnTo>
                      <a:pt x="40" y="232"/>
                    </a:lnTo>
                    <a:lnTo>
                      <a:pt x="40" y="232"/>
                    </a:lnTo>
                    <a:close/>
                    <a:moveTo>
                      <a:pt x="130" y="447"/>
                    </a:moveTo>
                    <a:lnTo>
                      <a:pt x="0" y="447"/>
                    </a:lnTo>
                    <a:lnTo>
                      <a:pt x="0" y="220"/>
                    </a:lnTo>
                    <a:lnTo>
                      <a:pt x="130" y="220"/>
                    </a:lnTo>
                    <a:lnTo>
                      <a:pt x="130" y="447"/>
                    </a:lnTo>
                    <a:lnTo>
                      <a:pt x="130" y="447"/>
                    </a:lnTo>
                    <a:lnTo>
                      <a:pt x="130" y="447"/>
                    </a:lnTo>
                    <a:close/>
                    <a:moveTo>
                      <a:pt x="300" y="116"/>
                    </a:moveTo>
                    <a:lnTo>
                      <a:pt x="300" y="144"/>
                    </a:lnTo>
                    <a:lnTo>
                      <a:pt x="269" y="144"/>
                    </a:lnTo>
                    <a:lnTo>
                      <a:pt x="269" y="116"/>
                    </a:lnTo>
                    <a:lnTo>
                      <a:pt x="300" y="116"/>
                    </a:lnTo>
                    <a:lnTo>
                      <a:pt x="300" y="116"/>
                    </a:lnTo>
                    <a:lnTo>
                      <a:pt x="300" y="116"/>
                    </a:lnTo>
                    <a:close/>
                    <a:moveTo>
                      <a:pt x="359" y="288"/>
                    </a:moveTo>
                    <a:lnTo>
                      <a:pt x="359" y="314"/>
                    </a:lnTo>
                    <a:lnTo>
                      <a:pt x="396" y="314"/>
                    </a:lnTo>
                    <a:lnTo>
                      <a:pt x="396" y="288"/>
                    </a:lnTo>
                    <a:lnTo>
                      <a:pt x="359" y="288"/>
                    </a:lnTo>
                    <a:lnTo>
                      <a:pt x="359" y="288"/>
                    </a:lnTo>
                    <a:lnTo>
                      <a:pt x="359" y="288"/>
                    </a:lnTo>
                    <a:close/>
                    <a:moveTo>
                      <a:pt x="359" y="350"/>
                    </a:moveTo>
                    <a:lnTo>
                      <a:pt x="359" y="373"/>
                    </a:lnTo>
                    <a:lnTo>
                      <a:pt x="396" y="373"/>
                    </a:lnTo>
                    <a:lnTo>
                      <a:pt x="396" y="350"/>
                    </a:lnTo>
                    <a:lnTo>
                      <a:pt x="359" y="350"/>
                    </a:lnTo>
                    <a:lnTo>
                      <a:pt x="359" y="350"/>
                    </a:lnTo>
                    <a:lnTo>
                      <a:pt x="359" y="350"/>
                    </a:lnTo>
                    <a:close/>
                    <a:moveTo>
                      <a:pt x="359" y="411"/>
                    </a:moveTo>
                    <a:lnTo>
                      <a:pt x="359" y="435"/>
                    </a:lnTo>
                    <a:lnTo>
                      <a:pt x="396" y="435"/>
                    </a:lnTo>
                    <a:lnTo>
                      <a:pt x="396" y="411"/>
                    </a:lnTo>
                    <a:lnTo>
                      <a:pt x="359" y="411"/>
                    </a:lnTo>
                    <a:lnTo>
                      <a:pt x="359" y="411"/>
                    </a:lnTo>
                    <a:lnTo>
                      <a:pt x="359" y="411"/>
                    </a:lnTo>
                    <a:close/>
                    <a:moveTo>
                      <a:pt x="408" y="411"/>
                    </a:moveTo>
                    <a:lnTo>
                      <a:pt x="408" y="435"/>
                    </a:lnTo>
                    <a:lnTo>
                      <a:pt x="444" y="435"/>
                    </a:lnTo>
                    <a:lnTo>
                      <a:pt x="444" y="411"/>
                    </a:lnTo>
                    <a:lnTo>
                      <a:pt x="408" y="411"/>
                    </a:lnTo>
                    <a:lnTo>
                      <a:pt x="408" y="411"/>
                    </a:lnTo>
                    <a:lnTo>
                      <a:pt x="408" y="411"/>
                    </a:lnTo>
                    <a:close/>
                    <a:moveTo>
                      <a:pt x="498" y="288"/>
                    </a:moveTo>
                    <a:lnTo>
                      <a:pt x="498" y="314"/>
                    </a:lnTo>
                    <a:lnTo>
                      <a:pt x="536" y="314"/>
                    </a:lnTo>
                    <a:lnTo>
                      <a:pt x="536" y="288"/>
                    </a:lnTo>
                    <a:lnTo>
                      <a:pt x="498" y="288"/>
                    </a:lnTo>
                    <a:lnTo>
                      <a:pt x="498" y="288"/>
                    </a:lnTo>
                    <a:lnTo>
                      <a:pt x="498" y="288"/>
                    </a:lnTo>
                    <a:close/>
                    <a:moveTo>
                      <a:pt x="498" y="350"/>
                    </a:moveTo>
                    <a:lnTo>
                      <a:pt x="498" y="373"/>
                    </a:lnTo>
                    <a:lnTo>
                      <a:pt x="536" y="373"/>
                    </a:lnTo>
                    <a:lnTo>
                      <a:pt x="536" y="350"/>
                    </a:lnTo>
                    <a:lnTo>
                      <a:pt x="498" y="350"/>
                    </a:lnTo>
                    <a:lnTo>
                      <a:pt x="498" y="350"/>
                    </a:lnTo>
                    <a:lnTo>
                      <a:pt x="498" y="350"/>
                    </a:lnTo>
                    <a:close/>
                    <a:moveTo>
                      <a:pt x="498" y="411"/>
                    </a:moveTo>
                    <a:lnTo>
                      <a:pt x="498" y="435"/>
                    </a:lnTo>
                    <a:lnTo>
                      <a:pt x="536" y="435"/>
                    </a:lnTo>
                    <a:lnTo>
                      <a:pt x="536" y="411"/>
                    </a:lnTo>
                    <a:lnTo>
                      <a:pt x="498" y="411"/>
                    </a:lnTo>
                    <a:lnTo>
                      <a:pt x="498" y="411"/>
                    </a:lnTo>
                    <a:lnTo>
                      <a:pt x="498" y="411"/>
                    </a:lnTo>
                    <a:close/>
                    <a:moveTo>
                      <a:pt x="453" y="288"/>
                    </a:moveTo>
                    <a:lnTo>
                      <a:pt x="453" y="314"/>
                    </a:lnTo>
                    <a:lnTo>
                      <a:pt x="489" y="314"/>
                    </a:lnTo>
                    <a:lnTo>
                      <a:pt x="489" y="288"/>
                    </a:lnTo>
                    <a:lnTo>
                      <a:pt x="453" y="288"/>
                    </a:lnTo>
                    <a:lnTo>
                      <a:pt x="453" y="288"/>
                    </a:lnTo>
                    <a:lnTo>
                      <a:pt x="453" y="288"/>
                    </a:lnTo>
                    <a:close/>
                    <a:moveTo>
                      <a:pt x="453" y="350"/>
                    </a:moveTo>
                    <a:lnTo>
                      <a:pt x="453" y="373"/>
                    </a:lnTo>
                    <a:lnTo>
                      <a:pt x="489" y="373"/>
                    </a:lnTo>
                    <a:lnTo>
                      <a:pt x="489" y="350"/>
                    </a:lnTo>
                    <a:lnTo>
                      <a:pt x="453" y="350"/>
                    </a:lnTo>
                    <a:lnTo>
                      <a:pt x="453" y="350"/>
                    </a:lnTo>
                    <a:lnTo>
                      <a:pt x="453" y="350"/>
                    </a:lnTo>
                    <a:close/>
                    <a:moveTo>
                      <a:pt x="453" y="411"/>
                    </a:moveTo>
                    <a:lnTo>
                      <a:pt x="453" y="435"/>
                    </a:lnTo>
                    <a:lnTo>
                      <a:pt x="489" y="435"/>
                    </a:lnTo>
                    <a:lnTo>
                      <a:pt x="489" y="411"/>
                    </a:lnTo>
                    <a:lnTo>
                      <a:pt x="453" y="411"/>
                    </a:lnTo>
                    <a:lnTo>
                      <a:pt x="453" y="411"/>
                    </a:lnTo>
                    <a:lnTo>
                      <a:pt x="453" y="411"/>
                    </a:lnTo>
                    <a:close/>
                    <a:moveTo>
                      <a:pt x="408" y="288"/>
                    </a:moveTo>
                    <a:lnTo>
                      <a:pt x="408" y="314"/>
                    </a:lnTo>
                    <a:lnTo>
                      <a:pt x="444" y="314"/>
                    </a:lnTo>
                    <a:lnTo>
                      <a:pt x="444" y="288"/>
                    </a:lnTo>
                    <a:lnTo>
                      <a:pt x="408" y="288"/>
                    </a:lnTo>
                    <a:lnTo>
                      <a:pt x="408" y="288"/>
                    </a:lnTo>
                    <a:lnTo>
                      <a:pt x="408" y="288"/>
                    </a:lnTo>
                    <a:close/>
                    <a:moveTo>
                      <a:pt x="408" y="350"/>
                    </a:moveTo>
                    <a:lnTo>
                      <a:pt x="408" y="373"/>
                    </a:lnTo>
                    <a:lnTo>
                      <a:pt x="444" y="373"/>
                    </a:lnTo>
                    <a:lnTo>
                      <a:pt x="444" y="350"/>
                    </a:lnTo>
                    <a:lnTo>
                      <a:pt x="408" y="350"/>
                    </a:lnTo>
                    <a:lnTo>
                      <a:pt x="408" y="350"/>
                    </a:lnTo>
                    <a:lnTo>
                      <a:pt x="408" y="350"/>
                    </a:lnTo>
                    <a:close/>
                    <a:moveTo>
                      <a:pt x="552" y="447"/>
                    </a:moveTo>
                    <a:lnTo>
                      <a:pt x="342" y="447"/>
                    </a:lnTo>
                    <a:lnTo>
                      <a:pt x="342" y="277"/>
                    </a:lnTo>
                    <a:lnTo>
                      <a:pt x="552" y="277"/>
                    </a:lnTo>
                    <a:lnTo>
                      <a:pt x="552" y="447"/>
                    </a:lnTo>
                    <a:lnTo>
                      <a:pt x="552" y="447"/>
                    </a:lnTo>
                    <a:lnTo>
                      <a:pt x="552" y="4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83">
                <a:extLst>
                  <a:ext uri="{FF2B5EF4-FFF2-40B4-BE49-F238E27FC236}">
                    <a16:creationId xmlns:a16="http://schemas.microsoft.com/office/drawing/2014/main" id="{8455F649-DE51-4350-B83C-74BB07CC2D85}"/>
                  </a:ext>
                </a:extLst>
              </p:cNvPr>
              <p:cNvSpPr>
                <a:spLocks noEditPoints="1"/>
              </p:cNvSpPr>
              <p:nvPr/>
            </p:nvSpPr>
            <p:spPr bwMode="auto">
              <a:xfrm>
                <a:off x="6171849" y="2160417"/>
                <a:ext cx="111811" cy="91384"/>
              </a:xfrm>
              <a:custGeom>
                <a:avLst/>
                <a:gdLst/>
                <a:ahLst/>
                <a:cxnLst>
                  <a:cxn ang="0">
                    <a:pos x="0" y="170"/>
                  </a:cxn>
                  <a:cxn ang="0">
                    <a:pos x="208" y="0"/>
                  </a:cxn>
                  <a:cxn ang="0">
                    <a:pos x="208" y="170"/>
                  </a:cxn>
                  <a:cxn ang="0">
                    <a:pos x="66" y="73"/>
                  </a:cxn>
                  <a:cxn ang="0">
                    <a:pos x="99" y="97"/>
                  </a:cxn>
                  <a:cxn ang="0">
                    <a:pos x="66" y="73"/>
                  </a:cxn>
                  <a:cxn ang="0">
                    <a:pos x="66" y="73"/>
                  </a:cxn>
                  <a:cxn ang="0">
                    <a:pos x="66" y="38"/>
                  </a:cxn>
                  <a:cxn ang="0">
                    <a:pos x="99" y="12"/>
                  </a:cxn>
                  <a:cxn ang="0">
                    <a:pos x="66" y="12"/>
                  </a:cxn>
                  <a:cxn ang="0">
                    <a:pos x="111" y="135"/>
                  </a:cxn>
                  <a:cxn ang="0">
                    <a:pos x="147" y="158"/>
                  </a:cxn>
                  <a:cxn ang="0">
                    <a:pos x="111" y="135"/>
                  </a:cxn>
                  <a:cxn ang="0">
                    <a:pos x="111" y="135"/>
                  </a:cxn>
                  <a:cxn ang="0">
                    <a:pos x="111" y="97"/>
                  </a:cxn>
                  <a:cxn ang="0">
                    <a:pos x="147" y="73"/>
                  </a:cxn>
                  <a:cxn ang="0">
                    <a:pos x="111" y="73"/>
                  </a:cxn>
                  <a:cxn ang="0">
                    <a:pos x="111" y="12"/>
                  </a:cxn>
                  <a:cxn ang="0">
                    <a:pos x="147" y="38"/>
                  </a:cxn>
                  <a:cxn ang="0">
                    <a:pos x="111" y="12"/>
                  </a:cxn>
                  <a:cxn ang="0">
                    <a:pos x="111" y="12"/>
                  </a:cxn>
                  <a:cxn ang="0">
                    <a:pos x="154" y="158"/>
                  </a:cxn>
                  <a:cxn ang="0">
                    <a:pos x="194" y="135"/>
                  </a:cxn>
                  <a:cxn ang="0">
                    <a:pos x="154" y="135"/>
                  </a:cxn>
                  <a:cxn ang="0">
                    <a:pos x="154" y="73"/>
                  </a:cxn>
                  <a:cxn ang="0">
                    <a:pos x="194" y="97"/>
                  </a:cxn>
                  <a:cxn ang="0">
                    <a:pos x="154" y="73"/>
                  </a:cxn>
                  <a:cxn ang="0">
                    <a:pos x="154" y="73"/>
                  </a:cxn>
                  <a:cxn ang="0">
                    <a:pos x="154" y="38"/>
                  </a:cxn>
                  <a:cxn ang="0">
                    <a:pos x="194" y="12"/>
                  </a:cxn>
                  <a:cxn ang="0">
                    <a:pos x="154" y="12"/>
                  </a:cxn>
                  <a:cxn ang="0">
                    <a:pos x="66" y="135"/>
                  </a:cxn>
                  <a:cxn ang="0">
                    <a:pos x="99" y="158"/>
                  </a:cxn>
                  <a:cxn ang="0">
                    <a:pos x="66" y="135"/>
                  </a:cxn>
                  <a:cxn ang="0">
                    <a:pos x="66" y="135"/>
                  </a:cxn>
                  <a:cxn ang="0">
                    <a:pos x="14" y="158"/>
                  </a:cxn>
                  <a:cxn ang="0">
                    <a:pos x="52" y="135"/>
                  </a:cxn>
                  <a:cxn ang="0">
                    <a:pos x="14" y="135"/>
                  </a:cxn>
                  <a:cxn ang="0">
                    <a:pos x="14" y="73"/>
                  </a:cxn>
                  <a:cxn ang="0">
                    <a:pos x="52" y="97"/>
                  </a:cxn>
                  <a:cxn ang="0">
                    <a:pos x="14" y="73"/>
                  </a:cxn>
                  <a:cxn ang="0">
                    <a:pos x="14" y="73"/>
                  </a:cxn>
                  <a:cxn ang="0">
                    <a:pos x="14" y="38"/>
                  </a:cxn>
                  <a:cxn ang="0">
                    <a:pos x="52" y="12"/>
                  </a:cxn>
                  <a:cxn ang="0">
                    <a:pos x="14" y="12"/>
                  </a:cxn>
                </a:cxnLst>
                <a:rect l="0" t="0" r="r" b="b"/>
                <a:pathLst>
                  <a:path w="208" h="170">
                    <a:moveTo>
                      <a:pt x="208" y="170"/>
                    </a:moveTo>
                    <a:lnTo>
                      <a:pt x="0" y="170"/>
                    </a:lnTo>
                    <a:lnTo>
                      <a:pt x="0" y="0"/>
                    </a:lnTo>
                    <a:lnTo>
                      <a:pt x="208" y="0"/>
                    </a:lnTo>
                    <a:lnTo>
                      <a:pt x="208" y="170"/>
                    </a:lnTo>
                    <a:lnTo>
                      <a:pt x="208" y="170"/>
                    </a:lnTo>
                    <a:lnTo>
                      <a:pt x="208" y="170"/>
                    </a:lnTo>
                    <a:close/>
                    <a:moveTo>
                      <a:pt x="66" y="73"/>
                    </a:moveTo>
                    <a:lnTo>
                      <a:pt x="66" y="97"/>
                    </a:lnTo>
                    <a:lnTo>
                      <a:pt x="99" y="97"/>
                    </a:lnTo>
                    <a:lnTo>
                      <a:pt x="99" y="73"/>
                    </a:lnTo>
                    <a:lnTo>
                      <a:pt x="66" y="73"/>
                    </a:lnTo>
                    <a:lnTo>
                      <a:pt x="66" y="73"/>
                    </a:lnTo>
                    <a:lnTo>
                      <a:pt x="66" y="73"/>
                    </a:lnTo>
                    <a:close/>
                    <a:moveTo>
                      <a:pt x="66" y="12"/>
                    </a:moveTo>
                    <a:lnTo>
                      <a:pt x="66" y="38"/>
                    </a:lnTo>
                    <a:lnTo>
                      <a:pt x="99" y="38"/>
                    </a:lnTo>
                    <a:lnTo>
                      <a:pt x="99" y="12"/>
                    </a:lnTo>
                    <a:lnTo>
                      <a:pt x="66" y="12"/>
                    </a:lnTo>
                    <a:lnTo>
                      <a:pt x="66" y="12"/>
                    </a:lnTo>
                    <a:lnTo>
                      <a:pt x="66" y="12"/>
                    </a:lnTo>
                    <a:close/>
                    <a:moveTo>
                      <a:pt x="111" y="135"/>
                    </a:moveTo>
                    <a:lnTo>
                      <a:pt x="111" y="158"/>
                    </a:lnTo>
                    <a:lnTo>
                      <a:pt x="147" y="158"/>
                    </a:lnTo>
                    <a:lnTo>
                      <a:pt x="147" y="135"/>
                    </a:lnTo>
                    <a:lnTo>
                      <a:pt x="111" y="135"/>
                    </a:lnTo>
                    <a:lnTo>
                      <a:pt x="111" y="135"/>
                    </a:lnTo>
                    <a:lnTo>
                      <a:pt x="111" y="135"/>
                    </a:lnTo>
                    <a:close/>
                    <a:moveTo>
                      <a:pt x="111" y="73"/>
                    </a:moveTo>
                    <a:lnTo>
                      <a:pt x="111" y="97"/>
                    </a:lnTo>
                    <a:lnTo>
                      <a:pt x="147" y="97"/>
                    </a:lnTo>
                    <a:lnTo>
                      <a:pt x="147" y="73"/>
                    </a:lnTo>
                    <a:lnTo>
                      <a:pt x="111" y="73"/>
                    </a:lnTo>
                    <a:lnTo>
                      <a:pt x="111" y="73"/>
                    </a:lnTo>
                    <a:lnTo>
                      <a:pt x="111" y="73"/>
                    </a:lnTo>
                    <a:close/>
                    <a:moveTo>
                      <a:pt x="111" y="12"/>
                    </a:moveTo>
                    <a:lnTo>
                      <a:pt x="111" y="38"/>
                    </a:lnTo>
                    <a:lnTo>
                      <a:pt x="147" y="38"/>
                    </a:lnTo>
                    <a:lnTo>
                      <a:pt x="147" y="12"/>
                    </a:lnTo>
                    <a:lnTo>
                      <a:pt x="111" y="12"/>
                    </a:lnTo>
                    <a:lnTo>
                      <a:pt x="111" y="12"/>
                    </a:lnTo>
                    <a:lnTo>
                      <a:pt x="111" y="12"/>
                    </a:lnTo>
                    <a:close/>
                    <a:moveTo>
                      <a:pt x="154" y="135"/>
                    </a:moveTo>
                    <a:lnTo>
                      <a:pt x="154" y="158"/>
                    </a:lnTo>
                    <a:lnTo>
                      <a:pt x="194" y="158"/>
                    </a:lnTo>
                    <a:lnTo>
                      <a:pt x="194" y="135"/>
                    </a:lnTo>
                    <a:lnTo>
                      <a:pt x="154" y="135"/>
                    </a:lnTo>
                    <a:lnTo>
                      <a:pt x="154" y="135"/>
                    </a:lnTo>
                    <a:lnTo>
                      <a:pt x="154" y="135"/>
                    </a:lnTo>
                    <a:close/>
                    <a:moveTo>
                      <a:pt x="154" y="73"/>
                    </a:moveTo>
                    <a:lnTo>
                      <a:pt x="154" y="97"/>
                    </a:lnTo>
                    <a:lnTo>
                      <a:pt x="194" y="97"/>
                    </a:lnTo>
                    <a:lnTo>
                      <a:pt x="194" y="73"/>
                    </a:lnTo>
                    <a:lnTo>
                      <a:pt x="154" y="73"/>
                    </a:lnTo>
                    <a:lnTo>
                      <a:pt x="154" y="73"/>
                    </a:lnTo>
                    <a:lnTo>
                      <a:pt x="154" y="73"/>
                    </a:lnTo>
                    <a:close/>
                    <a:moveTo>
                      <a:pt x="154" y="12"/>
                    </a:moveTo>
                    <a:lnTo>
                      <a:pt x="154" y="38"/>
                    </a:lnTo>
                    <a:lnTo>
                      <a:pt x="194" y="38"/>
                    </a:lnTo>
                    <a:lnTo>
                      <a:pt x="194" y="12"/>
                    </a:lnTo>
                    <a:lnTo>
                      <a:pt x="154" y="12"/>
                    </a:lnTo>
                    <a:lnTo>
                      <a:pt x="154" y="12"/>
                    </a:lnTo>
                    <a:lnTo>
                      <a:pt x="154" y="12"/>
                    </a:lnTo>
                    <a:close/>
                    <a:moveTo>
                      <a:pt x="66" y="135"/>
                    </a:moveTo>
                    <a:lnTo>
                      <a:pt x="66" y="158"/>
                    </a:lnTo>
                    <a:lnTo>
                      <a:pt x="99" y="158"/>
                    </a:lnTo>
                    <a:lnTo>
                      <a:pt x="99" y="135"/>
                    </a:lnTo>
                    <a:lnTo>
                      <a:pt x="66" y="135"/>
                    </a:lnTo>
                    <a:lnTo>
                      <a:pt x="66" y="135"/>
                    </a:lnTo>
                    <a:lnTo>
                      <a:pt x="66" y="135"/>
                    </a:lnTo>
                    <a:close/>
                    <a:moveTo>
                      <a:pt x="14" y="135"/>
                    </a:moveTo>
                    <a:lnTo>
                      <a:pt x="14" y="158"/>
                    </a:lnTo>
                    <a:lnTo>
                      <a:pt x="52" y="158"/>
                    </a:lnTo>
                    <a:lnTo>
                      <a:pt x="52" y="135"/>
                    </a:lnTo>
                    <a:lnTo>
                      <a:pt x="14" y="135"/>
                    </a:lnTo>
                    <a:lnTo>
                      <a:pt x="14" y="135"/>
                    </a:lnTo>
                    <a:lnTo>
                      <a:pt x="14" y="135"/>
                    </a:lnTo>
                    <a:close/>
                    <a:moveTo>
                      <a:pt x="14" y="73"/>
                    </a:moveTo>
                    <a:lnTo>
                      <a:pt x="14" y="97"/>
                    </a:lnTo>
                    <a:lnTo>
                      <a:pt x="52" y="97"/>
                    </a:lnTo>
                    <a:lnTo>
                      <a:pt x="52" y="73"/>
                    </a:lnTo>
                    <a:lnTo>
                      <a:pt x="14" y="73"/>
                    </a:lnTo>
                    <a:lnTo>
                      <a:pt x="14" y="73"/>
                    </a:lnTo>
                    <a:lnTo>
                      <a:pt x="14" y="73"/>
                    </a:lnTo>
                    <a:close/>
                    <a:moveTo>
                      <a:pt x="14" y="12"/>
                    </a:moveTo>
                    <a:lnTo>
                      <a:pt x="14" y="38"/>
                    </a:lnTo>
                    <a:lnTo>
                      <a:pt x="52" y="38"/>
                    </a:lnTo>
                    <a:lnTo>
                      <a:pt x="52" y="12"/>
                    </a:lnTo>
                    <a:lnTo>
                      <a:pt x="14" y="12"/>
                    </a:lnTo>
                    <a:lnTo>
                      <a:pt x="14" y="12"/>
                    </a:lnTo>
                    <a:lnTo>
                      <a:pt x="14"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84">
                <a:extLst>
                  <a:ext uri="{FF2B5EF4-FFF2-40B4-BE49-F238E27FC236}">
                    <a16:creationId xmlns:a16="http://schemas.microsoft.com/office/drawing/2014/main" id="{73953F26-E2E5-45A8-B8DD-2F6F3EF11F75}"/>
                  </a:ext>
                </a:extLst>
              </p:cNvPr>
              <p:cNvSpPr>
                <a:spLocks noEditPoints="1"/>
              </p:cNvSpPr>
              <p:nvPr/>
            </p:nvSpPr>
            <p:spPr bwMode="auto">
              <a:xfrm>
                <a:off x="6004133" y="2127626"/>
                <a:ext cx="71495" cy="121487"/>
              </a:xfrm>
              <a:custGeom>
                <a:avLst/>
                <a:gdLst/>
                <a:ahLst/>
                <a:cxnLst>
                  <a:cxn ang="0">
                    <a:pos x="0" y="226"/>
                  </a:cxn>
                  <a:cxn ang="0">
                    <a:pos x="133" y="0"/>
                  </a:cxn>
                  <a:cxn ang="0">
                    <a:pos x="133" y="226"/>
                  </a:cxn>
                  <a:cxn ang="0">
                    <a:pos x="43" y="11"/>
                  </a:cxn>
                  <a:cxn ang="0">
                    <a:pos x="64" y="35"/>
                  </a:cxn>
                  <a:cxn ang="0">
                    <a:pos x="43" y="11"/>
                  </a:cxn>
                  <a:cxn ang="0">
                    <a:pos x="43" y="11"/>
                  </a:cxn>
                  <a:cxn ang="0">
                    <a:pos x="43" y="153"/>
                  </a:cxn>
                  <a:cxn ang="0">
                    <a:pos x="64" y="130"/>
                  </a:cxn>
                  <a:cxn ang="0">
                    <a:pos x="43" y="130"/>
                  </a:cxn>
                  <a:cxn ang="0">
                    <a:pos x="43" y="68"/>
                  </a:cxn>
                  <a:cxn ang="0">
                    <a:pos x="64" y="94"/>
                  </a:cxn>
                  <a:cxn ang="0">
                    <a:pos x="43" y="68"/>
                  </a:cxn>
                  <a:cxn ang="0">
                    <a:pos x="43" y="68"/>
                  </a:cxn>
                  <a:cxn ang="0">
                    <a:pos x="71" y="215"/>
                  </a:cxn>
                  <a:cxn ang="0">
                    <a:pos x="93" y="191"/>
                  </a:cxn>
                  <a:cxn ang="0">
                    <a:pos x="71" y="191"/>
                  </a:cxn>
                  <a:cxn ang="0">
                    <a:pos x="71" y="11"/>
                  </a:cxn>
                  <a:cxn ang="0">
                    <a:pos x="93" y="35"/>
                  </a:cxn>
                  <a:cxn ang="0">
                    <a:pos x="71" y="11"/>
                  </a:cxn>
                  <a:cxn ang="0">
                    <a:pos x="71" y="11"/>
                  </a:cxn>
                  <a:cxn ang="0">
                    <a:pos x="71" y="153"/>
                  </a:cxn>
                  <a:cxn ang="0">
                    <a:pos x="93" y="130"/>
                  </a:cxn>
                  <a:cxn ang="0">
                    <a:pos x="71" y="130"/>
                  </a:cxn>
                  <a:cxn ang="0">
                    <a:pos x="71" y="68"/>
                  </a:cxn>
                  <a:cxn ang="0">
                    <a:pos x="93" y="94"/>
                  </a:cxn>
                  <a:cxn ang="0">
                    <a:pos x="71" y="68"/>
                  </a:cxn>
                  <a:cxn ang="0">
                    <a:pos x="71" y="68"/>
                  </a:cxn>
                  <a:cxn ang="0">
                    <a:pos x="100" y="215"/>
                  </a:cxn>
                  <a:cxn ang="0">
                    <a:pos x="123" y="191"/>
                  </a:cxn>
                  <a:cxn ang="0">
                    <a:pos x="100" y="191"/>
                  </a:cxn>
                  <a:cxn ang="0">
                    <a:pos x="100" y="11"/>
                  </a:cxn>
                  <a:cxn ang="0">
                    <a:pos x="123" y="35"/>
                  </a:cxn>
                  <a:cxn ang="0">
                    <a:pos x="100" y="11"/>
                  </a:cxn>
                  <a:cxn ang="0">
                    <a:pos x="100" y="11"/>
                  </a:cxn>
                  <a:cxn ang="0">
                    <a:pos x="100" y="153"/>
                  </a:cxn>
                  <a:cxn ang="0">
                    <a:pos x="123" y="130"/>
                  </a:cxn>
                  <a:cxn ang="0">
                    <a:pos x="100" y="130"/>
                  </a:cxn>
                  <a:cxn ang="0">
                    <a:pos x="100" y="68"/>
                  </a:cxn>
                  <a:cxn ang="0">
                    <a:pos x="123" y="94"/>
                  </a:cxn>
                  <a:cxn ang="0">
                    <a:pos x="100" y="68"/>
                  </a:cxn>
                  <a:cxn ang="0">
                    <a:pos x="100" y="68"/>
                  </a:cxn>
                  <a:cxn ang="0">
                    <a:pos x="43" y="215"/>
                  </a:cxn>
                  <a:cxn ang="0">
                    <a:pos x="64" y="191"/>
                  </a:cxn>
                  <a:cxn ang="0">
                    <a:pos x="43" y="191"/>
                  </a:cxn>
                  <a:cxn ang="0">
                    <a:pos x="12" y="191"/>
                  </a:cxn>
                  <a:cxn ang="0">
                    <a:pos x="36" y="215"/>
                  </a:cxn>
                  <a:cxn ang="0">
                    <a:pos x="12" y="191"/>
                  </a:cxn>
                  <a:cxn ang="0">
                    <a:pos x="12" y="191"/>
                  </a:cxn>
                  <a:cxn ang="0">
                    <a:pos x="12" y="35"/>
                  </a:cxn>
                  <a:cxn ang="0">
                    <a:pos x="36" y="11"/>
                  </a:cxn>
                  <a:cxn ang="0">
                    <a:pos x="12" y="11"/>
                  </a:cxn>
                  <a:cxn ang="0">
                    <a:pos x="12" y="130"/>
                  </a:cxn>
                  <a:cxn ang="0">
                    <a:pos x="36" y="153"/>
                  </a:cxn>
                  <a:cxn ang="0">
                    <a:pos x="12" y="130"/>
                  </a:cxn>
                  <a:cxn ang="0">
                    <a:pos x="12" y="130"/>
                  </a:cxn>
                  <a:cxn ang="0">
                    <a:pos x="12" y="94"/>
                  </a:cxn>
                  <a:cxn ang="0">
                    <a:pos x="36" y="68"/>
                  </a:cxn>
                  <a:cxn ang="0">
                    <a:pos x="12" y="68"/>
                  </a:cxn>
                </a:cxnLst>
                <a:rect l="0" t="0" r="r" b="b"/>
                <a:pathLst>
                  <a:path w="133" h="226">
                    <a:moveTo>
                      <a:pt x="133" y="226"/>
                    </a:moveTo>
                    <a:lnTo>
                      <a:pt x="0" y="226"/>
                    </a:lnTo>
                    <a:lnTo>
                      <a:pt x="0" y="0"/>
                    </a:lnTo>
                    <a:lnTo>
                      <a:pt x="133" y="0"/>
                    </a:lnTo>
                    <a:lnTo>
                      <a:pt x="133" y="226"/>
                    </a:lnTo>
                    <a:lnTo>
                      <a:pt x="133" y="226"/>
                    </a:lnTo>
                    <a:lnTo>
                      <a:pt x="133" y="226"/>
                    </a:lnTo>
                    <a:close/>
                    <a:moveTo>
                      <a:pt x="43" y="11"/>
                    </a:moveTo>
                    <a:lnTo>
                      <a:pt x="43" y="35"/>
                    </a:lnTo>
                    <a:lnTo>
                      <a:pt x="64" y="35"/>
                    </a:lnTo>
                    <a:lnTo>
                      <a:pt x="64" y="11"/>
                    </a:lnTo>
                    <a:lnTo>
                      <a:pt x="43" y="11"/>
                    </a:lnTo>
                    <a:lnTo>
                      <a:pt x="43" y="11"/>
                    </a:lnTo>
                    <a:lnTo>
                      <a:pt x="43" y="11"/>
                    </a:lnTo>
                    <a:close/>
                    <a:moveTo>
                      <a:pt x="43" y="130"/>
                    </a:moveTo>
                    <a:lnTo>
                      <a:pt x="43" y="153"/>
                    </a:lnTo>
                    <a:lnTo>
                      <a:pt x="64" y="153"/>
                    </a:lnTo>
                    <a:lnTo>
                      <a:pt x="64" y="130"/>
                    </a:lnTo>
                    <a:lnTo>
                      <a:pt x="43" y="130"/>
                    </a:lnTo>
                    <a:lnTo>
                      <a:pt x="43" y="130"/>
                    </a:lnTo>
                    <a:lnTo>
                      <a:pt x="43" y="130"/>
                    </a:lnTo>
                    <a:close/>
                    <a:moveTo>
                      <a:pt x="43" y="68"/>
                    </a:moveTo>
                    <a:lnTo>
                      <a:pt x="43" y="94"/>
                    </a:lnTo>
                    <a:lnTo>
                      <a:pt x="64" y="94"/>
                    </a:lnTo>
                    <a:lnTo>
                      <a:pt x="64" y="68"/>
                    </a:lnTo>
                    <a:lnTo>
                      <a:pt x="43" y="68"/>
                    </a:lnTo>
                    <a:lnTo>
                      <a:pt x="43" y="68"/>
                    </a:lnTo>
                    <a:lnTo>
                      <a:pt x="43" y="68"/>
                    </a:lnTo>
                    <a:close/>
                    <a:moveTo>
                      <a:pt x="71" y="191"/>
                    </a:moveTo>
                    <a:lnTo>
                      <a:pt x="71" y="215"/>
                    </a:lnTo>
                    <a:lnTo>
                      <a:pt x="93" y="215"/>
                    </a:lnTo>
                    <a:lnTo>
                      <a:pt x="93" y="191"/>
                    </a:lnTo>
                    <a:lnTo>
                      <a:pt x="71" y="191"/>
                    </a:lnTo>
                    <a:lnTo>
                      <a:pt x="71" y="191"/>
                    </a:lnTo>
                    <a:lnTo>
                      <a:pt x="71" y="191"/>
                    </a:lnTo>
                    <a:close/>
                    <a:moveTo>
                      <a:pt x="71" y="11"/>
                    </a:moveTo>
                    <a:lnTo>
                      <a:pt x="71" y="35"/>
                    </a:lnTo>
                    <a:lnTo>
                      <a:pt x="93" y="35"/>
                    </a:lnTo>
                    <a:lnTo>
                      <a:pt x="93" y="11"/>
                    </a:lnTo>
                    <a:lnTo>
                      <a:pt x="71" y="11"/>
                    </a:lnTo>
                    <a:lnTo>
                      <a:pt x="71" y="11"/>
                    </a:lnTo>
                    <a:lnTo>
                      <a:pt x="71" y="11"/>
                    </a:lnTo>
                    <a:close/>
                    <a:moveTo>
                      <a:pt x="71" y="130"/>
                    </a:moveTo>
                    <a:lnTo>
                      <a:pt x="71" y="153"/>
                    </a:lnTo>
                    <a:lnTo>
                      <a:pt x="93" y="153"/>
                    </a:lnTo>
                    <a:lnTo>
                      <a:pt x="93" y="130"/>
                    </a:lnTo>
                    <a:lnTo>
                      <a:pt x="71" y="130"/>
                    </a:lnTo>
                    <a:lnTo>
                      <a:pt x="71" y="130"/>
                    </a:lnTo>
                    <a:lnTo>
                      <a:pt x="71" y="130"/>
                    </a:lnTo>
                    <a:close/>
                    <a:moveTo>
                      <a:pt x="71" y="68"/>
                    </a:moveTo>
                    <a:lnTo>
                      <a:pt x="71" y="94"/>
                    </a:lnTo>
                    <a:lnTo>
                      <a:pt x="93" y="94"/>
                    </a:lnTo>
                    <a:lnTo>
                      <a:pt x="93" y="68"/>
                    </a:lnTo>
                    <a:lnTo>
                      <a:pt x="71" y="68"/>
                    </a:lnTo>
                    <a:lnTo>
                      <a:pt x="71" y="68"/>
                    </a:lnTo>
                    <a:lnTo>
                      <a:pt x="71" y="68"/>
                    </a:lnTo>
                    <a:close/>
                    <a:moveTo>
                      <a:pt x="100" y="191"/>
                    </a:moveTo>
                    <a:lnTo>
                      <a:pt x="100" y="215"/>
                    </a:lnTo>
                    <a:lnTo>
                      <a:pt x="123" y="215"/>
                    </a:lnTo>
                    <a:lnTo>
                      <a:pt x="123" y="191"/>
                    </a:lnTo>
                    <a:lnTo>
                      <a:pt x="100" y="191"/>
                    </a:lnTo>
                    <a:lnTo>
                      <a:pt x="100" y="191"/>
                    </a:lnTo>
                    <a:lnTo>
                      <a:pt x="100" y="191"/>
                    </a:lnTo>
                    <a:close/>
                    <a:moveTo>
                      <a:pt x="100" y="11"/>
                    </a:moveTo>
                    <a:lnTo>
                      <a:pt x="100" y="35"/>
                    </a:lnTo>
                    <a:lnTo>
                      <a:pt x="123" y="35"/>
                    </a:lnTo>
                    <a:lnTo>
                      <a:pt x="123" y="11"/>
                    </a:lnTo>
                    <a:lnTo>
                      <a:pt x="100" y="11"/>
                    </a:lnTo>
                    <a:lnTo>
                      <a:pt x="100" y="11"/>
                    </a:lnTo>
                    <a:lnTo>
                      <a:pt x="100" y="11"/>
                    </a:lnTo>
                    <a:close/>
                    <a:moveTo>
                      <a:pt x="100" y="130"/>
                    </a:moveTo>
                    <a:lnTo>
                      <a:pt x="100" y="153"/>
                    </a:lnTo>
                    <a:lnTo>
                      <a:pt x="123" y="153"/>
                    </a:lnTo>
                    <a:lnTo>
                      <a:pt x="123" y="130"/>
                    </a:lnTo>
                    <a:lnTo>
                      <a:pt x="100" y="130"/>
                    </a:lnTo>
                    <a:lnTo>
                      <a:pt x="100" y="130"/>
                    </a:lnTo>
                    <a:lnTo>
                      <a:pt x="100" y="130"/>
                    </a:lnTo>
                    <a:close/>
                    <a:moveTo>
                      <a:pt x="100" y="68"/>
                    </a:moveTo>
                    <a:lnTo>
                      <a:pt x="100" y="94"/>
                    </a:lnTo>
                    <a:lnTo>
                      <a:pt x="123" y="94"/>
                    </a:lnTo>
                    <a:lnTo>
                      <a:pt x="123" y="68"/>
                    </a:lnTo>
                    <a:lnTo>
                      <a:pt x="100" y="68"/>
                    </a:lnTo>
                    <a:lnTo>
                      <a:pt x="100" y="68"/>
                    </a:lnTo>
                    <a:lnTo>
                      <a:pt x="100" y="68"/>
                    </a:lnTo>
                    <a:close/>
                    <a:moveTo>
                      <a:pt x="43" y="191"/>
                    </a:moveTo>
                    <a:lnTo>
                      <a:pt x="43" y="215"/>
                    </a:lnTo>
                    <a:lnTo>
                      <a:pt x="64" y="215"/>
                    </a:lnTo>
                    <a:lnTo>
                      <a:pt x="64" y="191"/>
                    </a:lnTo>
                    <a:lnTo>
                      <a:pt x="43" y="191"/>
                    </a:lnTo>
                    <a:lnTo>
                      <a:pt x="43" y="191"/>
                    </a:lnTo>
                    <a:lnTo>
                      <a:pt x="43" y="191"/>
                    </a:lnTo>
                    <a:close/>
                    <a:moveTo>
                      <a:pt x="12" y="191"/>
                    </a:moveTo>
                    <a:lnTo>
                      <a:pt x="12" y="215"/>
                    </a:lnTo>
                    <a:lnTo>
                      <a:pt x="36" y="215"/>
                    </a:lnTo>
                    <a:lnTo>
                      <a:pt x="36" y="191"/>
                    </a:lnTo>
                    <a:lnTo>
                      <a:pt x="12" y="191"/>
                    </a:lnTo>
                    <a:lnTo>
                      <a:pt x="12" y="191"/>
                    </a:lnTo>
                    <a:lnTo>
                      <a:pt x="12" y="191"/>
                    </a:lnTo>
                    <a:close/>
                    <a:moveTo>
                      <a:pt x="12" y="11"/>
                    </a:moveTo>
                    <a:lnTo>
                      <a:pt x="12" y="35"/>
                    </a:lnTo>
                    <a:lnTo>
                      <a:pt x="36" y="35"/>
                    </a:lnTo>
                    <a:lnTo>
                      <a:pt x="36" y="11"/>
                    </a:lnTo>
                    <a:lnTo>
                      <a:pt x="12" y="11"/>
                    </a:lnTo>
                    <a:lnTo>
                      <a:pt x="12" y="11"/>
                    </a:lnTo>
                    <a:lnTo>
                      <a:pt x="12" y="11"/>
                    </a:lnTo>
                    <a:close/>
                    <a:moveTo>
                      <a:pt x="12" y="130"/>
                    </a:moveTo>
                    <a:lnTo>
                      <a:pt x="12" y="153"/>
                    </a:lnTo>
                    <a:lnTo>
                      <a:pt x="36" y="153"/>
                    </a:lnTo>
                    <a:lnTo>
                      <a:pt x="36" y="130"/>
                    </a:lnTo>
                    <a:lnTo>
                      <a:pt x="12" y="130"/>
                    </a:lnTo>
                    <a:lnTo>
                      <a:pt x="12" y="130"/>
                    </a:lnTo>
                    <a:lnTo>
                      <a:pt x="12" y="130"/>
                    </a:lnTo>
                    <a:close/>
                    <a:moveTo>
                      <a:pt x="12" y="68"/>
                    </a:moveTo>
                    <a:lnTo>
                      <a:pt x="12" y="94"/>
                    </a:lnTo>
                    <a:lnTo>
                      <a:pt x="36" y="94"/>
                    </a:lnTo>
                    <a:lnTo>
                      <a:pt x="36" y="68"/>
                    </a:lnTo>
                    <a:lnTo>
                      <a:pt x="12" y="68"/>
                    </a:lnTo>
                    <a:lnTo>
                      <a:pt x="12" y="68"/>
                    </a:lnTo>
                    <a:lnTo>
                      <a:pt x="12"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85">
                <a:extLst>
                  <a:ext uri="{FF2B5EF4-FFF2-40B4-BE49-F238E27FC236}">
                    <a16:creationId xmlns:a16="http://schemas.microsoft.com/office/drawing/2014/main" id="{73722E9A-4514-4D11-BE96-98D5395116F6}"/>
                  </a:ext>
                </a:extLst>
              </p:cNvPr>
              <p:cNvSpPr>
                <a:spLocks noEditPoints="1"/>
              </p:cNvSpPr>
              <p:nvPr/>
            </p:nvSpPr>
            <p:spPr bwMode="auto">
              <a:xfrm>
                <a:off x="4893546" y="2037317"/>
                <a:ext cx="290817" cy="200508"/>
              </a:xfrm>
              <a:custGeom>
                <a:avLst/>
                <a:gdLst/>
                <a:ahLst/>
                <a:cxnLst>
                  <a:cxn ang="0">
                    <a:pos x="399" y="354"/>
                  </a:cxn>
                  <a:cxn ang="0">
                    <a:pos x="519" y="340"/>
                  </a:cxn>
                  <a:cxn ang="0">
                    <a:pos x="330" y="255"/>
                  </a:cxn>
                  <a:cxn ang="0">
                    <a:pos x="330" y="241"/>
                  </a:cxn>
                  <a:cxn ang="0">
                    <a:pos x="330" y="168"/>
                  </a:cxn>
                  <a:cxn ang="0">
                    <a:pos x="210" y="168"/>
                  </a:cxn>
                  <a:cxn ang="0">
                    <a:pos x="330" y="168"/>
                  </a:cxn>
                  <a:cxn ang="0">
                    <a:pos x="210" y="111"/>
                  </a:cxn>
                  <a:cxn ang="0">
                    <a:pos x="330" y="97"/>
                  </a:cxn>
                  <a:cxn ang="0">
                    <a:pos x="330" y="220"/>
                  </a:cxn>
                  <a:cxn ang="0">
                    <a:pos x="330" y="203"/>
                  </a:cxn>
                  <a:cxn ang="0">
                    <a:pos x="330" y="132"/>
                  </a:cxn>
                  <a:cxn ang="0">
                    <a:pos x="210" y="132"/>
                  </a:cxn>
                  <a:cxn ang="0">
                    <a:pos x="330" y="132"/>
                  </a:cxn>
                  <a:cxn ang="0">
                    <a:pos x="210" y="354"/>
                  </a:cxn>
                  <a:cxn ang="0">
                    <a:pos x="330" y="338"/>
                  </a:cxn>
                  <a:cxn ang="0">
                    <a:pos x="330" y="283"/>
                  </a:cxn>
                  <a:cxn ang="0">
                    <a:pos x="330" y="269"/>
                  </a:cxn>
                  <a:cxn ang="0">
                    <a:pos x="314" y="78"/>
                  </a:cxn>
                  <a:cxn ang="0">
                    <a:pos x="337" y="78"/>
                  </a:cxn>
                  <a:cxn ang="0">
                    <a:pos x="189" y="373"/>
                  </a:cxn>
                  <a:cxn ang="0">
                    <a:pos x="262" y="47"/>
                  </a:cxn>
                  <a:cxn ang="0">
                    <a:pos x="314" y="78"/>
                  </a:cxn>
                  <a:cxn ang="0">
                    <a:pos x="330" y="305"/>
                  </a:cxn>
                  <a:cxn ang="0">
                    <a:pos x="210" y="305"/>
                  </a:cxn>
                  <a:cxn ang="0">
                    <a:pos x="330" y="305"/>
                  </a:cxn>
                  <a:cxn ang="0">
                    <a:pos x="144" y="316"/>
                  </a:cxn>
                  <a:cxn ang="0">
                    <a:pos x="23" y="302"/>
                  </a:cxn>
                  <a:cxn ang="0">
                    <a:pos x="23" y="246"/>
                  </a:cxn>
                  <a:cxn ang="0">
                    <a:pos x="23" y="231"/>
                  </a:cxn>
                  <a:cxn ang="0">
                    <a:pos x="23" y="338"/>
                  </a:cxn>
                  <a:cxn ang="0">
                    <a:pos x="144" y="338"/>
                  </a:cxn>
                  <a:cxn ang="0">
                    <a:pos x="23" y="338"/>
                  </a:cxn>
                  <a:cxn ang="0">
                    <a:pos x="144" y="281"/>
                  </a:cxn>
                  <a:cxn ang="0">
                    <a:pos x="23" y="267"/>
                  </a:cxn>
                  <a:cxn ang="0">
                    <a:pos x="40" y="135"/>
                  </a:cxn>
                  <a:cxn ang="0">
                    <a:pos x="0" y="213"/>
                  </a:cxn>
                  <a:cxn ang="0">
                    <a:pos x="165" y="213"/>
                  </a:cxn>
                  <a:cxn ang="0">
                    <a:pos x="68" y="182"/>
                  </a:cxn>
                  <a:cxn ang="0">
                    <a:pos x="40" y="213"/>
                  </a:cxn>
                  <a:cxn ang="0">
                    <a:pos x="519" y="283"/>
                  </a:cxn>
                  <a:cxn ang="0">
                    <a:pos x="519" y="269"/>
                  </a:cxn>
                  <a:cxn ang="0">
                    <a:pos x="519" y="305"/>
                  </a:cxn>
                  <a:cxn ang="0">
                    <a:pos x="399" y="305"/>
                  </a:cxn>
                  <a:cxn ang="0">
                    <a:pos x="519" y="305"/>
                  </a:cxn>
                  <a:cxn ang="0">
                    <a:pos x="526" y="170"/>
                  </a:cxn>
                  <a:cxn ang="0">
                    <a:pos x="541" y="373"/>
                  </a:cxn>
                  <a:cxn ang="0">
                    <a:pos x="448" y="250"/>
                  </a:cxn>
                  <a:cxn ang="0">
                    <a:pos x="472" y="250"/>
                  </a:cxn>
                  <a:cxn ang="0">
                    <a:pos x="503" y="250"/>
                  </a:cxn>
                </a:cxnLst>
                <a:rect l="0" t="0" r="r" b="b"/>
                <a:pathLst>
                  <a:path w="541" h="373">
                    <a:moveTo>
                      <a:pt x="519" y="340"/>
                    </a:moveTo>
                    <a:lnTo>
                      <a:pt x="519" y="354"/>
                    </a:lnTo>
                    <a:lnTo>
                      <a:pt x="399" y="354"/>
                    </a:lnTo>
                    <a:lnTo>
                      <a:pt x="399" y="340"/>
                    </a:lnTo>
                    <a:lnTo>
                      <a:pt x="519" y="340"/>
                    </a:lnTo>
                    <a:lnTo>
                      <a:pt x="519" y="340"/>
                    </a:lnTo>
                    <a:lnTo>
                      <a:pt x="519" y="340"/>
                    </a:lnTo>
                    <a:close/>
                    <a:moveTo>
                      <a:pt x="330" y="241"/>
                    </a:moveTo>
                    <a:lnTo>
                      <a:pt x="330" y="255"/>
                    </a:lnTo>
                    <a:lnTo>
                      <a:pt x="210" y="255"/>
                    </a:lnTo>
                    <a:lnTo>
                      <a:pt x="210" y="241"/>
                    </a:lnTo>
                    <a:lnTo>
                      <a:pt x="330" y="241"/>
                    </a:lnTo>
                    <a:lnTo>
                      <a:pt x="330" y="241"/>
                    </a:lnTo>
                    <a:lnTo>
                      <a:pt x="330" y="241"/>
                    </a:lnTo>
                    <a:close/>
                    <a:moveTo>
                      <a:pt x="330" y="168"/>
                    </a:moveTo>
                    <a:lnTo>
                      <a:pt x="330" y="182"/>
                    </a:lnTo>
                    <a:lnTo>
                      <a:pt x="210" y="182"/>
                    </a:lnTo>
                    <a:lnTo>
                      <a:pt x="210" y="168"/>
                    </a:lnTo>
                    <a:lnTo>
                      <a:pt x="330" y="168"/>
                    </a:lnTo>
                    <a:lnTo>
                      <a:pt x="330" y="168"/>
                    </a:lnTo>
                    <a:lnTo>
                      <a:pt x="330" y="168"/>
                    </a:lnTo>
                    <a:close/>
                    <a:moveTo>
                      <a:pt x="330" y="97"/>
                    </a:moveTo>
                    <a:lnTo>
                      <a:pt x="330" y="111"/>
                    </a:lnTo>
                    <a:lnTo>
                      <a:pt x="210" y="111"/>
                    </a:lnTo>
                    <a:lnTo>
                      <a:pt x="210" y="97"/>
                    </a:lnTo>
                    <a:lnTo>
                      <a:pt x="330" y="97"/>
                    </a:lnTo>
                    <a:lnTo>
                      <a:pt x="330" y="97"/>
                    </a:lnTo>
                    <a:lnTo>
                      <a:pt x="330" y="97"/>
                    </a:lnTo>
                    <a:close/>
                    <a:moveTo>
                      <a:pt x="330" y="203"/>
                    </a:moveTo>
                    <a:lnTo>
                      <a:pt x="330" y="220"/>
                    </a:lnTo>
                    <a:lnTo>
                      <a:pt x="210" y="220"/>
                    </a:lnTo>
                    <a:lnTo>
                      <a:pt x="210" y="203"/>
                    </a:lnTo>
                    <a:lnTo>
                      <a:pt x="330" y="203"/>
                    </a:lnTo>
                    <a:lnTo>
                      <a:pt x="330" y="203"/>
                    </a:lnTo>
                    <a:lnTo>
                      <a:pt x="330" y="203"/>
                    </a:lnTo>
                    <a:close/>
                    <a:moveTo>
                      <a:pt x="330" y="132"/>
                    </a:moveTo>
                    <a:lnTo>
                      <a:pt x="330" y="146"/>
                    </a:lnTo>
                    <a:lnTo>
                      <a:pt x="210" y="146"/>
                    </a:lnTo>
                    <a:lnTo>
                      <a:pt x="210" y="132"/>
                    </a:lnTo>
                    <a:lnTo>
                      <a:pt x="330" y="132"/>
                    </a:lnTo>
                    <a:lnTo>
                      <a:pt x="330" y="132"/>
                    </a:lnTo>
                    <a:lnTo>
                      <a:pt x="330" y="132"/>
                    </a:lnTo>
                    <a:close/>
                    <a:moveTo>
                      <a:pt x="330" y="338"/>
                    </a:moveTo>
                    <a:lnTo>
                      <a:pt x="330" y="354"/>
                    </a:lnTo>
                    <a:lnTo>
                      <a:pt x="210" y="354"/>
                    </a:lnTo>
                    <a:lnTo>
                      <a:pt x="210" y="338"/>
                    </a:lnTo>
                    <a:lnTo>
                      <a:pt x="330" y="338"/>
                    </a:lnTo>
                    <a:lnTo>
                      <a:pt x="330" y="338"/>
                    </a:lnTo>
                    <a:lnTo>
                      <a:pt x="330" y="338"/>
                    </a:lnTo>
                    <a:close/>
                    <a:moveTo>
                      <a:pt x="330" y="269"/>
                    </a:moveTo>
                    <a:lnTo>
                      <a:pt x="330" y="283"/>
                    </a:lnTo>
                    <a:lnTo>
                      <a:pt x="210" y="283"/>
                    </a:lnTo>
                    <a:lnTo>
                      <a:pt x="210" y="269"/>
                    </a:lnTo>
                    <a:lnTo>
                      <a:pt x="330" y="269"/>
                    </a:lnTo>
                    <a:lnTo>
                      <a:pt x="330" y="269"/>
                    </a:lnTo>
                    <a:lnTo>
                      <a:pt x="330" y="269"/>
                    </a:lnTo>
                    <a:close/>
                    <a:moveTo>
                      <a:pt x="314" y="78"/>
                    </a:moveTo>
                    <a:lnTo>
                      <a:pt x="314" y="0"/>
                    </a:lnTo>
                    <a:lnTo>
                      <a:pt x="337" y="0"/>
                    </a:lnTo>
                    <a:lnTo>
                      <a:pt x="337" y="78"/>
                    </a:lnTo>
                    <a:lnTo>
                      <a:pt x="354" y="78"/>
                    </a:lnTo>
                    <a:lnTo>
                      <a:pt x="354" y="373"/>
                    </a:lnTo>
                    <a:lnTo>
                      <a:pt x="189" y="373"/>
                    </a:lnTo>
                    <a:lnTo>
                      <a:pt x="189" y="78"/>
                    </a:lnTo>
                    <a:lnTo>
                      <a:pt x="262" y="78"/>
                    </a:lnTo>
                    <a:lnTo>
                      <a:pt x="262" y="47"/>
                    </a:lnTo>
                    <a:lnTo>
                      <a:pt x="285" y="47"/>
                    </a:lnTo>
                    <a:lnTo>
                      <a:pt x="285" y="78"/>
                    </a:lnTo>
                    <a:lnTo>
                      <a:pt x="314" y="78"/>
                    </a:lnTo>
                    <a:lnTo>
                      <a:pt x="314" y="78"/>
                    </a:lnTo>
                    <a:lnTo>
                      <a:pt x="314" y="78"/>
                    </a:lnTo>
                    <a:close/>
                    <a:moveTo>
                      <a:pt x="330" y="305"/>
                    </a:moveTo>
                    <a:lnTo>
                      <a:pt x="330" y="319"/>
                    </a:lnTo>
                    <a:lnTo>
                      <a:pt x="210" y="319"/>
                    </a:lnTo>
                    <a:lnTo>
                      <a:pt x="210" y="305"/>
                    </a:lnTo>
                    <a:lnTo>
                      <a:pt x="330" y="305"/>
                    </a:lnTo>
                    <a:lnTo>
                      <a:pt x="330" y="305"/>
                    </a:lnTo>
                    <a:lnTo>
                      <a:pt x="330" y="305"/>
                    </a:lnTo>
                    <a:close/>
                    <a:moveTo>
                      <a:pt x="23" y="302"/>
                    </a:moveTo>
                    <a:lnTo>
                      <a:pt x="23" y="316"/>
                    </a:lnTo>
                    <a:lnTo>
                      <a:pt x="144" y="316"/>
                    </a:lnTo>
                    <a:lnTo>
                      <a:pt x="144" y="302"/>
                    </a:lnTo>
                    <a:lnTo>
                      <a:pt x="23" y="302"/>
                    </a:lnTo>
                    <a:lnTo>
                      <a:pt x="23" y="302"/>
                    </a:lnTo>
                    <a:lnTo>
                      <a:pt x="23" y="302"/>
                    </a:lnTo>
                    <a:close/>
                    <a:moveTo>
                      <a:pt x="23" y="231"/>
                    </a:moveTo>
                    <a:lnTo>
                      <a:pt x="23" y="246"/>
                    </a:lnTo>
                    <a:lnTo>
                      <a:pt x="144" y="246"/>
                    </a:lnTo>
                    <a:lnTo>
                      <a:pt x="144" y="231"/>
                    </a:lnTo>
                    <a:lnTo>
                      <a:pt x="23" y="231"/>
                    </a:lnTo>
                    <a:lnTo>
                      <a:pt x="23" y="231"/>
                    </a:lnTo>
                    <a:lnTo>
                      <a:pt x="23" y="231"/>
                    </a:lnTo>
                    <a:close/>
                    <a:moveTo>
                      <a:pt x="23" y="338"/>
                    </a:moveTo>
                    <a:lnTo>
                      <a:pt x="23" y="352"/>
                    </a:lnTo>
                    <a:lnTo>
                      <a:pt x="144" y="352"/>
                    </a:lnTo>
                    <a:lnTo>
                      <a:pt x="144" y="338"/>
                    </a:lnTo>
                    <a:lnTo>
                      <a:pt x="23" y="338"/>
                    </a:lnTo>
                    <a:lnTo>
                      <a:pt x="23" y="338"/>
                    </a:lnTo>
                    <a:lnTo>
                      <a:pt x="23" y="338"/>
                    </a:lnTo>
                    <a:close/>
                    <a:moveTo>
                      <a:pt x="23" y="267"/>
                    </a:moveTo>
                    <a:lnTo>
                      <a:pt x="23" y="281"/>
                    </a:lnTo>
                    <a:lnTo>
                      <a:pt x="144" y="281"/>
                    </a:lnTo>
                    <a:lnTo>
                      <a:pt x="144" y="267"/>
                    </a:lnTo>
                    <a:lnTo>
                      <a:pt x="23" y="267"/>
                    </a:lnTo>
                    <a:lnTo>
                      <a:pt x="23" y="267"/>
                    </a:lnTo>
                    <a:lnTo>
                      <a:pt x="23" y="267"/>
                    </a:lnTo>
                    <a:close/>
                    <a:moveTo>
                      <a:pt x="40" y="213"/>
                    </a:moveTo>
                    <a:lnTo>
                      <a:pt x="40" y="135"/>
                    </a:lnTo>
                    <a:lnTo>
                      <a:pt x="16" y="135"/>
                    </a:lnTo>
                    <a:lnTo>
                      <a:pt x="16" y="213"/>
                    </a:lnTo>
                    <a:lnTo>
                      <a:pt x="0" y="213"/>
                    </a:lnTo>
                    <a:lnTo>
                      <a:pt x="0" y="373"/>
                    </a:lnTo>
                    <a:lnTo>
                      <a:pt x="165" y="373"/>
                    </a:lnTo>
                    <a:lnTo>
                      <a:pt x="165" y="213"/>
                    </a:lnTo>
                    <a:lnTo>
                      <a:pt x="92" y="213"/>
                    </a:lnTo>
                    <a:lnTo>
                      <a:pt x="92" y="182"/>
                    </a:lnTo>
                    <a:lnTo>
                      <a:pt x="68" y="182"/>
                    </a:lnTo>
                    <a:lnTo>
                      <a:pt x="68" y="213"/>
                    </a:lnTo>
                    <a:lnTo>
                      <a:pt x="40" y="213"/>
                    </a:lnTo>
                    <a:lnTo>
                      <a:pt x="40" y="213"/>
                    </a:lnTo>
                    <a:lnTo>
                      <a:pt x="40" y="213"/>
                    </a:lnTo>
                    <a:close/>
                    <a:moveTo>
                      <a:pt x="519" y="269"/>
                    </a:moveTo>
                    <a:lnTo>
                      <a:pt x="519" y="283"/>
                    </a:lnTo>
                    <a:lnTo>
                      <a:pt x="399" y="283"/>
                    </a:lnTo>
                    <a:lnTo>
                      <a:pt x="399" y="269"/>
                    </a:lnTo>
                    <a:lnTo>
                      <a:pt x="519" y="269"/>
                    </a:lnTo>
                    <a:lnTo>
                      <a:pt x="519" y="269"/>
                    </a:lnTo>
                    <a:lnTo>
                      <a:pt x="519" y="269"/>
                    </a:lnTo>
                    <a:close/>
                    <a:moveTo>
                      <a:pt x="519" y="305"/>
                    </a:moveTo>
                    <a:lnTo>
                      <a:pt x="519" y="319"/>
                    </a:lnTo>
                    <a:lnTo>
                      <a:pt x="399" y="319"/>
                    </a:lnTo>
                    <a:lnTo>
                      <a:pt x="399" y="305"/>
                    </a:lnTo>
                    <a:lnTo>
                      <a:pt x="519" y="305"/>
                    </a:lnTo>
                    <a:lnTo>
                      <a:pt x="519" y="305"/>
                    </a:lnTo>
                    <a:lnTo>
                      <a:pt x="519" y="305"/>
                    </a:lnTo>
                    <a:close/>
                    <a:moveTo>
                      <a:pt x="503" y="250"/>
                    </a:moveTo>
                    <a:lnTo>
                      <a:pt x="503" y="170"/>
                    </a:lnTo>
                    <a:lnTo>
                      <a:pt x="526" y="170"/>
                    </a:lnTo>
                    <a:lnTo>
                      <a:pt x="526" y="250"/>
                    </a:lnTo>
                    <a:lnTo>
                      <a:pt x="541" y="250"/>
                    </a:lnTo>
                    <a:lnTo>
                      <a:pt x="541" y="373"/>
                    </a:lnTo>
                    <a:lnTo>
                      <a:pt x="378" y="373"/>
                    </a:lnTo>
                    <a:lnTo>
                      <a:pt x="378" y="250"/>
                    </a:lnTo>
                    <a:lnTo>
                      <a:pt x="448" y="250"/>
                    </a:lnTo>
                    <a:lnTo>
                      <a:pt x="448" y="220"/>
                    </a:lnTo>
                    <a:lnTo>
                      <a:pt x="472" y="220"/>
                    </a:lnTo>
                    <a:lnTo>
                      <a:pt x="472" y="250"/>
                    </a:lnTo>
                    <a:lnTo>
                      <a:pt x="503" y="250"/>
                    </a:lnTo>
                    <a:lnTo>
                      <a:pt x="503" y="250"/>
                    </a:lnTo>
                    <a:lnTo>
                      <a:pt x="503" y="2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86">
                <a:extLst>
                  <a:ext uri="{FF2B5EF4-FFF2-40B4-BE49-F238E27FC236}">
                    <a16:creationId xmlns:a16="http://schemas.microsoft.com/office/drawing/2014/main" id="{6F5DCF4E-FBF6-4E58-87B1-0614DE7486A5}"/>
                  </a:ext>
                </a:extLst>
              </p:cNvPr>
              <p:cNvSpPr>
                <a:spLocks noEditPoints="1"/>
              </p:cNvSpPr>
              <p:nvPr/>
            </p:nvSpPr>
            <p:spPr bwMode="auto">
              <a:xfrm>
                <a:off x="5212315" y="2052368"/>
                <a:ext cx="349948" cy="188144"/>
              </a:xfrm>
              <a:custGeom>
                <a:avLst/>
                <a:gdLst/>
                <a:ahLst/>
                <a:cxnLst>
                  <a:cxn ang="0">
                    <a:pos x="262" y="134"/>
                  </a:cxn>
                  <a:cxn ang="0">
                    <a:pos x="0" y="148"/>
                  </a:cxn>
                  <a:cxn ang="0">
                    <a:pos x="63" y="124"/>
                  </a:cxn>
                  <a:cxn ang="0">
                    <a:pos x="55" y="124"/>
                  </a:cxn>
                  <a:cxn ang="0">
                    <a:pos x="17" y="120"/>
                  </a:cxn>
                  <a:cxn ang="0">
                    <a:pos x="0" y="148"/>
                  </a:cxn>
                  <a:cxn ang="0">
                    <a:pos x="165" y="90"/>
                  </a:cxn>
                  <a:cxn ang="0">
                    <a:pos x="145" y="90"/>
                  </a:cxn>
                  <a:cxn ang="0">
                    <a:pos x="184" y="148"/>
                  </a:cxn>
                  <a:cxn ang="0">
                    <a:pos x="184" y="93"/>
                  </a:cxn>
                  <a:cxn ang="0">
                    <a:pos x="184" y="148"/>
                  </a:cxn>
                  <a:cxn ang="0">
                    <a:pos x="108" y="36"/>
                  </a:cxn>
                  <a:cxn ang="0">
                    <a:pos x="91" y="90"/>
                  </a:cxn>
                  <a:cxn ang="0">
                    <a:pos x="246" y="6"/>
                  </a:cxn>
                  <a:cxn ang="0">
                    <a:pos x="246" y="2"/>
                  </a:cxn>
                  <a:cxn ang="0">
                    <a:pos x="220" y="2"/>
                  </a:cxn>
                  <a:cxn ang="0">
                    <a:pos x="216" y="6"/>
                  </a:cxn>
                  <a:cxn ang="0">
                    <a:pos x="190" y="134"/>
                  </a:cxn>
                  <a:cxn ang="0">
                    <a:pos x="276" y="148"/>
                  </a:cxn>
                  <a:cxn ang="0">
                    <a:pos x="266" y="134"/>
                  </a:cxn>
                  <a:cxn ang="0">
                    <a:pos x="231" y="134"/>
                  </a:cxn>
                  <a:cxn ang="0">
                    <a:pos x="261" y="129"/>
                  </a:cxn>
                  <a:cxn ang="0">
                    <a:pos x="261" y="129"/>
                  </a:cxn>
                  <a:cxn ang="0">
                    <a:pos x="237" y="85"/>
                  </a:cxn>
                  <a:cxn ang="0">
                    <a:pos x="256" y="96"/>
                  </a:cxn>
                  <a:cxn ang="0">
                    <a:pos x="248" y="43"/>
                  </a:cxn>
                  <a:cxn ang="0">
                    <a:pos x="247" y="33"/>
                  </a:cxn>
                  <a:cxn ang="0">
                    <a:pos x="247" y="33"/>
                  </a:cxn>
                  <a:cxn ang="0">
                    <a:pos x="235" y="16"/>
                  </a:cxn>
                  <a:cxn ang="0">
                    <a:pos x="241" y="9"/>
                  </a:cxn>
                  <a:cxn ang="0">
                    <a:pos x="225" y="9"/>
                  </a:cxn>
                  <a:cxn ang="0">
                    <a:pos x="222" y="12"/>
                  </a:cxn>
                  <a:cxn ang="0">
                    <a:pos x="222" y="12"/>
                  </a:cxn>
                  <a:cxn ang="0">
                    <a:pos x="230" y="53"/>
                  </a:cxn>
                  <a:cxn ang="0">
                    <a:pos x="218" y="44"/>
                  </a:cxn>
                  <a:cxn ang="0">
                    <a:pos x="209" y="97"/>
                  </a:cxn>
                  <a:cxn ang="0">
                    <a:pos x="208" y="105"/>
                  </a:cxn>
                  <a:cxn ang="0">
                    <a:pos x="208" y="105"/>
                  </a:cxn>
                  <a:cxn ang="0">
                    <a:pos x="231" y="99"/>
                  </a:cxn>
                  <a:cxn ang="0">
                    <a:pos x="213" y="99"/>
                  </a:cxn>
                  <a:cxn ang="0">
                    <a:pos x="235" y="88"/>
                  </a:cxn>
                  <a:cxn ang="0">
                    <a:pos x="253" y="103"/>
                  </a:cxn>
                  <a:cxn ang="0">
                    <a:pos x="253" y="103"/>
                  </a:cxn>
                  <a:cxn ang="0">
                    <a:pos x="212" y="103"/>
                  </a:cxn>
                  <a:cxn ang="0">
                    <a:pos x="231" y="103"/>
                  </a:cxn>
                  <a:cxn ang="0">
                    <a:pos x="231" y="57"/>
                  </a:cxn>
                  <a:cxn ang="0">
                    <a:pos x="235" y="68"/>
                  </a:cxn>
                  <a:cxn ang="0">
                    <a:pos x="235" y="68"/>
                  </a:cxn>
                  <a:cxn ang="0">
                    <a:pos x="235" y="72"/>
                  </a:cxn>
                  <a:cxn ang="0">
                    <a:pos x="249" y="72"/>
                  </a:cxn>
                  <a:cxn ang="0">
                    <a:pos x="231" y="81"/>
                  </a:cxn>
                  <a:cxn ang="0">
                    <a:pos x="220" y="36"/>
                  </a:cxn>
                  <a:cxn ang="0">
                    <a:pos x="220" y="36"/>
                  </a:cxn>
                  <a:cxn ang="0">
                    <a:pos x="245" y="36"/>
                  </a:cxn>
                  <a:cxn ang="0">
                    <a:pos x="235" y="36"/>
                  </a:cxn>
                  <a:cxn ang="0">
                    <a:pos x="235" y="49"/>
                  </a:cxn>
                  <a:cxn ang="0">
                    <a:pos x="231" y="40"/>
                  </a:cxn>
                  <a:cxn ang="0">
                    <a:pos x="231" y="40"/>
                  </a:cxn>
                </a:cxnLst>
                <a:rect l="0" t="0" r="r" b="b"/>
                <a:pathLst>
                  <a:path w="276" h="148">
                    <a:moveTo>
                      <a:pt x="235" y="134"/>
                    </a:moveTo>
                    <a:cubicBezTo>
                      <a:pt x="235" y="129"/>
                      <a:pt x="235" y="124"/>
                      <a:pt x="235" y="119"/>
                    </a:cubicBezTo>
                    <a:cubicBezTo>
                      <a:pt x="244" y="124"/>
                      <a:pt x="253" y="129"/>
                      <a:pt x="262" y="134"/>
                    </a:cubicBezTo>
                    <a:cubicBezTo>
                      <a:pt x="253" y="134"/>
                      <a:pt x="244" y="134"/>
                      <a:pt x="235" y="134"/>
                    </a:cubicBezTo>
                    <a:cubicBezTo>
                      <a:pt x="235" y="134"/>
                      <a:pt x="235" y="134"/>
                      <a:pt x="235" y="134"/>
                    </a:cubicBezTo>
                    <a:close/>
                    <a:moveTo>
                      <a:pt x="0" y="148"/>
                    </a:moveTo>
                    <a:cubicBezTo>
                      <a:pt x="70" y="148"/>
                      <a:pt x="70" y="148"/>
                      <a:pt x="70" y="148"/>
                    </a:cubicBezTo>
                    <a:cubicBezTo>
                      <a:pt x="70" y="124"/>
                      <a:pt x="70" y="124"/>
                      <a:pt x="70" y="124"/>
                    </a:cubicBezTo>
                    <a:cubicBezTo>
                      <a:pt x="63" y="124"/>
                      <a:pt x="63" y="124"/>
                      <a:pt x="63" y="124"/>
                    </a:cubicBezTo>
                    <a:cubicBezTo>
                      <a:pt x="63" y="111"/>
                      <a:pt x="63" y="111"/>
                      <a:pt x="63" y="111"/>
                    </a:cubicBezTo>
                    <a:cubicBezTo>
                      <a:pt x="55" y="111"/>
                      <a:pt x="55" y="111"/>
                      <a:pt x="55" y="111"/>
                    </a:cubicBezTo>
                    <a:cubicBezTo>
                      <a:pt x="55" y="124"/>
                      <a:pt x="55" y="124"/>
                      <a:pt x="55" y="124"/>
                    </a:cubicBezTo>
                    <a:cubicBezTo>
                      <a:pt x="27" y="124"/>
                      <a:pt x="27" y="124"/>
                      <a:pt x="27" y="124"/>
                    </a:cubicBezTo>
                    <a:cubicBezTo>
                      <a:pt x="27" y="120"/>
                      <a:pt x="27" y="120"/>
                      <a:pt x="27" y="120"/>
                    </a:cubicBezTo>
                    <a:cubicBezTo>
                      <a:pt x="17" y="120"/>
                      <a:pt x="17" y="120"/>
                      <a:pt x="17" y="120"/>
                    </a:cubicBezTo>
                    <a:cubicBezTo>
                      <a:pt x="17" y="124"/>
                      <a:pt x="17" y="124"/>
                      <a:pt x="17" y="124"/>
                    </a:cubicBezTo>
                    <a:cubicBezTo>
                      <a:pt x="0" y="124"/>
                      <a:pt x="0" y="124"/>
                      <a:pt x="0" y="124"/>
                    </a:cubicBezTo>
                    <a:cubicBezTo>
                      <a:pt x="0" y="148"/>
                      <a:pt x="0" y="148"/>
                      <a:pt x="0" y="148"/>
                    </a:cubicBezTo>
                    <a:cubicBezTo>
                      <a:pt x="0" y="148"/>
                      <a:pt x="0" y="148"/>
                      <a:pt x="0" y="148"/>
                    </a:cubicBezTo>
                    <a:close/>
                    <a:moveTo>
                      <a:pt x="145" y="90"/>
                    </a:moveTo>
                    <a:cubicBezTo>
                      <a:pt x="152" y="90"/>
                      <a:pt x="159" y="90"/>
                      <a:pt x="165" y="90"/>
                    </a:cubicBezTo>
                    <a:cubicBezTo>
                      <a:pt x="164" y="72"/>
                      <a:pt x="163" y="54"/>
                      <a:pt x="162" y="36"/>
                    </a:cubicBezTo>
                    <a:cubicBezTo>
                      <a:pt x="158" y="36"/>
                      <a:pt x="153" y="36"/>
                      <a:pt x="149" y="36"/>
                    </a:cubicBezTo>
                    <a:cubicBezTo>
                      <a:pt x="148" y="54"/>
                      <a:pt x="146" y="72"/>
                      <a:pt x="145" y="90"/>
                    </a:cubicBezTo>
                    <a:cubicBezTo>
                      <a:pt x="145" y="90"/>
                      <a:pt x="145" y="90"/>
                      <a:pt x="145" y="90"/>
                    </a:cubicBezTo>
                    <a:cubicBezTo>
                      <a:pt x="145" y="90"/>
                      <a:pt x="145" y="90"/>
                      <a:pt x="145" y="90"/>
                    </a:cubicBezTo>
                    <a:close/>
                    <a:moveTo>
                      <a:pt x="184" y="148"/>
                    </a:moveTo>
                    <a:cubicBezTo>
                      <a:pt x="76" y="148"/>
                      <a:pt x="76" y="148"/>
                      <a:pt x="76" y="148"/>
                    </a:cubicBezTo>
                    <a:cubicBezTo>
                      <a:pt x="76" y="93"/>
                      <a:pt x="76" y="93"/>
                      <a:pt x="76" y="93"/>
                    </a:cubicBezTo>
                    <a:cubicBezTo>
                      <a:pt x="184" y="93"/>
                      <a:pt x="184" y="93"/>
                      <a:pt x="184" y="93"/>
                    </a:cubicBezTo>
                    <a:cubicBezTo>
                      <a:pt x="184" y="111"/>
                      <a:pt x="184" y="130"/>
                      <a:pt x="184" y="148"/>
                    </a:cubicBezTo>
                    <a:cubicBezTo>
                      <a:pt x="184" y="148"/>
                      <a:pt x="184" y="148"/>
                      <a:pt x="184" y="148"/>
                    </a:cubicBezTo>
                    <a:cubicBezTo>
                      <a:pt x="184" y="148"/>
                      <a:pt x="184" y="148"/>
                      <a:pt x="184" y="148"/>
                    </a:cubicBezTo>
                    <a:close/>
                    <a:moveTo>
                      <a:pt x="91" y="90"/>
                    </a:moveTo>
                    <a:cubicBezTo>
                      <a:pt x="98" y="90"/>
                      <a:pt x="105" y="90"/>
                      <a:pt x="111" y="90"/>
                    </a:cubicBezTo>
                    <a:cubicBezTo>
                      <a:pt x="110" y="72"/>
                      <a:pt x="109" y="54"/>
                      <a:pt x="108" y="36"/>
                    </a:cubicBezTo>
                    <a:cubicBezTo>
                      <a:pt x="104" y="36"/>
                      <a:pt x="99" y="36"/>
                      <a:pt x="95" y="36"/>
                    </a:cubicBezTo>
                    <a:cubicBezTo>
                      <a:pt x="94" y="54"/>
                      <a:pt x="92" y="72"/>
                      <a:pt x="91" y="90"/>
                    </a:cubicBezTo>
                    <a:cubicBezTo>
                      <a:pt x="91" y="90"/>
                      <a:pt x="91" y="90"/>
                      <a:pt x="91" y="90"/>
                    </a:cubicBezTo>
                    <a:cubicBezTo>
                      <a:pt x="91" y="90"/>
                      <a:pt x="91" y="90"/>
                      <a:pt x="91" y="90"/>
                    </a:cubicBezTo>
                    <a:close/>
                    <a:moveTo>
                      <a:pt x="266" y="134"/>
                    </a:moveTo>
                    <a:cubicBezTo>
                      <a:pt x="259" y="91"/>
                      <a:pt x="253" y="48"/>
                      <a:pt x="246" y="6"/>
                    </a:cubicBezTo>
                    <a:cubicBezTo>
                      <a:pt x="247" y="6"/>
                      <a:pt x="249" y="6"/>
                      <a:pt x="250" y="6"/>
                    </a:cubicBezTo>
                    <a:cubicBezTo>
                      <a:pt x="250" y="4"/>
                      <a:pt x="250" y="3"/>
                      <a:pt x="250" y="2"/>
                    </a:cubicBezTo>
                    <a:cubicBezTo>
                      <a:pt x="249" y="2"/>
                      <a:pt x="247" y="2"/>
                      <a:pt x="246" y="2"/>
                    </a:cubicBezTo>
                    <a:cubicBezTo>
                      <a:pt x="246" y="0"/>
                      <a:pt x="246" y="0"/>
                      <a:pt x="246" y="0"/>
                    </a:cubicBezTo>
                    <a:cubicBezTo>
                      <a:pt x="220" y="0"/>
                      <a:pt x="220" y="0"/>
                      <a:pt x="220" y="0"/>
                    </a:cubicBezTo>
                    <a:cubicBezTo>
                      <a:pt x="220" y="2"/>
                      <a:pt x="220" y="2"/>
                      <a:pt x="220" y="2"/>
                    </a:cubicBezTo>
                    <a:cubicBezTo>
                      <a:pt x="218" y="2"/>
                      <a:pt x="217" y="2"/>
                      <a:pt x="216" y="2"/>
                    </a:cubicBezTo>
                    <a:cubicBezTo>
                      <a:pt x="216" y="2"/>
                      <a:pt x="216" y="2"/>
                      <a:pt x="216" y="2"/>
                    </a:cubicBezTo>
                    <a:cubicBezTo>
                      <a:pt x="216" y="3"/>
                      <a:pt x="216" y="4"/>
                      <a:pt x="216" y="6"/>
                    </a:cubicBezTo>
                    <a:cubicBezTo>
                      <a:pt x="217" y="6"/>
                      <a:pt x="218" y="6"/>
                      <a:pt x="219" y="6"/>
                    </a:cubicBezTo>
                    <a:cubicBezTo>
                      <a:pt x="213" y="48"/>
                      <a:pt x="206" y="91"/>
                      <a:pt x="200" y="134"/>
                    </a:cubicBezTo>
                    <a:cubicBezTo>
                      <a:pt x="196" y="134"/>
                      <a:pt x="193" y="134"/>
                      <a:pt x="190" y="134"/>
                    </a:cubicBezTo>
                    <a:cubicBezTo>
                      <a:pt x="190" y="134"/>
                      <a:pt x="190" y="134"/>
                      <a:pt x="190" y="134"/>
                    </a:cubicBezTo>
                    <a:cubicBezTo>
                      <a:pt x="190" y="138"/>
                      <a:pt x="190" y="143"/>
                      <a:pt x="190" y="148"/>
                    </a:cubicBezTo>
                    <a:cubicBezTo>
                      <a:pt x="219" y="148"/>
                      <a:pt x="247" y="148"/>
                      <a:pt x="276" y="148"/>
                    </a:cubicBezTo>
                    <a:cubicBezTo>
                      <a:pt x="276" y="143"/>
                      <a:pt x="276" y="138"/>
                      <a:pt x="276" y="134"/>
                    </a:cubicBezTo>
                    <a:cubicBezTo>
                      <a:pt x="272" y="134"/>
                      <a:pt x="269" y="134"/>
                      <a:pt x="266" y="134"/>
                    </a:cubicBezTo>
                    <a:cubicBezTo>
                      <a:pt x="266" y="134"/>
                      <a:pt x="266" y="134"/>
                      <a:pt x="266" y="134"/>
                    </a:cubicBezTo>
                    <a:close/>
                    <a:moveTo>
                      <a:pt x="204" y="134"/>
                    </a:moveTo>
                    <a:cubicBezTo>
                      <a:pt x="213" y="129"/>
                      <a:pt x="222" y="124"/>
                      <a:pt x="231" y="119"/>
                    </a:cubicBezTo>
                    <a:cubicBezTo>
                      <a:pt x="231" y="124"/>
                      <a:pt x="231" y="129"/>
                      <a:pt x="231" y="134"/>
                    </a:cubicBezTo>
                    <a:cubicBezTo>
                      <a:pt x="222" y="134"/>
                      <a:pt x="213" y="134"/>
                      <a:pt x="204" y="134"/>
                    </a:cubicBezTo>
                    <a:cubicBezTo>
                      <a:pt x="204" y="134"/>
                      <a:pt x="204" y="134"/>
                      <a:pt x="204" y="134"/>
                    </a:cubicBezTo>
                    <a:close/>
                    <a:moveTo>
                      <a:pt x="261" y="129"/>
                    </a:moveTo>
                    <a:cubicBezTo>
                      <a:pt x="253" y="124"/>
                      <a:pt x="245" y="120"/>
                      <a:pt x="237" y="116"/>
                    </a:cubicBezTo>
                    <a:cubicBezTo>
                      <a:pt x="244" y="112"/>
                      <a:pt x="251" y="109"/>
                      <a:pt x="258" y="105"/>
                    </a:cubicBezTo>
                    <a:cubicBezTo>
                      <a:pt x="259" y="113"/>
                      <a:pt x="260" y="121"/>
                      <a:pt x="261" y="129"/>
                    </a:cubicBezTo>
                    <a:cubicBezTo>
                      <a:pt x="261" y="129"/>
                      <a:pt x="261" y="129"/>
                      <a:pt x="261" y="129"/>
                    </a:cubicBezTo>
                    <a:close/>
                    <a:moveTo>
                      <a:pt x="256" y="96"/>
                    </a:moveTo>
                    <a:cubicBezTo>
                      <a:pt x="250" y="93"/>
                      <a:pt x="244" y="89"/>
                      <a:pt x="237" y="85"/>
                    </a:cubicBezTo>
                    <a:cubicBezTo>
                      <a:pt x="243" y="81"/>
                      <a:pt x="248" y="78"/>
                      <a:pt x="253" y="75"/>
                    </a:cubicBezTo>
                    <a:cubicBezTo>
                      <a:pt x="254" y="82"/>
                      <a:pt x="255" y="89"/>
                      <a:pt x="256" y="96"/>
                    </a:cubicBezTo>
                    <a:cubicBezTo>
                      <a:pt x="256" y="96"/>
                      <a:pt x="256" y="96"/>
                      <a:pt x="256" y="96"/>
                    </a:cubicBezTo>
                    <a:close/>
                    <a:moveTo>
                      <a:pt x="251" y="65"/>
                    </a:moveTo>
                    <a:cubicBezTo>
                      <a:pt x="246" y="61"/>
                      <a:pt x="241" y="57"/>
                      <a:pt x="236" y="53"/>
                    </a:cubicBezTo>
                    <a:cubicBezTo>
                      <a:pt x="240" y="50"/>
                      <a:pt x="244" y="47"/>
                      <a:pt x="248" y="43"/>
                    </a:cubicBezTo>
                    <a:cubicBezTo>
                      <a:pt x="249" y="50"/>
                      <a:pt x="250" y="58"/>
                      <a:pt x="251" y="65"/>
                    </a:cubicBezTo>
                    <a:cubicBezTo>
                      <a:pt x="251" y="65"/>
                      <a:pt x="251" y="65"/>
                      <a:pt x="251" y="65"/>
                    </a:cubicBezTo>
                    <a:close/>
                    <a:moveTo>
                      <a:pt x="247" y="33"/>
                    </a:moveTo>
                    <a:cubicBezTo>
                      <a:pt x="243" y="29"/>
                      <a:pt x="239" y="25"/>
                      <a:pt x="235" y="21"/>
                    </a:cubicBezTo>
                    <a:cubicBezTo>
                      <a:pt x="238" y="18"/>
                      <a:pt x="241" y="15"/>
                      <a:pt x="243" y="12"/>
                    </a:cubicBezTo>
                    <a:cubicBezTo>
                      <a:pt x="244" y="19"/>
                      <a:pt x="245" y="26"/>
                      <a:pt x="247" y="33"/>
                    </a:cubicBezTo>
                    <a:cubicBezTo>
                      <a:pt x="247" y="33"/>
                      <a:pt x="247" y="33"/>
                      <a:pt x="247" y="33"/>
                    </a:cubicBezTo>
                    <a:close/>
                    <a:moveTo>
                      <a:pt x="241" y="9"/>
                    </a:moveTo>
                    <a:cubicBezTo>
                      <a:pt x="239" y="11"/>
                      <a:pt x="237" y="14"/>
                      <a:pt x="235" y="16"/>
                    </a:cubicBezTo>
                    <a:cubicBezTo>
                      <a:pt x="235" y="14"/>
                      <a:pt x="235" y="11"/>
                      <a:pt x="235" y="9"/>
                    </a:cubicBezTo>
                    <a:cubicBezTo>
                      <a:pt x="237" y="9"/>
                      <a:pt x="239" y="9"/>
                      <a:pt x="241" y="9"/>
                    </a:cubicBezTo>
                    <a:cubicBezTo>
                      <a:pt x="241" y="9"/>
                      <a:pt x="241" y="9"/>
                      <a:pt x="241" y="9"/>
                    </a:cubicBezTo>
                    <a:close/>
                    <a:moveTo>
                      <a:pt x="231" y="9"/>
                    </a:moveTo>
                    <a:cubicBezTo>
                      <a:pt x="231" y="12"/>
                      <a:pt x="231" y="14"/>
                      <a:pt x="231" y="16"/>
                    </a:cubicBezTo>
                    <a:cubicBezTo>
                      <a:pt x="229" y="14"/>
                      <a:pt x="227" y="12"/>
                      <a:pt x="225" y="9"/>
                    </a:cubicBezTo>
                    <a:cubicBezTo>
                      <a:pt x="227" y="9"/>
                      <a:pt x="229" y="9"/>
                      <a:pt x="231" y="9"/>
                    </a:cubicBezTo>
                    <a:cubicBezTo>
                      <a:pt x="231" y="9"/>
                      <a:pt x="231" y="9"/>
                      <a:pt x="231" y="9"/>
                    </a:cubicBezTo>
                    <a:close/>
                    <a:moveTo>
                      <a:pt x="222" y="12"/>
                    </a:moveTo>
                    <a:cubicBezTo>
                      <a:pt x="225" y="14"/>
                      <a:pt x="228" y="17"/>
                      <a:pt x="230" y="20"/>
                    </a:cubicBezTo>
                    <a:cubicBezTo>
                      <a:pt x="227" y="24"/>
                      <a:pt x="223" y="28"/>
                      <a:pt x="219" y="32"/>
                    </a:cubicBezTo>
                    <a:cubicBezTo>
                      <a:pt x="220" y="25"/>
                      <a:pt x="221" y="18"/>
                      <a:pt x="222" y="12"/>
                    </a:cubicBezTo>
                    <a:cubicBezTo>
                      <a:pt x="222" y="12"/>
                      <a:pt x="222" y="12"/>
                      <a:pt x="222" y="12"/>
                    </a:cubicBezTo>
                    <a:close/>
                    <a:moveTo>
                      <a:pt x="218" y="44"/>
                    </a:moveTo>
                    <a:cubicBezTo>
                      <a:pt x="222" y="47"/>
                      <a:pt x="226" y="50"/>
                      <a:pt x="230" y="53"/>
                    </a:cubicBezTo>
                    <a:cubicBezTo>
                      <a:pt x="224" y="57"/>
                      <a:pt x="219" y="61"/>
                      <a:pt x="214" y="66"/>
                    </a:cubicBezTo>
                    <a:cubicBezTo>
                      <a:pt x="215" y="58"/>
                      <a:pt x="216" y="51"/>
                      <a:pt x="218" y="44"/>
                    </a:cubicBezTo>
                    <a:cubicBezTo>
                      <a:pt x="218" y="44"/>
                      <a:pt x="218" y="44"/>
                      <a:pt x="218" y="44"/>
                    </a:cubicBezTo>
                    <a:close/>
                    <a:moveTo>
                      <a:pt x="213" y="74"/>
                    </a:moveTo>
                    <a:cubicBezTo>
                      <a:pt x="218" y="77"/>
                      <a:pt x="224" y="81"/>
                      <a:pt x="229" y="84"/>
                    </a:cubicBezTo>
                    <a:cubicBezTo>
                      <a:pt x="223" y="89"/>
                      <a:pt x="216" y="93"/>
                      <a:pt x="209" y="97"/>
                    </a:cubicBezTo>
                    <a:cubicBezTo>
                      <a:pt x="210" y="89"/>
                      <a:pt x="212" y="82"/>
                      <a:pt x="213" y="74"/>
                    </a:cubicBezTo>
                    <a:cubicBezTo>
                      <a:pt x="213" y="74"/>
                      <a:pt x="213" y="74"/>
                      <a:pt x="213" y="74"/>
                    </a:cubicBezTo>
                    <a:close/>
                    <a:moveTo>
                      <a:pt x="208" y="105"/>
                    </a:moveTo>
                    <a:cubicBezTo>
                      <a:pt x="215" y="109"/>
                      <a:pt x="222" y="113"/>
                      <a:pt x="229" y="116"/>
                    </a:cubicBezTo>
                    <a:cubicBezTo>
                      <a:pt x="221" y="121"/>
                      <a:pt x="212" y="125"/>
                      <a:pt x="204" y="130"/>
                    </a:cubicBezTo>
                    <a:cubicBezTo>
                      <a:pt x="205" y="122"/>
                      <a:pt x="207" y="114"/>
                      <a:pt x="208" y="105"/>
                    </a:cubicBezTo>
                    <a:cubicBezTo>
                      <a:pt x="208" y="105"/>
                      <a:pt x="208" y="105"/>
                      <a:pt x="208" y="105"/>
                    </a:cubicBezTo>
                    <a:close/>
                    <a:moveTo>
                      <a:pt x="213" y="99"/>
                    </a:moveTo>
                    <a:cubicBezTo>
                      <a:pt x="219" y="99"/>
                      <a:pt x="225" y="99"/>
                      <a:pt x="231" y="99"/>
                    </a:cubicBezTo>
                    <a:cubicBezTo>
                      <a:pt x="231" y="96"/>
                      <a:pt x="231" y="92"/>
                      <a:pt x="231" y="88"/>
                    </a:cubicBezTo>
                    <a:cubicBezTo>
                      <a:pt x="225" y="92"/>
                      <a:pt x="219" y="96"/>
                      <a:pt x="213" y="99"/>
                    </a:cubicBezTo>
                    <a:cubicBezTo>
                      <a:pt x="213" y="99"/>
                      <a:pt x="213" y="99"/>
                      <a:pt x="213" y="99"/>
                    </a:cubicBezTo>
                    <a:close/>
                    <a:moveTo>
                      <a:pt x="235" y="99"/>
                    </a:moveTo>
                    <a:cubicBezTo>
                      <a:pt x="241" y="99"/>
                      <a:pt x="246" y="99"/>
                      <a:pt x="252" y="99"/>
                    </a:cubicBezTo>
                    <a:cubicBezTo>
                      <a:pt x="246" y="95"/>
                      <a:pt x="241" y="92"/>
                      <a:pt x="235" y="88"/>
                    </a:cubicBezTo>
                    <a:cubicBezTo>
                      <a:pt x="235" y="92"/>
                      <a:pt x="235" y="95"/>
                      <a:pt x="235" y="99"/>
                    </a:cubicBezTo>
                    <a:cubicBezTo>
                      <a:pt x="235" y="99"/>
                      <a:pt x="235" y="99"/>
                      <a:pt x="235" y="99"/>
                    </a:cubicBezTo>
                    <a:close/>
                    <a:moveTo>
                      <a:pt x="253" y="103"/>
                    </a:moveTo>
                    <a:cubicBezTo>
                      <a:pt x="247" y="103"/>
                      <a:pt x="241" y="103"/>
                      <a:pt x="235" y="103"/>
                    </a:cubicBezTo>
                    <a:cubicBezTo>
                      <a:pt x="235" y="106"/>
                      <a:pt x="235" y="110"/>
                      <a:pt x="235" y="113"/>
                    </a:cubicBezTo>
                    <a:cubicBezTo>
                      <a:pt x="241" y="110"/>
                      <a:pt x="247" y="106"/>
                      <a:pt x="253" y="103"/>
                    </a:cubicBezTo>
                    <a:cubicBezTo>
                      <a:pt x="253" y="103"/>
                      <a:pt x="253" y="103"/>
                      <a:pt x="253" y="103"/>
                    </a:cubicBezTo>
                    <a:close/>
                    <a:moveTo>
                      <a:pt x="231" y="103"/>
                    </a:moveTo>
                    <a:cubicBezTo>
                      <a:pt x="225" y="103"/>
                      <a:pt x="219" y="103"/>
                      <a:pt x="212" y="103"/>
                    </a:cubicBezTo>
                    <a:cubicBezTo>
                      <a:pt x="219" y="106"/>
                      <a:pt x="225" y="110"/>
                      <a:pt x="231" y="113"/>
                    </a:cubicBezTo>
                    <a:cubicBezTo>
                      <a:pt x="231" y="110"/>
                      <a:pt x="231" y="106"/>
                      <a:pt x="231" y="103"/>
                    </a:cubicBezTo>
                    <a:cubicBezTo>
                      <a:pt x="231" y="103"/>
                      <a:pt x="231" y="103"/>
                      <a:pt x="231" y="103"/>
                    </a:cubicBezTo>
                    <a:close/>
                    <a:moveTo>
                      <a:pt x="216" y="68"/>
                    </a:moveTo>
                    <a:cubicBezTo>
                      <a:pt x="221" y="68"/>
                      <a:pt x="226" y="68"/>
                      <a:pt x="231" y="68"/>
                    </a:cubicBezTo>
                    <a:cubicBezTo>
                      <a:pt x="231" y="65"/>
                      <a:pt x="231" y="61"/>
                      <a:pt x="231" y="57"/>
                    </a:cubicBezTo>
                    <a:cubicBezTo>
                      <a:pt x="226" y="61"/>
                      <a:pt x="221" y="65"/>
                      <a:pt x="216" y="68"/>
                    </a:cubicBezTo>
                    <a:cubicBezTo>
                      <a:pt x="216" y="68"/>
                      <a:pt x="216" y="68"/>
                      <a:pt x="216" y="68"/>
                    </a:cubicBezTo>
                    <a:close/>
                    <a:moveTo>
                      <a:pt x="235" y="68"/>
                    </a:moveTo>
                    <a:cubicBezTo>
                      <a:pt x="240" y="68"/>
                      <a:pt x="245" y="68"/>
                      <a:pt x="249" y="68"/>
                    </a:cubicBezTo>
                    <a:cubicBezTo>
                      <a:pt x="245" y="65"/>
                      <a:pt x="240" y="61"/>
                      <a:pt x="235" y="57"/>
                    </a:cubicBezTo>
                    <a:cubicBezTo>
                      <a:pt x="235" y="61"/>
                      <a:pt x="235" y="65"/>
                      <a:pt x="235" y="68"/>
                    </a:cubicBezTo>
                    <a:cubicBezTo>
                      <a:pt x="235" y="68"/>
                      <a:pt x="235" y="68"/>
                      <a:pt x="235" y="68"/>
                    </a:cubicBezTo>
                    <a:close/>
                    <a:moveTo>
                      <a:pt x="249" y="72"/>
                    </a:moveTo>
                    <a:cubicBezTo>
                      <a:pt x="244" y="72"/>
                      <a:pt x="240" y="72"/>
                      <a:pt x="235" y="72"/>
                    </a:cubicBezTo>
                    <a:cubicBezTo>
                      <a:pt x="235" y="75"/>
                      <a:pt x="235" y="78"/>
                      <a:pt x="235" y="81"/>
                    </a:cubicBezTo>
                    <a:cubicBezTo>
                      <a:pt x="240" y="78"/>
                      <a:pt x="244" y="75"/>
                      <a:pt x="249" y="72"/>
                    </a:cubicBezTo>
                    <a:cubicBezTo>
                      <a:pt x="249" y="72"/>
                      <a:pt x="249" y="72"/>
                      <a:pt x="249" y="72"/>
                    </a:cubicBezTo>
                    <a:close/>
                    <a:moveTo>
                      <a:pt x="231" y="72"/>
                    </a:moveTo>
                    <a:cubicBezTo>
                      <a:pt x="226" y="72"/>
                      <a:pt x="222" y="72"/>
                      <a:pt x="217" y="72"/>
                    </a:cubicBezTo>
                    <a:cubicBezTo>
                      <a:pt x="222" y="75"/>
                      <a:pt x="226" y="78"/>
                      <a:pt x="231" y="81"/>
                    </a:cubicBezTo>
                    <a:cubicBezTo>
                      <a:pt x="231" y="78"/>
                      <a:pt x="231" y="75"/>
                      <a:pt x="231" y="72"/>
                    </a:cubicBezTo>
                    <a:cubicBezTo>
                      <a:pt x="231" y="72"/>
                      <a:pt x="231" y="72"/>
                      <a:pt x="231" y="72"/>
                    </a:cubicBezTo>
                    <a:close/>
                    <a:moveTo>
                      <a:pt x="220" y="36"/>
                    </a:moveTo>
                    <a:cubicBezTo>
                      <a:pt x="224" y="36"/>
                      <a:pt x="227" y="36"/>
                      <a:pt x="231" y="36"/>
                    </a:cubicBezTo>
                    <a:cubicBezTo>
                      <a:pt x="231" y="33"/>
                      <a:pt x="231" y="29"/>
                      <a:pt x="231" y="25"/>
                    </a:cubicBezTo>
                    <a:cubicBezTo>
                      <a:pt x="227" y="29"/>
                      <a:pt x="224" y="33"/>
                      <a:pt x="220" y="36"/>
                    </a:cubicBezTo>
                    <a:cubicBezTo>
                      <a:pt x="220" y="36"/>
                      <a:pt x="220" y="36"/>
                      <a:pt x="220" y="36"/>
                    </a:cubicBezTo>
                    <a:close/>
                    <a:moveTo>
                      <a:pt x="235" y="36"/>
                    </a:moveTo>
                    <a:cubicBezTo>
                      <a:pt x="238" y="36"/>
                      <a:pt x="242" y="36"/>
                      <a:pt x="245" y="36"/>
                    </a:cubicBezTo>
                    <a:cubicBezTo>
                      <a:pt x="242" y="33"/>
                      <a:pt x="238" y="29"/>
                      <a:pt x="235" y="25"/>
                    </a:cubicBezTo>
                    <a:cubicBezTo>
                      <a:pt x="235" y="29"/>
                      <a:pt x="235" y="33"/>
                      <a:pt x="235" y="36"/>
                    </a:cubicBezTo>
                    <a:cubicBezTo>
                      <a:pt x="235" y="36"/>
                      <a:pt x="235" y="36"/>
                      <a:pt x="235" y="36"/>
                    </a:cubicBezTo>
                    <a:close/>
                    <a:moveTo>
                      <a:pt x="245" y="40"/>
                    </a:moveTo>
                    <a:cubicBezTo>
                      <a:pt x="242" y="40"/>
                      <a:pt x="238" y="40"/>
                      <a:pt x="235" y="40"/>
                    </a:cubicBezTo>
                    <a:cubicBezTo>
                      <a:pt x="235" y="43"/>
                      <a:pt x="235" y="46"/>
                      <a:pt x="235" y="49"/>
                    </a:cubicBezTo>
                    <a:cubicBezTo>
                      <a:pt x="238" y="46"/>
                      <a:pt x="242" y="43"/>
                      <a:pt x="245" y="40"/>
                    </a:cubicBezTo>
                    <a:cubicBezTo>
                      <a:pt x="245" y="40"/>
                      <a:pt x="245" y="40"/>
                      <a:pt x="245" y="40"/>
                    </a:cubicBezTo>
                    <a:close/>
                    <a:moveTo>
                      <a:pt x="231" y="40"/>
                    </a:moveTo>
                    <a:cubicBezTo>
                      <a:pt x="227" y="40"/>
                      <a:pt x="223" y="40"/>
                      <a:pt x="220" y="40"/>
                    </a:cubicBezTo>
                    <a:cubicBezTo>
                      <a:pt x="223" y="43"/>
                      <a:pt x="227" y="46"/>
                      <a:pt x="231" y="49"/>
                    </a:cubicBezTo>
                    <a:cubicBezTo>
                      <a:pt x="231" y="46"/>
                      <a:pt x="231" y="43"/>
                      <a:pt x="231" y="40"/>
                    </a:cubicBezTo>
                    <a:cubicBezTo>
                      <a:pt x="231" y="40"/>
                      <a:pt x="231" y="40"/>
                      <a:pt x="231" y="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87">
                <a:extLst>
                  <a:ext uri="{FF2B5EF4-FFF2-40B4-BE49-F238E27FC236}">
                    <a16:creationId xmlns:a16="http://schemas.microsoft.com/office/drawing/2014/main" id="{476C0A92-6099-4043-9BDE-D1378F9EF03B}"/>
                  </a:ext>
                </a:extLst>
              </p:cNvPr>
              <p:cNvSpPr>
                <a:spLocks noEditPoints="1"/>
              </p:cNvSpPr>
              <p:nvPr/>
            </p:nvSpPr>
            <p:spPr bwMode="auto">
              <a:xfrm>
                <a:off x="6378808" y="2198583"/>
                <a:ext cx="73645" cy="52143"/>
              </a:xfrm>
              <a:custGeom>
                <a:avLst/>
                <a:gdLst/>
                <a:ahLst/>
                <a:cxnLst>
                  <a:cxn ang="0">
                    <a:pos x="18" y="27"/>
                  </a:cxn>
                  <a:cxn ang="0">
                    <a:pos x="50" y="39"/>
                  </a:cxn>
                  <a:cxn ang="0">
                    <a:pos x="56" y="33"/>
                  </a:cxn>
                  <a:cxn ang="0">
                    <a:pos x="50" y="28"/>
                  </a:cxn>
                  <a:cxn ang="0">
                    <a:pos x="45" y="33"/>
                  </a:cxn>
                  <a:cxn ang="0">
                    <a:pos x="47" y="37"/>
                  </a:cxn>
                  <a:cxn ang="0">
                    <a:pos x="50" y="38"/>
                  </a:cxn>
                  <a:cxn ang="0">
                    <a:pos x="47" y="36"/>
                  </a:cxn>
                  <a:cxn ang="0">
                    <a:pos x="46" y="33"/>
                  </a:cxn>
                  <a:cxn ang="0">
                    <a:pos x="50" y="29"/>
                  </a:cxn>
                  <a:cxn ang="0">
                    <a:pos x="55" y="33"/>
                  </a:cxn>
                  <a:cxn ang="0">
                    <a:pos x="50" y="38"/>
                  </a:cxn>
                  <a:cxn ang="0">
                    <a:pos x="25" y="34"/>
                  </a:cxn>
                  <a:cxn ang="0">
                    <a:pos x="18" y="40"/>
                  </a:cxn>
                  <a:cxn ang="0">
                    <a:pos x="12" y="40"/>
                  </a:cxn>
                  <a:cxn ang="0">
                    <a:pos x="2" y="35"/>
                  </a:cxn>
                  <a:cxn ang="0">
                    <a:pos x="0" y="27"/>
                  </a:cxn>
                  <a:cxn ang="0">
                    <a:pos x="3" y="19"/>
                  </a:cxn>
                  <a:cxn ang="0">
                    <a:pos x="6" y="14"/>
                  </a:cxn>
                  <a:cxn ang="0">
                    <a:pos x="29" y="0"/>
                  </a:cxn>
                  <a:cxn ang="0">
                    <a:pos x="31" y="13"/>
                  </a:cxn>
                  <a:cxn ang="0">
                    <a:pos x="54" y="26"/>
                  </a:cxn>
                  <a:cxn ang="0">
                    <a:pos x="27" y="29"/>
                  </a:cxn>
                  <a:cxn ang="0">
                    <a:pos x="11" y="3"/>
                  </a:cxn>
                  <a:cxn ang="0">
                    <a:pos x="20" y="30"/>
                  </a:cxn>
                  <a:cxn ang="0">
                    <a:pos x="20" y="29"/>
                  </a:cxn>
                  <a:cxn ang="0">
                    <a:pos x="20" y="29"/>
                  </a:cxn>
                  <a:cxn ang="0">
                    <a:pos x="20" y="29"/>
                  </a:cxn>
                  <a:cxn ang="0">
                    <a:pos x="20" y="28"/>
                  </a:cxn>
                  <a:cxn ang="0">
                    <a:pos x="20" y="28"/>
                  </a:cxn>
                  <a:cxn ang="0">
                    <a:pos x="20" y="28"/>
                  </a:cxn>
                  <a:cxn ang="0">
                    <a:pos x="20" y="28"/>
                  </a:cxn>
                  <a:cxn ang="0">
                    <a:pos x="20" y="28"/>
                  </a:cxn>
                  <a:cxn ang="0">
                    <a:pos x="18" y="28"/>
                  </a:cxn>
                  <a:cxn ang="0">
                    <a:pos x="18" y="28"/>
                  </a:cxn>
                  <a:cxn ang="0">
                    <a:pos x="18" y="28"/>
                  </a:cxn>
                  <a:cxn ang="0">
                    <a:pos x="18" y="28"/>
                  </a:cxn>
                  <a:cxn ang="0">
                    <a:pos x="18" y="28"/>
                  </a:cxn>
                  <a:cxn ang="0">
                    <a:pos x="18" y="28"/>
                  </a:cxn>
                  <a:cxn ang="0">
                    <a:pos x="18" y="29"/>
                  </a:cxn>
                  <a:cxn ang="0">
                    <a:pos x="18" y="29"/>
                  </a:cxn>
                  <a:cxn ang="0">
                    <a:pos x="18" y="29"/>
                  </a:cxn>
                  <a:cxn ang="0">
                    <a:pos x="18" y="29"/>
                  </a:cxn>
                  <a:cxn ang="0">
                    <a:pos x="18" y="29"/>
                  </a:cxn>
                  <a:cxn ang="0">
                    <a:pos x="18" y="29"/>
                  </a:cxn>
                  <a:cxn ang="0">
                    <a:pos x="18" y="29"/>
                  </a:cxn>
                  <a:cxn ang="0">
                    <a:pos x="18" y="29"/>
                  </a:cxn>
                  <a:cxn ang="0">
                    <a:pos x="18" y="29"/>
                  </a:cxn>
                  <a:cxn ang="0">
                    <a:pos x="19" y="32"/>
                  </a:cxn>
                  <a:cxn ang="0">
                    <a:pos x="14" y="33"/>
                  </a:cxn>
                  <a:cxn ang="0">
                    <a:pos x="13" y="35"/>
                  </a:cxn>
                  <a:cxn ang="0">
                    <a:pos x="6" y="28"/>
                  </a:cxn>
                  <a:cxn ang="0">
                    <a:pos x="6" y="28"/>
                  </a:cxn>
                  <a:cxn ang="0">
                    <a:pos x="8" y="27"/>
                  </a:cxn>
                  <a:cxn ang="0">
                    <a:pos x="9" y="22"/>
                  </a:cxn>
                  <a:cxn ang="0">
                    <a:pos x="13" y="21"/>
                  </a:cxn>
                  <a:cxn ang="0">
                    <a:pos x="10" y="21"/>
                  </a:cxn>
                  <a:cxn ang="0">
                    <a:pos x="10" y="21"/>
                  </a:cxn>
                  <a:cxn ang="0">
                    <a:pos x="10" y="21"/>
                  </a:cxn>
                  <a:cxn ang="0">
                    <a:pos x="17" y="24"/>
                  </a:cxn>
                  <a:cxn ang="0">
                    <a:pos x="26" y="3"/>
                  </a:cxn>
                </a:cxnLst>
                <a:rect l="0" t="0" r="r" b="b"/>
                <a:pathLst>
                  <a:path w="58" h="41">
                    <a:moveTo>
                      <a:pt x="20" y="27"/>
                    </a:moveTo>
                    <a:cubicBezTo>
                      <a:pt x="21" y="27"/>
                      <a:pt x="20" y="26"/>
                      <a:pt x="20" y="25"/>
                    </a:cubicBezTo>
                    <a:cubicBezTo>
                      <a:pt x="20" y="24"/>
                      <a:pt x="19" y="23"/>
                      <a:pt x="19" y="23"/>
                    </a:cubicBezTo>
                    <a:cubicBezTo>
                      <a:pt x="17" y="24"/>
                      <a:pt x="17" y="24"/>
                      <a:pt x="17" y="24"/>
                    </a:cubicBezTo>
                    <a:cubicBezTo>
                      <a:pt x="18" y="25"/>
                      <a:pt x="18" y="26"/>
                      <a:pt x="18" y="27"/>
                    </a:cubicBezTo>
                    <a:cubicBezTo>
                      <a:pt x="20" y="27"/>
                      <a:pt x="20" y="27"/>
                      <a:pt x="20" y="27"/>
                    </a:cubicBezTo>
                    <a:cubicBezTo>
                      <a:pt x="20" y="27"/>
                      <a:pt x="20" y="27"/>
                      <a:pt x="20" y="27"/>
                    </a:cubicBezTo>
                    <a:close/>
                    <a:moveTo>
                      <a:pt x="50" y="39"/>
                    </a:moveTo>
                    <a:cubicBezTo>
                      <a:pt x="50" y="39"/>
                      <a:pt x="50" y="39"/>
                      <a:pt x="50" y="39"/>
                    </a:cubicBezTo>
                    <a:cubicBezTo>
                      <a:pt x="50" y="39"/>
                      <a:pt x="50" y="39"/>
                      <a:pt x="50" y="39"/>
                    </a:cubicBezTo>
                    <a:cubicBezTo>
                      <a:pt x="52" y="39"/>
                      <a:pt x="53" y="38"/>
                      <a:pt x="54" y="37"/>
                    </a:cubicBezTo>
                    <a:cubicBezTo>
                      <a:pt x="55" y="36"/>
                      <a:pt x="56" y="35"/>
                      <a:pt x="56" y="33"/>
                    </a:cubicBezTo>
                    <a:cubicBezTo>
                      <a:pt x="56" y="33"/>
                      <a:pt x="56" y="33"/>
                      <a:pt x="56" y="33"/>
                    </a:cubicBezTo>
                    <a:cubicBezTo>
                      <a:pt x="56" y="33"/>
                      <a:pt x="56" y="33"/>
                      <a:pt x="56" y="33"/>
                    </a:cubicBezTo>
                    <a:cubicBezTo>
                      <a:pt x="56" y="33"/>
                      <a:pt x="56" y="33"/>
                      <a:pt x="56" y="33"/>
                    </a:cubicBezTo>
                    <a:cubicBezTo>
                      <a:pt x="56" y="33"/>
                      <a:pt x="56" y="33"/>
                      <a:pt x="56" y="33"/>
                    </a:cubicBezTo>
                    <a:cubicBezTo>
                      <a:pt x="56" y="32"/>
                      <a:pt x="55" y="31"/>
                      <a:pt x="54" y="30"/>
                    </a:cubicBezTo>
                    <a:cubicBezTo>
                      <a:pt x="54" y="30"/>
                      <a:pt x="54" y="30"/>
                      <a:pt x="54" y="30"/>
                    </a:cubicBezTo>
                    <a:cubicBezTo>
                      <a:pt x="53" y="29"/>
                      <a:pt x="52" y="28"/>
                      <a:pt x="50" y="28"/>
                    </a:cubicBezTo>
                    <a:cubicBezTo>
                      <a:pt x="50" y="28"/>
                      <a:pt x="50" y="28"/>
                      <a:pt x="50" y="28"/>
                    </a:cubicBezTo>
                    <a:cubicBezTo>
                      <a:pt x="50" y="28"/>
                      <a:pt x="50" y="28"/>
                      <a:pt x="50" y="28"/>
                    </a:cubicBezTo>
                    <a:cubicBezTo>
                      <a:pt x="50" y="28"/>
                      <a:pt x="50" y="28"/>
                      <a:pt x="50" y="28"/>
                    </a:cubicBezTo>
                    <a:cubicBezTo>
                      <a:pt x="50" y="28"/>
                      <a:pt x="50" y="28"/>
                      <a:pt x="50" y="28"/>
                    </a:cubicBezTo>
                    <a:cubicBezTo>
                      <a:pt x="49" y="28"/>
                      <a:pt x="48" y="29"/>
                      <a:pt x="47" y="30"/>
                    </a:cubicBezTo>
                    <a:cubicBezTo>
                      <a:pt x="46" y="31"/>
                      <a:pt x="45" y="32"/>
                      <a:pt x="45" y="33"/>
                    </a:cubicBezTo>
                    <a:cubicBezTo>
                      <a:pt x="45" y="33"/>
                      <a:pt x="45" y="33"/>
                      <a:pt x="45" y="33"/>
                    </a:cubicBezTo>
                    <a:cubicBezTo>
                      <a:pt x="45" y="33"/>
                      <a:pt x="45" y="33"/>
                      <a:pt x="45" y="33"/>
                    </a:cubicBezTo>
                    <a:cubicBezTo>
                      <a:pt x="45" y="33"/>
                      <a:pt x="45" y="33"/>
                      <a:pt x="45" y="33"/>
                    </a:cubicBezTo>
                    <a:cubicBezTo>
                      <a:pt x="45" y="33"/>
                      <a:pt x="45" y="33"/>
                      <a:pt x="45" y="33"/>
                    </a:cubicBezTo>
                    <a:cubicBezTo>
                      <a:pt x="45" y="35"/>
                      <a:pt x="46" y="36"/>
                      <a:pt x="47" y="37"/>
                    </a:cubicBezTo>
                    <a:cubicBezTo>
                      <a:pt x="48" y="38"/>
                      <a:pt x="49" y="39"/>
                      <a:pt x="50" y="39"/>
                    </a:cubicBezTo>
                    <a:cubicBezTo>
                      <a:pt x="50" y="39"/>
                      <a:pt x="50" y="39"/>
                      <a:pt x="50" y="39"/>
                    </a:cubicBezTo>
                    <a:cubicBezTo>
                      <a:pt x="50" y="39"/>
                      <a:pt x="50" y="39"/>
                      <a:pt x="50" y="39"/>
                    </a:cubicBezTo>
                    <a:cubicBezTo>
                      <a:pt x="50" y="39"/>
                      <a:pt x="50" y="39"/>
                      <a:pt x="50" y="39"/>
                    </a:cubicBezTo>
                    <a:close/>
                    <a:moveTo>
                      <a:pt x="50" y="38"/>
                    </a:moveTo>
                    <a:cubicBezTo>
                      <a:pt x="50" y="38"/>
                      <a:pt x="50" y="38"/>
                      <a:pt x="50" y="38"/>
                    </a:cubicBezTo>
                    <a:cubicBezTo>
                      <a:pt x="50" y="38"/>
                      <a:pt x="50" y="38"/>
                      <a:pt x="50" y="38"/>
                    </a:cubicBezTo>
                    <a:cubicBezTo>
                      <a:pt x="50" y="38"/>
                      <a:pt x="50" y="38"/>
                      <a:pt x="50" y="38"/>
                    </a:cubicBezTo>
                    <a:cubicBezTo>
                      <a:pt x="50" y="38"/>
                      <a:pt x="50" y="38"/>
                      <a:pt x="50" y="38"/>
                    </a:cubicBezTo>
                    <a:cubicBezTo>
                      <a:pt x="49" y="38"/>
                      <a:pt x="48" y="37"/>
                      <a:pt x="47" y="36"/>
                    </a:cubicBezTo>
                    <a:cubicBezTo>
                      <a:pt x="47" y="36"/>
                      <a:pt x="46" y="35"/>
                      <a:pt x="46" y="33"/>
                    </a:cubicBezTo>
                    <a:cubicBezTo>
                      <a:pt x="46" y="33"/>
                      <a:pt x="46" y="33"/>
                      <a:pt x="46" y="33"/>
                    </a:cubicBezTo>
                    <a:cubicBezTo>
                      <a:pt x="46" y="33"/>
                      <a:pt x="46" y="33"/>
                      <a:pt x="46" y="33"/>
                    </a:cubicBezTo>
                    <a:cubicBezTo>
                      <a:pt x="46" y="33"/>
                      <a:pt x="46" y="33"/>
                      <a:pt x="46" y="33"/>
                    </a:cubicBezTo>
                    <a:cubicBezTo>
                      <a:pt x="46" y="33"/>
                      <a:pt x="46" y="33"/>
                      <a:pt x="46" y="33"/>
                    </a:cubicBezTo>
                    <a:cubicBezTo>
                      <a:pt x="46" y="32"/>
                      <a:pt x="47" y="31"/>
                      <a:pt x="47" y="30"/>
                    </a:cubicBezTo>
                    <a:cubicBezTo>
                      <a:pt x="48" y="30"/>
                      <a:pt x="49"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2" y="29"/>
                      <a:pt x="53" y="30"/>
                      <a:pt x="53" y="30"/>
                    </a:cubicBezTo>
                    <a:cubicBezTo>
                      <a:pt x="53" y="30"/>
                      <a:pt x="53" y="30"/>
                      <a:pt x="53" y="30"/>
                    </a:cubicBezTo>
                    <a:cubicBezTo>
                      <a:pt x="54" y="31"/>
                      <a:pt x="55" y="32"/>
                      <a:pt x="55" y="33"/>
                    </a:cubicBezTo>
                    <a:cubicBezTo>
                      <a:pt x="55" y="33"/>
                      <a:pt x="55" y="33"/>
                      <a:pt x="55" y="33"/>
                    </a:cubicBezTo>
                    <a:cubicBezTo>
                      <a:pt x="55" y="33"/>
                      <a:pt x="55" y="33"/>
                      <a:pt x="55" y="33"/>
                    </a:cubicBezTo>
                    <a:cubicBezTo>
                      <a:pt x="55" y="33"/>
                      <a:pt x="55" y="33"/>
                      <a:pt x="55" y="33"/>
                    </a:cubicBezTo>
                    <a:cubicBezTo>
                      <a:pt x="55" y="33"/>
                      <a:pt x="55" y="33"/>
                      <a:pt x="55" y="33"/>
                    </a:cubicBezTo>
                    <a:cubicBezTo>
                      <a:pt x="55" y="35"/>
                      <a:pt x="54" y="36"/>
                      <a:pt x="53" y="36"/>
                    </a:cubicBezTo>
                    <a:cubicBezTo>
                      <a:pt x="53" y="37"/>
                      <a:pt x="52" y="38"/>
                      <a:pt x="50" y="38"/>
                    </a:cubicBezTo>
                    <a:cubicBezTo>
                      <a:pt x="50" y="38"/>
                      <a:pt x="50" y="38"/>
                      <a:pt x="50" y="38"/>
                    </a:cubicBezTo>
                    <a:close/>
                    <a:moveTo>
                      <a:pt x="27" y="30"/>
                    </a:moveTo>
                    <a:cubicBezTo>
                      <a:pt x="26" y="29"/>
                      <a:pt x="26" y="29"/>
                      <a:pt x="26" y="29"/>
                    </a:cubicBezTo>
                    <a:cubicBezTo>
                      <a:pt x="26" y="31"/>
                      <a:pt x="25" y="32"/>
                      <a:pt x="25" y="33"/>
                    </a:cubicBezTo>
                    <a:cubicBezTo>
                      <a:pt x="25" y="34"/>
                      <a:pt x="25" y="34"/>
                      <a:pt x="25" y="34"/>
                    </a:cubicBezTo>
                    <a:cubicBezTo>
                      <a:pt x="24" y="36"/>
                      <a:pt x="24" y="36"/>
                      <a:pt x="24" y="36"/>
                    </a:cubicBezTo>
                    <a:cubicBezTo>
                      <a:pt x="23" y="35"/>
                      <a:pt x="23" y="35"/>
                      <a:pt x="23" y="35"/>
                    </a:cubicBezTo>
                    <a:cubicBezTo>
                      <a:pt x="23" y="37"/>
                      <a:pt x="22" y="38"/>
                      <a:pt x="20" y="38"/>
                    </a:cubicBezTo>
                    <a:cubicBezTo>
                      <a:pt x="20" y="39"/>
                      <a:pt x="20" y="39"/>
                      <a:pt x="20" y="39"/>
                    </a:cubicBezTo>
                    <a:cubicBezTo>
                      <a:pt x="18" y="40"/>
                      <a:pt x="18" y="40"/>
                      <a:pt x="18" y="40"/>
                    </a:cubicBezTo>
                    <a:cubicBezTo>
                      <a:pt x="18" y="39"/>
                      <a:pt x="18" y="39"/>
                      <a:pt x="18" y="39"/>
                    </a:cubicBezTo>
                    <a:cubicBezTo>
                      <a:pt x="17" y="40"/>
                      <a:pt x="15" y="40"/>
                      <a:pt x="14" y="40"/>
                    </a:cubicBezTo>
                    <a:cubicBezTo>
                      <a:pt x="13" y="41"/>
                      <a:pt x="13" y="41"/>
                      <a:pt x="13" y="41"/>
                    </a:cubicBezTo>
                    <a:cubicBezTo>
                      <a:pt x="11" y="41"/>
                      <a:pt x="11" y="41"/>
                      <a:pt x="11" y="41"/>
                    </a:cubicBezTo>
                    <a:cubicBezTo>
                      <a:pt x="12" y="40"/>
                      <a:pt x="12" y="40"/>
                      <a:pt x="12" y="40"/>
                    </a:cubicBezTo>
                    <a:cubicBezTo>
                      <a:pt x="10" y="40"/>
                      <a:pt x="9" y="40"/>
                      <a:pt x="7" y="39"/>
                    </a:cubicBezTo>
                    <a:cubicBezTo>
                      <a:pt x="6" y="39"/>
                      <a:pt x="6" y="39"/>
                      <a:pt x="6" y="39"/>
                    </a:cubicBezTo>
                    <a:cubicBezTo>
                      <a:pt x="5" y="38"/>
                      <a:pt x="5" y="38"/>
                      <a:pt x="5" y="38"/>
                    </a:cubicBezTo>
                    <a:cubicBezTo>
                      <a:pt x="5" y="38"/>
                      <a:pt x="5" y="38"/>
                      <a:pt x="5" y="38"/>
                    </a:cubicBezTo>
                    <a:cubicBezTo>
                      <a:pt x="4" y="37"/>
                      <a:pt x="3" y="36"/>
                      <a:pt x="2" y="35"/>
                    </a:cubicBezTo>
                    <a:cubicBezTo>
                      <a:pt x="2" y="34"/>
                      <a:pt x="2" y="34"/>
                      <a:pt x="2" y="34"/>
                    </a:cubicBezTo>
                    <a:cubicBezTo>
                      <a:pt x="1" y="32"/>
                      <a:pt x="1" y="32"/>
                      <a:pt x="1" y="32"/>
                    </a:cubicBezTo>
                    <a:cubicBezTo>
                      <a:pt x="1" y="32"/>
                      <a:pt x="1" y="32"/>
                      <a:pt x="1" y="32"/>
                    </a:cubicBezTo>
                    <a:cubicBezTo>
                      <a:pt x="1" y="31"/>
                      <a:pt x="0" y="30"/>
                      <a:pt x="0" y="28"/>
                    </a:cubicBezTo>
                    <a:cubicBezTo>
                      <a:pt x="0" y="27"/>
                      <a:pt x="0" y="27"/>
                      <a:pt x="0" y="27"/>
                    </a:cubicBezTo>
                    <a:cubicBezTo>
                      <a:pt x="0" y="25"/>
                      <a:pt x="0" y="25"/>
                      <a:pt x="0" y="25"/>
                    </a:cubicBezTo>
                    <a:cubicBezTo>
                      <a:pt x="1" y="26"/>
                      <a:pt x="1" y="26"/>
                      <a:pt x="1" y="26"/>
                    </a:cubicBezTo>
                    <a:cubicBezTo>
                      <a:pt x="1" y="24"/>
                      <a:pt x="1" y="23"/>
                      <a:pt x="2" y="22"/>
                    </a:cubicBezTo>
                    <a:cubicBezTo>
                      <a:pt x="2" y="21"/>
                      <a:pt x="2" y="21"/>
                      <a:pt x="2" y="21"/>
                    </a:cubicBezTo>
                    <a:cubicBezTo>
                      <a:pt x="3" y="19"/>
                      <a:pt x="3" y="19"/>
                      <a:pt x="3" y="19"/>
                    </a:cubicBezTo>
                    <a:cubicBezTo>
                      <a:pt x="3" y="20"/>
                      <a:pt x="3" y="20"/>
                      <a:pt x="3" y="20"/>
                    </a:cubicBezTo>
                    <a:cubicBezTo>
                      <a:pt x="4" y="18"/>
                      <a:pt x="5" y="17"/>
                      <a:pt x="6" y="17"/>
                    </a:cubicBezTo>
                    <a:cubicBezTo>
                      <a:pt x="6" y="17"/>
                      <a:pt x="6" y="17"/>
                      <a:pt x="6" y="17"/>
                    </a:cubicBezTo>
                    <a:cubicBezTo>
                      <a:pt x="3" y="17"/>
                      <a:pt x="3" y="17"/>
                      <a:pt x="3" y="17"/>
                    </a:cubicBezTo>
                    <a:cubicBezTo>
                      <a:pt x="6" y="14"/>
                      <a:pt x="6" y="14"/>
                      <a:pt x="6" y="14"/>
                    </a:cubicBezTo>
                    <a:cubicBezTo>
                      <a:pt x="8" y="14"/>
                      <a:pt x="8" y="14"/>
                      <a:pt x="8" y="14"/>
                    </a:cubicBezTo>
                    <a:cubicBezTo>
                      <a:pt x="10" y="2"/>
                      <a:pt x="10" y="2"/>
                      <a:pt x="10" y="2"/>
                    </a:cubicBezTo>
                    <a:cubicBezTo>
                      <a:pt x="8" y="1"/>
                      <a:pt x="8" y="1"/>
                      <a:pt x="8" y="1"/>
                    </a:cubicBezTo>
                    <a:cubicBezTo>
                      <a:pt x="10" y="0"/>
                      <a:pt x="10" y="0"/>
                      <a:pt x="10" y="0"/>
                    </a:cubicBezTo>
                    <a:cubicBezTo>
                      <a:pt x="29" y="0"/>
                      <a:pt x="29" y="0"/>
                      <a:pt x="29" y="0"/>
                    </a:cubicBezTo>
                    <a:cubicBezTo>
                      <a:pt x="31" y="1"/>
                      <a:pt x="31" y="1"/>
                      <a:pt x="31" y="1"/>
                    </a:cubicBezTo>
                    <a:cubicBezTo>
                      <a:pt x="27" y="2"/>
                      <a:pt x="27" y="2"/>
                      <a:pt x="27" y="2"/>
                    </a:cubicBezTo>
                    <a:cubicBezTo>
                      <a:pt x="30" y="14"/>
                      <a:pt x="30" y="14"/>
                      <a:pt x="30" y="14"/>
                    </a:cubicBezTo>
                    <a:cubicBezTo>
                      <a:pt x="32" y="14"/>
                      <a:pt x="32" y="14"/>
                      <a:pt x="32" y="14"/>
                    </a:cubicBezTo>
                    <a:cubicBezTo>
                      <a:pt x="31" y="13"/>
                      <a:pt x="31" y="13"/>
                      <a:pt x="31" y="13"/>
                    </a:cubicBezTo>
                    <a:cubicBezTo>
                      <a:pt x="51" y="13"/>
                      <a:pt x="51" y="13"/>
                      <a:pt x="51" y="13"/>
                    </a:cubicBezTo>
                    <a:cubicBezTo>
                      <a:pt x="53" y="14"/>
                      <a:pt x="53" y="14"/>
                      <a:pt x="53" y="14"/>
                    </a:cubicBezTo>
                    <a:cubicBezTo>
                      <a:pt x="55" y="14"/>
                      <a:pt x="55" y="14"/>
                      <a:pt x="55" y="14"/>
                    </a:cubicBezTo>
                    <a:cubicBezTo>
                      <a:pt x="57" y="18"/>
                      <a:pt x="57" y="18"/>
                      <a:pt x="57" y="18"/>
                    </a:cubicBezTo>
                    <a:cubicBezTo>
                      <a:pt x="54" y="26"/>
                      <a:pt x="54" y="26"/>
                      <a:pt x="54" y="26"/>
                    </a:cubicBezTo>
                    <a:cubicBezTo>
                      <a:pt x="57" y="28"/>
                      <a:pt x="58" y="30"/>
                      <a:pt x="58" y="33"/>
                    </a:cubicBezTo>
                    <a:cubicBezTo>
                      <a:pt x="58" y="37"/>
                      <a:pt x="55" y="41"/>
                      <a:pt x="51" y="41"/>
                    </a:cubicBezTo>
                    <a:cubicBezTo>
                      <a:pt x="46" y="41"/>
                      <a:pt x="43" y="37"/>
                      <a:pt x="43" y="33"/>
                    </a:cubicBezTo>
                    <a:cubicBezTo>
                      <a:pt x="43" y="32"/>
                      <a:pt x="43" y="30"/>
                      <a:pt x="44" y="29"/>
                    </a:cubicBezTo>
                    <a:cubicBezTo>
                      <a:pt x="27" y="29"/>
                      <a:pt x="27" y="29"/>
                      <a:pt x="27" y="29"/>
                    </a:cubicBezTo>
                    <a:cubicBezTo>
                      <a:pt x="27" y="30"/>
                      <a:pt x="27" y="30"/>
                      <a:pt x="27" y="30"/>
                    </a:cubicBezTo>
                    <a:cubicBezTo>
                      <a:pt x="27" y="30"/>
                      <a:pt x="27" y="30"/>
                      <a:pt x="27" y="30"/>
                    </a:cubicBezTo>
                    <a:close/>
                    <a:moveTo>
                      <a:pt x="16" y="14"/>
                    </a:moveTo>
                    <a:cubicBezTo>
                      <a:pt x="16" y="3"/>
                      <a:pt x="16" y="3"/>
                      <a:pt x="16" y="3"/>
                    </a:cubicBezTo>
                    <a:cubicBezTo>
                      <a:pt x="11" y="3"/>
                      <a:pt x="11" y="3"/>
                      <a:pt x="11" y="3"/>
                    </a:cubicBezTo>
                    <a:cubicBezTo>
                      <a:pt x="9" y="14"/>
                      <a:pt x="9" y="14"/>
                      <a:pt x="9" y="14"/>
                    </a:cubicBezTo>
                    <a:cubicBezTo>
                      <a:pt x="12" y="14"/>
                      <a:pt x="14" y="14"/>
                      <a:pt x="16" y="14"/>
                    </a:cubicBezTo>
                    <a:cubicBezTo>
                      <a:pt x="16" y="14"/>
                      <a:pt x="16" y="14"/>
                      <a:pt x="16" y="14"/>
                    </a:cubicBezTo>
                    <a:close/>
                    <a:moveTo>
                      <a:pt x="19" y="32"/>
                    </a:moveTo>
                    <a:cubicBezTo>
                      <a:pt x="19" y="33"/>
                      <a:pt x="20" y="32"/>
                      <a:pt x="20" y="30"/>
                    </a:cubicBezTo>
                    <a:cubicBezTo>
                      <a:pt x="20" y="30"/>
                      <a:pt x="20" y="30"/>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9"/>
                      <a:pt x="20" y="29"/>
                      <a:pt x="20" y="29"/>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20" y="28"/>
                      <a:pt x="20" y="28"/>
                      <a:pt x="20"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30"/>
                      <a:pt x="17" y="31"/>
                      <a:pt x="17" y="31"/>
                    </a:cubicBezTo>
                    <a:cubicBezTo>
                      <a:pt x="19" y="32"/>
                      <a:pt x="19" y="32"/>
                      <a:pt x="19" y="32"/>
                    </a:cubicBezTo>
                    <a:cubicBezTo>
                      <a:pt x="19" y="32"/>
                      <a:pt x="19" y="32"/>
                      <a:pt x="19" y="32"/>
                    </a:cubicBezTo>
                    <a:close/>
                    <a:moveTo>
                      <a:pt x="14" y="35"/>
                    </a:moveTo>
                    <a:cubicBezTo>
                      <a:pt x="14" y="35"/>
                      <a:pt x="15" y="35"/>
                      <a:pt x="16" y="34"/>
                    </a:cubicBezTo>
                    <a:cubicBezTo>
                      <a:pt x="17" y="34"/>
                      <a:pt x="18" y="33"/>
                      <a:pt x="18" y="33"/>
                    </a:cubicBezTo>
                    <a:cubicBezTo>
                      <a:pt x="17" y="31"/>
                      <a:pt x="17" y="31"/>
                      <a:pt x="17" y="31"/>
                    </a:cubicBezTo>
                    <a:cubicBezTo>
                      <a:pt x="16" y="32"/>
                      <a:pt x="14" y="33"/>
                      <a:pt x="14" y="33"/>
                    </a:cubicBezTo>
                    <a:cubicBezTo>
                      <a:pt x="14" y="35"/>
                      <a:pt x="14" y="35"/>
                      <a:pt x="14" y="35"/>
                    </a:cubicBezTo>
                    <a:cubicBezTo>
                      <a:pt x="14" y="35"/>
                      <a:pt x="14" y="35"/>
                      <a:pt x="14" y="35"/>
                    </a:cubicBezTo>
                    <a:close/>
                    <a:moveTo>
                      <a:pt x="9" y="33"/>
                    </a:moveTo>
                    <a:cubicBezTo>
                      <a:pt x="8" y="33"/>
                      <a:pt x="9" y="34"/>
                      <a:pt x="11" y="34"/>
                    </a:cubicBezTo>
                    <a:cubicBezTo>
                      <a:pt x="12" y="35"/>
                      <a:pt x="13" y="35"/>
                      <a:pt x="13" y="35"/>
                    </a:cubicBezTo>
                    <a:cubicBezTo>
                      <a:pt x="13" y="33"/>
                      <a:pt x="13" y="33"/>
                      <a:pt x="13" y="33"/>
                    </a:cubicBezTo>
                    <a:cubicBezTo>
                      <a:pt x="12" y="33"/>
                      <a:pt x="11" y="32"/>
                      <a:pt x="10" y="31"/>
                    </a:cubicBezTo>
                    <a:cubicBezTo>
                      <a:pt x="9" y="33"/>
                      <a:pt x="9" y="33"/>
                      <a:pt x="9" y="33"/>
                    </a:cubicBezTo>
                    <a:cubicBezTo>
                      <a:pt x="9" y="33"/>
                      <a:pt x="9" y="33"/>
                      <a:pt x="9" y="33"/>
                    </a:cubicBezTo>
                    <a:close/>
                    <a:moveTo>
                      <a:pt x="6" y="28"/>
                    </a:moveTo>
                    <a:cubicBezTo>
                      <a:pt x="6" y="28"/>
                      <a:pt x="6" y="29"/>
                      <a:pt x="7" y="30"/>
                    </a:cubicBezTo>
                    <a:cubicBezTo>
                      <a:pt x="7" y="31"/>
                      <a:pt x="8" y="32"/>
                      <a:pt x="8" y="32"/>
                    </a:cubicBezTo>
                    <a:cubicBezTo>
                      <a:pt x="10" y="31"/>
                      <a:pt x="10" y="31"/>
                      <a:pt x="10" y="31"/>
                    </a:cubicBezTo>
                    <a:cubicBezTo>
                      <a:pt x="9" y="30"/>
                      <a:pt x="8" y="29"/>
                      <a:pt x="8" y="28"/>
                    </a:cubicBezTo>
                    <a:cubicBezTo>
                      <a:pt x="6" y="28"/>
                      <a:pt x="6" y="28"/>
                      <a:pt x="6" y="28"/>
                    </a:cubicBezTo>
                    <a:cubicBezTo>
                      <a:pt x="6" y="28"/>
                      <a:pt x="6" y="28"/>
                      <a:pt x="6" y="28"/>
                    </a:cubicBezTo>
                    <a:close/>
                    <a:moveTo>
                      <a:pt x="8" y="23"/>
                    </a:moveTo>
                    <a:cubicBezTo>
                      <a:pt x="8" y="23"/>
                      <a:pt x="7" y="24"/>
                      <a:pt x="7" y="25"/>
                    </a:cubicBezTo>
                    <a:cubicBezTo>
                      <a:pt x="6" y="26"/>
                      <a:pt x="6" y="27"/>
                      <a:pt x="6" y="27"/>
                    </a:cubicBezTo>
                    <a:cubicBezTo>
                      <a:pt x="8" y="27"/>
                      <a:pt x="8" y="27"/>
                      <a:pt x="8" y="27"/>
                    </a:cubicBezTo>
                    <a:cubicBezTo>
                      <a:pt x="8" y="27"/>
                      <a:pt x="9" y="25"/>
                      <a:pt x="10" y="24"/>
                    </a:cubicBezTo>
                    <a:cubicBezTo>
                      <a:pt x="8" y="23"/>
                      <a:pt x="8" y="23"/>
                      <a:pt x="8" y="23"/>
                    </a:cubicBezTo>
                    <a:cubicBezTo>
                      <a:pt x="8" y="23"/>
                      <a:pt x="8" y="23"/>
                      <a:pt x="8" y="23"/>
                    </a:cubicBezTo>
                    <a:close/>
                    <a:moveTo>
                      <a:pt x="10" y="21"/>
                    </a:moveTo>
                    <a:cubicBezTo>
                      <a:pt x="9" y="22"/>
                      <a:pt x="8" y="22"/>
                      <a:pt x="9" y="22"/>
                    </a:cubicBezTo>
                    <a:cubicBezTo>
                      <a:pt x="10" y="23"/>
                      <a:pt x="10" y="23"/>
                      <a:pt x="10" y="23"/>
                    </a:cubicBezTo>
                    <a:cubicBezTo>
                      <a:pt x="10" y="23"/>
                      <a:pt x="10" y="23"/>
                      <a:pt x="10" y="23"/>
                    </a:cubicBezTo>
                    <a:cubicBezTo>
                      <a:pt x="10" y="24"/>
                      <a:pt x="10" y="24"/>
                      <a:pt x="10" y="24"/>
                    </a:cubicBezTo>
                    <a:cubicBezTo>
                      <a:pt x="11" y="23"/>
                      <a:pt x="12" y="23"/>
                      <a:pt x="13" y="23"/>
                    </a:cubicBezTo>
                    <a:cubicBezTo>
                      <a:pt x="13" y="21"/>
                      <a:pt x="13" y="21"/>
                      <a:pt x="13" y="21"/>
                    </a:cubicBezTo>
                    <a:cubicBezTo>
                      <a:pt x="13" y="20"/>
                      <a:pt x="12" y="20"/>
                      <a:pt x="11" y="21"/>
                    </a:cubicBezTo>
                    <a:cubicBezTo>
                      <a:pt x="11" y="21"/>
                      <a:pt x="11" y="21"/>
                      <a:pt x="11" y="21"/>
                    </a:cubicBezTo>
                    <a:cubicBezTo>
                      <a:pt x="11" y="21"/>
                      <a:pt x="11" y="21"/>
                      <a:pt x="11"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ubicBezTo>
                      <a:pt x="10" y="21"/>
                      <a:pt x="10" y="21"/>
                      <a:pt x="10" y="21"/>
                    </a:cubicBezTo>
                    <a:close/>
                    <a:moveTo>
                      <a:pt x="18" y="22"/>
                    </a:moveTo>
                    <a:cubicBezTo>
                      <a:pt x="18" y="22"/>
                      <a:pt x="17" y="21"/>
                      <a:pt x="16" y="21"/>
                    </a:cubicBezTo>
                    <a:cubicBezTo>
                      <a:pt x="15" y="20"/>
                      <a:pt x="14" y="20"/>
                      <a:pt x="14" y="21"/>
                    </a:cubicBezTo>
                    <a:cubicBezTo>
                      <a:pt x="14" y="23"/>
                      <a:pt x="14" y="23"/>
                      <a:pt x="14" y="23"/>
                    </a:cubicBezTo>
                    <a:cubicBezTo>
                      <a:pt x="14" y="23"/>
                      <a:pt x="16" y="23"/>
                      <a:pt x="17" y="24"/>
                    </a:cubicBezTo>
                    <a:cubicBezTo>
                      <a:pt x="18" y="22"/>
                      <a:pt x="18" y="22"/>
                      <a:pt x="18" y="22"/>
                    </a:cubicBezTo>
                    <a:cubicBezTo>
                      <a:pt x="18" y="22"/>
                      <a:pt x="18" y="22"/>
                      <a:pt x="18" y="22"/>
                    </a:cubicBezTo>
                    <a:close/>
                    <a:moveTo>
                      <a:pt x="17" y="14"/>
                    </a:moveTo>
                    <a:cubicBezTo>
                      <a:pt x="29" y="14"/>
                      <a:pt x="29" y="14"/>
                      <a:pt x="29" y="14"/>
                    </a:cubicBezTo>
                    <a:cubicBezTo>
                      <a:pt x="26" y="3"/>
                      <a:pt x="26" y="3"/>
                      <a:pt x="26" y="3"/>
                    </a:cubicBezTo>
                    <a:cubicBezTo>
                      <a:pt x="17" y="3"/>
                      <a:pt x="17" y="3"/>
                      <a:pt x="17" y="3"/>
                    </a:cubicBezTo>
                    <a:cubicBezTo>
                      <a:pt x="17" y="14"/>
                      <a:pt x="17" y="14"/>
                      <a:pt x="17" y="14"/>
                    </a:cubicBezTo>
                    <a:cubicBezTo>
                      <a:pt x="17" y="14"/>
                      <a:pt x="17" y="14"/>
                      <a:pt x="17" y="1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graphicFrame>
        <p:nvGraphicFramePr>
          <p:cNvPr id="177" name="Table 176">
            <a:extLst>
              <a:ext uri="{FF2B5EF4-FFF2-40B4-BE49-F238E27FC236}">
                <a16:creationId xmlns:a16="http://schemas.microsoft.com/office/drawing/2014/main" id="{3CD38918-6921-458E-9F85-56AF597A281E}"/>
              </a:ext>
            </a:extLst>
          </p:cNvPr>
          <p:cNvGraphicFramePr>
            <a:graphicFrameLocks noGrp="1"/>
          </p:cNvGraphicFramePr>
          <p:nvPr>
            <p:extLst>
              <p:ext uri="{D42A27DB-BD31-4B8C-83A1-F6EECF244321}">
                <p14:modId xmlns:p14="http://schemas.microsoft.com/office/powerpoint/2010/main" val="137629659"/>
              </p:ext>
            </p:extLst>
          </p:nvPr>
        </p:nvGraphicFramePr>
        <p:xfrm>
          <a:off x="10179869" y="3780639"/>
          <a:ext cx="1614435" cy="2832100"/>
        </p:xfrm>
        <a:graphic>
          <a:graphicData uri="http://schemas.openxmlformats.org/drawingml/2006/table">
            <a:tbl>
              <a:tblPr>
                <a:tableStyleId>{5C22544A-7EE6-4342-B048-85BDC9FD1C3A}</a:tableStyleId>
              </a:tblPr>
              <a:tblGrid>
                <a:gridCol w="884599">
                  <a:extLst>
                    <a:ext uri="{9D8B030D-6E8A-4147-A177-3AD203B41FA5}">
                      <a16:colId xmlns:a16="http://schemas.microsoft.com/office/drawing/2014/main" val="1645863097"/>
                    </a:ext>
                  </a:extLst>
                </a:gridCol>
                <a:gridCol w="729836">
                  <a:extLst>
                    <a:ext uri="{9D8B030D-6E8A-4147-A177-3AD203B41FA5}">
                      <a16:colId xmlns:a16="http://schemas.microsoft.com/office/drawing/2014/main" val="1057957779"/>
                    </a:ext>
                  </a:extLst>
                </a:gridCol>
              </a:tblGrid>
              <a:tr h="184150">
                <a:tc>
                  <a:txBody>
                    <a:bodyPr/>
                    <a:lstStyle/>
                    <a:p>
                      <a:pPr algn="ctr" rtl="0" fontAlgn="b"/>
                      <a:r>
                        <a:rPr lang="en-GB" sz="1200" b="1" u="none" strike="noStrike">
                          <a:effectLst/>
                          <a:latin typeface="+mn-lt"/>
                        </a:rPr>
                        <a:t>Location</a:t>
                      </a:r>
                      <a:endParaRPr lang="en-GB" sz="1200" b="1" i="0" u="none" strike="noStrike">
                        <a:solidFill>
                          <a:srgbClr val="000000"/>
                        </a:solidFill>
                        <a:effectLst/>
                        <a:latin typeface="+mn-lt"/>
                      </a:endParaRPr>
                    </a:p>
                  </a:txBody>
                  <a:tcPr marL="6350" marR="6350" marT="6350" marB="0" anchor="ctr"/>
                </a:tc>
                <a:tc>
                  <a:txBody>
                    <a:bodyPr/>
                    <a:lstStyle/>
                    <a:p>
                      <a:pPr algn="ctr" rtl="0" fontAlgn="b"/>
                      <a:r>
                        <a:rPr lang="en-GB" sz="1200" b="1" i="0" u="none" strike="noStrike">
                          <a:solidFill>
                            <a:srgbClr val="000000"/>
                          </a:solidFill>
                          <a:effectLst/>
                          <a:latin typeface="+mn-lt"/>
                        </a:rPr>
                        <a:t>COVID Impact</a:t>
                      </a:r>
                    </a:p>
                  </a:txBody>
                  <a:tcPr marL="6350" marR="6350" marT="6350" marB="0" anchor="ctr"/>
                </a:tc>
                <a:extLst>
                  <a:ext uri="{0D108BD9-81ED-4DB2-BD59-A6C34878D82A}">
                    <a16:rowId xmlns:a16="http://schemas.microsoft.com/office/drawing/2014/main" val="2299052569"/>
                  </a:ext>
                </a:extLst>
              </a:tr>
              <a:tr h="184150">
                <a:tc>
                  <a:txBody>
                    <a:bodyPr/>
                    <a:lstStyle/>
                    <a:p>
                      <a:pPr algn="ctr" rtl="0" fontAlgn="b"/>
                      <a:r>
                        <a:rPr lang="en-GB" sz="1200" b="1" u="none" strike="noStrike">
                          <a:effectLst/>
                          <a:latin typeface="+mn-lt"/>
                        </a:rPr>
                        <a:t>Abuja</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88</a:t>
                      </a:r>
                    </a:p>
                  </a:txBody>
                  <a:tcPr marL="6350" marR="6350" marT="6350" marB="0" anchor="ctr"/>
                </a:tc>
                <a:extLst>
                  <a:ext uri="{0D108BD9-81ED-4DB2-BD59-A6C34878D82A}">
                    <a16:rowId xmlns:a16="http://schemas.microsoft.com/office/drawing/2014/main" val="361820587"/>
                  </a:ext>
                </a:extLst>
              </a:tr>
              <a:tr h="184150">
                <a:tc>
                  <a:txBody>
                    <a:bodyPr/>
                    <a:lstStyle/>
                    <a:p>
                      <a:pPr algn="ctr" rtl="0" fontAlgn="b"/>
                      <a:r>
                        <a:rPr lang="en-GB" sz="1200" b="1" u="none" strike="noStrike">
                          <a:effectLst/>
                          <a:latin typeface="+mn-lt"/>
                        </a:rPr>
                        <a:t>Niger</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40</a:t>
                      </a:r>
                    </a:p>
                  </a:txBody>
                  <a:tcPr marL="6350" marR="6350" marT="6350" marB="0" anchor="ctr"/>
                </a:tc>
                <a:extLst>
                  <a:ext uri="{0D108BD9-81ED-4DB2-BD59-A6C34878D82A}">
                    <a16:rowId xmlns:a16="http://schemas.microsoft.com/office/drawing/2014/main" val="2802943578"/>
                  </a:ext>
                </a:extLst>
              </a:tr>
              <a:tr h="184150">
                <a:tc>
                  <a:txBody>
                    <a:bodyPr/>
                    <a:lstStyle/>
                    <a:p>
                      <a:pPr algn="ctr" rtl="0" fontAlgn="b"/>
                      <a:r>
                        <a:rPr lang="en-GB" sz="1200" b="1" u="none" strike="noStrike">
                          <a:effectLst/>
                          <a:latin typeface="+mn-lt"/>
                        </a:rPr>
                        <a:t>Bauchi</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40</a:t>
                      </a:r>
                    </a:p>
                  </a:txBody>
                  <a:tcPr marL="6350" marR="6350" marT="6350" marB="0" anchor="ctr"/>
                </a:tc>
                <a:extLst>
                  <a:ext uri="{0D108BD9-81ED-4DB2-BD59-A6C34878D82A}">
                    <a16:rowId xmlns:a16="http://schemas.microsoft.com/office/drawing/2014/main" val="106542689"/>
                  </a:ext>
                </a:extLst>
              </a:tr>
              <a:tr h="184150">
                <a:tc>
                  <a:txBody>
                    <a:bodyPr/>
                    <a:lstStyle/>
                    <a:p>
                      <a:pPr algn="ctr" rtl="0" fontAlgn="b"/>
                      <a:r>
                        <a:rPr lang="en-GB" sz="1200" b="1" u="none" strike="noStrike">
                          <a:effectLst/>
                          <a:latin typeface="+mn-lt"/>
                        </a:rPr>
                        <a:t>Gombe</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37</a:t>
                      </a:r>
                    </a:p>
                  </a:txBody>
                  <a:tcPr marL="6350" marR="6350" marT="6350" marB="0" anchor="ctr"/>
                </a:tc>
                <a:extLst>
                  <a:ext uri="{0D108BD9-81ED-4DB2-BD59-A6C34878D82A}">
                    <a16:rowId xmlns:a16="http://schemas.microsoft.com/office/drawing/2014/main" val="1711538481"/>
                  </a:ext>
                </a:extLst>
              </a:tr>
              <a:tr h="184150">
                <a:tc>
                  <a:txBody>
                    <a:bodyPr/>
                    <a:lstStyle/>
                    <a:p>
                      <a:pPr algn="ctr" rtl="0" fontAlgn="b"/>
                      <a:r>
                        <a:rPr lang="en-GB" sz="1200" b="1" u="none" strike="noStrike">
                          <a:effectLst/>
                          <a:latin typeface="+mn-lt"/>
                        </a:rPr>
                        <a:t>Kaduna</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64</a:t>
                      </a:r>
                    </a:p>
                  </a:txBody>
                  <a:tcPr marL="6350" marR="6350" marT="6350" marB="0" anchor="ctr"/>
                </a:tc>
                <a:extLst>
                  <a:ext uri="{0D108BD9-81ED-4DB2-BD59-A6C34878D82A}">
                    <a16:rowId xmlns:a16="http://schemas.microsoft.com/office/drawing/2014/main" val="3542464279"/>
                  </a:ext>
                </a:extLst>
              </a:tr>
              <a:tr h="184150">
                <a:tc>
                  <a:txBody>
                    <a:bodyPr/>
                    <a:lstStyle/>
                    <a:p>
                      <a:pPr algn="ctr" rtl="0" fontAlgn="b"/>
                      <a:r>
                        <a:rPr lang="en-GB" sz="1200" b="1" u="none" strike="noStrike">
                          <a:effectLst/>
                          <a:latin typeface="+mn-lt"/>
                        </a:rPr>
                        <a:t>Kano</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98</a:t>
                      </a:r>
                    </a:p>
                  </a:txBody>
                  <a:tcPr marL="6350" marR="6350" marT="6350" marB="0" anchor="ctr"/>
                </a:tc>
                <a:extLst>
                  <a:ext uri="{0D108BD9-81ED-4DB2-BD59-A6C34878D82A}">
                    <a16:rowId xmlns:a16="http://schemas.microsoft.com/office/drawing/2014/main" val="248139970"/>
                  </a:ext>
                </a:extLst>
              </a:tr>
              <a:tr h="184150">
                <a:tc>
                  <a:txBody>
                    <a:bodyPr/>
                    <a:lstStyle/>
                    <a:p>
                      <a:pPr algn="ctr" rtl="0" fontAlgn="b"/>
                      <a:r>
                        <a:rPr lang="en-GB" sz="1200" b="1" u="none" strike="noStrike">
                          <a:effectLst/>
                          <a:latin typeface="+mn-lt"/>
                        </a:rPr>
                        <a:t>Abia</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33</a:t>
                      </a:r>
                    </a:p>
                  </a:txBody>
                  <a:tcPr marL="6350" marR="6350" marT="6350" marB="0" anchor="ctr"/>
                </a:tc>
                <a:extLst>
                  <a:ext uri="{0D108BD9-81ED-4DB2-BD59-A6C34878D82A}">
                    <a16:rowId xmlns:a16="http://schemas.microsoft.com/office/drawing/2014/main" val="2888046142"/>
                  </a:ext>
                </a:extLst>
              </a:tr>
              <a:tr h="184150">
                <a:tc>
                  <a:txBody>
                    <a:bodyPr/>
                    <a:lstStyle/>
                    <a:p>
                      <a:pPr algn="ctr" rtl="0" fontAlgn="b"/>
                      <a:r>
                        <a:rPr lang="en-GB" sz="1200" b="1" u="none" strike="noStrike">
                          <a:effectLst/>
                          <a:latin typeface="+mn-lt"/>
                        </a:rPr>
                        <a:t>Anambra</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24</a:t>
                      </a:r>
                    </a:p>
                  </a:txBody>
                  <a:tcPr marL="6350" marR="6350" marT="6350" marB="0" anchor="ctr"/>
                </a:tc>
                <a:extLst>
                  <a:ext uri="{0D108BD9-81ED-4DB2-BD59-A6C34878D82A}">
                    <a16:rowId xmlns:a16="http://schemas.microsoft.com/office/drawing/2014/main" val="2528309777"/>
                  </a:ext>
                </a:extLst>
              </a:tr>
              <a:tr h="184150">
                <a:tc>
                  <a:txBody>
                    <a:bodyPr/>
                    <a:lstStyle/>
                    <a:p>
                      <a:pPr algn="ctr" rtl="0" fontAlgn="b"/>
                      <a:r>
                        <a:rPr lang="en-GB" sz="1200" b="1" u="none" strike="noStrike">
                          <a:effectLst/>
                          <a:latin typeface="+mn-lt"/>
                        </a:rPr>
                        <a:t>Delta</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50</a:t>
                      </a:r>
                    </a:p>
                  </a:txBody>
                  <a:tcPr marL="6350" marR="6350" marT="6350" marB="0" anchor="ctr"/>
                </a:tc>
                <a:extLst>
                  <a:ext uri="{0D108BD9-81ED-4DB2-BD59-A6C34878D82A}">
                    <a16:rowId xmlns:a16="http://schemas.microsoft.com/office/drawing/2014/main" val="2305511544"/>
                  </a:ext>
                </a:extLst>
              </a:tr>
              <a:tr h="184150">
                <a:tc>
                  <a:txBody>
                    <a:bodyPr/>
                    <a:lstStyle/>
                    <a:p>
                      <a:pPr algn="ctr" rtl="0" fontAlgn="b"/>
                      <a:r>
                        <a:rPr lang="en-GB" sz="1200" b="1" u="none" strike="noStrike">
                          <a:effectLst/>
                          <a:latin typeface="+mn-lt"/>
                        </a:rPr>
                        <a:t>Rivers</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34</a:t>
                      </a:r>
                    </a:p>
                  </a:txBody>
                  <a:tcPr marL="6350" marR="6350" marT="6350" marB="0" anchor="ctr"/>
                </a:tc>
                <a:extLst>
                  <a:ext uri="{0D108BD9-81ED-4DB2-BD59-A6C34878D82A}">
                    <a16:rowId xmlns:a16="http://schemas.microsoft.com/office/drawing/2014/main" val="3653839104"/>
                  </a:ext>
                </a:extLst>
              </a:tr>
              <a:tr h="184150">
                <a:tc>
                  <a:txBody>
                    <a:bodyPr/>
                    <a:lstStyle/>
                    <a:p>
                      <a:pPr algn="ctr" rtl="0" fontAlgn="b"/>
                      <a:r>
                        <a:rPr lang="en-GB" sz="1200" b="1" u="none" strike="noStrike">
                          <a:effectLst/>
                          <a:latin typeface="+mn-lt"/>
                        </a:rPr>
                        <a:t>Lagos</a:t>
                      </a:r>
                      <a:endParaRPr lang="en-GB" sz="1200" b="1" i="0" u="none" strike="noStrike">
                        <a:solidFill>
                          <a:srgbClr val="000000"/>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179</a:t>
                      </a:r>
                    </a:p>
                  </a:txBody>
                  <a:tcPr marL="6350" marR="6350" marT="6350" marB="0" anchor="ctr"/>
                </a:tc>
                <a:extLst>
                  <a:ext uri="{0D108BD9-81ED-4DB2-BD59-A6C34878D82A}">
                    <a16:rowId xmlns:a16="http://schemas.microsoft.com/office/drawing/2014/main" val="1811232850"/>
                  </a:ext>
                </a:extLst>
              </a:tr>
              <a:tr h="184150">
                <a:tc>
                  <a:txBody>
                    <a:bodyPr/>
                    <a:lstStyle/>
                    <a:p>
                      <a:pPr algn="ctr" rtl="0" fontAlgn="b"/>
                      <a:r>
                        <a:rPr lang="en-GB" sz="1200" b="1" u="none" strike="noStrike">
                          <a:solidFill>
                            <a:schemeClr val="tx1"/>
                          </a:solidFill>
                          <a:effectLst/>
                          <a:latin typeface="+mn-lt"/>
                        </a:rPr>
                        <a:t>Ogun</a:t>
                      </a:r>
                      <a:endParaRPr lang="en-GB" sz="1200" b="1" i="0" u="none" strike="noStrike">
                        <a:solidFill>
                          <a:schemeClr val="tx1"/>
                        </a:solidFill>
                        <a:effectLst/>
                        <a:latin typeface="+mn-lt"/>
                      </a:endParaRPr>
                    </a:p>
                  </a:txBody>
                  <a:tcPr marL="6350" marR="6350" marT="6350" marB="0" anchor="b"/>
                </a:tc>
                <a:tc>
                  <a:txBody>
                    <a:bodyPr/>
                    <a:lstStyle/>
                    <a:p>
                      <a:pPr algn="ctr" fontAlgn="ctr"/>
                      <a:r>
                        <a:rPr lang="en-US" sz="1200" b="1" i="0" u="none" strike="noStrike">
                          <a:solidFill>
                            <a:srgbClr val="000000"/>
                          </a:solidFill>
                          <a:effectLst/>
                          <a:latin typeface="+mn-lt"/>
                        </a:rPr>
                        <a:t>48</a:t>
                      </a:r>
                    </a:p>
                  </a:txBody>
                  <a:tcPr marL="6350" marR="6350" marT="6350" marB="0" anchor="ctr"/>
                </a:tc>
                <a:extLst>
                  <a:ext uri="{0D108BD9-81ED-4DB2-BD59-A6C34878D82A}">
                    <a16:rowId xmlns:a16="http://schemas.microsoft.com/office/drawing/2014/main" val="365594167"/>
                  </a:ext>
                </a:extLst>
              </a:tr>
              <a:tr h="184150">
                <a:tc>
                  <a:txBody>
                    <a:bodyPr/>
                    <a:lstStyle/>
                    <a:p>
                      <a:pPr algn="ctr" rtl="0" fontAlgn="b"/>
                      <a:r>
                        <a:rPr lang="en-GB" sz="1200" b="1" u="none" strike="noStrike">
                          <a:solidFill>
                            <a:srgbClr val="FF0000"/>
                          </a:solidFill>
                          <a:effectLst/>
                          <a:latin typeface="+mn-lt"/>
                        </a:rPr>
                        <a:t>Total sample</a:t>
                      </a:r>
                      <a:endParaRPr lang="en-GB" sz="1200" b="1" i="0" u="none" strike="noStrike">
                        <a:solidFill>
                          <a:srgbClr val="FF0000"/>
                        </a:solidFill>
                        <a:effectLst/>
                        <a:latin typeface="+mn-lt"/>
                      </a:endParaRPr>
                    </a:p>
                  </a:txBody>
                  <a:tcPr marL="6350" marR="6350" marT="6350" marB="0" anchor="b"/>
                </a:tc>
                <a:tc>
                  <a:txBody>
                    <a:bodyPr/>
                    <a:lstStyle/>
                    <a:p>
                      <a:pPr algn="ctr" fontAlgn="ctr"/>
                      <a:r>
                        <a:rPr lang="en-US" sz="1200" b="1" i="0" u="none" strike="noStrike">
                          <a:solidFill>
                            <a:srgbClr val="FF0000"/>
                          </a:solidFill>
                          <a:effectLst/>
                          <a:latin typeface="+mn-lt"/>
                        </a:rPr>
                        <a:t>735</a:t>
                      </a:r>
                    </a:p>
                  </a:txBody>
                  <a:tcPr marL="6350" marR="6350" marT="6350" marB="0" anchor="ctr"/>
                </a:tc>
                <a:extLst>
                  <a:ext uri="{0D108BD9-81ED-4DB2-BD59-A6C34878D82A}">
                    <a16:rowId xmlns:a16="http://schemas.microsoft.com/office/drawing/2014/main" val="3615497468"/>
                  </a:ext>
                </a:extLst>
              </a:tr>
            </a:tbl>
          </a:graphicData>
        </a:graphic>
      </p:graphicFrame>
      <p:sp>
        <p:nvSpPr>
          <p:cNvPr id="89" name="TextBox 88">
            <a:extLst>
              <a:ext uri="{FF2B5EF4-FFF2-40B4-BE49-F238E27FC236}">
                <a16:creationId xmlns:a16="http://schemas.microsoft.com/office/drawing/2014/main" id="{E9406501-E5FE-4B25-8A15-48C30FEFF42E}"/>
              </a:ext>
            </a:extLst>
          </p:cNvPr>
          <p:cNvSpPr txBox="1"/>
          <p:nvPr/>
        </p:nvSpPr>
        <p:spPr>
          <a:xfrm>
            <a:off x="228479" y="6499123"/>
            <a:ext cx="4953093" cy="246221"/>
          </a:xfrm>
          <a:prstGeom prst="rect">
            <a:avLst/>
          </a:prstGeom>
          <a:noFill/>
        </p:spPr>
        <p:txBody>
          <a:bodyPr wrap="square" rtlCol="0">
            <a:spAutoFit/>
          </a:bodyPr>
          <a:lstStyle/>
          <a:p>
            <a:r>
              <a:rPr lang="en-US" sz="1000" b="1"/>
              <a:t>Base: 1618</a:t>
            </a:r>
          </a:p>
        </p:txBody>
      </p:sp>
      <p:sp>
        <p:nvSpPr>
          <p:cNvPr id="90" name="Title 3">
            <a:extLst>
              <a:ext uri="{FF2B5EF4-FFF2-40B4-BE49-F238E27FC236}">
                <a16:creationId xmlns:a16="http://schemas.microsoft.com/office/drawing/2014/main" id="{61280AFE-7F57-4990-9C68-19F126B77760}"/>
              </a:ext>
            </a:extLst>
          </p:cNvPr>
          <p:cNvSpPr txBox="1">
            <a:spLocks/>
          </p:cNvSpPr>
          <p:nvPr/>
        </p:nvSpPr>
        <p:spPr>
          <a:xfrm>
            <a:off x="10226261" y="3457273"/>
            <a:ext cx="1261771" cy="335637"/>
          </a:xfrm>
          <a:prstGeom prst="rect">
            <a:avLst/>
          </a:prstGeom>
        </p:spPr>
        <p:txBody>
          <a:bodyPr vert="horz" lIns="71579" tIns="35790" rIns="71579" bIns="35790" rtlCol="0" anchor="ctr" anchorCtr="0">
            <a:noAutofit/>
          </a:bodyPr>
          <a:lstStyle>
            <a:lvl1pPr algn="l" defTabSz="357188" rtl="0" eaLnBrk="1" fontAlgn="base" hangingPunct="1">
              <a:spcBef>
                <a:spcPct val="0"/>
              </a:spcBef>
              <a:spcAft>
                <a:spcPct val="0"/>
              </a:spcAft>
              <a:defRPr sz="3000" kern="1200">
                <a:solidFill>
                  <a:schemeClr val="tx1"/>
                </a:solidFill>
                <a:latin typeface="+mj-lt"/>
                <a:ea typeface="ＭＳ Ｐゴシック" charset="0"/>
                <a:cs typeface="Arial"/>
              </a:defRPr>
            </a:lvl1pPr>
            <a:lvl2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2pPr>
            <a:lvl3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3pPr>
            <a:lvl4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4pPr>
            <a:lvl5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5pPr>
            <a:lvl6pPr marL="457200" algn="l" defTabSz="357188" rtl="0" eaLnBrk="1" fontAlgn="base" hangingPunct="1">
              <a:spcBef>
                <a:spcPct val="0"/>
              </a:spcBef>
              <a:spcAft>
                <a:spcPct val="0"/>
              </a:spcAft>
              <a:defRPr sz="3000">
                <a:solidFill>
                  <a:schemeClr val="bg1"/>
                </a:solidFill>
                <a:latin typeface="Franklin Gothic Book" charset="0"/>
                <a:ea typeface="ＭＳ Ｐゴシック" charset="0"/>
              </a:defRPr>
            </a:lvl6pPr>
            <a:lvl7pPr marL="914400" algn="l" defTabSz="357188" rtl="0" eaLnBrk="1" fontAlgn="base" hangingPunct="1">
              <a:spcBef>
                <a:spcPct val="0"/>
              </a:spcBef>
              <a:spcAft>
                <a:spcPct val="0"/>
              </a:spcAft>
              <a:defRPr sz="3000">
                <a:solidFill>
                  <a:schemeClr val="bg1"/>
                </a:solidFill>
                <a:latin typeface="Franklin Gothic Book" charset="0"/>
                <a:ea typeface="ＭＳ Ｐゴシック" charset="0"/>
              </a:defRPr>
            </a:lvl7pPr>
            <a:lvl8pPr marL="1371600" algn="l" defTabSz="357188" rtl="0" eaLnBrk="1" fontAlgn="base" hangingPunct="1">
              <a:spcBef>
                <a:spcPct val="0"/>
              </a:spcBef>
              <a:spcAft>
                <a:spcPct val="0"/>
              </a:spcAft>
              <a:defRPr sz="3000">
                <a:solidFill>
                  <a:schemeClr val="bg1"/>
                </a:solidFill>
                <a:latin typeface="Franklin Gothic Book" charset="0"/>
                <a:ea typeface="ＭＳ Ｐゴシック" charset="0"/>
              </a:defRPr>
            </a:lvl8pPr>
            <a:lvl9pPr marL="1828800" algn="l" defTabSz="357188" rtl="0" eaLnBrk="1" fontAlgn="base" hangingPunct="1">
              <a:spcBef>
                <a:spcPct val="0"/>
              </a:spcBef>
              <a:spcAft>
                <a:spcPct val="0"/>
              </a:spcAft>
              <a:defRPr sz="3000">
                <a:solidFill>
                  <a:schemeClr val="bg1"/>
                </a:solidFill>
                <a:latin typeface="Franklin Gothic Book" charset="0"/>
                <a:ea typeface="ＭＳ Ｐゴシック" charset="0"/>
              </a:defRPr>
            </a:lvl9pPr>
          </a:lstStyle>
          <a:p>
            <a:pPr algn="ctr" defTabSz="357179"/>
            <a:r>
              <a:rPr lang="en-US" sz="1600" b="1">
                <a:solidFill>
                  <a:prstClr val="black"/>
                </a:solidFill>
                <a:latin typeface="+mn-lt"/>
              </a:rPr>
              <a:t>Sample</a:t>
            </a:r>
          </a:p>
        </p:txBody>
      </p:sp>
      <p:grpSp>
        <p:nvGrpSpPr>
          <p:cNvPr id="91" name="Group 90">
            <a:extLst>
              <a:ext uri="{FF2B5EF4-FFF2-40B4-BE49-F238E27FC236}">
                <a16:creationId xmlns:a16="http://schemas.microsoft.com/office/drawing/2014/main" id="{19C359AF-BF88-4CF7-9191-DC8A27DC118D}"/>
              </a:ext>
            </a:extLst>
          </p:cNvPr>
          <p:cNvGrpSpPr/>
          <p:nvPr/>
        </p:nvGrpSpPr>
        <p:grpSpPr>
          <a:xfrm>
            <a:off x="4552664" y="1457328"/>
            <a:ext cx="5472777" cy="4481559"/>
            <a:chOff x="4800600" y="1237165"/>
            <a:chExt cx="4318313" cy="3666147"/>
          </a:xfrm>
        </p:grpSpPr>
        <p:grpSp>
          <p:nvGrpSpPr>
            <p:cNvPr id="92" name="Group 91">
              <a:extLst>
                <a:ext uri="{FF2B5EF4-FFF2-40B4-BE49-F238E27FC236}">
                  <a16:creationId xmlns:a16="http://schemas.microsoft.com/office/drawing/2014/main" id="{9AFC9679-F1DA-40FD-9914-3BC022C8E9B8}"/>
                </a:ext>
              </a:extLst>
            </p:cNvPr>
            <p:cNvGrpSpPr/>
            <p:nvPr/>
          </p:nvGrpSpPr>
          <p:grpSpPr>
            <a:xfrm>
              <a:off x="4800600" y="1432177"/>
              <a:ext cx="4318313" cy="3471135"/>
              <a:chOff x="179337" y="1753736"/>
              <a:chExt cx="6035040" cy="4427677"/>
            </a:xfrm>
            <a:solidFill>
              <a:srgbClr val="888B8D"/>
            </a:solidFill>
          </p:grpSpPr>
          <p:sp>
            <p:nvSpPr>
              <p:cNvPr id="186" name="Freeform 66">
                <a:extLst>
                  <a:ext uri="{FF2B5EF4-FFF2-40B4-BE49-F238E27FC236}">
                    <a16:creationId xmlns:a16="http://schemas.microsoft.com/office/drawing/2014/main" id="{2B821DB1-B574-4F03-8B63-DCDA79D0F86E}"/>
                  </a:ext>
                </a:extLst>
              </p:cNvPr>
              <p:cNvSpPr>
                <a:spLocks noEditPoints="1"/>
              </p:cNvSpPr>
              <p:nvPr>
                <p:custDataLst>
                  <p:tags r:id="rId3"/>
                </p:custDataLst>
              </p:nvPr>
            </p:nvSpPr>
            <p:spPr bwMode="auto">
              <a:xfrm>
                <a:off x="190130" y="3529878"/>
                <a:ext cx="1761300" cy="1078514"/>
              </a:xfrm>
              <a:custGeom>
                <a:avLst/>
                <a:gdLst/>
                <a:ahLst/>
                <a:cxnLst>
                  <a:cxn ang="0">
                    <a:pos x="681" y="818"/>
                  </a:cxn>
                  <a:cxn ang="0">
                    <a:pos x="403" y="27"/>
                  </a:cxn>
                  <a:cxn ang="0">
                    <a:pos x="448" y="27"/>
                  </a:cxn>
                  <a:cxn ang="0">
                    <a:pos x="471" y="64"/>
                  </a:cxn>
                  <a:cxn ang="0">
                    <a:pos x="489" y="82"/>
                  </a:cxn>
                  <a:cxn ang="0">
                    <a:pos x="531" y="91"/>
                  </a:cxn>
                  <a:cxn ang="0">
                    <a:pos x="576" y="141"/>
                  </a:cxn>
                  <a:cxn ang="0">
                    <a:pos x="654" y="228"/>
                  </a:cxn>
                  <a:cxn ang="0">
                    <a:pos x="727" y="297"/>
                  </a:cxn>
                  <a:cxn ang="0">
                    <a:pos x="773" y="347"/>
                  </a:cxn>
                  <a:cxn ang="0">
                    <a:pos x="841" y="338"/>
                  </a:cxn>
                  <a:cxn ang="0">
                    <a:pos x="905" y="365"/>
                  </a:cxn>
                  <a:cxn ang="0">
                    <a:pos x="947" y="407"/>
                  </a:cxn>
                  <a:cxn ang="0">
                    <a:pos x="1052" y="439"/>
                  </a:cxn>
                  <a:cxn ang="0">
                    <a:pos x="1143" y="489"/>
                  </a:cxn>
                  <a:cxn ang="0">
                    <a:pos x="1230" y="516"/>
                  </a:cxn>
                  <a:cxn ang="0">
                    <a:pos x="1299" y="521"/>
                  </a:cxn>
                  <a:cxn ang="0">
                    <a:pos x="1303" y="562"/>
                  </a:cxn>
                  <a:cxn ang="0">
                    <a:pos x="1285" y="640"/>
                  </a:cxn>
                  <a:cxn ang="0">
                    <a:pos x="1198" y="644"/>
                  </a:cxn>
                  <a:cxn ang="0">
                    <a:pos x="1129" y="635"/>
                  </a:cxn>
                  <a:cxn ang="0">
                    <a:pos x="1075" y="599"/>
                  </a:cxn>
                  <a:cxn ang="0">
                    <a:pos x="1024" y="640"/>
                  </a:cxn>
                  <a:cxn ang="0">
                    <a:pos x="1001" y="686"/>
                  </a:cxn>
                  <a:cxn ang="0">
                    <a:pos x="1043" y="731"/>
                  </a:cxn>
                  <a:cxn ang="0">
                    <a:pos x="1075" y="772"/>
                  </a:cxn>
                  <a:cxn ang="0">
                    <a:pos x="1015" y="759"/>
                  </a:cxn>
                  <a:cxn ang="0">
                    <a:pos x="969" y="800"/>
                  </a:cxn>
                  <a:cxn ang="0">
                    <a:pos x="915" y="772"/>
                  </a:cxn>
                  <a:cxn ang="0">
                    <a:pos x="860" y="772"/>
                  </a:cxn>
                  <a:cxn ang="0">
                    <a:pos x="800" y="768"/>
                  </a:cxn>
                  <a:cxn ang="0">
                    <a:pos x="741" y="772"/>
                  </a:cxn>
                  <a:cxn ang="0">
                    <a:pos x="672" y="745"/>
                  </a:cxn>
                  <a:cxn ang="0">
                    <a:pos x="631" y="681"/>
                  </a:cxn>
                  <a:cxn ang="0">
                    <a:pos x="585" y="599"/>
                  </a:cxn>
                  <a:cxn ang="0">
                    <a:pos x="553" y="544"/>
                  </a:cxn>
                  <a:cxn ang="0">
                    <a:pos x="553" y="480"/>
                  </a:cxn>
                  <a:cxn ang="0">
                    <a:pos x="608" y="420"/>
                  </a:cxn>
                  <a:cxn ang="0">
                    <a:pos x="553" y="434"/>
                  </a:cxn>
                  <a:cxn ang="0">
                    <a:pos x="499" y="407"/>
                  </a:cxn>
                  <a:cxn ang="0">
                    <a:pos x="467" y="356"/>
                  </a:cxn>
                  <a:cxn ang="0">
                    <a:pos x="407" y="347"/>
                  </a:cxn>
                  <a:cxn ang="0">
                    <a:pos x="380" y="402"/>
                  </a:cxn>
                  <a:cxn ang="0">
                    <a:pos x="320" y="439"/>
                  </a:cxn>
                  <a:cxn ang="0">
                    <a:pos x="229" y="475"/>
                  </a:cxn>
                  <a:cxn ang="0">
                    <a:pos x="169" y="489"/>
                  </a:cxn>
                  <a:cxn ang="0">
                    <a:pos x="115" y="512"/>
                  </a:cxn>
                  <a:cxn ang="0">
                    <a:pos x="69" y="553"/>
                  </a:cxn>
                  <a:cxn ang="0">
                    <a:pos x="9" y="558"/>
                  </a:cxn>
                  <a:cxn ang="0">
                    <a:pos x="5" y="503"/>
                  </a:cxn>
                  <a:cxn ang="0">
                    <a:pos x="14" y="462"/>
                  </a:cxn>
                  <a:cxn ang="0">
                    <a:pos x="19" y="430"/>
                  </a:cxn>
                  <a:cxn ang="0">
                    <a:pos x="23" y="402"/>
                  </a:cxn>
                  <a:cxn ang="0">
                    <a:pos x="64" y="379"/>
                  </a:cxn>
                  <a:cxn ang="0">
                    <a:pos x="142" y="361"/>
                  </a:cxn>
                  <a:cxn ang="0">
                    <a:pos x="160" y="269"/>
                  </a:cxn>
                  <a:cxn ang="0">
                    <a:pos x="201" y="183"/>
                  </a:cxn>
                  <a:cxn ang="0">
                    <a:pos x="229" y="123"/>
                  </a:cxn>
                  <a:cxn ang="0">
                    <a:pos x="311" y="77"/>
                  </a:cxn>
                  <a:cxn ang="0">
                    <a:pos x="339" y="4"/>
                  </a:cxn>
                </a:cxnLst>
                <a:rect l="0" t="0" r="r" b="b"/>
                <a:pathLst>
                  <a:path w="1321" h="873">
                    <a:moveTo>
                      <a:pt x="636" y="836"/>
                    </a:moveTo>
                    <a:lnTo>
                      <a:pt x="640" y="836"/>
                    </a:lnTo>
                    <a:lnTo>
                      <a:pt x="640" y="832"/>
                    </a:lnTo>
                    <a:lnTo>
                      <a:pt x="640" y="827"/>
                    </a:lnTo>
                    <a:lnTo>
                      <a:pt x="640" y="827"/>
                    </a:lnTo>
                    <a:lnTo>
                      <a:pt x="640" y="823"/>
                    </a:lnTo>
                    <a:lnTo>
                      <a:pt x="645" y="818"/>
                    </a:lnTo>
                    <a:lnTo>
                      <a:pt x="645" y="818"/>
                    </a:lnTo>
                    <a:lnTo>
                      <a:pt x="649" y="818"/>
                    </a:lnTo>
                    <a:lnTo>
                      <a:pt x="659" y="818"/>
                    </a:lnTo>
                    <a:lnTo>
                      <a:pt x="663" y="818"/>
                    </a:lnTo>
                    <a:lnTo>
                      <a:pt x="663" y="814"/>
                    </a:lnTo>
                    <a:lnTo>
                      <a:pt x="668" y="814"/>
                    </a:lnTo>
                    <a:lnTo>
                      <a:pt x="672" y="809"/>
                    </a:lnTo>
                    <a:lnTo>
                      <a:pt x="672" y="814"/>
                    </a:lnTo>
                    <a:lnTo>
                      <a:pt x="681" y="818"/>
                    </a:lnTo>
                    <a:lnTo>
                      <a:pt x="681" y="832"/>
                    </a:lnTo>
                    <a:lnTo>
                      <a:pt x="681" y="841"/>
                    </a:lnTo>
                    <a:lnTo>
                      <a:pt x="681" y="850"/>
                    </a:lnTo>
                    <a:lnTo>
                      <a:pt x="672" y="855"/>
                    </a:lnTo>
                    <a:lnTo>
                      <a:pt x="663" y="859"/>
                    </a:lnTo>
                    <a:lnTo>
                      <a:pt x="663" y="864"/>
                    </a:lnTo>
                    <a:lnTo>
                      <a:pt x="659" y="868"/>
                    </a:lnTo>
                    <a:lnTo>
                      <a:pt x="654" y="873"/>
                    </a:lnTo>
                    <a:lnTo>
                      <a:pt x="649" y="868"/>
                    </a:lnTo>
                    <a:lnTo>
                      <a:pt x="640" y="859"/>
                    </a:lnTo>
                    <a:lnTo>
                      <a:pt x="640" y="855"/>
                    </a:lnTo>
                    <a:lnTo>
                      <a:pt x="640" y="850"/>
                    </a:lnTo>
                    <a:lnTo>
                      <a:pt x="636" y="841"/>
                    </a:lnTo>
                    <a:lnTo>
                      <a:pt x="636" y="841"/>
                    </a:lnTo>
                    <a:lnTo>
                      <a:pt x="636" y="836"/>
                    </a:lnTo>
                    <a:close/>
                    <a:moveTo>
                      <a:pt x="403" y="27"/>
                    </a:moveTo>
                    <a:lnTo>
                      <a:pt x="407" y="27"/>
                    </a:lnTo>
                    <a:lnTo>
                      <a:pt x="412" y="27"/>
                    </a:lnTo>
                    <a:lnTo>
                      <a:pt x="412" y="27"/>
                    </a:lnTo>
                    <a:lnTo>
                      <a:pt x="416" y="27"/>
                    </a:lnTo>
                    <a:lnTo>
                      <a:pt x="421" y="23"/>
                    </a:lnTo>
                    <a:lnTo>
                      <a:pt x="421" y="18"/>
                    </a:lnTo>
                    <a:lnTo>
                      <a:pt x="421" y="13"/>
                    </a:lnTo>
                    <a:lnTo>
                      <a:pt x="421" y="9"/>
                    </a:lnTo>
                    <a:lnTo>
                      <a:pt x="425" y="9"/>
                    </a:lnTo>
                    <a:lnTo>
                      <a:pt x="425" y="4"/>
                    </a:lnTo>
                    <a:lnTo>
                      <a:pt x="430" y="9"/>
                    </a:lnTo>
                    <a:lnTo>
                      <a:pt x="435" y="13"/>
                    </a:lnTo>
                    <a:lnTo>
                      <a:pt x="439" y="23"/>
                    </a:lnTo>
                    <a:lnTo>
                      <a:pt x="444" y="27"/>
                    </a:lnTo>
                    <a:lnTo>
                      <a:pt x="444" y="27"/>
                    </a:lnTo>
                    <a:lnTo>
                      <a:pt x="448" y="27"/>
                    </a:lnTo>
                    <a:lnTo>
                      <a:pt x="444" y="32"/>
                    </a:lnTo>
                    <a:lnTo>
                      <a:pt x="444" y="36"/>
                    </a:lnTo>
                    <a:lnTo>
                      <a:pt x="439" y="41"/>
                    </a:lnTo>
                    <a:lnTo>
                      <a:pt x="439" y="45"/>
                    </a:lnTo>
                    <a:lnTo>
                      <a:pt x="444" y="50"/>
                    </a:lnTo>
                    <a:lnTo>
                      <a:pt x="448" y="50"/>
                    </a:lnTo>
                    <a:lnTo>
                      <a:pt x="453" y="50"/>
                    </a:lnTo>
                    <a:lnTo>
                      <a:pt x="457" y="45"/>
                    </a:lnTo>
                    <a:lnTo>
                      <a:pt x="462" y="50"/>
                    </a:lnTo>
                    <a:lnTo>
                      <a:pt x="467" y="50"/>
                    </a:lnTo>
                    <a:lnTo>
                      <a:pt x="462" y="50"/>
                    </a:lnTo>
                    <a:lnTo>
                      <a:pt x="462" y="55"/>
                    </a:lnTo>
                    <a:lnTo>
                      <a:pt x="462" y="59"/>
                    </a:lnTo>
                    <a:lnTo>
                      <a:pt x="467" y="59"/>
                    </a:lnTo>
                    <a:lnTo>
                      <a:pt x="467" y="59"/>
                    </a:lnTo>
                    <a:lnTo>
                      <a:pt x="471" y="64"/>
                    </a:lnTo>
                    <a:lnTo>
                      <a:pt x="476" y="64"/>
                    </a:lnTo>
                    <a:lnTo>
                      <a:pt x="476" y="68"/>
                    </a:lnTo>
                    <a:lnTo>
                      <a:pt x="471" y="73"/>
                    </a:lnTo>
                    <a:lnTo>
                      <a:pt x="467" y="73"/>
                    </a:lnTo>
                    <a:lnTo>
                      <a:pt x="462" y="68"/>
                    </a:lnTo>
                    <a:lnTo>
                      <a:pt x="462" y="73"/>
                    </a:lnTo>
                    <a:lnTo>
                      <a:pt x="457" y="73"/>
                    </a:lnTo>
                    <a:lnTo>
                      <a:pt x="462" y="73"/>
                    </a:lnTo>
                    <a:lnTo>
                      <a:pt x="462" y="77"/>
                    </a:lnTo>
                    <a:lnTo>
                      <a:pt x="467" y="77"/>
                    </a:lnTo>
                    <a:lnTo>
                      <a:pt x="467" y="82"/>
                    </a:lnTo>
                    <a:lnTo>
                      <a:pt x="471" y="82"/>
                    </a:lnTo>
                    <a:lnTo>
                      <a:pt x="480" y="82"/>
                    </a:lnTo>
                    <a:lnTo>
                      <a:pt x="485" y="82"/>
                    </a:lnTo>
                    <a:lnTo>
                      <a:pt x="489" y="82"/>
                    </a:lnTo>
                    <a:lnTo>
                      <a:pt x="489" y="82"/>
                    </a:lnTo>
                    <a:lnTo>
                      <a:pt x="489" y="87"/>
                    </a:lnTo>
                    <a:lnTo>
                      <a:pt x="489" y="91"/>
                    </a:lnTo>
                    <a:lnTo>
                      <a:pt x="494" y="96"/>
                    </a:lnTo>
                    <a:lnTo>
                      <a:pt x="499" y="96"/>
                    </a:lnTo>
                    <a:lnTo>
                      <a:pt x="503" y="96"/>
                    </a:lnTo>
                    <a:lnTo>
                      <a:pt x="508" y="96"/>
                    </a:lnTo>
                    <a:lnTo>
                      <a:pt x="512" y="100"/>
                    </a:lnTo>
                    <a:lnTo>
                      <a:pt x="517" y="100"/>
                    </a:lnTo>
                    <a:lnTo>
                      <a:pt x="517" y="96"/>
                    </a:lnTo>
                    <a:lnTo>
                      <a:pt x="517" y="91"/>
                    </a:lnTo>
                    <a:lnTo>
                      <a:pt x="521" y="91"/>
                    </a:lnTo>
                    <a:lnTo>
                      <a:pt x="526" y="91"/>
                    </a:lnTo>
                    <a:lnTo>
                      <a:pt x="526" y="87"/>
                    </a:lnTo>
                    <a:lnTo>
                      <a:pt x="531" y="87"/>
                    </a:lnTo>
                    <a:lnTo>
                      <a:pt x="531" y="91"/>
                    </a:lnTo>
                    <a:lnTo>
                      <a:pt x="531" y="91"/>
                    </a:lnTo>
                    <a:lnTo>
                      <a:pt x="531" y="96"/>
                    </a:lnTo>
                    <a:lnTo>
                      <a:pt x="531" y="96"/>
                    </a:lnTo>
                    <a:lnTo>
                      <a:pt x="540" y="96"/>
                    </a:lnTo>
                    <a:lnTo>
                      <a:pt x="544" y="100"/>
                    </a:lnTo>
                    <a:lnTo>
                      <a:pt x="549" y="109"/>
                    </a:lnTo>
                    <a:lnTo>
                      <a:pt x="549" y="114"/>
                    </a:lnTo>
                    <a:lnTo>
                      <a:pt x="549" y="114"/>
                    </a:lnTo>
                    <a:lnTo>
                      <a:pt x="553" y="114"/>
                    </a:lnTo>
                    <a:lnTo>
                      <a:pt x="553" y="119"/>
                    </a:lnTo>
                    <a:lnTo>
                      <a:pt x="553" y="123"/>
                    </a:lnTo>
                    <a:lnTo>
                      <a:pt x="558" y="128"/>
                    </a:lnTo>
                    <a:lnTo>
                      <a:pt x="563" y="132"/>
                    </a:lnTo>
                    <a:lnTo>
                      <a:pt x="563" y="137"/>
                    </a:lnTo>
                    <a:lnTo>
                      <a:pt x="572" y="137"/>
                    </a:lnTo>
                    <a:lnTo>
                      <a:pt x="572" y="141"/>
                    </a:lnTo>
                    <a:lnTo>
                      <a:pt x="576" y="141"/>
                    </a:lnTo>
                    <a:lnTo>
                      <a:pt x="576" y="146"/>
                    </a:lnTo>
                    <a:lnTo>
                      <a:pt x="585" y="160"/>
                    </a:lnTo>
                    <a:lnTo>
                      <a:pt x="595" y="164"/>
                    </a:lnTo>
                    <a:lnTo>
                      <a:pt x="599" y="169"/>
                    </a:lnTo>
                    <a:lnTo>
                      <a:pt x="599" y="173"/>
                    </a:lnTo>
                    <a:lnTo>
                      <a:pt x="599" y="173"/>
                    </a:lnTo>
                    <a:lnTo>
                      <a:pt x="608" y="183"/>
                    </a:lnTo>
                    <a:lnTo>
                      <a:pt x="613" y="187"/>
                    </a:lnTo>
                    <a:lnTo>
                      <a:pt x="617" y="192"/>
                    </a:lnTo>
                    <a:lnTo>
                      <a:pt x="617" y="196"/>
                    </a:lnTo>
                    <a:lnTo>
                      <a:pt x="627" y="201"/>
                    </a:lnTo>
                    <a:lnTo>
                      <a:pt x="627" y="205"/>
                    </a:lnTo>
                    <a:lnTo>
                      <a:pt x="631" y="205"/>
                    </a:lnTo>
                    <a:lnTo>
                      <a:pt x="640" y="224"/>
                    </a:lnTo>
                    <a:lnTo>
                      <a:pt x="649" y="224"/>
                    </a:lnTo>
                    <a:lnTo>
                      <a:pt x="654" y="228"/>
                    </a:lnTo>
                    <a:lnTo>
                      <a:pt x="654" y="233"/>
                    </a:lnTo>
                    <a:lnTo>
                      <a:pt x="659" y="233"/>
                    </a:lnTo>
                    <a:lnTo>
                      <a:pt x="663" y="242"/>
                    </a:lnTo>
                    <a:lnTo>
                      <a:pt x="663" y="247"/>
                    </a:lnTo>
                    <a:lnTo>
                      <a:pt x="668" y="247"/>
                    </a:lnTo>
                    <a:lnTo>
                      <a:pt x="672" y="247"/>
                    </a:lnTo>
                    <a:lnTo>
                      <a:pt x="677" y="251"/>
                    </a:lnTo>
                    <a:lnTo>
                      <a:pt x="681" y="260"/>
                    </a:lnTo>
                    <a:lnTo>
                      <a:pt x="686" y="265"/>
                    </a:lnTo>
                    <a:lnTo>
                      <a:pt x="695" y="274"/>
                    </a:lnTo>
                    <a:lnTo>
                      <a:pt x="700" y="279"/>
                    </a:lnTo>
                    <a:lnTo>
                      <a:pt x="704" y="283"/>
                    </a:lnTo>
                    <a:lnTo>
                      <a:pt x="713" y="292"/>
                    </a:lnTo>
                    <a:lnTo>
                      <a:pt x="718" y="292"/>
                    </a:lnTo>
                    <a:lnTo>
                      <a:pt x="723" y="292"/>
                    </a:lnTo>
                    <a:lnTo>
                      <a:pt x="727" y="297"/>
                    </a:lnTo>
                    <a:lnTo>
                      <a:pt x="727" y="297"/>
                    </a:lnTo>
                    <a:lnTo>
                      <a:pt x="732" y="297"/>
                    </a:lnTo>
                    <a:lnTo>
                      <a:pt x="732" y="301"/>
                    </a:lnTo>
                    <a:lnTo>
                      <a:pt x="736" y="301"/>
                    </a:lnTo>
                    <a:lnTo>
                      <a:pt x="741" y="301"/>
                    </a:lnTo>
                    <a:lnTo>
                      <a:pt x="750" y="306"/>
                    </a:lnTo>
                    <a:lnTo>
                      <a:pt x="755" y="306"/>
                    </a:lnTo>
                    <a:lnTo>
                      <a:pt x="759" y="311"/>
                    </a:lnTo>
                    <a:lnTo>
                      <a:pt x="764" y="311"/>
                    </a:lnTo>
                    <a:lnTo>
                      <a:pt x="768" y="311"/>
                    </a:lnTo>
                    <a:lnTo>
                      <a:pt x="768" y="315"/>
                    </a:lnTo>
                    <a:lnTo>
                      <a:pt x="768" y="320"/>
                    </a:lnTo>
                    <a:lnTo>
                      <a:pt x="768" y="324"/>
                    </a:lnTo>
                    <a:lnTo>
                      <a:pt x="773" y="338"/>
                    </a:lnTo>
                    <a:lnTo>
                      <a:pt x="773" y="343"/>
                    </a:lnTo>
                    <a:lnTo>
                      <a:pt x="773" y="347"/>
                    </a:lnTo>
                    <a:lnTo>
                      <a:pt x="773" y="352"/>
                    </a:lnTo>
                    <a:lnTo>
                      <a:pt x="773" y="352"/>
                    </a:lnTo>
                    <a:lnTo>
                      <a:pt x="773" y="356"/>
                    </a:lnTo>
                    <a:lnTo>
                      <a:pt x="777" y="356"/>
                    </a:lnTo>
                    <a:lnTo>
                      <a:pt x="782" y="361"/>
                    </a:lnTo>
                    <a:lnTo>
                      <a:pt x="787" y="361"/>
                    </a:lnTo>
                    <a:lnTo>
                      <a:pt x="791" y="361"/>
                    </a:lnTo>
                    <a:lnTo>
                      <a:pt x="796" y="361"/>
                    </a:lnTo>
                    <a:lnTo>
                      <a:pt x="819" y="352"/>
                    </a:lnTo>
                    <a:lnTo>
                      <a:pt x="823" y="352"/>
                    </a:lnTo>
                    <a:lnTo>
                      <a:pt x="828" y="347"/>
                    </a:lnTo>
                    <a:lnTo>
                      <a:pt x="832" y="347"/>
                    </a:lnTo>
                    <a:lnTo>
                      <a:pt x="837" y="347"/>
                    </a:lnTo>
                    <a:lnTo>
                      <a:pt x="837" y="343"/>
                    </a:lnTo>
                    <a:lnTo>
                      <a:pt x="841" y="343"/>
                    </a:lnTo>
                    <a:lnTo>
                      <a:pt x="841" y="338"/>
                    </a:lnTo>
                    <a:lnTo>
                      <a:pt x="846" y="338"/>
                    </a:lnTo>
                    <a:lnTo>
                      <a:pt x="860" y="338"/>
                    </a:lnTo>
                    <a:lnTo>
                      <a:pt x="864" y="338"/>
                    </a:lnTo>
                    <a:lnTo>
                      <a:pt x="869" y="338"/>
                    </a:lnTo>
                    <a:lnTo>
                      <a:pt x="873" y="343"/>
                    </a:lnTo>
                    <a:lnTo>
                      <a:pt x="878" y="343"/>
                    </a:lnTo>
                    <a:lnTo>
                      <a:pt x="883" y="347"/>
                    </a:lnTo>
                    <a:lnTo>
                      <a:pt x="883" y="347"/>
                    </a:lnTo>
                    <a:lnTo>
                      <a:pt x="883" y="352"/>
                    </a:lnTo>
                    <a:lnTo>
                      <a:pt x="887" y="352"/>
                    </a:lnTo>
                    <a:lnTo>
                      <a:pt x="892" y="356"/>
                    </a:lnTo>
                    <a:lnTo>
                      <a:pt x="892" y="356"/>
                    </a:lnTo>
                    <a:lnTo>
                      <a:pt x="896" y="356"/>
                    </a:lnTo>
                    <a:lnTo>
                      <a:pt x="901" y="361"/>
                    </a:lnTo>
                    <a:lnTo>
                      <a:pt x="901" y="365"/>
                    </a:lnTo>
                    <a:lnTo>
                      <a:pt x="905" y="365"/>
                    </a:lnTo>
                    <a:lnTo>
                      <a:pt x="905" y="365"/>
                    </a:lnTo>
                    <a:lnTo>
                      <a:pt x="905" y="370"/>
                    </a:lnTo>
                    <a:lnTo>
                      <a:pt x="910" y="370"/>
                    </a:lnTo>
                    <a:lnTo>
                      <a:pt x="915" y="375"/>
                    </a:lnTo>
                    <a:lnTo>
                      <a:pt x="919" y="379"/>
                    </a:lnTo>
                    <a:lnTo>
                      <a:pt x="924" y="379"/>
                    </a:lnTo>
                    <a:lnTo>
                      <a:pt x="924" y="379"/>
                    </a:lnTo>
                    <a:lnTo>
                      <a:pt x="928" y="379"/>
                    </a:lnTo>
                    <a:lnTo>
                      <a:pt x="928" y="384"/>
                    </a:lnTo>
                    <a:lnTo>
                      <a:pt x="928" y="388"/>
                    </a:lnTo>
                    <a:lnTo>
                      <a:pt x="928" y="393"/>
                    </a:lnTo>
                    <a:lnTo>
                      <a:pt x="933" y="398"/>
                    </a:lnTo>
                    <a:lnTo>
                      <a:pt x="937" y="402"/>
                    </a:lnTo>
                    <a:lnTo>
                      <a:pt x="942" y="402"/>
                    </a:lnTo>
                    <a:lnTo>
                      <a:pt x="947" y="407"/>
                    </a:lnTo>
                    <a:lnTo>
                      <a:pt x="947" y="407"/>
                    </a:lnTo>
                    <a:lnTo>
                      <a:pt x="947" y="411"/>
                    </a:lnTo>
                    <a:lnTo>
                      <a:pt x="951" y="411"/>
                    </a:lnTo>
                    <a:lnTo>
                      <a:pt x="956" y="411"/>
                    </a:lnTo>
                    <a:lnTo>
                      <a:pt x="969" y="411"/>
                    </a:lnTo>
                    <a:lnTo>
                      <a:pt x="983" y="416"/>
                    </a:lnTo>
                    <a:lnTo>
                      <a:pt x="992" y="416"/>
                    </a:lnTo>
                    <a:lnTo>
                      <a:pt x="1001" y="420"/>
                    </a:lnTo>
                    <a:lnTo>
                      <a:pt x="1015" y="420"/>
                    </a:lnTo>
                    <a:lnTo>
                      <a:pt x="1029" y="430"/>
                    </a:lnTo>
                    <a:lnTo>
                      <a:pt x="1033" y="430"/>
                    </a:lnTo>
                    <a:lnTo>
                      <a:pt x="1038" y="434"/>
                    </a:lnTo>
                    <a:lnTo>
                      <a:pt x="1038" y="434"/>
                    </a:lnTo>
                    <a:lnTo>
                      <a:pt x="1043" y="434"/>
                    </a:lnTo>
                    <a:lnTo>
                      <a:pt x="1047" y="439"/>
                    </a:lnTo>
                    <a:lnTo>
                      <a:pt x="1047" y="439"/>
                    </a:lnTo>
                    <a:lnTo>
                      <a:pt x="1052" y="439"/>
                    </a:lnTo>
                    <a:lnTo>
                      <a:pt x="1056" y="443"/>
                    </a:lnTo>
                    <a:lnTo>
                      <a:pt x="1061" y="443"/>
                    </a:lnTo>
                    <a:lnTo>
                      <a:pt x="1079" y="457"/>
                    </a:lnTo>
                    <a:lnTo>
                      <a:pt x="1084" y="466"/>
                    </a:lnTo>
                    <a:lnTo>
                      <a:pt x="1088" y="466"/>
                    </a:lnTo>
                    <a:lnTo>
                      <a:pt x="1093" y="466"/>
                    </a:lnTo>
                    <a:lnTo>
                      <a:pt x="1093" y="471"/>
                    </a:lnTo>
                    <a:lnTo>
                      <a:pt x="1097" y="471"/>
                    </a:lnTo>
                    <a:lnTo>
                      <a:pt x="1102" y="475"/>
                    </a:lnTo>
                    <a:lnTo>
                      <a:pt x="1102" y="475"/>
                    </a:lnTo>
                    <a:lnTo>
                      <a:pt x="1111" y="480"/>
                    </a:lnTo>
                    <a:lnTo>
                      <a:pt x="1120" y="480"/>
                    </a:lnTo>
                    <a:lnTo>
                      <a:pt x="1125" y="480"/>
                    </a:lnTo>
                    <a:lnTo>
                      <a:pt x="1129" y="484"/>
                    </a:lnTo>
                    <a:lnTo>
                      <a:pt x="1139" y="489"/>
                    </a:lnTo>
                    <a:lnTo>
                      <a:pt x="1143" y="489"/>
                    </a:lnTo>
                    <a:lnTo>
                      <a:pt x="1143" y="494"/>
                    </a:lnTo>
                    <a:lnTo>
                      <a:pt x="1148" y="494"/>
                    </a:lnTo>
                    <a:lnTo>
                      <a:pt x="1148" y="498"/>
                    </a:lnTo>
                    <a:lnTo>
                      <a:pt x="1148" y="503"/>
                    </a:lnTo>
                    <a:lnTo>
                      <a:pt x="1148" y="507"/>
                    </a:lnTo>
                    <a:lnTo>
                      <a:pt x="1152" y="507"/>
                    </a:lnTo>
                    <a:lnTo>
                      <a:pt x="1152" y="512"/>
                    </a:lnTo>
                    <a:lnTo>
                      <a:pt x="1157" y="512"/>
                    </a:lnTo>
                    <a:lnTo>
                      <a:pt x="1166" y="512"/>
                    </a:lnTo>
                    <a:lnTo>
                      <a:pt x="1171" y="512"/>
                    </a:lnTo>
                    <a:lnTo>
                      <a:pt x="1175" y="516"/>
                    </a:lnTo>
                    <a:lnTo>
                      <a:pt x="1198" y="516"/>
                    </a:lnTo>
                    <a:lnTo>
                      <a:pt x="1203" y="512"/>
                    </a:lnTo>
                    <a:lnTo>
                      <a:pt x="1216" y="512"/>
                    </a:lnTo>
                    <a:lnTo>
                      <a:pt x="1225" y="516"/>
                    </a:lnTo>
                    <a:lnTo>
                      <a:pt x="1230" y="516"/>
                    </a:lnTo>
                    <a:lnTo>
                      <a:pt x="1239" y="512"/>
                    </a:lnTo>
                    <a:lnTo>
                      <a:pt x="1248" y="512"/>
                    </a:lnTo>
                    <a:lnTo>
                      <a:pt x="1253" y="512"/>
                    </a:lnTo>
                    <a:lnTo>
                      <a:pt x="1257" y="512"/>
                    </a:lnTo>
                    <a:lnTo>
                      <a:pt x="1267" y="507"/>
                    </a:lnTo>
                    <a:lnTo>
                      <a:pt x="1271" y="507"/>
                    </a:lnTo>
                    <a:lnTo>
                      <a:pt x="1276" y="512"/>
                    </a:lnTo>
                    <a:lnTo>
                      <a:pt x="1280" y="512"/>
                    </a:lnTo>
                    <a:lnTo>
                      <a:pt x="1285" y="512"/>
                    </a:lnTo>
                    <a:lnTo>
                      <a:pt x="1285" y="512"/>
                    </a:lnTo>
                    <a:lnTo>
                      <a:pt x="1289" y="512"/>
                    </a:lnTo>
                    <a:lnTo>
                      <a:pt x="1289" y="516"/>
                    </a:lnTo>
                    <a:lnTo>
                      <a:pt x="1294" y="516"/>
                    </a:lnTo>
                    <a:lnTo>
                      <a:pt x="1299" y="516"/>
                    </a:lnTo>
                    <a:lnTo>
                      <a:pt x="1299" y="521"/>
                    </a:lnTo>
                    <a:lnTo>
                      <a:pt x="1299" y="521"/>
                    </a:lnTo>
                    <a:lnTo>
                      <a:pt x="1308" y="526"/>
                    </a:lnTo>
                    <a:lnTo>
                      <a:pt x="1312" y="526"/>
                    </a:lnTo>
                    <a:lnTo>
                      <a:pt x="1317" y="526"/>
                    </a:lnTo>
                    <a:lnTo>
                      <a:pt x="1321" y="526"/>
                    </a:lnTo>
                    <a:lnTo>
                      <a:pt x="1321" y="521"/>
                    </a:lnTo>
                    <a:lnTo>
                      <a:pt x="1321" y="526"/>
                    </a:lnTo>
                    <a:lnTo>
                      <a:pt x="1321" y="530"/>
                    </a:lnTo>
                    <a:lnTo>
                      <a:pt x="1321" y="530"/>
                    </a:lnTo>
                    <a:lnTo>
                      <a:pt x="1321" y="535"/>
                    </a:lnTo>
                    <a:lnTo>
                      <a:pt x="1317" y="539"/>
                    </a:lnTo>
                    <a:lnTo>
                      <a:pt x="1317" y="548"/>
                    </a:lnTo>
                    <a:lnTo>
                      <a:pt x="1312" y="553"/>
                    </a:lnTo>
                    <a:lnTo>
                      <a:pt x="1312" y="553"/>
                    </a:lnTo>
                    <a:lnTo>
                      <a:pt x="1308" y="558"/>
                    </a:lnTo>
                    <a:lnTo>
                      <a:pt x="1308" y="562"/>
                    </a:lnTo>
                    <a:lnTo>
                      <a:pt x="1303" y="562"/>
                    </a:lnTo>
                    <a:lnTo>
                      <a:pt x="1303" y="567"/>
                    </a:lnTo>
                    <a:lnTo>
                      <a:pt x="1299" y="571"/>
                    </a:lnTo>
                    <a:lnTo>
                      <a:pt x="1299" y="576"/>
                    </a:lnTo>
                    <a:lnTo>
                      <a:pt x="1299" y="576"/>
                    </a:lnTo>
                    <a:lnTo>
                      <a:pt x="1299" y="576"/>
                    </a:lnTo>
                    <a:lnTo>
                      <a:pt x="1299" y="580"/>
                    </a:lnTo>
                    <a:lnTo>
                      <a:pt x="1294" y="585"/>
                    </a:lnTo>
                    <a:lnTo>
                      <a:pt x="1294" y="590"/>
                    </a:lnTo>
                    <a:lnTo>
                      <a:pt x="1294" y="599"/>
                    </a:lnTo>
                    <a:lnTo>
                      <a:pt x="1294" y="603"/>
                    </a:lnTo>
                    <a:lnTo>
                      <a:pt x="1294" y="608"/>
                    </a:lnTo>
                    <a:lnTo>
                      <a:pt x="1289" y="612"/>
                    </a:lnTo>
                    <a:lnTo>
                      <a:pt x="1289" y="622"/>
                    </a:lnTo>
                    <a:lnTo>
                      <a:pt x="1289" y="626"/>
                    </a:lnTo>
                    <a:lnTo>
                      <a:pt x="1289" y="640"/>
                    </a:lnTo>
                    <a:lnTo>
                      <a:pt x="1285" y="640"/>
                    </a:lnTo>
                    <a:lnTo>
                      <a:pt x="1285" y="640"/>
                    </a:lnTo>
                    <a:lnTo>
                      <a:pt x="1285" y="644"/>
                    </a:lnTo>
                    <a:lnTo>
                      <a:pt x="1280" y="644"/>
                    </a:lnTo>
                    <a:lnTo>
                      <a:pt x="1276" y="644"/>
                    </a:lnTo>
                    <a:lnTo>
                      <a:pt x="1271" y="644"/>
                    </a:lnTo>
                    <a:lnTo>
                      <a:pt x="1262" y="644"/>
                    </a:lnTo>
                    <a:lnTo>
                      <a:pt x="1257" y="644"/>
                    </a:lnTo>
                    <a:lnTo>
                      <a:pt x="1257" y="644"/>
                    </a:lnTo>
                    <a:lnTo>
                      <a:pt x="1253" y="640"/>
                    </a:lnTo>
                    <a:lnTo>
                      <a:pt x="1244" y="640"/>
                    </a:lnTo>
                    <a:lnTo>
                      <a:pt x="1230" y="640"/>
                    </a:lnTo>
                    <a:lnTo>
                      <a:pt x="1225" y="640"/>
                    </a:lnTo>
                    <a:lnTo>
                      <a:pt x="1221" y="640"/>
                    </a:lnTo>
                    <a:lnTo>
                      <a:pt x="1212" y="640"/>
                    </a:lnTo>
                    <a:lnTo>
                      <a:pt x="1203" y="640"/>
                    </a:lnTo>
                    <a:lnTo>
                      <a:pt x="1198" y="644"/>
                    </a:lnTo>
                    <a:lnTo>
                      <a:pt x="1193" y="644"/>
                    </a:lnTo>
                    <a:lnTo>
                      <a:pt x="1189" y="644"/>
                    </a:lnTo>
                    <a:lnTo>
                      <a:pt x="1189" y="640"/>
                    </a:lnTo>
                    <a:lnTo>
                      <a:pt x="1189" y="640"/>
                    </a:lnTo>
                    <a:lnTo>
                      <a:pt x="1184" y="640"/>
                    </a:lnTo>
                    <a:lnTo>
                      <a:pt x="1180" y="640"/>
                    </a:lnTo>
                    <a:lnTo>
                      <a:pt x="1175" y="640"/>
                    </a:lnTo>
                    <a:lnTo>
                      <a:pt x="1171" y="640"/>
                    </a:lnTo>
                    <a:lnTo>
                      <a:pt x="1157" y="640"/>
                    </a:lnTo>
                    <a:lnTo>
                      <a:pt x="1152" y="640"/>
                    </a:lnTo>
                    <a:lnTo>
                      <a:pt x="1148" y="640"/>
                    </a:lnTo>
                    <a:lnTo>
                      <a:pt x="1143" y="640"/>
                    </a:lnTo>
                    <a:lnTo>
                      <a:pt x="1143" y="635"/>
                    </a:lnTo>
                    <a:lnTo>
                      <a:pt x="1139" y="635"/>
                    </a:lnTo>
                    <a:lnTo>
                      <a:pt x="1134" y="635"/>
                    </a:lnTo>
                    <a:lnTo>
                      <a:pt x="1129" y="635"/>
                    </a:lnTo>
                    <a:lnTo>
                      <a:pt x="1125" y="631"/>
                    </a:lnTo>
                    <a:lnTo>
                      <a:pt x="1120" y="626"/>
                    </a:lnTo>
                    <a:lnTo>
                      <a:pt x="1116" y="626"/>
                    </a:lnTo>
                    <a:lnTo>
                      <a:pt x="1116" y="622"/>
                    </a:lnTo>
                    <a:lnTo>
                      <a:pt x="1111" y="622"/>
                    </a:lnTo>
                    <a:lnTo>
                      <a:pt x="1107" y="622"/>
                    </a:lnTo>
                    <a:lnTo>
                      <a:pt x="1102" y="617"/>
                    </a:lnTo>
                    <a:lnTo>
                      <a:pt x="1102" y="617"/>
                    </a:lnTo>
                    <a:lnTo>
                      <a:pt x="1097" y="612"/>
                    </a:lnTo>
                    <a:lnTo>
                      <a:pt x="1093" y="608"/>
                    </a:lnTo>
                    <a:lnTo>
                      <a:pt x="1088" y="603"/>
                    </a:lnTo>
                    <a:lnTo>
                      <a:pt x="1084" y="603"/>
                    </a:lnTo>
                    <a:lnTo>
                      <a:pt x="1084" y="599"/>
                    </a:lnTo>
                    <a:lnTo>
                      <a:pt x="1079" y="599"/>
                    </a:lnTo>
                    <a:lnTo>
                      <a:pt x="1079" y="599"/>
                    </a:lnTo>
                    <a:lnTo>
                      <a:pt x="1075" y="599"/>
                    </a:lnTo>
                    <a:lnTo>
                      <a:pt x="1070" y="599"/>
                    </a:lnTo>
                    <a:lnTo>
                      <a:pt x="1065" y="599"/>
                    </a:lnTo>
                    <a:lnTo>
                      <a:pt x="1061" y="599"/>
                    </a:lnTo>
                    <a:lnTo>
                      <a:pt x="1056" y="599"/>
                    </a:lnTo>
                    <a:lnTo>
                      <a:pt x="1056" y="599"/>
                    </a:lnTo>
                    <a:lnTo>
                      <a:pt x="1052" y="603"/>
                    </a:lnTo>
                    <a:lnTo>
                      <a:pt x="1047" y="608"/>
                    </a:lnTo>
                    <a:lnTo>
                      <a:pt x="1043" y="608"/>
                    </a:lnTo>
                    <a:lnTo>
                      <a:pt x="1043" y="612"/>
                    </a:lnTo>
                    <a:lnTo>
                      <a:pt x="1038" y="622"/>
                    </a:lnTo>
                    <a:lnTo>
                      <a:pt x="1038" y="622"/>
                    </a:lnTo>
                    <a:lnTo>
                      <a:pt x="1038" y="626"/>
                    </a:lnTo>
                    <a:lnTo>
                      <a:pt x="1033" y="626"/>
                    </a:lnTo>
                    <a:lnTo>
                      <a:pt x="1033" y="631"/>
                    </a:lnTo>
                    <a:lnTo>
                      <a:pt x="1029" y="635"/>
                    </a:lnTo>
                    <a:lnTo>
                      <a:pt x="1024" y="640"/>
                    </a:lnTo>
                    <a:lnTo>
                      <a:pt x="1020" y="640"/>
                    </a:lnTo>
                    <a:lnTo>
                      <a:pt x="1020" y="640"/>
                    </a:lnTo>
                    <a:lnTo>
                      <a:pt x="1015" y="640"/>
                    </a:lnTo>
                    <a:lnTo>
                      <a:pt x="1015" y="644"/>
                    </a:lnTo>
                    <a:lnTo>
                      <a:pt x="1015" y="644"/>
                    </a:lnTo>
                    <a:lnTo>
                      <a:pt x="1015" y="649"/>
                    </a:lnTo>
                    <a:lnTo>
                      <a:pt x="1011" y="649"/>
                    </a:lnTo>
                    <a:lnTo>
                      <a:pt x="1006" y="654"/>
                    </a:lnTo>
                    <a:lnTo>
                      <a:pt x="1001" y="654"/>
                    </a:lnTo>
                    <a:lnTo>
                      <a:pt x="1001" y="658"/>
                    </a:lnTo>
                    <a:lnTo>
                      <a:pt x="1001" y="663"/>
                    </a:lnTo>
                    <a:lnTo>
                      <a:pt x="997" y="663"/>
                    </a:lnTo>
                    <a:lnTo>
                      <a:pt x="997" y="663"/>
                    </a:lnTo>
                    <a:lnTo>
                      <a:pt x="997" y="667"/>
                    </a:lnTo>
                    <a:lnTo>
                      <a:pt x="1001" y="681"/>
                    </a:lnTo>
                    <a:lnTo>
                      <a:pt x="1001" y="686"/>
                    </a:lnTo>
                    <a:lnTo>
                      <a:pt x="1006" y="686"/>
                    </a:lnTo>
                    <a:lnTo>
                      <a:pt x="1006" y="690"/>
                    </a:lnTo>
                    <a:lnTo>
                      <a:pt x="1011" y="695"/>
                    </a:lnTo>
                    <a:lnTo>
                      <a:pt x="1011" y="699"/>
                    </a:lnTo>
                    <a:lnTo>
                      <a:pt x="1015" y="704"/>
                    </a:lnTo>
                    <a:lnTo>
                      <a:pt x="1015" y="704"/>
                    </a:lnTo>
                    <a:lnTo>
                      <a:pt x="1024" y="704"/>
                    </a:lnTo>
                    <a:lnTo>
                      <a:pt x="1029" y="704"/>
                    </a:lnTo>
                    <a:lnTo>
                      <a:pt x="1033" y="704"/>
                    </a:lnTo>
                    <a:lnTo>
                      <a:pt x="1033" y="708"/>
                    </a:lnTo>
                    <a:lnTo>
                      <a:pt x="1038" y="708"/>
                    </a:lnTo>
                    <a:lnTo>
                      <a:pt x="1038" y="713"/>
                    </a:lnTo>
                    <a:lnTo>
                      <a:pt x="1038" y="718"/>
                    </a:lnTo>
                    <a:lnTo>
                      <a:pt x="1038" y="727"/>
                    </a:lnTo>
                    <a:lnTo>
                      <a:pt x="1038" y="731"/>
                    </a:lnTo>
                    <a:lnTo>
                      <a:pt x="1043" y="731"/>
                    </a:lnTo>
                    <a:lnTo>
                      <a:pt x="1043" y="736"/>
                    </a:lnTo>
                    <a:lnTo>
                      <a:pt x="1047" y="736"/>
                    </a:lnTo>
                    <a:lnTo>
                      <a:pt x="1052" y="736"/>
                    </a:lnTo>
                    <a:lnTo>
                      <a:pt x="1056" y="736"/>
                    </a:lnTo>
                    <a:lnTo>
                      <a:pt x="1056" y="736"/>
                    </a:lnTo>
                    <a:lnTo>
                      <a:pt x="1065" y="731"/>
                    </a:lnTo>
                    <a:lnTo>
                      <a:pt x="1070" y="731"/>
                    </a:lnTo>
                    <a:lnTo>
                      <a:pt x="1075" y="731"/>
                    </a:lnTo>
                    <a:lnTo>
                      <a:pt x="1079" y="736"/>
                    </a:lnTo>
                    <a:lnTo>
                      <a:pt x="1079" y="740"/>
                    </a:lnTo>
                    <a:lnTo>
                      <a:pt x="1079" y="745"/>
                    </a:lnTo>
                    <a:lnTo>
                      <a:pt x="1079" y="750"/>
                    </a:lnTo>
                    <a:lnTo>
                      <a:pt x="1079" y="759"/>
                    </a:lnTo>
                    <a:lnTo>
                      <a:pt x="1075" y="763"/>
                    </a:lnTo>
                    <a:lnTo>
                      <a:pt x="1075" y="768"/>
                    </a:lnTo>
                    <a:lnTo>
                      <a:pt x="1075" y="772"/>
                    </a:lnTo>
                    <a:lnTo>
                      <a:pt x="1070" y="772"/>
                    </a:lnTo>
                    <a:lnTo>
                      <a:pt x="1070" y="772"/>
                    </a:lnTo>
                    <a:lnTo>
                      <a:pt x="1065" y="777"/>
                    </a:lnTo>
                    <a:lnTo>
                      <a:pt x="1065" y="772"/>
                    </a:lnTo>
                    <a:lnTo>
                      <a:pt x="1065" y="772"/>
                    </a:lnTo>
                    <a:lnTo>
                      <a:pt x="1061" y="768"/>
                    </a:lnTo>
                    <a:lnTo>
                      <a:pt x="1061" y="763"/>
                    </a:lnTo>
                    <a:lnTo>
                      <a:pt x="1056" y="759"/>
                    </a:lnTo>
                    <a:lnTo>
                      <a:pt x="1056" y="759"/>
                    </a:lnTo>
                    <a:lnTo>
                      <a:pt x="1052" y="759"/>
                    </a:lnTo>
                    <a:lnTo>
                      <a:pt x="1047" y="754"/>
                    </a:lnTo>
                    <a:lnTo>
                      <a:pt x="1043" y="754"/>
                    </a:lnTo>
                    <a:lnTo>
                      <a:pt x="1038" y="754"/>
                    </a:lnTo>
                    <a:lnTo>
                      <a:pt x="1033" y="754"/>
                    </a:lnTo>
                    <a:lnTo>
                      <a:pt x="1029" y="754"/>
                    </a:lnTo>
                    <a:lnTo>
                      <a:pt x="1015" y="759"/>
                    </a:lnTo>
                    <a:lnTo>
                      <a:pt x="1015" y="759"/>
                    </a:lnTo>
                    <a:lnTo>
                      <a:pt x="1015" y="763"/>
                    </a:lnTo>
                    <a:lnTo>
                      <a:pt x="1011" y="768"/>
                    </a:lnTo>
                    <a:lnTo>
                      <a:pt x="1011" y="772"/>
                    </a:lnTo>
                    <a:lnTo>
                      <a:pt x="1011" y="777"/>
                    </a:lnTo>
                    <a:lnTo>
                      <a:pt x="1011" y="782"/>
                    </a:lnTo>
                    <a:lnTo>
                      <a:pt x="1011" y="786"/>
                    </a:lnTo>
                    <a:lnTo>
                      <a:pt x="1006" y="786"/>
                    </a:lnTo>
                    <a:lnTo>
                      <a:pt x="1006" y="791"/>
                    </a:lnTo>
                    <a:lnTo>
                      <a:pt x="1001" y="795"/>
                    </a:lnTo>
                    <a:lnTo>
                      <a:pt x="997" y="795"/>
                    </a:lnTo>
                    <a:lnTo>
                      <a:pt x="992" y="795"/>
                    </a:lnTo>
                    <a:lnTo>
                      <a:pt x="992" y="800"/>
                    </a:lnTo>
                    <a:lnTo>
                      <a:pt x="988" y="800"/>
                    </a:lnTo>
                    <a:lnTo>
                      <a:pt x="979" y="800"/>
                    </a:lnTo>
                    <a:lnTo>
                      <a:pt x="969" y="800"/>
                    </a:lnTo>
                    <a:lnTo>
                      <a:pt x="969" y="795"/>
                    </a:lnTo>
                    <a:lnTo>
                      <a:pt x="965" y="795"/>
                    </a:lnTo>
                    <a:lnTo>
                      <a:pt x="960" y="795"/>
                    </a:lnTo>
                    <a:lnTo>
                      <a:pt x="960" y="795"/>
                    </a:lnTo>
                    <a:lnTo>
                      <a:pt x="956" y="795"/>
                    </a:lnTo>
                    <a:lnTo>
                      <a:pt x="951" y="795"/>
                    </a:lnTo>
                    <a:lnTo>
                      <a:pt x="947" y="791"/>
                    </a:lnTo>
                    <a:lnTo>
                      <a:pt x="947" y="786"/>
                    </a:lnTo>
                    <a:lnTo>
                      <a:pt x="942" y="786"/>
                    </a:lnTo>
                    <a:lnTo>
                      <a:pt x="942" y="782"/>
                    </a:lnTo>
                    <a:lnTo>
                      <a:pt x="937" y="777"/>
                    </a:lnTo>
                    <a:lnTo>
                      <a:pt x="933" y="772"/>
                    </a:lnTo>
                    <a:lnTo>
                      <a:pt x="928" y="772"/>
                    </a:lnTo>
                    <a:lnTo>
                      <a:pt x="924" y="772"/>
                    </a:lnTo>
                    <a:lnTo>
                      <a:pt x="919" y="772"/>
                    </a:lnTo>
                    <a:lnTo>
                      <a:pt x="915" y="772"/>
                    </a:lnTo>
                    <a:lnTo>
                      <a:pt x="915" y="777"/>
                    </a:lnTo>
                    <a:lnTo>
                      <a:pt x="910" y="777"/>
                    </a:lnTo>
                    <a:lnTo>
                      <a:pt x="910" y="782"/>
                    </a:lnTo>
                    <a:lnTo>
                      <a:pt x="905" y="782"/>
                    </a:lnTo>
                    <a:lnTo>
                      <a:pt x="905" y="782"/>
                    </a:lnTo>
                    <a:lnTo>
                      <a:pt x="901" y="782"/>
                    </a:lnTo>
                    <a:lnTo>
                      <a:pt x="896" y="777"/>
                    </a:lnTo>
                    <a:lnTo>
                      <a:pt x="892" y="777"/>
                    </a:lnTo>
                    <a:lnTo>
                      <a:pt x="887" y="772"/>
                    </a:lnTo>
                    <a:lnTo>
                      <a:pt x="883" y="772"/>
                    </a:lnTo>
                    <a:lnTo>
                      <a:pt x="883" y="772"/>
                    </a:lnTo>
                    <a:lnTo>
                      <a:pt x="878" y="772"/>
                    </a:lnTo>
                    <a:lnTo>
                      <a:pt x="864" y="777"/>
                    </a:lnTo>
                    <a:lnTo>
                      <a:pt x="860" y="777"/>
                    </a:lnTo>
                    <a:lnTo>
                      <a:pt x="860" y="777"/>
                    </a:lnTo>
                    <a:lnTo>
                      <a:pt x="860" y="772"/>
                    </a:lnTo>
                    <a:lnTo>
                      <a:pt x="855" y="772"/>
                    </a:lnTo>
                    <a:lnTo>
                      <a:pt x="855" y="772"/>
                    </a:lnTo>
                    <a:lnTo>
                      <a:pt x="851" y="768"/>
                    </a:lnTo>
                    <a:lnTo>
                      <a:pt x="851" y="763"/>
                    </a:lnTo>
                    <a:lnTo>
                      <a:pt x="846" y="759"/>
                    </a:lnTo>
                    <a:lnTo>
                      <a:pt x="841" y="759"/>
                    </a:lnTo>
                    <a:lnTo>
                      <a:pt x="837" y="759"/>
                    </a:lnTo>
                    <a:lnTo>
                      <a:pt x="837" y="754"/>
                    </a:lnTo>
                    <a:lnTo>
                      <a:pt x="828" y="754"/>
                    </a:lnTo>
                    <a:lnTo>
                      <a:pt x="823" y="754"/>
                    </a:lnTo>
                    <a:lnTo>
                      <a:pt x="819" y="754"/>
                    </a:lnTo>
                    <a:lnTo>
                      <a:pt x="819" y="759"/>
                    </a:lnTo>
                    <a:lnTo>
                      <a:pt x="814" y="763"/>
                    </a:lnTo>
                    <a:lnTo>
                      <a:pt x="809" y="763"/>
                    </a:lnTo>
                    <a:lnTo>
                      <a:pt x="805" y="768"/>
                    </a:lnTo>
                    <a:lnTo>
                      <a:pt x="800" y="768"/>
                    </a:lnTo>
                    <a:lnTo>
                      <a:pt x="796" y="763"/>
                    </a:lnTo>
                    <a:lnTo>
                      <a:pt x="796" y="763"/>
                    </a:lnTo>
                    <a:lnTo>
                      <a:pt x="791" y="763"/>
                    </a:lnTo>
                    <a:lnTo>
                      <a:pt x="787" y="763"/>
                    </a:lnTo>
                    <a:lnTo>
                      <a:pt x="782" y="763"/>
                    </a:lnTo>
                    <a:lnTo>
                      <a:pt x="782" y="768"/>
                    </a:lnTo>
                    <a:lnTo>
                      <a:pt x="777" y="768"/>
                    </a:lnTo>
                    <a:lnTo>
                      <a:pt x="773" y="768"/>
                    </a:lnTo>
                    <a:lnTo>
                      <a:pt x="773" y="768"/>
                    </a:lnTo>
                    <a:lnTo>
                      <a:pt x="773" y="772"/>
                    </a:lnTo>
                    <a:lnTo>
                      <a:pt x="768" y="772"/>
                    </a:lnTo>
                    <a:lnTo>
                      <a:pt x="755" y="772"/>
                    </a:lnTo>
                    <a:lnTo>
                      <a:pt x="750" y="772"/>
                    </a:lnTo>
                    <a:lnTo>
                      <a:pt x="750" y="772"/>
                    </a:lnTo>
                    <a:lnTo>
                      <a:pt x="750" y="772"/>
                    </a:lnTo>
                    <a:lnTo>
                      <a:pt x="741" y="772"/>
                    </a:lnTo>
                    <a:lnTo>
                      <a:pt x="736" y="772"/>
                    </a:lnTo>
                    <a:lnTo>
                      <a:pt x="732" y="768"/>
                    </a:lnTo>
                    <a:lnTo>
                      <a:pt x="727" y="772"/>
                    </a:lnTo>
                    <a:lnTo>
                      <a:pt x="727" y="772"/>
                    </a:lnTo>
                    <a:lnTo>
                      <a:pt x="723" y="772"/>
                    </a:lnTo>
                    <a:lnTo>
                      <a:pt x="713" y="772"/>
                    </a:lnTo>
                    <a:lnTo>
                      <a:pt x="709" y="772"/>
                    </a:lnTo>
                    <a:lnTo>
                      <a:pt x="704" y="772"/>
                    </a:lnTo>
                    <a:lnTo>
                      <a:pt x="700" y="772"/>
                    </a:lnTo>
                    <a:lnTo>
                      <a:pt x="691" y="768"/>
                    </a:lnTo>
                    <a:lnTo>
                      <a:pt x="686" y="763"/>
                    </a:lnTo>
                    <a:lnTo>
                      <a:pt x="681" y="759"/>
                    </a:lnTo>
                    <a:lnTo>
                      <a:pt x="677" y="750"/>
                    </a:lnTo>
                    <a:lnTo>
                      <a:pt x="672" y="750"/>
                    </a:lnTo>
                    <a:lnTo>
                      <a:pt x="672" y="750"/>
                    </a:lnTo>
                    <a:lnTo>
                      <a:pt x="672" y="745"/>
                    </a:lnTo>
                    <a:lnTo>
                      <a:pt x="668" y="736"/>
                    </a:lnTo>
                    <a:lnTo>
                      <a:pt x="672" y="731"/>
                    </a:lnTo>
                    <a:lnTo>
                      <a:pt x="668" y="727"/>
                    </a:lnTo>
                    <a:lnTo>
                      <a:pt x="668" y="722"/>
                    </a:lnTo>
                    <a:lnTo>
                      <a:pt x="663" y="718"/>
                    </a:lnTo>
                    <a:lnTo>
                      <a:pt x="663" y="713"/>
                    </a:lnTo>
                    <a:lnTo>
                      <a:pt x="663" y="708"/>
                    </a:lnTo>
                    <a:lnTo>
                      <a:pt x="663" y="708"/>
                    </a:lnTo>
                    <a:lnTo>
                      <a:pt x="659" y="704"/>
                    </a:lnTo>
                    <a:lnTo>
                      <a:pt x="654" y="699"/>
                    </a:lnTo>
                    <a:lnTo>
                      <a:pt x="649" y="699"/>
                    </a:lnTo>
                    <a:lnTo>
                      <a:pt x="645" y="695"/>
                    </a:lnTo>
                    <a:lnTo>
                      <a:pt x="640" y="690"/>
                    </a:lnTo>
                    <a:lnTo>
                      <a:pt x="640" y="686"/>
                    </a:lnTo>
                    <a:lnTo>
                      <a:pt x="640" y="686"/>
                    </a:lnTo>
                    <a:lnTo>
                      <a:pt x="631" y="681"/>
                    </a:lnTo>
                    <a:lnTo>
                      <a:pt x="631" y="676"/>
                    </a:lnTo>
                    <a:lnTo>
                      <a:pt x="627" y="672"/>
                    </a:lnTo>
                    <a:lnTo>
                      <a:pt x="617" y="667"/>
                    </a:lnTo>
                    <a:lnTo>
                      <a:pt x="617" y="663"/>
                    </a:lnTo>
                    <a:lnTo>
                      <a:pt x="617" y="658"/>
                    </a:lnTo>
                    <a:lnTo>
                      <a:pt x="613" y="658"/>
                    </a:lnTo>
                    <a:lnTo>
                      <a:pt x="608" y="649"/>
                    </a:lnTo>
                    <a:lnTo>
                      <a:pt x="608" y="644"/>
                    </a:lnTo>
                    <a:lnTo>
                      <a:pt x="604" y="640"/>
                    </a:lnTo>
                    <a:lnTo>
                      <a:pt x="599" y="635"/>
                    </a:lnTo>
                    <a:lnTo>
                      <a:pt x="599" y="631"/>
                    </a:lnTo>
                    <a:lnTo>
                      <a:pt x="599" y="626"/>
                    </a:lnTo>
                    <a:lnTo>
                      <a:pt x="595" y="622"/>
                    </a:lnTo>
                    <a:lnTo>
                      <a:pt x="590" y="612"/>
                    </a:lnTo>
                    <a:lnTo>
                      <a:pt x="585" y="603"/>
                    </a:lnTo>
                    <a:lnTo>
                      <a:pt x="585" y="599"/>
                    </a:lnTo>
                    <a:lnTo>
                      <a:pt x="581" y="599"/>
                    </a:lnTo>
                    <a:lnTo>
                      <a:pt x="581" y="599"/>
                    </a:lnTo>
                    <a:lnTo>
                      <a:pt x="576" y="594"/>
                    </a:lnTo>
                    <a:lnTo>
                      <a:pt x="576" y="590"/>
                    </a:lnTo>
                    <a:lnTo>
                      <a:pt x="576" y="585"/>
                    </a:lnTo>
                    <a:lnTo>
                      <a:pt x="572" y="580"/>
                    </a:lnTo>
                    <a:lnTo>
                      <a:pt x="572" y="576"/>
                    </a:lnTo>
                    <a:lnTo>
                      <a:pt x="567" y="576"/>
                    </a:lnTo>
                    <a:lnTo>
                      <a:pt x="563" y="567"/>
                    </a:lnTo>
                    <a:lnTo>
                      <a:pt x="558" y="558"/>
                    </a:lnTo>
                    <a:lnTo>
                      <a:pt x="553" y="558"/>
                    </a:lnTo>
                    <a:lnTo>
                      <a:pt x="553" y="553"/>
                    </a:lnTo>
                    <a:lnTo>
                      <a:pt x="553" y="553"/>
                    </a:lnTo>
                    <a:lnTo>
                      <a:pt x="553" y="553"/>
                    </a:lnTo>
                    <a:lnTo>
                      <a:pt x="553" y="548"/>
                    </a:lnTo>
                    <a:lnTo>
                      <a:pt x="553" y="544"/>
                    </a:lnTo>
                    <a:lnTo>
                      <a:pt x="549" y="539"/>
                    </a:lnTo>
                    <a:lnTo>
                      <a:pt x="549" y="535"/>
                    </a:lnTo>
                    <a:lnTo>
                      <a:pt x="544" y="530"/>
                    </a:lnTo>
                    <a:lnTo>
                      <a:pt x="544" y="526"/>
                    </a:lnTo>
                    <a:lnTo>
                      <a:pt x="544" y="521"/>
                    </a:lnTo>
                    <a:lnTo>
                      <a:pt x="544" y="512"/>
                    </a:lnTo>
                    <a:lnTo>
                      <a:pt x="544" y="507"/>
                    </a:lnTo>
                    <a:lnTo>
                      <a:pt x="544" y="503"/>
                    </a:lnTo>
                    <a:lnTo>
                      <a:pt x="544" y="498"/>
                    </a:lnTo>
                    <a:lnTo>
                      <a:pt x="544" y="494"/>
                    </a:lnTo>
                    <a:lnTo>
                      <a:pt x="544" y="489"/>
                    </a:lnTo>
                    <a:lnTo>
                      <a:pt x="549" y="489"/>
                    </a:lnTo>
                    <a:lnTo>
                      <a:pt x="553" y="489"/>
                    </a:lnTo>
                    <a:lnTo>
                      <a:pt x="553" y="484"/>
                    </a:lnTo>
                    <a:lnTo>
                      <a:pt x="553" y="480"/>
                    </a:lnTo>
                    <a:lnTo>
                      <a:pt x="553" y="480"/>
                    </a:lnTo>
                    <a:lnTo>
                      <a:pt x="553" y="475"/>
                    </a:lnTo>
                    <a:lnTo>
                      <a:pt x="558" y="471"/>
                    </a:lnTo>
                    <a:lnTo>
                      <a:pt x="558" y="466"/>
                    </a:lnTo>
                    <a:lnTo>
                      <a:pt x="563" y="466"/>
                    </a:lnTo>
                    <a:lnTo>
                      <a:pt x="567" y="457"/>
                    </a:lnTo>
                    <a:lnTo>
                      <a:pt x="576" y="452"/>
                    </a:lnTo>
                    <a:lnTo>
                      <a:pt x="576" y="448"/>
                    </a:lnTo>
                    <a:lnTo>
                      <a:pt x="576" y="443"/>
                    </a:lnTo>
                    <a:lnTo>
                      <a:pt x="581" y="443"/>
                    </a:lnTo>
                    <a:lnTo>
                      <a:pt x="585" y="443"/>
                    </a:lnTo>
                    <a:lnTo>
                      <a:pt x="599" y="434"/>
                    </a:lnTo>
                    <a:lnTo>
                      <a:pt x="604" y="430"/>
                    </a:lnTo>
                    <a:lnTo>
                      <a:pt x="604" y="425"/>
                    </a:lnTo>
                    <a:lnTo>
                      <a:pt x="608" y="425"/>
                    </a:lnTo>
                    <a:lnTo>
                      <a:pt x="608" y="420"/>
                    </a:lnTo>
                    <a:lnTo>
                      <a:pt x="608" y="420"/>
                    </a:lnTo>
                    <a:lnTo>
                      <a:pt x="608" y="416"/>
                    </a:lnTo>
                    <a:lnTo>
                      <a:pt x="604" y="411"/>
                    </a:lnTo>
                    <a:lnTo>
                      <a:pt x="599" y="407"/>
                    </a:lnTo>
                    <a:lnTo>
                      <a:pt x="599" y="402"/>
                    </a:lnTo>
                    <a:lnTo>
                      <a:pt x="590" y="407"/>
                    </a:lnTo>
                    <a:lnTo>
                      <a:pt x="585" y="407"/>
                    </a:lnTo>
                    <a:lnTo>
                      <a:pt x="585" y="411"/>
                    </a:lnTo>
                    <a:lnTo>
                      <a:pt x="581" y="411"/>
                    </a:lnTo>
                    <a:lnTo>
                      <a:pt x="576" y="411"/>
                    </a:lnTo>
                    <a:lnTo>
                      <a:pt x="576" y="416"/>
                    </a:lnTo>
                    <a:lnTo>
                      <a:pt x="576" y="416"/>
                    </a:lnTo>
                    <a:lnTo>
                      <a:pt x="576" y="420"/>
                    </a:lnTo>
                    <a:lnTo>
                      <a:pt x="567" y="420"/>
                    </a:lnTo>
                    <a:lnTo>
                      <a:pt x="558" y="425"/>
                    </a:lnTo>
                    <a:lnTo>
                      <a:pt x="558" y="430"/>
                    </a:lnTo>
                    <a:lnTo>
                      <a:pt x="553" y="434"/>
                    </a:lnTo>
                    <a:lnTo>
                      <a:pt x="553" y="439"/>
                    </a:lnTo>
                    <a:lnTo>
                      <a:pt x="549" y="439"/>
                    </a:lnTo>
                    <a:lnTo>
                      <a:pt x="544" y="439"/>
                    </a:lnTo>
                    <a:lnTo>
                      <a:pt x="540" y="439"/>
                    </a:lnTo>
                    <a:lnTo>
                      <a:pt x="535" y="434"/>
                    </a:lnTo>
                    <a:lnTo>
                      <a:pt x="531" y="434"/>
                    </a:lnTo>
                    <a:lnTo>
                      <a:pt x="531" y="430"/>
                    </a:lnTo>
                    <a:lnTo>
                      <a:pt x="526" y="430"/>
                    </a:lnTo>
                    <a:lnTo>
                      <a:pt x="521" y="425"/>
                    </a:lnTo>
                    <a:lnTo>
                      <a:pt x="517" y="425"/>
                    </a:lnTo>
                    <a:lnTo>
                      <a:pt x="512" y="420"/>
                    </a:lnTo>
                    <a:lnTo>
                      <a:pt x="512" y="420"/>
                    </a:lnTo>
                    <a:lnTo>
                      <a:pt x="508" y="420"/>
                    </a:lnTo>
                    <a:lnTo>
                      <a:pt x="508" y="416"/>
                    </a:lnTo>
                    <a:lnTo>
                      <a:pt x="503" y="407"/>
                    </a:lnTo>
                    <a:lnTo>
                      <a:pt x="499" y="407"/>
                    </a:lnTo>
                    <a:lnTo>
                      <a:pt x="499" y="402"/>
                    </a:lnTo>
                    <a:lnTo>
                      <a:pt x="494" y="402"/>
                    </a:lnTo>
                    <a:lnTo>
                      <a:pt x="494" y="402"/>
                    </a:lnTo>
                    <a:lnTo>
                      <a:pt x="489" y="398"/>
                    </a:lnTo>
                    <a:lnTo>
                      <a:pt x="485" y="398"/>
                    </a:lnTo>
                    <a:lnTo>
                      <a:pt x="485" y="393"/>
                    </a:lnTo>
                    <a:lnTo>
                      <a:pt x="480" y="393"/>
                    </a:lnTo>
                    <a:lnTo>
                      <a:pt x="476" y="388"/>
                    </a:lnTo>
                    <a:lnTo>
                      <a:pt x="476" y="384"/>
                    </a:lnTo>
                    <a:lnTo>
                      <a:pt x="471" y="379"/>
                    </a:lnTo>
                    <a:lnTo>
                      <a:pt x="476" y="375"/>
                    </a:lnTo>
                    <a:lnTo>
                      <a:pt x="471" y="375"/>
                    </a:lnTo>
                    <a:lnTo>
                      <a:pt x="471" y="370"/>
                    </a:lnTo>
                    <a:lnTo>
                      <a:pt x="467" y="365"/>
                    </a:lnTo>
                    <a:lnTo>
                      <a:pt x="467" y="361"/>
                    </a:lnTo>
                    <a:lnTo>
                      <a:pt x="467" y="356"/>
                    </a:lnTo>
                    <a:lnTo>
                      <a:pt x="467" y="356"/>
                    </a:lnTo>
                    <a:lnTo>
                      <a:pt x="467" y="356"/>
                    </a:lnTo>
                    <a:lnTo>
                      <a:pt x="453" y="347"/>
                    </a:lnTo>
                    <a:lnTo>
                      <a:pt x="448" y="343"/>
                    </a:lnTo>
                    <a:lnTo>
                      <a:pt x="444" y="338"/>
                    </a:lnTo>
                    <a:lnTo>
                      <a:pt x="444" y="338"/>
                    </a:lnTo>
                    <a:lnTo>
                      <a:pt x="435" y="338"/>
                    </a:lnTo>
                    <a:lnTo>
                      <a:pt x="430" y="338"/>
                    </a:lnTo>
                    <a:lnTo>
                      <a:pt x="425" y="338"/>
                    </a:lnTo>
                    <a:lnTo>
                      <a:pt x="421" y="338"/>
                    </a:lnTo>
                    <a:lnTo>
                      <a:pt x="421" y="338"/>
                    </a:lnTo>
                    <a:lnTo>
                      <a:pt x="421" y="343"/>
                    </a:lnTo>
                    <a:lnTo>
                      <a:pt x="416" y="343"/>
                    </a:lnTo>
                    <a:lnTo>
                      <a:pt x="412" y="343"/>
                    </a:lnTo>
                    <a:lnTo>
                      <a:pt x="412" y="347"/>
                    </a:lnTo>
                    <a:lnTo>
                      <a:pt x="407" y="347"/>
                    </a:lnTo>
                    <a:lnTo>
                      <a:pt x="403" y="347"/>
                    </a:lnTo>
                    <a:lnTo>
                      <a:pt x="403" y="352"/>
                    </a:lnTo>
                    <a:lnTo>
                      <a:pt x="398" y="356"/>
                    </a:lnTo>
                    <a:lnTo>
                      <a:pt x="398" y="356"/>
                    </a:lnTo>
                    <a:lnTo>
                      <a:pt x="389" y="361"/>
                    </a:lnTo>
                    <a:lnTo>
                      <a:pt x="389" y="365"/>
                    </a:lnTo>
                    <a:lnTo>
                      <a:pt x="384" y="370"/>
                    </a:lnTo>
                    <a:lnTo>
                      <a:pt x="384" y="375"/>
                    </a:lnTo>
                    <a:lnTo>
                      <a:pt x="384" y="379"/>
                    </a:lnTo>
                    <a:lnTo>
                      <a:pt x="384" y="379"/>
                    </a:lnTo>
                    <a:lnTo>
                      <a:pt x="384" y="384"/>
                    </a:lnTo>
                    <a:lnTo>
                      <a:pt x="384" y="393"/>
                    </a:lnTo>
                    <a:lnTo>
                      <a:pt x="380" y="398"/>
                    </a:lnTo>
                    <a:lnTo>
                      <a:pt x="380" y="402"/>
                    </a:lnTo>
                    <a:lnTo>
                      <a:pt x="380" y="402"/>
                    </a:lnTo>
                    <a:lnTo>
                      <a:pt x="380" y="402"/>
                    </a:lnTo>
                    <a:lnTo>
                      <a:pt x="375" y="407"/>
                    </a:lnTo>
                    <a:lnTo>
                      <a:pt x="371" y="407"/>
                    </a:lnTo>
                    <a:lnTo>
                      <a:pt x="371" y="411"/>
                    </a:lnTo>
                    <a:lnTo>
                      <a:pt x="366" y="411"/>
                    </a:lnTo>
                    <a:lnTo>
                      <a:pt x="366" y="416"/>
                    </a:lnTo>
                    <a:lnTo>
                      <a:pt x="361" y="416"/>
                    </a:lnTo>
                    <a:lnTo>
                      <a:pt x="357" y="416"/>
                    </a:lnTo>
                    <a:lnTo>
                      <a:pt x="357" y="420"/>
                    </a:lnTo>
                    <a:lnTo>
                      <a:pt x="357" y="420"/>
                    </a:lnTo>
                    <a:lnTo>
                      <a:pt x="352" y="420"/>
                    </a:lnTo>
                    <a:lnTo>
                      <a:pt x="348" y="420"/>
                    </a:lnTo>
                    <a:lnTo>
                      <a:pt x="348" y="425"/>
                    </a:lnTo>
                    <a:lnTo>
                      <a:pt x="343" y="425"/>
                    </a:lnTo>
                    <a:lnTo>
                      <a:pt x="339" y="425"/>
                    </a:lnTo>
                    <a:lnTo>
                      <a:pt x="329" y="434"/>
                    </a:lnTo>
                    <a:lnTo>
                      <a:pt x="320" y="439"/>
                    </a:lnTo>
                    <a:lnTo>
                      <a:pt x="307" y="443"/>
                    </a:lnTo>
                    <a:lnTo>
                      <a:pt x="302" y="443"/>
                    </a:lnTo>
                    <a:lnTo>
                      <a:pt x="288" y="443"/>
                    </a:lnTo>
                    <a:lnTo>
                      <a:pt x="288" y="448"/>
                    </a:lnTo>
                    <a:lnTo>
                      <a:pt x="279" y="452"/>
                    </a:lnTo>
                    <a:lnTo>
                      <a:pt x="275" y="452"/>
                    </a:lnTo>
                    <a:lnTo>
                      <a:pt x="270" y="457"/>
                    </a:lnTo>
                    <a:lnTo>
                      <a:pt x="265" y="462"/>
                    </a:lnTo>
                    <a:lnTo>
                      <a:pt x="261" y="462"/>
                    </a:lnTo>
                    <a:lnTo>
                      <a:pt x="256" y="466"/>
                    </a:lnTo>
                    <a:lnTo>
                      <a:pt x="256" y="466"/>
                    </a:lnTo>
                    <a:lnTo>
                      <a:pt x="252" y="466"/>
                    </a:lnTo>
                    <a:lnTo>
                      <a:pt x="247" y="471"/>
                    </a:lnTo>
                    <a:lnTo>
                      <a:pt x="238" y="475"/>
                    </a:lnTo>
                    <a:lnTo>
                      <a:pt x="233" y="475"/>
                    </a:lnTo>
                    <a:lnTo>
                      <a:pt x="229" y="475"/>
                    </a:lnTo>
                    <a:lnTo>
                      <a:pt x="224" y="475"/>
                    </a:lnTo>
                    <a:lnTo>
                      <a:pt x="224" y="475"/>
                    </a:lnTo>
                    <a:lnTo>
                      <a:pt x="220" y="480"/>
                    </a:lnTo>
                    <a:lnTo>
                      <a:pt x="215" y="480"/>
                    </a:lnTo>
                    <a:lnTo>
                      <a:pt x="215" y="484"/>
                    </a:lnTo>
                    <a:lnTo>
                      <a:pt x="206" y="489"/>
                    </a:lnTo>
                    <a:lnTo>
                      <a:pt x="201" y="489"/>
                    </a:lnTo>
                    <a:lnTo>
                      <a:pt x="201" y="489"/>
                    </a:lnTo>
                    <a:lnTo>
                      <a:pt x="197" y="489"/>
                    </a:lnTo>
                    <a:lnTo>
                      <a:pt x="192" y="489"/>
                    </a:lnTo>
                    <a:lnTo>
                      <a:pt x="183" y="489"/>
                    </a:lnTo>
                    <a:lnTo>
                      <a:pt x="179" y="489"/>
                    </a:lnTo>
                    <a:lnTo>
                      <a:pt x="179" y="489"/>
                    </a:lnTo>
                    <a:lnTo>
                      <a:pt x="179" y="489"/>
                    </a:lnTo>
                    <a:lnTo>
                      <a:pt x="174" y="489"/>
                    </a:lnTo>
                    <a:lnTo>
                      <a:pt x="169" y="489"/>
                    </a:lnTo>
                    <a:lnTo>
                      <a:pt x="165" y="489"/>
                    </a:lnTo>
                    <a:lnTo>
                      <a:pt x="160" y="489"/>
                    </a:lnTo>
                    <a:lnTo>
                      <a:pt x="160" y="489"/>
                    </a:lnTo>
                    <a:lnTo>
                      <a:pt x="156" y="489"/>
                    </a:lnTo>
                    <a:lnTo>
                      <a:pt x="151" y="489"/>
                    </a:lnTo>
                    <a:lnTo>
                      <a:pt x="147" y="489"/>
                    </a:lnTo>
                    <a:lnTo>
                      <a:pt x="142" y="489"/>
                    </a:lnTo>
                    <a:lnTo>
                      <a:pt x="137" y="494"/>
                    </a:lnTo>
                    <a:lnTo>
                      <a:pt x="137" y="494"/>
                    </a:lnTo>
                    <a:lnTo>
                      <a:pt x="137" y="498"/>
                    </a:lnTo>
                    <a:lnTo>
                      <a:pt x="133" y="498"/>
                    </a:lnTo>
                    <a:lnTo>
                      <a:pt x="128" y="503"/>
                    </a:lnTo>
                    <a:lnTo>
                      <a:pt x="124" y="503"/>
                    </a:lnTo>
                    <a:lnTo>
                      <a:pt x="119" y="507"/>
                    </a:lnTo>
                    <a:lnTo>
                      <a:pt x="119" y="512"/>
                    </a:lnTo>
                    <a:lnTo>
                      <a:pt x="115" y="512"/>
                    </a:lnTo>
                    <a:lnTo>
                      <a:pt x="115" y="512"/>
                    </a:lnTo>
                    <a:lnTo>
                      <a:pt x="110" y="512"/>
                    </a:lnTo>
                    <a:lnTo>
                      <a:pt x="110" y="516"/>
                    </a:lnTo>
                    <a:lnTo>
                      <a:pt x="105" y="521"/>
                    </a:lnTo>
                    <a:lnTo>
                      <a:pt x="101" y="526"/>
                    </a:lnTo>
                    <a:lnTo>
                      <a:pt x="96" y="526"/>
                    </a:lnTo>
                    <a:lnTo>
                      <a:pt x="92" y="530"/>
                    </a:lnTo>
                    <a:lnTo>
                      <a:pt x="87" y="535"/>
                    </a:lnTo>
                    <a:lnTo>
                      <a:pt x="83" y="535"/>
                    </a:lnTo>
                    <a:lnTo>
                      <a:pt x="78" y="544"/>
                    </a:lnTo>
                    <a:lnTo>
                      <a:pt x="73" y="544"/>
                    </a:lnTo>
                    <a:lnTo>
                      <a:pt x="73" y="548"/>
                    </a:lnTo>
                    <a:lnTo>
                      <a:pt x="69" y="548"/>
                    </a:lnTo>
                    <a:lnTo>
                      <a:pt x="69" y="553"/>
                    </a:lnTo>
                    <a:lnTo>
                      <a:pt x="69" y="553"/>
                    </a:lnTo>
                    <a:lnTo>
                      <a:pt x="69" y="553"/>
                    </a:lnTo>
                    <a:lnTo>
                      <a:pt x="64" y="553"/>
                    </a:lnTo>
                    <a:lnTo>
                      <a:pt x="60" y="558"/>
                    </a:lnTo>
                    <a:lnTo>
                      <a:pt x="55" y="553"/>
                    </a:lnTo>
                    <a:lnTo>
                      <a:pt x="51" y="553"/>
                    </a:lnTo>
                    <a:lnTo>
                      <a:pt x="46" y="553"/>
                    </a:lnTo>
                    <a:lnTo>
                      <a:pt x="37" y="553"/>
                    </a:lnTo>
                    <a:lnTo>
                      <a:pt x="28" y="553"/>
                    </a:lnTo>
                    <a:lnTo>
                      <a:pt x="28" y="553"/>
                    </a:lnTo>
                    <a:lnTo>
                      <a:pt x="23" y="562"/>
                    </a:lnTo>
                    <a:lnTo>
                      <a:pt x="19" y="567"/>
                    </a:lnTo>
                    <a:lnTo>
                      <a:pt x="14" y="571"/>
                    </a:lnTo>
                    <a:lnTo>
                      <a:pt x="9" y="571"/>
                    </a:lnTo>
                    <a:lnTo>
                      <a:pt x="9" y="571"/>
                    </a:lnTo>
                    <a:lnTo>
                      <a:pt x="9" y="567"/>
                    </a:lnTo>
                    <a:lnTo>
                      <a:pt x="9" y="567"/>
                    </a:lnTo>
                    <a:lnTo>
                      <a:pt x="9" y="558"/>
                    </a:lnTo>
                    <a:lnTo>
                      <a:pt x="9" y="553"/>
                    </a:lnTo>
                    <a:lnTo>
                      <a:pt x="9" y="548"/>
                    </a:lnTo>
                    <a:lnTo>
                      <a:pt x="9" y="544"/>
                    </a:lnTo>
                    <a:lnTo>
                      <a:pt x="5" y="544"/>
                    </a:lnTo>
                    <a:lnTo>
                      <a:pt x="5" y="544"/>
                    </a:lnTo>
                    <a:lnTo>
                      <a:pt x="5" y="539"/>
                    </a:lnTo>
                    <a:lnTo>
                      <a:pt x="9" y="539"/>
                    </a:lnTo>
                    <a:lnTo>
                      <a:pt x="9" y="535"/>
                    </a:lnTo>
                    <a:lnTo>
                      <a:pt x="9" y="530"/>
                    </a:lnTo>
                    <a:lnTo>
                      <a:pt x="9" y="526"/>
                    </a:lnTo>
                    <a:lnTo>
                      <a:pt x="9" y="521"/>
                    </a:lnTo>
                    <a:lnTo>
                      <a:pt x="9" y="516"/>
                    </a:lnTo>
                    <a:lnTo>
                      <a:pt x="9" y="512"/>
                    </a:lnTo>
                    <a:lnTo>
                      <a:pt x="9" y="507"/>
                    </a:lnTo>
                    <a:lnTo>
                      <a:pt x="9" y="507"/>
                    </a:lnTo>
                    <a:lnTo>
                      <a:pt x="5" y="503"/>
                    </a:lnTo>
                    <a:lnTo>
                      <a:pt x="5" y="498"/>
                    </a:lnTo>
                    <a:lnTo>
                      <a:pt x="0" y="498"/>
                    </a:lnTo>
                    <a:lnTo>
                      <a:pt x="5" y="494"/>
                    </a:lnTo>
                    <a:lnTo>
                      <a:pt x="5" y="494"/>
                    </a:lnTo>
                    <a:lnTo>
                      <a:pt x="5" y="489"/>
                    </a:lnTo>
                    <a:lnTo>
                      <a:pt x="9" y="489"/>
                    </a:lnTo>
                    <a:lnTo>
                      <a:pt x="14" y="484"/>
                    </a:lnTo>
                    <a:lnTo>
                      <a:pt x="14" y="484"/>
                    </a:lnTo>
                    <a:lnTo>
                      <a:pt x="14" y="484"/>
                    </a:lnTo>
                    <a:lnTo>
                      <a:pt x="14" y="484"/>
                    </a:lnTo>
                    <a:lnTo>
                      <a:pt x="14" y="480"/>
                    </a:lnTo>
                    <a:lnTo>
                      <a:pt x="14" y="475"/>
                    </a:lnTo>
                    <a:lnTo>
                      <a:pt x="14" y="466"/>
                    </a:lnTo>
                    <a:lnTo>
                      <a:pt x="14" y="466"/>
                    </a:lnTo>
                    <a:lnTo>
                      <a:pt x="14" y="466"/>
                    </a:lnTo>
                    <a:lnTo>
                      <a:pt x="14" y="462"/>
                    </a:lnTo>
                    <a:lnTo>
                      <a:pt x="14" y="462"/>
                    </a:lnTo>
                    <a:lnTo>
                      <a:pt x="19" y="462"/>
                    </a:lnTo>
                    <a:lnTo>
                      <a:pt x="19" y="452"/>
                    </a:lnTo>
                    <a:lnTo>
                      <a:pt x="19" y="448"/>
                    </a:lnTo>
                    <a:lnTo>
                      <a:pt x="14" y="448"/>
                    </a:lnTo>
                    <a:lnTo>
                      <a:pt x="14" y="448"/>
                    </a:lnTo>
                    <a:lnTo>
                      <a:pt x="14" y="448"/>
                    </a:lnTo>
                    <a:lnTo>
                      <a:pt x="14" y="448"/>
                    </a:lnTo>
                    <a:lnTo>
                      <a:pt x="14" y="443"/>
                    </a:lnTo>
                    <a:lnTo>
                      <a:pt x="14" y="443"/>
                    </a:lnTo>
                    <a:lnTo>
                      <a:pt x="19" y="443"/>
                    </a:lnTo>
                    <a:lnTo>
                      <a:pt x="19" y="443"/>
                    </a:lnTo>
                    <a:lnTo>
                      <a:pt x="23" y="434"/>
                    </a:lnTo>
                    <a:lnTo>
                      <a:pt x="23" y="430"/>
                    </a:lnTo>
                    <a:lnTo>
                      <a:pt x="19" y="430"/>
                    </a:lnTo>
                    <a:lnTo>
                      <a:pt x="19" y="430"/>
                    </a:lnTo>
                    <a:lnTo>
                      <a:pt x="23" y="425"/>
                    </a:lnTo>
                    <a:lnTo>
                      <a:pt x="23" y="420"/>
                    </a:lnTo>
                    <a:lnTo>
                      <a:pt x="23" y="420"/>
                    </a:lnTo>
                    <a:lnTo>
                      <a:pt x="23" y="420"/>
                    </a:lnTo>
                    <a:lnTo>
                      <a:pt x="23" y="416"/>
                    </a:lnTo>
                    <a:lnTo>
                      <a:pt x="23" y="416"/>
                    </a:lnTo>
                    <a:lnTo>
                      <a:pt x="23" y="416"/>
                    </a:lnTo>
                    <a:lnTo>
                      <a:pt x="23" y="416"/>
                    </a:lnTo>
                    <a:lnTo>
                      <a:pt x="23" y="416"/>
                    </a:lnTo>
                    <a:lnTo>
                      <a:pt x="23" y="411"/>
                    </a:lnTo>
                    <a:lnTo>
                      <a:pt x="23" y="411"/>
                    </a:lnTo>
                    <a:lnTo>
                      <a:pt x="23" y="411"/>
                    </a:lnTo>
                    <a:lnTo>
                      <a:pt x="19" y="407"/>
                    </a:lnTo>
                    <a:lnTo>
                      <a:pt x="19" y="407"/>
                    </a:lnTo>
                    <a:lnTo>
                      <a:pt x="23" y="407"/>
                    </a:lnTo>
                    <a:lnTo>
                      <a:pt x="23" y="402"/>
                    </a:lnTo>
                    <a:lnTo>
                      <a:pt x="23" y="402"/>
                    </a:lnTo>
                    <a:lnTo>
                      <a:pt x="19" y="402"/>
                    </a:lnTo>
                    <a:lnTo>
                      <a:pt x="19" y="402"/>
                    </a:lnTo>
                    <a:lnTo>
                      <a:pt x="19" y="402"/>
                    </a:lnTo>
                    <a:lnTo>
                      <a:pt x="23" y="398"/>
                    </a:lnTo>
                    <a:lnTo>
                      <a:pt x="23" y="398"/>
                    </a:lnTo>
                    <a:lnTo>
                      <a:pt x="23" y="393"/>
                    </a:lnTo>
                    <a:lnTo>
                      <a:pt x="23" y="393"/>
                    </a:lnTo>
                    <a:lnTo>
                      <a:pt x="23" y="393"/>
                    </a:lnTo>
                    <a:lnTo>
                      <a:pt x="23" y="388"/>
                    </a:lnTo>
                    <a:lnTo>
                      <a:pt x="41" y="388"/>
                    </a:lnTo>
                    <a:lnTo>
                      <a:pt x="51" y="388"/>
                    </a:lnTo>
                    <a:lnTo>
                      <a:pt x="55" y="388"/>
                    </a:lnTo>
                    <a:lnTo>
                      <a:pt x="60" y="388"/>
                    </a:lnTo>
                    <a:lnTo>
                      <a:pt x="60" y="384"/>
                    </a:lnTo>
                    <a:lnTo>
                      <a:pt x="64" y="379"/>
                    </a:lnTo>
                    <a:lnTo>
                      <a:pt x="64" y="379"/>
                    </a:lnTo>
                    <a:lnTo>
                      <a:pt x="73" y="379"/>
                    </a:lnTo>
                    <a:lnTo>
                      <a:pt x="87" y="375"/>
                    </a:lnTo>
                    <a:lnTo>
                      <a:pt x="87" y="375"/>
                    </a:lnTo>
                    <a:lnTo>
                      <a:pt x="92" y="379"/>
                    </a:lnTo>
                    <a:lnTo>
                      <a:pt x="101" y="384"/>
                    </a:lnTo>
                    <a:lnTo>
                      <a:pt x="101" y="384"/>
                    </a:lnTo>
                    <a:lnTo>
                      <a:pt x="110" y="384"/>
                    </a:lnTo>
                    <a:lnTo>
                      <a:pt x="110" y="384"/>
                    </a:lnTo>
                    <a:lnTo>
                      <a:pt x="119" y="379"/>
                    </a:lnTo>
                    <a:lnTo>
                      <a:pt x="119" y="379"/>
                    </a:lnTo>
                    <a:lnTo>
                      <a:pt x="124" y="379"/>
                    </a:lnTo>
                    <a:lnTo>
                      <a:pt x="128" y="379"/>
                    </a:lnTo>
                    <a:lnTo>
                      <a:pt x="137" y="375"/>
                    </a:lnTo>
                    <a:lnTo>
                      <a:pt x="137" y="375"/>
                    </a:lnTo>
                    <a:lnTo>
                      <a:pt x="142" y="361"/>
                    </a:lnTo>
                    <a:lnTo>
                      <a:pt x="142" y="352"/>
                    </a:lnTo>
                    <a:lnTo>
                      <a:pt x="151" y="338"/>
                    </a:lnTo>
                    <a:lnTo>
                      <a:pt x="151" y="338"/>
                    </a:lnTo>
                    <a:lnTo>
                      <a:pt x="151" y="329"/>
                    </a:lnTo>
                    <a:lnTo>
                      <a:pt x="151" y="320"/>
                    </a:lnTo>
                    <a:lnTo>
                      <a:pt x="151" y="315"/>
                    </a:lnTo>
                    <a:lnTo>
                      <a:pt x="156" y="315"/>
                    </a:lnTo>
                    <a:lnTo>
                      <a:pt x="160" y="306"/>
                    </a:lnTo>
                    <a:lnTo>
                      <a:pt x="165" y="306"/>
                    </a:lnTo>
                    <a:lnTo>
                      <a:pt x="165" y="301"/>
                    </a:lnTo>
                    <a:lnTo>
                      <a:pt x="165" y="292"/>
                    </a:lnTo>
                    <a:lnTo>
                      <a:pt x="165" y="288"/>
                    </a:lnTo>
                    <a:lnTo>
                      <a:pt x="160" y="283"/>
                    </a:lnTo>
                    <a:lnTo>
                      <a:pt x="165" y="279"/>
                    </a:lnTo>
                    <a:lnTo>
                      <a:pt x="165" y="274"/>
                    </a:lnTo>
                    <a:lnTo>
                      <a:pt x="160" y="269"/>
                    </a:lnTo>
                    <a:lnTo>
                      <a:pt x="156" y="251"/>
                    </a:lnTo>
                    <a:lnTo>
                      <a:pt x="156" y="247"/>
                    </a:lnTo>
                    <a:lnTo>
                      <a:pt x="156" y="237"/>
                    </a:lnTo>
                    <a:lnTo>
                      <a:pt x="160" y="228"/>
                    </a:lnTo>
                    <a:lnTo>
                      <a:pt x="165" y="224"/>
                    </a:lnTo>
                    <a:lnTo>
                      <a:pt x="165" y="224"/>
                    </a:lnTo>
                    <a:lnTo>
                      <a:pt x="174" y="219"/>
                    </a:lnTo>
                    <a:lnTo>
                      <a:pt x="174" y="219"/>
                    </a:lnTo>
                    <a:lnTo>
                      <a:pt x="179" y="215"/>
                    </a:lnTo>
                    <a:lnTo>
                      <a:pt x="183" y="205"/>
                    </a:lnTo>
                    <a:lnTo>
                      <a:pt x="188" y="201"/>
                    </a:lnTo>
                    <a:lnTo>
                      <a:pt x="192" y="196"/>
                    </a:lnTo>
                    <a:lnTo>
                      <a:pt x="192" y="192"/>
                    </a:lnTo>
                    <a:lnTo>
                      <a:pt x="197" y="187"/>
                    </a:lnTo>
                    <a:lnTo>
                      <a:pt x="201" y="183"/>
                    </a:lnTo>
                    <a:lnTo>
                      <a:pt x="201" y="183"/>
                    </a:lnTo>
                    <a:lnTo>
                      <a:pt x="201" y="169"/>
                    </a:lnTo>
                    <a:lnTo>
                      <a:pt x="206" y="164"/>
                    </a:lnTo>
                    <a:lnTo>
                      <a:pt x="206" y="164"/>
                    </a:lnTo>
                    <a:lnTo>
                      <a:pt x="206" y="160"/>
                    </a:lnTo>
                    <a:lnTo>
                      <a:pt x="211" y="160"/>
                    </a:lnTo>
                    <a:lnTo>
                      <a:pt x="215" y="160"/>
                    </a:lnTo>
                    <a:lnTo>
                      <a:pt x="224" y="164"/>
                    </a:lnTo>
                    <a:lnTo>
                      <a:pt x="224" y="164"/>
                    </a:lnTo>
                    <a:lnTo>
                      <a:pt x="233" y="155"/>
                    </a:lnTo>
                    <a:lnTo>
                      <a:pt x="238" y="151"/>
                    </a:lnTo>
                    <a:lnTo>
                      <a:pt x="238" y="146"/>
                    </a:lnTo>
                    <a:lnTo>
                      <a:pt x="238" y="146"/>
                    </a:lnTo>
                    <a:lnTo>
                      <a:pt x="233" y="137"/>
                    </a:lnTo>
                    <a:lnTo>
                      <a:pt x="233" y="137"/>
                    </a:lnTo>
                    <a:lnTo>
                      <a:pt x="229" y="128"/>
                    </a:lnTo>
                    <a:lnTo>
                      <a:pt x="229" y="123"/>
                    </a:lnTo>
                    <a:lnTo>
                      <a:pt x="229" y="119"/>
                    </a:lnTo>
                    <a:lnTo>
                      <a:pt x="229" y="109"/>
                    </a:lnTo>
                    <a:lnTo>
                      <a:pt x="238" y="100"/>
                    </a:lnTo>
                    <a:lnTo>
                      <a:pt x="238" y="100"/>
                    </a:lnTo>
                    <a:lnTo>
                      <a:pt x="247" y="96"/>
                    </a:lnTo>
                    <a:lnTo>
                      <a:pt x="252" y="96"/>
                    </a:lnTo>
                    <a:lnTo>
                      <a:pt x="265" y="91"/>
                    </a:lnTo>
                    <a:lnTo>
                      <a:pt x="279" y="87"/>
                    </a:lnTo>
                    <a:lnTo>
                      <a:pt x="284" y="87"/>
                    </a:lnTo>
                    <a:lnTo>
                      <a:pt x="288" y="87"/>
                    </a:lnTo>
                    <a:lnTo>
                      <a:pt x="293" y="87"/>
                    </a:lnTo>
                    <a:lnTo>
                      <a:pt x="297" y="87"/>
                    </a:lnTo>
                    <a:lnTo>
                      <a:pt x="302" y="87"/>
                    </a:lnTo>
                    <a:lnTo>
                      <a:pt x="307" y="87"/>
                    </a:lnTo>
                    <a:lnTo>
                      <a:pt x="311" y="82"/>
                    </a:lnTo>
                    <a:lnTo>
                      <a:pt x="311" y="77"/>
                    </a:lnTo>
                    <a:lnTo>
                      <a:pt x="311" y="77"/>
                    </a:lnTo>
                    <a:lnTo>
                      <a:pt x="316" y="77"/>
                    </a:lnTo>
                    <a:lnTo>
                      <a:pt x="320" y="73"/>
                    </a:lnTo>
                    <a:lnTo>
                      <a:pt x="320" y="73"/>
                    </a:lnTo>
                    <a:lnTo>
                      <a:pt x="320" y="64"/>
                    </a:lnTo>
                    <a:lnTo>
                      <a:pt x="320" y="59"/>
                    </a:lnTo>
                    <a:lnTo>
                      <a:pt x="329" y="55"/>
                    </a:lnTo>
                    <a:lnTo>
                      <a:pt x="334" y="50"/>
                    </a:lnTo>
                    <a:lnTo>
                      <a:pt x="334" y="41"/>
                    </a:lnTo>
                    <a:lnTo>
                      <a:pt x="339" y="36"/>
                    </a:lnTo>
                    <a:lnTo>
                      <a:pt x="339" y="32"/>
                    </a:lnTo>
                    <a:lnTo>
                      <a:pt x="339" y="27"/>
                    </a:lnTo>
                    <a:lnTo>
                      <a:pt x="339" y="27"/>
                    </a:lnTo>
                    <a:lnTo>
                      <a:pt x="334" y="18"/>
                    </a:lnTo>
                    <a:lnTo>
                      <a:pt x="339" y="9"/>
                    </a:lnTo>
                    <a:lnTo>
                      <a:pt x="339" y="4"/>
                    </a:lnTo>
                    <a:lnTo>
                      <a:pt x="343" y="0"/>
                    </a:lnTo>
                    <a:lnTo>
                      <a:pt x="343" y="0"/>
                    </a:lnTo>
                    <a:lnTo>
                      <a:pt x="343" y="0"/>
                    </a:lnTo>
                    <a:lnTo>
                      <a:pt x="343" y="4"/>
                    </a:lnTo>
                    <a:lnTo>
                      <a:pt x="348" y="4"/>
                    </a:lnTo>
                    <a:lnTo>
                      <a:pt x="352" y="9"/>
                    </a:lnTo>
                    <a:lnTo>
                      <a:pt x="357" y="9"/>
                    </a:lnTo>
                    <a:lnTo>
                      <a:pt x="361" y="9"/>
                    </a:lnTo>
                    <a:lnTo>
                      <a:pt x="380" y="9"/>
                    </a:lnTo>
                    <a:lnTo>
                      <a:pt x="389" y="9"/>
                    </a:lnTo>
                    <a:lnTo>
                      <a:pt x="393" y="13"/>
                    </a:lnTo>
                    <a:lnTo>
                      <a:pt x="398" y="18"/>
                    </a:lnTo>
                    <a:lnTo>
                      <a:pt x="398" y="23"/>
                    </a:lnTo>
                    <a:lnTo>
                      <a:pt x="398" y="27"/>
                    </a:lnTo>
                    <a:lnTo>
                      <a:pt x="403" y="27"/>
                    </a:lnTo>
                    <a:close/>
                  </a:path>
                </a:pathLst>
              </a:custGeom>
              <a:grpFill/>
              <a:ln w="9525" cap="flat" cmpd="sng" algn="ctr">
                <a:solidFill>
                  <a:srgbClr val="FFFFFF"/>
                </a:solidFill>
                <a:prstDash val="solid"/>
              </a:ln>
              <a:effectLst/>
            </p:spPr>
            <p:txBody>
              <a:bodyPr lIns="0" tIns="0" rIns="0" bIns="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cs typeface="Arial" pitchFamily="34" charset="0"/>
                </a:endParaRPr>
              </a:p>
            </p:txBody>
          </p:sp>
          <p:sp>
            <p:nvSpPr>
              <p:cNvPr id="187" name="Freeform 177">
                <a:extLst>
                  <a:ext uri="{FF2B5EF4-FFF2-40B4-BE49-F238E27FC236}">
                    <a16:creationId xmlns:a16="http://schemas.microsoft.com/office/drawing/2014/main" id="{D1C003C3-536B-4801-9E0A-A514FC609F67}"/>
                  </a:ext>
                </a:extLst>
              </p:cNvPr>
              <p:cNvSpPr>
                <a:spLocks/>
              </p:cNvSpPr>
              <p:nvPr>
                <p:custDataLst>
                  <p:tags r:id="rId4"/>
                </p:custDataLst>
              </p:nvPr>
            </p:nvSpPr>
            <p:spPr bwMode="auto">
              <a:xfrm>
                <a:off x="2408849" y="5355277"/>
                <a:ext cx="394996" cy="561044"/>
              </a:xfrm>
              <a:custGeom>
                <a:avLst/>
                <a:gdLst/>
                <a:ahLst/>
                <a:cxnLst>
                  <a:cxn ang="0">
                    <a:pos x="192" y="78"/>
                  </a:cxn>
                  <a:cxn ang="0">
                    <a:pos x="215" y="78"/>
                  </a:cxn>
                  <a:cxn ang="0">
                    <a:pos x="233" y="115"/>
                  </a:cxn>
                  <a:cxn ang="0">
                    <a:pos x="270" y="137"/>
                  </a:cxn>
                  <a:cxn ang="0">
                    <a:pos x="279" y="188"/>
                  </a:cxn>
                  <a:cxn ang="0">
                    <a:pos x="288" y="229"/>
                  </a:cxn>
                  <a:cxn ang="0">
                    <a:pos x="274" y="247"/>
                  </a:cxn>
                  <a:cxn ang="0">
                    <a:pos x="247" y="238"/>
                  </a:cxn>
                  <a:cxn ang="0">
                    <a:pos x="219" y="197"/>
                  </a:cxn>
                  <a:cxn ang="0">
                    <a:pos x="201" y="215"/>
                  </a:cxn>
                  <a:cxn ang="0">
                    <a:pos x="169" y="233"/>
                  </a:cxn>
                  <a:cxn ang="0">
                    <a:pos x="178" y="265"/>
                  </a:cxn>
                  <a:cxn ang="0">
                    <a:pos x="137" y="275"/>
                  </a:cxn>
                  <a:cxn ang="0">
                    <a:pos x="146" y="293"/>
                  </a:cxn>
                  <a:cxn ang="0">
                    <a:pos x="133" y="311"/>
                  </a:cxn>
                  <a:cxn ang="0">
                    <a:pos x="137" y="343"/>
                  </a:cxn>
                  <a:cxn ang="0">
                    <a:pos x="123" y="380"/>
                  </a:cxn>
                  <a:cxn ang="0">
                    <a:pos x="105" y="393"/>
                  </a:cxn>
                  <a:cxn ang="0">
                    <a:pos x="133" y="398"/>
                  </a:cxn>
                  <a:cxn ang="0">
                    <a:pos x="114" y="416"/>
                  </a:cxn>
                  <a:cxn ang="0">
                    <a:pos x="123" y="435"/>
                  </a:cxn>
                  <a:cxn ang="0">
                    <a:pos x="114" y="453"/>
                  </a:cxn>
                  <a:cxn ang="0">
                    <a:pos x="82" y="448"/>
                  </a:cxn>
                  <a:cxn ang="0">
                    <a:pos x="46" y="448"/>
                  </a:cxn>
                  <a:cxn ang="0">
                    <a:pos x="18" y="448"/>
                  </a:cxn>
                  <a:cxn ang="0">
                    <a:pos x="0" y="435"/>
                  </a:cxn>
                  <a:cxn ang="0">
                    <a:pos x="9" y="412"/>
                  </a:cxn>
                  <a:cxn ang="0">
                    <a:pos x="27" y="403"/>
                  </a:cxn>
                  <a:cxn ang="0">
                    <a:pos x="37" y="384"/>
                  </a:cxn>
                  <a:cxn ang="0">
                    <a:pos x="41" y="366"/>
                  </a:cxn>
                  <a:cxn ang="0">
                    <a:pos x="37" y="325"/>
                  </a:cxn>
                  <a:cxn ang="0">
                    <a:pos x="41" y="297"/>
                  </a:cxn>
                  <a:cxn ang="0">
                    <a:pos x="55" y="275"/>
                  </a:cxn>
                  <a:cxn ang="0">
                    <a:pos x="59" y="252"/>
                  </a:cxn>
                  <a:cxn ang="0">
                    <a:pos x="78" y="229"/>
                  </a:cxn>
                  <a:cxn ang="0">
                    <a:pos x="87" y="206"/>
                  </a:cxn>
                  <a:cxn ang="0">
                    <a:pos x="101" y="183"/>
                  </a:cxn>
                  <a:cxn ang="0">
                    <a:pos x="105" y="165"/>
                  </a:cxn>
                  <a:cxn ang="0">
                    <a:pos x="96" y="142"/>
                  </a:cxn>
                  <a:cxn ang="0">
                    <a:pos x="96" y="133"/>
                  </a:cxn>
                  <a:cxn ang="0">
                    <a:pos x="101" y="115"/>
                  </a:cxn>
                  <a:cxn ang="0">
                    <a:pos x="101" y="73"/>
                  </a:cxn>
                  <a:cxn ang="0">
                    <a:pos x="91" y="60"/>
                  </a:cxn>
                  <a:cxn ang="0">
                    <a:pos x="69" y="51"/>
                  </a:cxn>
                  <a:cxn ang="0">
                    <a:pos x="46" y="37"/>
                  </a:cxn>
                  <a:cxn ang="0">
                    <a:pos x="50" y="9"/>
                  </a:cxn>
                  <a:cxn ang="0">
                    <a:pos x="82" y="5"/>
                  </a:cxn>
                  <a:cxn ang="0">
                    <a:pos x="91" y="5"/>
                  </a:cxn>
                  <a:cxn ang="0">
                    <a:pos x="110" y="9"/>
                  </a:cxn>
                  <a:cxn ang="0">
                    <a:pos x="137" y="9"/>
                  </a:cxn>
                  <a:cxn ang="0">
                    <a:pos x="133" y="28"/>
                  </a:cxn>
                  <a:cxn ang="0">
                    <a:pos x="123" y="55"/>
                  </a:cxn>
                  <a:cxn ang="0">
                    <a:pos x="137" y="73"/>
                  </a:cxn>
                  <a:cxn ang="0">
                    <a:pos x="169" y="73"/>
                  </a:cxn>
                </a:cxnLst>
                <a:rect l="0" t="0" r="r" b="b"/>
                <a:pathLst>
                  <a:path w="297" h="453">
                    <a:moveTo>
                      <a:pt x="178" y="73"/>
                    </a:moveTo>
                    <a:lnTo>
                      <a:pt x="183" y="73"/>
                    </a:lnTo>
                    <a:lnTo>
                      <a:pt x="183" y="78"/>
                    </a:lnTo>
                    <a:lnTo>
                      <a:pt x="187" y="78"/>
                    </a:lnTo>
                    <a:lnTo>
                      <a:pt x="192" y="78"/>
                    </a:lnTo>
                    <a:lnTo>
                      <a:pt x="192" y="78"/>
                    </a:lnTo>
                    <a:lnTo>
                      <a:pt x="197" y="78"/>
                    </a:lnTo>
                    <a:lnTo>
                      <a:pt x="201" y="78"/>
                    </a:lnTo>
                    <a:lnTo>
                      <a:pt x="206" y="78"/>
                    </a:lnTo>
                    <a:lnTo>
                      <a:pt x="215" y="78"/>
                    </a:lnTo>
                    <a:lnTo>
                      <a:pt x="219" y="83"/>
                    </a:lnTo>
                    <a:lnTo>
                      <a:pt x="224" y="92"/>
                    </a:lnTo>
                    <a:lnTo>
                      <a:pt x="224" y="96"/>
                    </a:lnTo>
                    <a:lnTo>
                      <a:pt x="224" y="105"/>
                    </a:lnTo>
                    <a:lnTo>
                      <a:pt x="233" y="115"/>
                    </a:lnTo>
                    <a:lnTo>
                      <a:pt x="242" y="124"/>
                    </a:lnTo>
                    <a:lnTo>
                      <a:pt x="251" y="128"/>
                    </a:lnTo>
                    <a:lnTo>
                      <a:pt x="261" y="128"/>
                    </a:lnTo>
                    <a:lnTo>
                      <a:pt x="270" y="133"/>
                    </a:lnTo>
                    <a:lnTo>
                      <a:pt x="270" y="137"/>
                    </a:lnTo>
                    <a:lnTo>
                      <a:pt x="270" y="147"/>
                    </a:lnTo>
                    <a:lnTo>
                      <a:pt x="274" y="165"/>
                    </a:lnTo>
                    <a:lnTo>
                      <a:pt x="279" y="179"/>
                    </a:lnTo>
                    <a:lnTo>
                      <a:pt x="279" y="183"/>
                    </a:lnTo>
                    <a:lnTo>
                      <a:pt x="279" y="188"/>
                    </a:lnTo>
                    <a:lnTo>
                      <a:pt x="279" y="192"/>
                    </a:lnTo>
                    <a:lnTo>
                      <a:pt x="279" y="197"/>
                    </a:lnTo>
                    <a:lnTo>
                      <a:pt x="279" y="206"/>
                    </a:lnTo>
                    <a:lnTo>
                      <a:pt x="288" y="220"/>
                    </a:lnTo>
                    <a:lnTo>
                      <a:pt x="288" y="229"/>
                    </a:lnTo>
                    <a:lnTo>
                      <a:pt x="293" y="233"/>
                    </a:lnTo>
                    <a:lnTo>
                      <a:pt x="297" y="243"/>
                    </a:lnTo>
                    <a:lnTo>
                      <a:pt x="288" y="252"/>
                    </a:lnTo>
                    <a:lnTo>
                      <a:pt x="279" y="252"/>
                    </a:lnTo>
                    <a:lnTo>
                      <a:pt x="274" y="247"/>
                    </a:lnTo>
                    <a:lnTo>
                      <a:pt x="270" y="243"/>
                    </a:lnTo>
                    <a:lnTo>
                      <a:pt x="265" y="247"/>
                    </a:lnTo>
                    <a:lnTo>
                      <a:pt x="256" y="252"/>
                    </a:lnTo>
                    <a:lnTo>
                      <a:pt x="251" y="247"/>
                    </a:lnTo>
                    <a:lnTo>
                      <a:pt x="247" y="238"/>
                    </a:lnTo>
                    <a:lnTo>
                      <a:pt x="233" y="229"/>
                    </a:lnTo>
                    <a:lnTo>
                      <a:pt x="233" y="220"/>
                    </a:lnTo>
                    <a:lnTo>
                      <a:pt x="229" y="211"/>
                    </a:lnTo>
                    <a:lnTo>
                      <a:pt x="224" y="201"/>
                    </a:lnTo>
                    <a:lnTo>
                      <a:pt x="219" y="197"/>
                    </a:lnTo>
                    <a:lnTo>
                      <a:pt x="215" y="192"/>
                    </a:lnTo>
                    <a:lnTo>
                      <a:pt x="206" y="192"/>
                    </a:lnTo>
                    <a:lnTo>
                      <a:pt x="201" y="201"/>
                    </a:lnTo>
                    <a:lnTo>
                      <a:pt x="201" y="206"/>
                    </a:lnTo>
                    <a:lnTo>
                      <a:pt x="201" y="215"/>
                    </a:lnTo>
                    <a:lnTo>
                      <a:pt x="192" y="220"/>
                    </a:lnTo>
                    <a:lnTo>
                      <a:pt x="187" y="229"/>
                    </a:lnTo>
                    <a:lnTo>
                      <a:pt x="178" y="229"/>
                    </a:lnTo>
                    <a:lnTo>
                      <a:pt x="174" y="229"/>
                    </a:lnTo>
                    <a:lnTo>
                      <a:pt x="169" y="233"/>
                    </a:lnTo>
                    <a:lnTo>
                      <a:pt x="165" y="243"/>
                    </a:lnTo>
                    <a:lnTo>
                      <a:pt x="165" y="252"/>
                    </a:lnTo>
                    <a:lnTo>
                      <a:pt x="174" y="252"/>
                    </a:lnTo>
                    <a:lnTo>
                      <a:pt x="178" y="261"/>
                    </a:lnTo>
                    <a:lnTo>
                      <a:pt x="178" y="265"/>
                    </a:lnTo>
                    <a:lnTo>
                      <a:pt x="174" y="270"/>
                    </a:lnTo>
                    <a:lnTo>
                      <a:pt x="165" y="270"/>
                    </a:lnTo>
                    <a:lnTo>
                      <a:pt x="146" y="275"/>
                    </a:lnTo>
                    <a:lnTo>
                      <a:pt x="137" y="275"/>
                    </a:lnTo>
                    <a:lnTo>
                      <a:pt x="137" y="275"/>
                    </a:lnTo>
                    <a:lnTo>
                      <a:pt x="133" y="275"/>
                    </a:lnTo>
                    <a:lnTo>
                      <a:pt x="133" y="279"/>
                    </a:lnTo>
                    <a:lnTo>
                      <a:pt x="137" y="284"/>
                    </a:lnTo>
                    <a:lnTo>
                      <a:pt x="142" y="288"/>
                    </a:lnTo>
                    <a:lnTo>
                      <a:pt x="146" y="293"/>
                    </a:lnTo>
                    <a:lnTo>
                      <a:pt x="146" y="293"/>
                    </a:lnTo>
                    <a:lnTo>
                      <a:pt x="142" y="293"/>
                    </a:lnTo>
                    <a:lnTo>
                      <a:pt x="137" y="293"/>
                    </a:lnTo>
                    <a:lnTo>
                      <a:pt x="133" y="307"/>
                    </a:lnTo>
                    <a:lnTo>
                      <a:pt x="133" y="311"/>
                    </a:lnTo>
                    <a:lnTo>
                      <a:pt x="133" y="320"/>
                    </a:lnTo>
                    <a:lnTo>
                      <a:pt x="133" y="329"/>
                    </a:lnTo>
                    <a:lnTo>
                      <a:pt x="133" y="334"/>
                    </a:lnTo>
                    <a:lnTo>
                      <a:pt x="133" y="339"/>
                    </a:lnTo>
                    <a:lnTo>
                      <a:pt x="137" y="343"/>
                    </a:lnTo>
                    <a:lnTo>
                      <a:pt x="133" y="357"/>
                    </a:lnTo>
                    <a:lnTo>
                      <a:pt x="128" y="366"/>
                    </a:lnTo>
                    <a:lnTo>
                      <a:pt x="128" y="371"/>
                    </a:lnTo>
                    <a:lnTo>
                      <a:pt x="123" y="375"/>
                    </a:lnTo>
                    <a:lnTo>
                      <a:pt x="123" y="380"/>
                    </a:lnTo>
                    <a:lnTo>
                      <a:pt x="119" y="384"/>
                    </a:lnTo>
                    <a:lnTo>
                      <a:pt x="114" y="384"/>
                    </a:lnTo>
                    <a:lnTo>
                      <a:pt x="110" y="389"/>
                    </a:lnTo>
                    <a:lnTo>
                      <a:pt x="110" y="393"/>
                    </a:lnTo>
                    <a:lnTo>
                      <a:pt x="105" y="393"/>
                    </a:lnTo>
                    <a:lnTo>
                      <a:pt x="110" y="398"/>
                    </a:lnTo>
                    <a:lnTo>
                      <a:pt x="114" y="398"/>
                    </a:lnTo>
                    <a:lnTo>
                      <a:pt x="123" y="398"/>
                    </a:lnTo>
                    <a:lnTo>
                      <a:pt x="128" y="393"/>
                    </a:lnTo>
                    <a:lnTo>
                      <a:pt x="133" y="398"/>
                    </a:lnTo>
                    <a:lnTo>
                      <a:pt x="128" y="403"/>
                    </a:lnTo>
                    <a:lnTo>
                      <a:pt x="123" y="403"/>
                    </a:lnTo>
                    <a:lnTo>
                      <a:pt x="123" y="412"/>
                    </a:lnTo>
                    <a:lnTo>
                      <a:pt x="119" y="416"/>
                    </a:lnTo>
                    <a:lnTo>
                      <a:pt x="114" y="416"/>
                    </a:lnTo>
                    <a:lnTo>
                      <a:pt x="114" y="421"/>
                    </a:lnTo>
                    <a:lnTo>
                      <a:pt x="110" y="421"/>
                    </a:lnTo>
                    <a:lnTo>
                      <a:pt x="119" y="425"/>
                    </a:lnTo>
                    <a:lnTo>
                      <a:pt x="123" y="430"/>
                    </a:lnTo>
                    <a:lnTo>
                      <a:pt x="123" y="435"/>
                    </a:lnTo>
                    <a:lnTo>
                      <a:pt x="123" y="439"/>
                    </a:lnTo>
                    <a:lnTo>
                      <a:pt x="123" y="444"/>
                    </a:lnTo>
                    <a:lnTo>
                      <a:pt x="123" y="448"/>
                    </a:lnTo>
                    <a:lnTo>
                      <a:pt x="119" y="448"/>
                    </a:lnTo>
                    <a:lnTo>
                      <a:pt x="114" y="453"/>
                    </a:lnTo>
                    <a:lnTo>
                      <a:pt x="105" y="448"/>
                    </a:lnTo>
                    <a:lnTo>
                      <a:pt x="105" y="453"/>
                    </a:lnTo>
                    <a:lnTo>
                      <a:pt x="96" y="448"/>
                    </a:lnTo>
                    <a:lnTo>
                      <a:pt x="87" y="448"/>
                    </a:lnTo>
                    <a:lnTo>
                      <a:pt x="82" y="448"/>
                    </a:lnTo>
                    <a:lnTo>
                      <a:pt x="78" y="448"/>
                    </a:lnTo>
                    <a:lnTo>
                      <a:pt x="69" y="448"/>
                    </a:lnTo>
                    <a:lnTo>
                      <a:pt x="59" y="448"/>
                    </a:lnTo>
                    <a:lnTo>
                      <a:pt x="55" y="448"/>
                    </a:lnTo>
                    <a:lnTo>
                      <a:pt x="46" y="448"/>
                    </a:lnTo>
                    <a:lnTo>
                      <a:pt x="41" y="448"/>
                    </a:lnTo>
                    <a:lnTo>
                      <a:pt x="37" y="453"/>
                    </a:lnTo>
                    <a:lnTo>
                      <a:pt x="27" y="453"/>
                    </a:lnTo>
                    <a:lnTo>
                      <a:pt x="23" y="453"/>
                    </a:lnTo>
                    <a:lnTo>
                      <a:pt x="18" y="448"/>
                    </a:lnTo>
                    <a:lnTo>
                      <a:pt x="14" y="448"/>
                    </a:lnTo>
                    <a:lnTo>
                      <a:pt x="9" y="444"/>
                    </a:lnTo>
                    <a:lnTo>
                      <a:pt x="5" y="444"/>
                    </a:lnTo>
                    <a:lnTo>
                      <a:pt x="5" y="439"/>
                    </a:lnTo>
                    <a:lnTo>
                      <a:pt x="0" y="435"/>
                    </a:lnTo>
                    <a:lnTo>
                      <a:pt x="0" y="430"/>
                    </a:lnTo>
                    <a:lnTo>
                      <a:pt x="5" y="425"/>
                    </a:lnTo>
                    <a:lnTo>
                      <a:pt x="5" y="421"/>
                    </a:lnTo>
                    <a:lnTo>
                      <a:pt x="9" y="416"/>
                    </a:lnTo>
                    <a:lnTo>
                      <a:pt x="9" y="412"/>
                    </a:lnTo>
                    <a:lnTo>
                      <a:pt x="9" y="407"/>
                    </a:lnTo>
                    <a:lnTo>
                      <a:pt x="14" y="403"/>
                    </a:lnTo>
                    <a:lnTo>
                      <a:pt x="18" y="403"/>
                    </a:lnTo>
                    <a:lnTo>
                      <a:pt x="18" y="403"/>
                    </a:lnTo>
                    <a:lnTo>
                      <a:pt x="27" y="403"/>
                    </a:lnTo>
                    <a:lnTo>
                      <a:pt x="32" y="398"/>
                    </a:lnTo>
                    <a:lnTo>
                      <a:pt x="37" y="398"/>
                    </a:lnTo>
                    <a:lnTo>
                      <a:pt x="37" y="393"/>
                    </a:lnTo>
                    <a:lnTo>
                      <a:pt x="37" y="389"/>
                    </a:lnTo>
                    <a:lnTo>
                      <a:pt x="37" y="384"/>
                    </a:lnTo>
                    <a:lnTo>
                      <a:pt x="41" y="384"/>
                    </a:lnTo>
                    <a:lnTo>
                      <a:pt x="41" y="384"/>
                    </a:lnTo>
                    <a:lnTo>
                      <a:pt x="41" y="380"/>
                    </a:lnTo>
                    <a:lnTo>
                      <a:pt x="41" y="371"/>
                    </a:lnTo>
                    <a:lnTo>
                      <a:pt x="41" y="366"/>
                    </a:lnTo>
                    <a:lnTo>
                      <a:pt x="41" y="343"/>
                    </a:lnTo>
                    <a:lnTo>
                      <a:pt x="41" y="339"/>
                    </a:lnTo>
                    <a:lnTo>
                      <a:pt x="41" y="334"/>
                    </a:lnTo>
                    <a:lnTo>
                      <a:pt x="41" y="329"/>
                    </a:lnTo>
                    <a:lnTo>
                      <a:pt x="37" y="325"/>
                    </a:lnTo>
                    <a:lnTo>
                      <a:pt x="37" y="320"/>
                    </a:lnTo>
                    <a:lnTo>
                      <a:pt x="37" y="316"/>
                    </a:lnTo>
                    <a:lnTo>
                      <a:pt x="37" y="311"/>
                    </a:lnTo>
                    <a:lnTo>
                      <a:pt x="37" y="302"/>
                    </a:lnTo>
                    <a:lnTo>
                      <a:pt x="41" y="297"/>
                    </a:lnTo>
                    <a:lnTo>
                      <a:pt x="41" y="293"/>
                    </a:lnTo>
                    <a:lnTo>
                      <a:pt x="46" y="284"/>
                    </a:lnTo>
                    <a:lnTo>
                      <a:pt x="46" y="279"/>
                    </a:lnTo>
                    <a:lnTo>
                      <a:pt x="50" y="275"/>
                    </a:lnTo>
                    <a:lnTo>
                      <a:pt x="55" y="275"/>
                    </a:lnTo>
                    <a:lnTo>
                      <a:pt x="55" y="270"/>
                    </a:lnTo>
                    <a:lnTo>
                      <a:pt x="59" y="265"/>
                    </a:lnTo>
                    <a:lnTo>
                      <a:pt x="59" y="261"/>
                    </a:lnTo>
                    <a:lnTo>
                      <a:pt x="59" y="256"/>
                    </a:lnTo>
                    <a:lnTo>
                      <a:pt x="59" y="252"/>
                    </a:lnTo>
                    <a:lnTo>
                      <a:pt x="59" y="252"/>
                    </a:lnTo>
                    <a:lnTo>
                      <a:pt x="64" y="247"/>
                    </a:lnTo>
                    <a:lnTo>
                      <a:pt x="69" y="233"/>
                    </a:lnTo>
                    <a:lnTo>
                      <a:pt x="73" y="229"/>
                    </a:lnTo>
                    <a:lnTo>
                      <a:pt x="78" y="229"/>
                    </a:lnTo>
                    <a:lnTo>
                      <a:pt x="82" y="224"/>
                    </a:lnTo>
                    <a:lnTo>
                      <a:pt x="82" y="220"/>
                    </a:lnTo>
                    <a:lnTo>
                      <a:pt x="82" y="215"/>
                    </a:lnTo>
                    <a:lnTo>
                      <a:pt x="82" y="211"/>
                    </a:lnTo>
                    <a:lnTo>
                      <a:pt x="87" y="206"/>
                    </a:lnTo>
                    <a:lnTo>
                      <a:pt x="87" y="206"/>
                    </a:lnTo>
                    <a:lnTo>
                      <a:pt x="91" y="201"/>
                    </a:lnTo>
                    <a:lnTo>
                      <a:pt x="96" y="192"/>
                    </a:lnTo>
                    <a:lnTo>
                      <a:pt x="96" y="188"/>
                    </a:lnTo>
                    <a:lnTo>
                      <a:pt x="101" y="183"/>
                    </a:lnTo>
                    <a:lnTo>
                      <a:pt x="105" y="183"/>
                    </a:lnTo>
                    <a:lnTo>
                      <a:pt x="105" y="183"/>
                    </a:lnTo>
                    <a:lnTo>
                      <a:pt x="105" y="179"/>
                    </a:lnTo>
                    <a:lnTo>
                      <a:pt x="105" y="165"/>
                    </a:lnTo>
                    <a:lnTo>
                      <a:pt x="105" y="165"/>
                    </a:lnTo>
                    <a:lnTo>
                      <a:pt x="105" y="160"/>
                    </a:lnTo>
                    <a:lnTo>
                      <a:pt x="105" y="156"/>
                    </a:lnTo>
                    <a:lnTo>
                      <a:pt x="105" y="151"/>
                    </a:lnTo>
                    <a:lnTo>
                      <a:pt x="96" y="142"/>
                    </a:lnTo>
                    <a:lnTo>
                      <a:pt x="96" y="142"/>
                    </a:lnTo>
                    <a:lnTo>
                      <a:pt x="91" y="137"/>
                    </a:lnTo>
                    <a:lnTo>
                      <a:pt x="87" y="133"/>
                    </a:lnTo>
                    <a:lnTo>
                      <a:pt x="87" y="128"/>
                    </a:lnTo>
                    <a:lnTo>
                      <a:pt x="91" y="128"/>
                    </a:lnTo>
                    <a:lnTo>
                      <a:pt x="96" y="133"/>
                    </a:lnTo>
                    <a:lnTo>
                      <a:pt x="101" y="133"/>
                    </a:lnTo>
                    <a:lnTo>
                      <a:pt x="101" y="128"/>
                    </a:lnTo>
                    <a:lnTo>
                      <a:pt x="101" y="124"/>
                    </a:lnTo>
                    <a:lnTo>
                      <a:pt x="101" y="119"/>
                    </a:lnTo>
                    <a:lnTo>
                      <a:pt x="101" y="115"/>
                    </a:lnTo>
                    <a:lnTo>
                      <a:pt x="101" y="105"/>
                    </a:lnTo>
                    <a:lnTo>
                      <a:pt x="101" y="96"/>
                    </a:lnTo>
                    <a:lnTo>
                      <a:pt x="101" y="96"/>
                    </a:lnTo>
                    <a:lnTo>
                      <a:pt x="101" y="83"/>
                    </a:lnTo>
                    <a:lnTo>
                      <a:pt x="101" y="73"/>
                    </a:lnTo>
                    <a:lnTo>
                      <a:pt x="101" y="73"/>
                    </a:lnTo>
                    <a:lnTo>
                      <a:pt x="101" y="73"/>
                    </a:lnTo>
                    <a:lnTo>
                      <a:pt x="96" y="69"/>
                    </a:lnTo>
                    <a:lnTo>
                      <a:pt x="96" y="60"/>
                    </a:lnTo>
                    <a:lnTo>
                      <a:pt x="91" y="60"/>
                    </a:lnTo>
                    <a:lnTo>
                      <a:pt x="91" y="55"/>
                    </a:lnTo>
                    <a:lnTo>
                      <a:pt x="87" y="55"/>
                    </a:lnTo>
                    <a:lnTo>
                      <a:pt x="82" y="55"/>
                    </a:lnTo>
                    <a:lnTo>
                      <a:pt x="78" y="51"/>
                    </a:lnTo>
                    <a:lnTo>
                      <a:pt x="69" y="51"/>
                    </a:lnTo>
                    <a:lnTo>
                      <a:pt x="64" y="51"/>
                    </a:lnTo>
                    <a:lnTo>
                      <a:pt x="59" y="46"/>
                    </a:lnTo>
                    <a:lnTo>
                      <a:pt x="55" y="41"/>
                    </a:lnTo>
                    <a:lnTo>
                      <a:pt x="50" y="37"/>
                    </a:lnTo>
                    <a:lnTo>
                      <a:pt x="46" y="37"/>
                    </a:lnTo>
                    <a:lnTo>
                      <a:pt x="41" y="32"/>
                    </a:lnTo>
                    <a:lnTo>
                      <a:pt x="41" y="32"/>
                    </a:lnTo>
                    <a:lnTo>
                      <a:pt x="41" y="28"/>
                    </a:lnTo>
                    <a:lnTo>
                      <a:pt x="46" y="19"/>
                    </a:lnTo>
                    <a:lnTo>
                      <a:pt x="50" y="9"/>
                    </a:lnTo>
                    <a:lnTo>
                      <a:pt x="59" y="9"/>
                    </a:lnTo>
                    <a:lnTo>
                      <a:pt x="59" y="9"/>
                    </a:lnTo>
                    <a:lnTo>
                      <a:pt x="69" y="9"/>
                    </a:lnTo>
                    <a:lnTo>
                      <a:pt x="73" y="9"/>
                    </a:lnTo>
                    <a:lnTo>
                      <a:pt x="82" y="5"/>
                    </a:lnTo>
                    <a:lnTo>
                      <a:pt x="82" y="0"/>
                    </a:lnTo>
                    <a:lnTo>
                      <a:pt x="82" y="0"/>
                    </a:lnTo>
                    <a:lnTo>
                      <a:pt x="87" y="0"/>
                    </a:lnTo>
                    <a:lnTo>
                      <a:pt x="87" y="5"/>
                    </a:lnTo>
                    <a:lnTo>
                      <a:pt x="91" y="5"/>
                    </a:lnTo>
                    <a:lnTo>
                      <a:pt x="91" y="9"/>
                    </a:lnTo>
                    <a:lnTo>
                      <a:pt x="96" y="9"/>
                    </a:lnTo>
                    <a:lnTo>
                      <a:pt x="101" y="14"/>
                    </a:lnTo>
                    <a:lnTo>
                      <a:pt x="105" y="14"/>
                    </a:lnTo>
                    <a:lnTo>
                      <a:pt x="110" y="9"/>
                    </a:lnTo>
                    <a:lnTo>
                      <a:pt x="114" y="9"/>
                    </a:lnTo>
                    <a:lnTo>
                      <a:pt x="119" y="9"/>
                    </a:lnTo>
                    <a:lnTo>
                      <a:pt x="123" y="9"/>
                    </a:lnTo>
                    <a:lnTo>
                      <a:pt x="128" y="9"/>
                    </a:lnTo>
                    <a:lnTo>
                      <a:pt x="137" y="9"/>
                    </a:lnTo>
                    <a:lnTo>
                      <a:pt x="137" y="14"/>
                    </a:lnTo>
                    <a:lnTo>
                      <a:pt x="142" y="14"/>
                    </a:lnTo>
                    <a:lnTo>
                      <a:pt x="137" y="19"/>
                    </a:lnTo>
                    <a:lnTo>
                      <a:pt x="137" y="23"/>
                    </a:lnTo>
                    <a:lnTo>
                      <a:pt x="133" y="28"/>
                    </a:lnTo>
                    <a:lnTo>
                      <a:pt x="128" y="32"/>
                    </a:lnTo>
                    <a:lnTo>
                      <a:pt x="128" y="37"/>
                    </a:lnTo>
                    <a:lnTo>
                      <a:pt x="123" y="46"/>
                    </a:lnTo>
                    <a:lnTo>
                      <a:pt x="123" y="51"/>
                    </a:lnTo>
                    <a:lnTo>
                      <a:pt x="123" y="55"/>
                    </a:lnTo>
                    <a:lnTo>
                      <a:pt x="123" y="64"/>
                    </a:lnTo>
                    <a:lnTo>
                      <a:pt x="123" y="69"/>
                    </a:lnTo>
                    <a:lnTo>
                      <a:pt x="123" y="69"/>
                    </a:lnTo>
                    <a:lnTo>
                      <a:pt x="133" y="73"/>
                    </a:lnTo>
                    <a:lnTo>
                      <a:pt x="137" y="73"/>
                    </a:lnTo>
                    <a:lnTo>
                      <a:pt x="142" y="73"/>
                    </a:lnTo>
                    <a:lnTo>
                      <a:pt x="151" y="73"/>
                    </a:lnTo>
                    <a:lnTo>
                      <a:pt x="160" y="73"/>
                    </a:lnTo>
                    <a:lnTo>
                      <a:pt x="165" y="73"/>
                    </a:lnTo>
                    <a:lnTo>
                      <a:pt x="169" y="73"/>
                    </a:lnTo>
                    <a:lnTo>
                      <a:pt x="178" y="73"/>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188" name="Freeform 7">
                <a:extLst>
                  <a:ext uri="{FF2B5EF4-FFF2-40B4-BE49-F238E27FC236}">
                    <a16:creationId xmlns:a16="http://schemas.microsoft.com/office/drawing/2014/main" id="{BD33F075-B9FD-4E7C-9599-85E87CACF4E4}"/>
                  </a:ext>
                </a:extLst>
              </p:cNvPr>
              <p:cNvSpPr>
                <a:spLocks/>
              </p:cNvSpPr>
              <p:nvPr>
                <p:custDataLst>
                  <p:tags r:id="rId5"/>
                </p:custDataLst>
              </p:nvPr>
            </p:nvSpPr>
            <p:spPr bwMode="auto">
              <a:xfrm>
                <a:off x="4542071" y="3155015"/>
                <a:ext cx="1169883" cy="1623219"/>
              </a:xfrm>
              <a:custGeom>
                <a:avLst/>
                <a:gdLst/>
                <a:ahLst/>
                <a:cxnLst>
                  <a:cxn ang="0">
                    <a:pos x="42" y="1143"/>
                  </a:cxn>
                  <a:cxn ang="0">
                    <a:pos x="0" y="1079"/>
                  </a:cxn>
                  <a:cxn ang="0">
                    <a:pos x="42" y="1038"/>
                  </a:cxn>
                  <a:cxn ang="0">
                    <a:pos x="69" y="997"/>
                  </a:cxn>
                  <a:cxn ang="0">
                    <a:pos x="101" y="951"/>
                  </a:cxn>
                  <a:cxn ang="0">
                    <a:pos x="151" y="915"/>
                  </a:cxn>
                  <a:cxn ang="0">
                    <a:pos x="170" y="828"/>
                  </a:cxn>
                  <a:cxn ang="0">
                    <a:pos x="197" y="769"/>
                  </a:cxn>
                  <a:cxn ang="0">
                    <a:pos x="142" y="709"/>
                  </a:cxn>
                  <a:cxn ang="0">
                    <a:pos x="133" y="636"/>
                  </a:cxn>
                  <a:cxn ang="0">
                    <a:pos x="106" y="599"/>
                  </a:cxn>
                  <a:cxn ang="0">
                    <a:pos x="60" y="572"/>
                  </a:cxn>
                  <a:cxn ang="0">
                    <a:pos x="28" y="517"/>
                  </a:cxn>
                  <a:cxn ang="0">
                    <a:pos x="110" y="494"/>
                  </a:cxn>
                  <a:cxn ang="0">
                    <a:pos x="151" y="471"/>
                  </a:cxn>
                  <a:cxn ang="0">
                    <a:pos x="183" y="416"/>
                  </a:cxn>
                  <a:cxn ang="0">
                    <a:pos x="215" y="352"/>
                  </a:cxn>
                  <a:cxn ang="0">
                    <a:pos x="275" y="288"/>
                  </a:cxn>
                  <a:cxn ang="0">
                    <a:pos x="334" y="243"/>
                  </a:cxn>
                  <a:cxn ang="0">
                    <a:pos x="435" y="224"/>
                  </a:cxn>
                  <a:cxn ang="0">
                    <a:pos x="512" y="156"/>
                  </a:cxn>
                  <a:cxn ang="0">
                    <a:pos x="572" y="133"/>
                  </a:cxn>
                  <a:cxn ang="0">
                    <a:pos x="631" y="165"/>
                  </a:cxn>
                  <a:cxn ang="0">
                    <a:pos x="704" y="160"/>
                  </a:cxn>
                  <a:cxn ang="0">
                    <a:pos x="723" y="92"/>
                  </a:cxn>
                  <a:cxn ang="0">
                    <a:pos x="768" y="14"/>
                  </a:cxn>
                  <a:cxn ang="0">
                    <a:pos x="878" y="0"/>
                  </a:cxn>
                  <a:cxn ang="0">
                    <a:pos x="851" y="42"/>
                  </a:cxn>
                  <a:cxn ang="0">
                    <a:pos x="819" y="96"/>
                  </a:cxn>
                  <a:cxn ang="0">
                    <a:pos x="819" y="160"/>
                  </a:cxn>
                  <a:cxn ang="0">
                    <a:pos x="805" y="234"/>
                  </a:cxn>
                  <a:cxn ang="0">
                    <a:pos x="778" y="275"/>
                  </a:cxn>
                  <a:cxn ang="0">
                    <a:pos x="723" y="311"/>
                  </a:cxn>
                  <a:cxn ang="0">
                    <a:pos x="714" y="371"/>
                  </a:cxn>
                  <a:cxn ang="0">
                    <a:pos x="714" y="403"/>
                  </a:cxn>
                  <a:cxn ang="0">
                    <a:pos x="714" y="444"/>
                  </a:cxn>
                  <a:cxn ang="0">
                    <a:pos x="704" y="480"/>
                  </a:cxn>
                  <a:cxn ang="0">
                    <a:pos x="691" y="512"/>
                  </a:cxn>
                  <a:cxn ang="0">
                    <a:pos x="650" y="526"/>
                  </a:cxn>
                  <a:cxn ang="0">
                    <a:pos x="604" y="540"/>
                  </a:cxn>
                  <a:cxn ang="0">
                    <a:pos x="558" y="576"/>
                  </a:cxn>
                  <a:cxn ang="0">
                    <a:pos x="576" y="636"/>
                  </a:cxn>
                  <a:cxn ang="0">
                    <a:pos x="576" y="672"/>
                  </a:cxn>
                  <a:cxn ang="0">
                    <a:pos x="558" y="723"/>
                  </a:cxn>
                  <a:cxn ang="0">
                    <a:pos x="535" y="773"/>
                  </a:cxn>
                  <a:cxn ang="0">
                    <a:pos x="517" y="810"/>
                  </a:cxn>
                  <a:cxn ang="0">
                    <a:pos x="494" y="851"/>
                  </a:cxn>
                  <a:cxn ang="0">
                    <a:pos x="426" y="860"/>
                  </a:cxn>
                  <a:cxn ang="0">
                    <a:pos x="403" y="887"/>
                  </a:cxn>
                  <a:cxn ang="0">
                    <a:pos x="366" y="924"/>
                  </a:cxn>
                  <a:cxn ang="0">
                    <a:pos x="320" y="956"/>
                  </a:cxn>
                  <a:cxn ang="0">
                    <a:pos x="320" y="1052"/>
                  </a:cxn>
                  <a:cxn ang="0">
                    <a:pos x="316" y="1107"/>
                  </a:cxn>
                  <a:cxn ang="0">
                    <a:pos x="275" y="1157"/>
                  </a:cxn>
                  <a:cxn ang="0">
                    <a:pos x="252" y="1217"/>
                  </a:cxn>
                  <a:cxn ang="0">
                    <a:pos x="238" y="1285"/>
                  </a:cxn>
                  <a:cxn ang="0">
                    <a:pos x="183" y="1276"/>
                  </a:cxn>
                  <a:cxn ang="0">
                    <a:pos x="170" y="1189"/>
                  </a:cxn>
                  <a:cxn ang="0">
                    <a:pos x="128" y="1148"/>
                  </a:cxn>
                  <a:cxn ang="0">
                    <a:pos x="87" y="1143"/>
                  </a:cxn>
                </a:cxnLst>
                <a:rect l="0" t="0" r="r" b="b"/>
                <a:pathLst>
                  <a:path w="878" h="1313">
                    <a:moveTo>
                      <a:pt x="83" y="1148"/>
                    </a:moveTo>
                    <a:lnTo>
                      <a:pt x="83" y="1148"/>
                    </a:lnTo>
                    <a:lnTo>
                      <a:pt x="83" y="1153"/>
                    </a:lnTo>
                    <a:lnTo>
                      <a:pt x="78" y="1157"/>
                    </a:lnTo>
                    <a:lnTo>
                      <a:pt x="74" y="1166"/>
                    </a:lnTo>
                    <a:lnTo>
                      <a:pt x="69" y="1166"/>
                    </a:lnTo>
                    <a:lnTo>
                      <a:pt x="64" y="1171"/>
                    </a:lnTo>
                    <a:lnTo>
                      <a:pt x="60" y="1166"/>
                    </a:lnTo>
                    <a:lnTo>
                      <a:pt x="55" y="1166"/>
                    </a:lnTo>
                    <a:lnTo>
                      <a:pt x="55" y="1166"/>
                    </a:lnTo>
                    <a:lnTo>
                      <a:pt x="51" y="1166"/>
                    </a:lnTo>
                    <a:lnTo>
                      <a:pt x="46" y="1162"/>
                    </a:lnTo>
                    <a:lnTo>
                      <a:pt x="46" y="1148"/>
                    </a:lnTo>
                    <a:lnTo>
                      <a:pt x="42" y="1143"/>
                    </a:lnTo>
                    <a:lnTo>
                      <a:pt x="42" y="1139"/>
                    </a:lnTo>
                    <a:lnTo>
                      <a:pt x="37" y="1125"/>
                    </a:lnTo>
                    <a:lnTo>
                      <a:pt x="32" y="1125"/>
                    </a:lnTo>
                    <a:lnTo>
                      <a:pt x="32" y="1125"/>
                    </a:lnTo>
                    <a:lnTo>
                      <a:pt x="32" y="1121"/>
                    </a:lnTo>
                    <a:lnTo>
                      <a:pt x="28" y="1116"/>
                    </a:lnTo>
                    <a:lnTo>
                      <a:pt x="28" y="1111"/>
                    </a:lnTo>
                    <a:lnTo>
                      <a:pt x="23" y="1102"/>
                    </a:lnTo>
                    <a:lnTo>
                      <a:pt x="19" y="1098"/>
                    </a:lnTo>
                    <a:lnTo>
                      <a:pt x="14" y="1093"/>
                    </a:lnTo>
                    <a:lnTo>
                      <a:pt x="10" y="1089"/>
                    </a:lnTo>
                    <a:lnTo>
                      <a:pt x="0" y="1089"/>
                    </a:lnTo>
                    <a:lnTo>
                      <a:pt x="0" y="1084"/>
                    </a:lnTo>
                    <a:lnTo>
                      <a:pt x="0" y="1079"/>
                    </a:lnTo>
                    <a:lnTo>
                      <a:pt x="0" y="1079"/>
                    </a:lnTo>
                    <a:lnTo>
                      <a:pt x="10" y="1075"/>
                    </a:lnTo>
                    <a:lnTo>
                      <a:pt x="14" y="1070"/>
                    </a:lnTo>
                    <a:lnTo>
                      <a:pt x="14" y="1066"/>
                    </a:lnTo>
                    <a:lnTo>
                      <a:pt x="19" y="1061"/>
                    </a:lnTo>
                    <a:lnTo>
                      <a:pt x="23" y="1057"/>
                    </a:lnTo>
                    <a:lnTo>
                      <a:pt x="23" y="1057"/>
                    </a:lnTo>
                    <a:lnTo>
                      <a:pt x="28" y="1052"/>
                    </a:lnTo>
                    <a:lnTo>
                      <a:pt x="28" y="1047"/>
                    </a:lnTo>
                    <a:lnTo>
                      <a:pt x="32" y="1047"/>
                    </a:lnTo>
                    <a:lnTo>
                      <a:pt x="32" y="1043"/>
                    </a:lnTo>
                    <a:lnTo>
                      <a:pt x="37" y="1043"/>
                    </a:lnTo>
                    <a:lnTo>
                      <a:pt x="37" y="1038"/>
                    </a:lnTo>
                    <a:lnTo>
                      <a:pt x="42" y="1038"/>
                    </a:lnTo>
                    <a:lnTo>
                      <a:pt x="46" y="1038"/>
                    </a:lnTo>
                    <a:lnTo>
                      <a:pt x="46" y="1034"/>
                    </a:lnTo>
                    <a:lnTo>
                      <a:pt x="46" y="1029"/>
                    </a:lnTo>
                    <a:lnTo>
                      <a:pt x="46" y="1025"/>
                    </a:lnTo>
                    <a:lnTo>
                      <a:pt x="51" y="1025"/>
                    </a:lnTo>
                    <a:lnTo>
                      <a:pt x="51" y="1020"/>
                    </a:lnTo>
                    <a:lnTo>
                      <a:pt x="55" y="1020"/>
                    </a:lnTo>
                    <a:lnTo>
                      <a:pt x="55" y="1015"/>
                    </a:lnTo>
                    <a:lnTo>
                      <a:pt x="55" y="1015"/>
                    </a:lnTo>
                    <a:lnTo>
                      <a:pt x="60" y="1015"/>
                    </a:lnTo>
                    <a:lnTo>
                      <a:pt x="60" y="1011"/>
                    </a:lnTo>
                    <a:lnTo>
                      <a:pt x="64" y="1006"/>
                    </a:lnTo>
                    <a:lnTo>
                      <a:pt x="64" y="1002"/>
                    </a:lnTo>
                    <a:lnTo>
                      <a:pt x="69" y="997"/>
                    </a:lnTo>
                    <a:lnTo>
                      <a:pt x="69" y="993"/>
                    </a:lnTo>
                    <a:lnTo>
                      <a:pt x="74" y="993"/>
                    </a:lnTo>
                    <a:lnTo>
                      <a:pt x="74" y="993"/>
                    </a:lnTo>
                    <a:lnTo>
                      <a:pt x="78" y="983"/>
                    </a:lnTo>
                    <a:lnTo>
                      <a:pt x="78" y="979"/>
                    </a:lnTo>
                    <a:lnTo>
                      <a:pt x="83" y="979"/>
                    </a:lnTo>
                    <a:lnTo>
                      <a:pt x="83" y="974"/>
                    </a:lnTo>
                    <a:lnTo>
                      <a:pt x="83" y="970"/>
                    </a:lnTo>
                    <a:lnTo>
                      <a:pt x="87" y="970"/>
                    </a:lnTo>
                    <a:lnTo>
                      <a:pt x="87" y="970"/>
                    </a:lnTo>
                    <a:lnTo>
                      <a:pt x="87" y="970"/>
                    </a:lnTo>
                    <a:lnTo>
                      <a:pt x="87" y="965"/>
                    </a:lnTo>
                    <a:lnTo>
                      <a:pt x="96" y="956"/>
                    </a:lnTo>
                    <a:lnTo>
                      <a:pt x="101" y="951"/>
                    </a:lnTo>
                    <a:lnTo>
                      <a:pt x="106" y="951"/>
                    </a:lnTo>
                    <a:lnTo>
                      <a:pt x="106" y="947"/>
                    </a:lnTo>
                    <a:lnTo>
                      <a:pt x="110" y="947"/>
                    </a:lnTo>
                    <a:lnTo>
                      <a:pt x="110" y="947"/>
                    </a:lnTo>
                    <a:lnTo>
                      <a:pt x="119" y="947"/>
                    </a:lnTo>
                    <a:lnTo>
                      <a:pt x="128" y="942"/>
                    </a:lnTo>
                    <a:lnTo>
                      <a:pt x="133" y="938"/>
                    </a:lnTo>
                    <a:lnTo>
                      <a:pt x="133" y="933"/>
                    </a:lnTo>
                    <a:lnTo>
                      <a:pt x="138" y="933"/>
                    </a:lnTo>
                    <a:lnTo>
                      <a:pt x="142" y="929"/>
                    </a:lnTo>
                    <a:lnTo>
                      <a:pt x="147" y="929"/>
                    </a:lnTo>
                    <a:lnTo>
                      <a:pt x="147" y="924"/>
                    </a:lnTo>
                    <a:lnTo>
                      <a:pt x="151" y="919"/>
                    </a:lnTo>
                    <a:lnTo>
                      <a:pt x="151" y="915"/>
                    </a:lnTo>
                    <a:lnTo>
                      <a:pt x="156" y="915"/>
                    </a:lnTo>
                    <a:lnTo>
                      <a:pt x="156" y="910"/>
                    </a:lnTo>
                    <a:lnTo>
                      <a:pt x="156" y="906"/>
                    </a:lnTo>
                    <a:lnTo>
                      <a:pt x="156" y="906"/>
                    </a:lnTo>
                    <a:lnTo>
                      <a:pt x="156" y="901"/>
                    </a:lnTo>
                    <a:lnTo>
                      <a:pt x="156" y="887"/>
                    </a:lnTo>
                    <a:lnTo>
                      <a:pt x="156" y="865"/>
                    </a:lnTo>
                    <a:lnTo>
                      <a:pt x="160" y="860"/>
                    </a:lnTo>
                    <a:lnTo>
                      <a:pt x="160" y="851"/>
                    </a:lnTo>
                    <a:lnTo>
                      <a:pt x="165" y="842"/>
                    </a:lnTo>
                    <a:lnTo>
                      <a:pt x="165" y="837"/>
                    </a:lnTo>
                    <a:lnTo>
                      <a:pt x="170" y="837"/>
                    </a:lnTo>
                    <a:lnTo>
                      <a:pt x="170" y="837"/>
                    </a:lnTo>
                    <a:lnTo>
                      <a:pt x="170" y="828"/>
                    </a:lnTo>
                    <a:lnTo>
                      <a:pt x="174" y="828"/>
                    </a:lnTo>
                    <a:lnTo>
                      <a:pt x="174" y="823"/>
                    </a:lnTo>
                    <a:lnTo>
                      <a:pt x="174" y="819"/>
                    </a:lnTo>
                    <a:lnTo>
                      <a:pt x="174" y="819"/>
                    </a:lnTo>
                    <a:lnTo>
                      <a:pt x="174" y="819"/>
                    </a:lnTo>
                    <a:lnTo>
                      <a:pt x="183" y="805"/>
                    </a:lnTo>
                    <a:lnTo>
                      <a:pt x="192" y="796"/>
                    </a:lnTo>
                    <a:lnTo>
                      <a:pt x="192" y="796"/>
                    </a:lnTo>
                    <a:lnTo>
                      <a:pt x="192" y="791"/>
                    </a:lnTo>
                    <a:lnTo>
                      <a:pt x="197" y="791"/>
                    </a:lnTo>
                    <a:lnTo>
                      <a:pt x="197" y="787"/>
                    </a:lnTo>
                    <a:lnTo>
                      <a:pt x="197" y="773"/>
                    </a:lnTo>
                    <a:lnTo>
                      <a:pt x="197" y="773"/>
                    </a:lnTo>
                    <a:lnTo>
                      <a:pt x="197" y="769"/>
                    </a:lnTo>
                    <a:lnTo>
                      <a:pt x="197" y="759"/>
                    </a:lnTo>
                    <a:lnTo>
                      <a:pt x="197" y="755"/>
                    </a:lnTo>
                    <a:lnTo>
                      <a:pt x="197" y="750"/>
                    </a:lnTo>
                    <a:lnTo>
                      <a:pt x="192" y="750"/>
                    </a:lnTo>
                    <a:lnTo>
                      <a:pt x="192" y="750"/>
                    </a:lnTo>
                    <a:lnTo>
                      <a:pt x="183" y="746"/>
                    </a:lnTo>
                    <a:lnTo>
                      <a:pt x="174" y="741"/>
                    </a:lnTo>
                    <a:lnTo>
                      <a:pt x="174" y="737"/>
                    </a:lnTo>
                    <a:lnTo>
                      <a:pt x="165" y="732"/>
                    </a:lnTo>
                    <a:lnTo>
                      <a:pt x="160" y="727"/>
                    </a:lnTo>
                    <a:lnTo>
                      <a:pt x="156" y="723"/>
                    </a:lnTo>
                    <a:lnTo>
                      <a:pt x="156" y="718"/>
                    </a:lnTo>
                    <a:lnTo>
                      <a:pt x="147" y="714"/>
                    </a:lnTo>
                    <a:lnTo>
                      <a:pt x="142" y="709"/>
                    </a:lnTo>
                    <a:lnTo>
                      <a:pt x="142" y="709"/>
                    </a:lnTo>
                    <a:lnTo>
                      <a:pt x="138" y="709"/>
                    </a:lnTo>
                    <a:lnTo>
                      <a:pt x="138" y="705"/>
                    </a:lnTo>
                    <a:lnTo>
                      <a:pt x="133" y="700"/>
                    </a:lnTo>
                    <a:lnTo>
                      <a:pt x="133" y="691"/>
                    </a:lnTo>
                    <a:lnTo>
                      <a:pt x="133" y="686"/>
                    </a:lnTo>
                    <a:lnTo>
                      <a:pt x="133" y="677"/>
                    </a:lnTo>
                    <a:lnTo>
                      <a:pt x="133" y="663"/>
                    </a:lnTo>
                    <a:lnTo>
                      <a:pt x="133" y="659"/>
                    </a:lnTo>
                    <a:lnTo>
                      <a:pt x="133" y="654"/>
                    </a:lnTo>
                    <a:lnTo>
                      <a:pt x="133" y="645"/>
                    </a:lnTo>
                    <a:lnTo>
                      <a:pt x="133" y="640"/>
                    </a:lnTo>
                    <a:lnTo>
                      <a:pt x="133" y="640"/>
                    </a:lnTo>
                    <a:lnTo>
                      <a:pt x="133" y="636"/>
                    </a:lnTo>
                    <a:lnTo>
                      <a:pt x="128" y="631"/>
                    </a:lnTo>
                    <a:lnTo>
                      <a:pt x="128" y="627"/>
                    </a:lnTo>
                    <a:lnTo>
                      <a:pt x="124" y="627"/>
                    </a:lnTo>
                    <a:lnTo>
                      <a:pt x="124" y="622"/>
                    </a:lnTo>
                    <a:lnTo>
                      <a:pt x="124" y="618"/>
                    </a:lnTo>
                    <a:lnTo>
                      <a:pt x="119" y="618"/>
                    </a:lnTo>
                    <a:lnTo>
                      <a:pt x="119" y="618"/>
                    </a:lnTo>
                    <a:lnTo>
                      <a:pt x="115" y="618"/>
                    </a:lnTo>
                    <a:lnTo>
                      <a:pt x="115" y="613"/>
                    </a:lnTo>
                    <a:lnTo>
                      <a:pt x="110" y="608"/>
                    </a:lnTo>
                    <a:lnTo>
                      <a:pt x="110" y="608"/>
                    </a:lnTo>
                    <a:lnTo>
                      <a:pt x="110" y="604"/>
                    </a:lnTo>
                    <a:lnTo>
                      <a:pt x="106" y="599"/>
                    </a:lnTo>
                    <a:lnTo>
                      <a:pt x="106" y="599"/>
                    </a:lnTo>
                    <a:lnTo>
                      <a:pt x="101" y="599"/>
                    </a:lnTo>
                    <a:lnTo>
                      <a:pt x="101" y="595"/>
                    </a:lnTo>
                    <a:lnTo>
                      <a:pt x="96" y="595"/>
                    </a:lnTo>
                    <a:lnTo>
                      <a:pt x="92" y="590"/>
                    </a:lnTo>
                    <a:lnTo>
                      <a:pt x="87" y="590"/>
                    </a:lnTo>
                    <a:lnTo>
                      <a:pt x="87" y="586"/>
                    </a:lnTo>
                    <a:lnTo>
                      <a:pt x="87" y="586"/>
                    </a:lnTo>
                    <a:lnTo>
                      <a:pt x="83" y="586"/>
                    </a:lnTo>
                    <a:lnTo>
                      <a:pt x="74" y="581"/>
                    </a:lnTo>
                    <a:lnTo>
                      <a:pt x="74" y="581"/>
                    </a:lnTo>
                    <a:lnTo>
                      <a:pt x="64" y="576"/>
                    </a:lnTo>
                    <a:lnTo>
                      <a:pt x="64" y="576"/>
                    </a:lnTo>
                    <a:lnTo>
                      <a:pt x="60" y="576"/>
                    </a:lnTo>
                    <a:lnTo>
                      <a:pt x="60" y="572"/>
                    </a:lnTo>
                    <a:lnTo>
                      <a:pt x="55" y="572"/>
                    </a:lnTo>
                    <a:lnTo>
                      <a:pt x="55" y="567"/>
                    </a:lnTo>
                    <a:lnTo>
                      <a:pt x="55" y="563"/>
                    </a:lnTo>
                    <a:lnTo>
                      <a:pt x="51" y="558"/>
                    </a:lnTo>
                    <a:lnTo>
                      <a:pt x="51" y="554"/>
                    </a:lnTo>
                    <a:lnTo>
                      <a:pt x="46" y="554"/>
                    </a:lnTo>
                    <a:lnTo>
                      <a:pt x="46" y="549"/>
                    </a:lnTo>
                    <a:lnTo>
                      <a:pt x="46" y="549"/>
                    </a:lnTo>
                    <a:lnTo>
                      <a:pt x="46" y="540"/>
                    </a:lnTo>
                    <a:lnTo>
                      <a:pt x="42" y="535"/>
                    </a:lnTo>
                    <a:lnTo>
                      <a:pt x="42" y="531"/>
                    </a:lnTo>
                    <a:lnTo>
                      <a:pt x="37" y="531"/>
                    </a:lnTo>
                    <a:lnTo>
                      <a:pt x="23" y="517"/>
                    </a:lnTo>
                    <a:lnTo>
                      <a:pt x="28" y="517"/>
                    </a:lnTo>
                    <a:lnTo>
                      <a:pt x="37" y="512"/>
                    </a:lnTo>
                    <a:lnTo>
                      <a:pt x="46" y="512"/>
                    </a:lnTo>
                    <a:lnTo>
                      <a:pt x="64" y="508"/>
                    </a:lnTo>
                    <a:lnTo>
                      <a:pt x="69" y="508"/>
                    </a:lnTo>
                    <a:lnTo>
                      <a:pt x="74" y="508"/>
                    </a:lnTo>
                    <a:lnTo>
                      <a:pt x="78" y="508"/>
                    </a:lnTo>
                    <a:lnTo>
                      <a:pt x="87" y="503"/>
                    </a:lnTo>
                    <a:lnTo>
                      <a:pt x="87" y="503"/>
                    </a:lnTo>
                    <a:lnTo>
                      <a:pt x="92" y="503"/>
                    </a:lnTo>
                    <a:lnTo>
                      <a:pt x="96" y="503"/>
                    </a:lnTo>
                    <a:lnTo>
                      <a:pt x="96" y="499"/>
                    </a:lnTo>
                    <a:lnTo>
                      <a:pt x="101" y="499"/>
                    </a:lnTo>
                    <a:lnTo>
                      <a:pt x="110" y="499"/>
                    </a:lnTo>
                    <a:lnTo>
                      <a:pt x="110" y="494"/>
                    </a:lnTo>
                    <a:lnTo>
                      <a:pt x="110" y="494"/>
                    </a:lnTo>
                    <a:lnTo>
                      <a:pt x="115" y="494"/>
                    </a:lnTo>
                    <a:lnTo>
                      <a:pt x="115" y="490"/>
                    </a:lnTo>
                    <a:lnTo>
                      <a:pt x="119" y="490"/>
                    </a:lnTo>
                    <a:lnTo>
                      <a:pt x="124" y="490"/>
                    </a:lnTo>
                    <a:lnTo>
                      <a:pt x="128" y="490"/>
                    </a:lnTo>
                    <a:lnTo>
                      <a:pt x="133" y="485"/>
                    </a:lnTo>
                    <a:lnTo>
                      <a:pt x="138" y="485"/>
                    </a:lnTo>
                    <a:lnTo>
                      <a:pt x="138" y="480"/>
                    </a:lnTo>
                    <a:lnTo>
                      <a:pt x="142" y="480"/>
                    </a:lnTo>
                    <a:lnTo>
                      <a:pt x="142" y="476"/>
                    </a:lnTo>
                    <a:lnTo>
                      <a:pt x="147" y="476"/>
                    </a:lnTo>
                    <a:lnTo>
                      <a:pt x="147" y="471"/>
                    </a:lnTo>
                    <a:lnTo>
                      <a:pt x="151" y="471"/>
                    </a:lnTo>
                    <a:lnTo>
                      <a:pt x="156" y="467"/>
                    </a:lnTo>
                    <a:lnTo>
                      <a:pt x="156" y="467"/>
                    </a:lnTo>
                    <a:lnTo>
                      <a:pt x="160" y="462"/>
                    </a:lnTo>
                    <a:lnTo>
                      <a:pt x="160" y="462"/>
                    </a:lnTo>
                    <a:lnTo>
                      <a:pt x="160" y="458"/>
                    </a:lnTo>
                    <a:lnTo>
                      <a:pt x="165" y="453"/>
                    </a:lnTo>
                    <a:lnTo>
                      <a:pt x="170" y="453"/>
                    </a:lnTo>
                    <a:lnTo>
                      <a:pt x="170" y="448"/>
                    </a:lnTo>
                    <a:lnTo>
                      <a:pt x="174" y="448"/>
                    </a:lnTo>
                    <a:lnTo>
                      <a:pt x="174" y="444"/>
                    </a:lnTo>
                    <a:lnTo>
                      <a:pt x="179" y="439"/>
                    </a:lnTo>
                    <a:lnTo>
                      <a:pt x="183" y="426"/>
                    </a:lnTo>
                    <a:lnTo>
                      <a:pt x="183" y="421"/>
                    </a:lnTo>
                    <a:lnTo>
                      <a:pt x="183" y="416"/>
                    </a:lnTo>
                    <a:lnTo>
                      <a:pt x="179" y="398"/>
                    </a:lnTo>
                    <a:lnTo>
                      <a:pt x="179" y="394"/>
                    </a:lnTo>
                    <a:lnTo>
                      <a:pt x="179" y="384"/>
                    </a:lnTo>
                    <a:lnTo>
                      <a:pt x="179" y="380"/>
                    </a:lnTo>
                    <a:lnTo>
                      <a:pt x="179" y="375"/>
                    </a:lnTo>
                    <a:lnTo>
                      <a:pt x="174" y="366"/>
                    </a:lnTo>
                    <a:lnTo>
                      <a:pt x="174" y="357"/>
                    </a:lnTo>
                    <a:lnTo>
                      <a:pt x="174" y="357"/>
                    </a:lnTo>
                    <a:lnTo>
                      <a:pt x="174" y="352"/>
                    </a:lnTo>
                    <a:lnTo>
                      <a:pt x="174" y="348"/>
                    </a:lnTo>
                    <a:lnTo>
                      <a:pt x="170" y="339"/>
                    </a:lnTo>
                    <a:lnTo>
                      <a:pt x="192" y="348"/>
                    </a:lnTo>
                    <a:lnTo>
                      <a:pt x="197" y="352"/>
                    </a:lnTo>
                    <a:lnTo>
                      <a:pt x="215" y="352"/>
                    </a:lnTo>
                    <a:lnTo>
                      <a:pt x="220" y="348"/>
                    </a:lnTo>
                    <a:lnTo>
                      <a:pt x="224" y="348"/>
                    </a:lnTo>
                    <a:lnTo>
                      <a:pt x="229" y="352"/>
                    </a:lnTo>
                    <a:lnTo>
                      <a:pt x="243" y="348"/>
                    </a:lnTo>
                    <a:lnTo>
                      <a:pt x="247" y="348"/>
                    </a:lnTo>
                    <a:lnTo>
                      <a:pt x="261" y="339"/>
                    </a:lnTo>
                    <a:lnTo>
                      <a:pt x="266" y="334"/>
                    </a:lnTo>
                    <a:lnTo>
                      <a:pt x="266" y="334"/>
                    </a:lnTo>
                    <a:lnTo>
                      <a:pt x="266" y="316"/>
                    </a:lnTo>
                    <a:lnTo>
                      <a:pt x="270" y="307"/>
                    </a:lnTo>
                    <a:lnTo>
                      <a:pt x="270" y="302"/>
                    </a:lnTo>
                    <a:lnTo>
                      <a:pt x="275" y="298"/>
                    </a:lnTo>
                    <a:lnTo>
                      <a:pt x="275" y="293"/>
                    </a:lnTo>
                    <a:lnTo>
                      <a:pt x="275" y="288"/>
                    </a:lnTo>
                    <a:lnTo>
                      <a:pt x="279" y="288"/>
                    </a:lnTo>
                    <a:lnTo>
                      <a:pt x="284" y="284"/>
                    </a:lnTo>
                    <a:lnTo>
                      <a:pt x="284" y="275"/>
                    </a:lnTo>
                    <a:lnTo>
                      <a:pt x="288" y="275"/>
                    </a:lnTo>
                    <a:lnTo>
                      <a:pt x="288" y="270"/>
                    </a:lnTo>
                    <a:lnTo>
                      <a:pt x="293" y="270"/>
                    </a:lnTo>
                    <a:lnTo>
                      <a:pt x="307" y="261"/>
                    </a:lnTo>
                    <a:lnTo>
                      <a:pt x="307" y="252"/>
                    </a:lnTo>
                    <a:lnTo>
                      <a:pt x="311" y="252"/>
                    </a:lnTo>
                    <a:lnTo>
                      <a:pt x="320" y="247"/>
                    </a:lnTo>
                    <a:lnTo>
                      <a:pt x="325" y="247"/>
                    </a:lnTo>
                    <a:lnTo>
                      <a:pt x="330" y="247"/>
                    </a:lnTo>
                    <a:lnTo>
                      <a:pt x="330" y="243"/>
                    </a:lnTo>
                    <a:lnTo>
                      <a:pt x="334" y="243"/>
                    </a:lnTo>
                    <a:lnTo>
                      <a:pt x="339" y="238"/>
                    </a:lnTo>
                    <a:lnTo>
                      <a:pt x="343" y="238"/>
                    </a:lnTo>
                    <a:lnTo>
                      <a:pt x="348" y="234"/>
                    </a:lnTo>
                    <a:lnTo>
                      <a:pt x="352" y="234"/>
                    </a:lnTo>
                    <a:lnTo>
                      <a:pt x="352" y="234"/>
                    </a:lnTo>
                    <a:lnTo>
                      <a:pt x="366" y="229"/>
                    </a:lnTo>
                    <a:lnTo>
                      <a:pt x="375" y="229"/>
                    </a:lnTo>
                    <a:lnTo>
                      <a:pt x="380" y="229"/>
                    </a:lnTo>
                    <a:lnTo>
                      <a:pt x="394" y="229"/>
                    </a:lnTo>
                    <a:lnTo>
                      <a:pt x="412" y="229"/>
                    </a:lnTo>
                    <a:lnTo>
                      <a:pt x="421" y="229"/>
                    </a:lnTo>
                    <a:lnTo>
                      <a:pt x="430" y="229"/>
                    </a:lnTo>
                    <a:lnTo>
                      <a:pt x="435" y="229"/>
                    </a:lnTo>
                    <a:lnTo>
                      <a:pt x="435" y="224"/>
                    </a:lnTo>
                    <a:lnTo>
                      <a:pt x="439" y="224"/>
                    </a:lnTo>
                    <a:lnTo>
                      <a:pt x="439" y="224"/>
                    </a:lnTo>
                    <a:lnTo>
                      <a:pt x="448" y="215"/>
                    </a:lnTo>
                    <a:lnTo>
                      <a:pt x="453" y="211"/>
                    </a:lnTo>
                    <a:lnTo>
                      <a:pt x="471" y="192"/>
                    </a:lnTo>
                    <a:lnTo>
                      <a:pt x="476" y="192"/>
                    </a:lnTo>
                    <a:lnTo>
                      <a:pt x="476" y="188"/>
                    </a:lnTo>
                    <a:lnTo>
                      <a:pt x="480" y="183"/>
                    </a:lnTo>
                    <a:lnTo>
                      <a:pt x="485" y="179"/>
                    </a:lnTo>
                    <a:lnTo>
                      <a:pt x="490" y="179"/>
                    </a:lnTo>
                    <a:lnTo>
                      <a:pt x="494" y="179"/>
                    </a:lnTo>
                    <a:lnTo>
                      <a:pt x="499" y="174"/>
                    </a:lnTo>
                    <a:lnTo>
                      <a:pt x="503" y="160"/>
                    </a:lnTo>
                    <a:lnTo>
                      <a:pt x="512" y="156"/>
                    </a:lnTo>
                    <a:lnTo>
                      <a:pt x="517" y="151"/>
                    </a:lnTo>
                    <a:lnTo>
                      <a:pt x="526" y="142"/>
                    </a:lnTo>
                    <a:lnTo>
                      <a:pt x="526" y="142"/>
                    </a:lnTo>
                    <a:lnTo>
                      <a:pt x="531" y="138"/>
                    </a:lnTo>
                    <a:lnTo>
                      <a:pt x="535" y="138"/>
                    </a:lnTo>
                    <a:lnTo>
                      <a:pt x="535" y="138"/>
                    </a:lnTo>
                    <a:lnTo>
                      <a:pt x="540" y="138"/>
                    </a:lnTo>
                    <a:lnTo>
                      <a:pt x="540" y="133"/>
                    </a:lnTo>
                    <a:lnTo>
                      <a:pt x="549" y="133"/>
                    </a:lnTo>
                    <a:lnTo>
                      <a:pt x="549" y="128"/>
                    </a:lnTo>
                    <a:lnTo>
                      <a:pt x="554" y="128"/>
                    </a:lnTo>
                    <a:lnTo>
                      <a:pt x="563" y="128"/>
                    </a:lnTo>
                    <a:lnTo>
                      <a:pt x="567" y="128"/>
                    </a:lnTo>
                    <a:lnTo>
                      <a:pt x="572" y="133"/>
                    </a:lnTo>
                    <a:lnTo>
                      <a:pt x="576" y="133"/>
                    </a:lnTo>
                    <a:lnTo>
                      <a:pt x="581" y="138"/>
                    </a:lnTo>
                    <a:lnTo>
                      <a:pt x="586" y="138"/>
                    </a:lnTo>
                    <a:lnTo>
                      <a:pt x="595" y="142"/>
                    </a:lnTo>
                    <a:lnTo>
                      <a:pt x="595" y="147"/>
                    </a:lnTo>
                    <a:lnTo>
                      <a:pt x="599" y="151"/>
                    </a:lnTo>
                    <a:lnTo>
                      <a:pt x="604" y="151"/>
                    </a:lnTo>
                    <a:lnTo>
                      <a:pt x="608" y="151"/>
                    </a:lnTo>
                    <a:lnTo>
                      <a:pt x="613" y="156"/>
                    </a:lnTo>
                    <a:lnTo>
                      <a:pt x="613" y="156"/>
                    </a:lnTo>
                    <a:lnTo>
                      <a:pt x="613" y="160"/>
                    </a:lnTo>
                    <a:lnTo>
                      <a:pt x="618" y="160"/>
                    </a:lnTo>
                    <a:lnTo>
                      <a:pt x="622" y="160"/>
                    </a:lnTo>
                    <a:lnTo>
                      <a:pt x="631" y="165"/>
                    </a:lnTo>
                    <a:lnTo>
                      <a:pt x="636" y="165"/>
                    </a:lnTo>
                    <a:lnTo>
                      <a:pt x="636" y="165"/>
                    </a:lnTo>
                    <a:lnTo>
                      <a:pt x="640" y="170"/>
                    </a:lnTo>
                    <a:lnTo>
                      <a:pt x="650" y="170"/>
                    </a:lnTo>
                    <a:lnTo>
                      <a:pt x="659" y="170"/>
                    </a:lnTo>
                    <a:lnTo>
                      <a:pt x="682" y="174"/>
                    </a:lnTo>
                    <a:lnTo>
                      <a:pt x="686" y="174"/>
                    </a:lnTo>
                    <a:lnTo>
                      <a:pt x="691" y="170"/>
                    </a:lnTo>
                    <a:lnTo>
                      <a:pt x="700" y="170"/>
                    </a:lnTo>
                    <a:lnTo>
                      <a:pt x="704" y="165"/>
                    </a:lnTo>
                    <a:lnTo>
                      <a:pt x="704" y="160"/>
                    </a:lnTo>
                    <a:lnTo>
                      <a:pt x="704" y="160"/>
                    </a:lnTo>
                    <a:lnTo>
                      <a:pt x="704" y="160"/>
                    </a:lnTo>
                    <a:lnTo>
                      <a:pt x="704" y="160"/>
                    </a:lnTo>
                    <a:lnTo>
                      <a:pt x="709" y="156"/>
                    </a:lnTo>
                    <a:lnTo>
                      <a:pt x="709" y="156"/>
                    </a:lnTo>
                    <a:lnTo>
                      <a:pt x="709" y="138"/>
                    </a:lnTo>
                    <a:lnTo>
                      <a:pt x="714" y="138"/>
                    </a:lnTo>
                    <a:lnTo>
                      <a:pt x="714" y="133"/>
                    </a:lnTo>
                    <a:lnTo>
                      <a:pt x="714" y="128"/>
                    </a:lnTo>
                    <a:lnTo>
                      <a:pt x="714" y="124"/>
                    </a:lnTo>
                    <a:lnTo>
                      <a:pt x="714" y="119"/>
                    </a:lnTo>
                    <a:lnTo>
                      <a:pt x="714" y="115"/>
                    </a:lnTo>
                    <a:lnTo>
                      <a:pt x="714" y="110"/>
                    </a:lnTo>
                    <a:lnTo>
                      <a:pt x="718" y="106"/>
                    </a:lnTo>
                    <a:lnTo>
                      <a:pt x="723" y="101"/>
                    </a:lnTo>
                    <a:lnTo>
                      <a:pt x="723" y="96"/>
                    </a:lnTo>
                    <a:lnTo>
                      <a:pt x="723" y="92"/>
                    </a:lnTo>
                    <a:lnTo>
                      <a:pt x="723" y="92"/>
                    </a:lnTo>
                    <a:lnTo>
                      <a:pt x="723" y="87"/>
                    </a:lnTo>
                    <a:lnTo>
                      <a:pt x="732" y="69"/>
                    </a:lnTo>
                    <a:lnTo>
                      <a:pt x="741" y="51"/>
                    </a:lnTo>
                    <a:lnTo>
                      <a:pt x="746" y="46"/>
                    </a:lnTo>
                    <a:lnTo>
                      <a:pt x="746" y="37"/>
                    </a:lnTo>
                    <a:lnTo>
                      <a:pt x="746" y="32"/>
                    </a:lnTo>
                    <a:lnTo>
                      <a:pt x="746" y="28"/>
                    </a:lnTo>
                    <a:lnTo>
                      <a:pt x="746" y="23"/>
                    </a:lnTo>
                    <a:lnTo>
                      <a:pt x="750" y="19"/>
                    </a:lnTo>
                    <a:lnTo>
                      <a:pt x="755" y="19"/>
                    </a:lnTo>
                    <a:lnTo>
                      <a:pt x="759" y="14"/>
                    </a:lnTo>
                    <a:lnTo>
                      <a:pt x="764" y="14"/>
                    </a:lnTo>
                    <a:lnTo>
                      <a:pt x="768" y="14"/>
                    </a:lnTo>
                    <a:lnTo>
                      <a:pt x="778" y="10"/>
                    </a:lnTo>
                    <a:lnTo>
                      <a:pt x="791" y="10"/>
                    </a:lnTo>
                    <a:lnTo>
                      <a:pt x="810" y="10"/>
                    </a:lnTo>
                    <a:lnTo>
                      <a:pt x="814" y="10"/>
                    </a:lnTo>
                    <a:lnTo>
                      <a:pt x="814" y="10"/>
                    </a:lnTo>
                    <a:lnTo>
                      <a:pt x="814" y="5"/>
                    </a:lnTo>
                    <a:lnTo>
                      <a:pt x="819" y="5"/>
                    </a:lnTo>
                    <a:lnTo>
                      <a:pt x="823" y="5"/>
                    </a:lnTo>
                    <a:lnTo>
                      <a:pt x="828" y="5"/>
                    </a:lnTo>
                    <a:lnTo>
                      <a:pt x="832" y="5"/>
                    </a:lnTo>
                    <a:lnTo>
                      <a:pt x="842" y="0"/>
                    </a:lnTo>
                    <a:lnTo>
                      <a:pt x="855" y="0"/>
                    </a:lnTo>
                    <a:lnTo>
                      <a:pt x="874" y="0"/>
                    </a:lnTo>
                    <a:lnTo>
                      <a:pt x="878" y="0"/>
                    </a:lnTo>
                    <a:lnTo>
                      <a:pt x="878" y="0"/>
                    </a:lnTo>
                    <a:lnTo>
                      <a:pt x="874" y="5"/>
                    </a:lnTo>
                    <a:lnTo>
                      <a:pt x="874" y="10"/>
                    </a:lnTo>
                    <a:lnTo>
                      <a:pt x="869" y="14"/>
                    </a:lnTo>
                    <a:lnTo>
                      <a:pt x="864" y="23"/>
                    </a:lnTo>
                    <a:lnTo>
                      <a:pt x="864" y="23"/>
                    </a:lnTo>
                    <a:lnTo>
                      <a:pt x="860" y="28"/>
                    </a:lnTo>
                    <a:lnTo>
                      <a:pt x="860" y="28"/>
                    </a:lnTo>
                    <a:lnTo>
                      <a:pt x="855" y="28"/>
                    </a:lnTo>
                    <a:lnTo>
                      <a:pt x="855" y="32"/>
                    </a:lnTo>
                    <a:lnTo>
                      <a:pt x="855" y="32"/>
                    </a:lnTo>
                    <a:lnTo>
                      <a:pt x="855" y="37"/>
                    </a:lnTo>
                    <a:lnTo>
                      <a:pt x="855" y="37"/>
                    </a:lnTo>
                    <a:lnTo>
                      <a:pt x="851" y="42"/>
                    </a:lnTo>
                    <a:lnTo>
                      <a:pt x="846" y="46"/>
                    </a:lnTo>
                    <a:lnTo>
                      <a:pt x="846" y="51"/>
                    </a:lnTo>
                    <a:lnTo>
                      <a:pt x="842" y="60"/>
                    </a:lnTo>
                    <a:lnTo>
                      <a:pt x="842" y="69"/>
                    </a:lnTo>
                    <a:lnTo>
                      <a:pt x="842" y="74"/>
                    </a:lnTo>
                    <a:lnTo>
                      <a:pt x="837" y="78"/>
                    </a:lnTo>
                    <a:lnTo>
                      <a:pt x="837" y="78"/>
                    </a:lnTo>
                    <a:lnTo>
                      <a:pt x="837" y="78"/>
                    </a:lnTo>
                    <a:lnTo>
                      <a:pt x="832" y="83"/>
                    </a:lnTo>
                    <a:lnTo>
                      <a:pt x="828" y="87"/>
                    </a:lnTo>
                    <a:lnTo>
                      <a:pt x="823" y="87"/>
                    </a:lnTo>
                    <a:lnTo>
                      <a:pt x="823" y="92"/>
                    </a:lnTo>
                    <a:lnTo>
                      <a:pt x="823" y="92"/>
                    </a:lnTo>
                    <a:lnTo>
                      <a:pt x="819" y="96"/>
                    </a:lnTo>
                    <a:lnTo>
                      <a:pt x="819" y="110"/>
                    </a:lnTo>
                    <a:lnTo>
                      <a:pt x="814" y="115"/>
                    </a:lnTo>
                    <a:lnTo>
                      <a:pt x="814" y="115"/>
                    </a:lnTo>
                    <a:lnTo>
                      <a:pt x="814" y="119"/>
                    </a:lnTo>
                    <a:lnTo>
                      <a:pt x="819" y="124"/>
                    </a:lnTo>
                    <a:lnTo>
                      <a:pt x="819" y="128"/>
                    </a:lnTo>
                    <a:lnTo>
                      <a:pt x="819" y="133"/>
                    </a:lnTo>
                    <a:lnTo>
                      <a:pt x="819" y="138"/>
                    </a:lnTo>
                    <a:lnTo>
                      <a:pt x="823" y="142"/>
                    </a:lnTo>
                    <a:lnTo>
                      <a:pt x="823" y="142"/>
                    </a:lnTo>
                    <a:lnTo>
                      <a:pt x="823" y="147"/>
                    </a:lnTo>
                    <a:lnTo>
                      <a:pt x="823" y="156"/>
                    </a:lnTo>
                    <a:lnTo>
                      <a:pt x="819" y="160"/>
                    </a:lnTo>
                    <a:lnTo>
                      <a:pt x="819" y="160"/>
                    </a:lnTo>
                    <a:lnTo>
                      <a:pt x="819" y="160"/>
                    </a:lnTo>
                    <a:lnTo>
                      <a:pt x="814" y="165"/>
                    </a:lnTo>
                    <a:lnTo>
                      <a:pt x="814" y="170"/>
                    </a:lnTo>
                    <a:lnTo>
                      <a:pt x="814" y="170"/>
                    </a:lnTo>
                    <a:lnTo>
                      <a:pt x="814" y="179"/>
                    </a:lnTo>
                    <a:lnTo>
                      <a:pt x="814" y="183"/>
                    </a:lnTo>
                    <a:lnTo>
                      <a:pt x="814" y="192"/>
                    </a:lnTo>
                    <a:lnTo>
                      <a:pt x="810" y="197"/>
                    </a:lnTo>
                    <a:lnTo>
                      <a:pt x="805" y="202"/>
                    </a:lnTo>
                    <a:lnTo>
                      <a:pt x="805" y="206"/>
                    </a:lnTo>
                    <a:lnTo>
                      <a:pt x="810" y="215"/>
                    </a:lnTo>
                    <a:lnTo>
                      <a:pt x="810" y="224"/>
                    </a:lnTo>
                    <a:lnTo>
                      <a:pt x="805" y="229"/>
                    </a:lnTo>
                    <a:lnTo>
                      <a:pt x="805" y="234"/>
                    </a:lnTo>
                    <a:lnTo>
                      <a:pt x="800" y="238"/>
                    </a:lnTo>
                    <a:lnTo>
                      <a:pt x="800" y="243"/>
                    </a:lnTo>
                    <a:lnTo>
                      <a:pt x="796" y="243"/>
                    </a:lnTo>
                    <a:lnTo>
                      <a:pt x="796" y="243"/>
                    </a:lnTo>
                    <a:lnTo>
                      <a:pt x="796" y="247"/>
                    </a:lnTo>
                    <a:lnTo>
                      <a:pt x="791" y="252"/>
                    </a:lnTo>
                    <a:lnTo>
                      <a:pt x="791" y="252"/>
                    </a:lnTo>
                    <a:lnTo>
                      <a:pt x="791" y="256"/>
                    </a:lnTo>
                    <a:lnTo>
                      <a:pt x="791" y="261"/>
                    </a:lnTo>
                    <a:lnTo>
                      <a:pt x="791" y="266"/>
                    </a:lnTo>
                    <a:lnTo>
                      <a:pt x="791" y="270"/>
                    </a:lnTo>
                    <a:lnTo>
                      <a:pt x="787" y="270"/>
                    </a:lnTo>
                    <a:lnTo>
                      <a:pt x="782" y="275"/>
                    </a:lnTo>
                    <a:lnTo>
                      <a:pt x="778" y="275"/>
                    </a:lnTo>
                    <a:lnTo>
                      <a:pt x="778" y="279"/>
                    </a:lnTo>
                    <a:lnTo>
                      <a:pt x="773" y="284"/>
                    </a:lnTo>
                    <a:lnTo>
                      <a:pt x="773" y="288"/>
                    </a:lnTo>
                    <a:lnTo>
                      <a:pt x="768" y="293"/>
                    </a:lnTo>
                    <a:lnTo>
                      <a:pt x="768" y="293"/>
                    </a:lnTo>
                    <a:lnTo>
                      <a:pt x="759" y="293"/>
                    </a:lnTo>
                    <a:lnTo>
                      <a:pt x="755" y="298"/>
                    </a:lnTo>
                    <a:lnTo>
                      <a:pt x="750" y="298"/>
                    </a:lnTo>
                    <a:lnTo>
                      <a:pt x="741" y="298"/>
                    </a:lnTo>
                    <a:lnTo>
                      <a:pt x="736" y="298"/>
                    </a:lnTo>
                    <a:lnTo>
                      <a:pt x="736" y="298"/>
                    </a:lnTo>
                    <a:lnTo>
                      <a:pt x="732" y="302"/>
                    </a:lnTo>
                    <a:lnTo>
                      <a:pt x="727" y="311"/>
                    </a:lnTo>
                    <a:lnTo>
                      <a:pt x="723" y="311"/>
                    </a:lnTo>
                    <a:lnTo>
                      <a:pt x="718" y="320"/>
                    </a:lnTo>
                    <a:lnTo>
                      <a:pt x="709" y="330"/>
                    </a:lnTo>
                    <a:lnTo>
                      <a:pt x="709" y="334"/>
                    </a:lnTo>
                    <a:lnTo>
                      <a:pt x="709" y="339"/>
                    </a:lnTo>
                    <a:lnTo>
                      <a:pt x="709" y="339"/>
                    </a:lnTo>
                    <a:lnTo>
                      <a:pt x="714" y="343"/>
                    </a:lnTo>
                    <a:lnTo>
                      <a:pt x="714" y="348"/>
                    </a:lnTo>
                    <a:lnTo>
                      <a:pt x="718" y="348"/>
                    </a:lnTo>
                    <a:lnTo>
                      <a:pt x="718" y="348"/>
                    </a:lnTo>
                    <a:lnTo>
                      <a:pt x="718" y="352"/>
                    </a:lnTo>
                    <a:lnTo>
                      <a:pt x="718" y="352"/>
                    </a:lnTo>
                    <a:lnTo>
                      <a:pt x="718" y="357"/>
                    </a:lnTo>
                    <a:lnTo>
                      <a:pt x="718" y="362"/>
                    </a:lnTo>
                    <a:lnTo>
                      <a:pt x="714" y="371"/>
                    </a:lnTo>
                    <a:lnTo>
                      <a:pt x="709" y="371"/>
                    </a:lnTo>
                    <a:lnTo>
                      <a:pt x="704" y="375"/>
                    </a:lnTo>
                    <a:lnTo>
                      <a:pt x="700" y="375"/>
                    </a:lnTo>
                    <a:lnTo>
                      <a:pt x="700" y="380"/>
                    </a:lnTo>
                    <a:lnTo>
                      <a:pt x="700" y="384"/>
                    </a:lnTo>
                    <a:lnTo>
                      <a:pt x="700" y="384"/>
                    </a:lnTo>
                    <a:lnTo>
                      <a:pt x="700" y="389"/>
                    </a:lnTo>
                    <a:lnTo>
                      <a:pt x="700" y="389"/>
                    </a:lnTo>
                    <a:lnTo>
                      <a:pt x="704" y="389"/>
                    </a:lnTo>
                    <a:lnTo>
                      <a:pt x="704" y="394"/>
                    </a:lnTo>
                    <a:lnTo>
                      <a:pt x="704" y="398"/>
                    </a:lnTo>
                    <a:lnTo>
                      <a:pt x="704" y="398"/>
                    </a:lnTo>
                    <a:lnTo>
                      <a:pt x="709" y="398"/>
                    </a:lnTo>
                    <a:lnTo>
                      <a:pt x="714" y="403"/>
                    </a:lnTo>
                    <a:lnTo>
                      <a:pt x="718" y="403"/>
                    </a:lnTo>
                    <a:lnTo>
                      <a:pt x="718" y="403"/>
                    </a:lnTo>
                    <a:lnTo>
                      <a:pt x="723" y="407"/>
                    </a:lnTo>
                    <a:lnTo>
                      <a:pt x="723" y="412"/>
                    </a:lnTo>
                    <a:lnTo>
                      <a:pt x="727" y="412"/>
                    </a:lnTo>
                    <a:lnTo>
                      <a:pt x="727" y="416"/>
                    </a:lnTo>
                    <a:lnTo>
                      <a:pt x="727" y="416"/>
                    </a:lnTo>
                    <a:lnTo>
                      <a:pt x="723" y="421"/>
                    </a:lnTo>
                    <a:lnTo>
                      <a:pt x="723" y="426"/>
                    </a:lnTo>
                    <a:lnTo>
                      <a:pt x="718" y="430"/>
                    </a:lnTo>
                    <a:lnTo>
                      <a:pt x="714" y="435"/>
                    </a:lnTo>
                    <a:lnTo>
                      <a:pt x="714" y="435"/>
                    </a:lnTo>
                    <a:lnTo>
                      <a:pt x="714" y="439"/>
                    </a:lnTo>
                    <a:lnTo>
                      <a:pt x="714" y="444"/>
                    </a:lnTo>
                    <a:lnTo>
                      <a:pt x="714" y="448"/>
                    </a:lnTo>
                    <a:lnTo>
                      <a:pt x="714" y="453"/>
                    </a:lnTo>
                    <a:lnTo>
                      <a:pt x="709" y="453"/>
                    </a:lnTo>
                    <a:lnTo>
                      <a:pt x="709" y="458"/>
                    </a:lnTo>
                    <a:lnTo>
                      <a:pt x="714" y="462"/>
                    </a:lnTo>
                    <a:lnTo>
                      <a:pt x="714" y="467"/>
                    </a:lnTo>
                    <a:lnTo>
                      <a:pt x="709" y="467"/>
                    </a:lnTo>
                    <a:lnTo>
                      <a:pt x="709" y="467"/>
                    </a:lnTo>
                    <a:lnTo>
                      <a:pt x="704" y="471"/>
                    </a:lnTo>
                    <a:lnTo>
                      <a:pt x="704" y="471"/>
                    </a:lnTo>
                    <a:lnTo>
                      <a:pt x="709" y="476"/>
                    </a:lnTo>
                    <a:lnTo>
                      <a:pt x="709" y="476"/>
                    </a:lnTo>
                    <a:lnTo>
                      <a:pt x="709" y="480"/>
                    </a:lnTo>
                    <a:lnTo>
                      <a:pt x="704" y="480"/>
                    </a:lnTo>
                    <a:lnTo>
                      <a:pt x="704" y="480"/>
                    </a:lnTo>
                    <a:lnTo>
                      <a:pt x="709" y="485"/>
                    </a:lnTo>
                    <a:lnTo>
                      <a:pt x="704" y="485"/>
                    </a:lnTo>
                    <a:lnTo>
                      <a:pt x="709" y="490"/>
                    </a:lnTo>
                    <a:lnTo>
                      <a:pt x="709" y="490"/>
                    </a:lnTo>
                    <a:lnTo>
                      <a:pt x="709" y="494"/>
                    </a:lnTo>
                    <a:lnTo>
                      <a:pt x="704" y="494"/>
                    </a:lnTo>
                    <a:lnTo>
                      <a:pt x="704" y="499"/>
                    </a:lnTo>
                    <a:lnTo>
                      <a:pt x="704" y="503"/>
                    </a:lnTo>
                    <a:lnTo>
                      <a:pt x="700" y="503"/>
                    </a:lnTo>
                    <a:lnTo>
                      <a:pt x="700" y="508"/>
                    </a:lnTo>
                    <a:lnTo>
                      <a:pt x="700" y="512"/>
                    </a:lnTo>
                    <a:lnTo>
                      <a:pt x="695" y="512"/>
                    </a:lnTo>
                    <a:lnTo>
                      <a:pt x="691" y="512"/>
                    </a:lnTo>
                    <a:lnTo>
                      <a:pt x="691" y="512"/>
                    </a:lnTo>
                    <a:lnTo>
                      <a:pt x="686" y="517"/>
                    </a:lnTo>
                    <a:lnTo>
                      <a:pt x="682" y="517"/>
                    </a:lnTo>
                    <a:lnTo>
                      <a:pt x="682" y="522"/>
                    </a:lnTo>
                    <a:lnTo>
                      <a:pt x="682" y="522"/>
                    </a:lnTo>
                    <a:lnTo>
                      <a:pt x="677" y="522"/>
                    </a:lnTo>
                    <a:lnTo>
                      <a:pt x="672" y="522"/>
                    </a:lnTo>
                    <a:lnTo>
                      <a:pt x="672" y="522"/>
                    </a:lnTo>
                    <a:lnTo>
                      <a:pt x="668" y="522"/>
                    </a:lnTo>
                    <a:lnTo>
                      <a:pt x="663" y="522"/>
                    </a:lnTo>
                    <a:lnTo>
                      <a:pt x="663" y="522"/>
                    </a:lnTo>
                    <a:lnTo>
                      <a:pt x="659" y="522"/>
                    </a:lnTo>
                    <a:lnTo>
                      <a:pt x="654" y="522"/>
                    </a:lnTo>
                    <a:lnTo>
                      <a:pt x="650" y="526"/>
                    </a:lnTo>
                    <a:lnTo>
                      <a:pt x="640" y="522"/>
                    </a:lnTo>
                    <a:lnTo>
                      <a:pt x="640" y="526"/>
                    </a:lnTo>
                    <a:lnTo>
                      <a:pt x="636" y="526"/>
                    </a:lnTo>
                    <a:lnTo>
                      <a:pt x="636" y="526"/>
                    </a:lnTo>
                    <a:lnTo>
                      <a:pt x="636" y="526"/>
                    </a:lnTo>
                    <a:lnTo>
                      <a:pt x="631" y="526"/>
                    </a:lnTo>
                    <a:lnTo>
                      <a:pt x="631" y="526"/>
                    </a:lnTo>
                    <a:lnTo>
                      <a:pt x="622" y="531"/>
                    </a:lnTo>
                    <a:lnTo>
                      <a:pt x="618" y="540"/>
                    </a:lnTo>
                    <a:lnTo>
                      <a:pt x="613" y="540"/>
                    </a:lnTo>
                    <a:lnTo>
                      <a:pt x="613" y="540"/>
                    </a:lnTo>
                    <a:lnTo>
                      <a:pt x="608" y="540"/>
                    </a:lnTo>
                    <a:lnTo>
                      <a:pt x="608" y="540"/>
                    </a:lnTo>
                    <a:lnTo>
                      <a:pt x="604" y="540"/>
                    </a:lnTo>
                    <a:lnTo>
                      <a:pt x="604" y="544"/>
                    </a:lnTo>
                    <a:lnTo>
                      <a:pt x="599" y="549"/>
                    </a:lnTo>
                    <a:lnTo>
                      <a:pt x="595" y="549"/>
                    </a:lnTo>
                    <a:lnTo>
                      <a:pt x="590" y="554"/>
                    </a:lnTo>
                    <a:lnTo>
                      <a:pt x="590" y="558"/>
                    </a:lnTo>
                    <a:lnTo>
                      <a:pt x="581" y="563"/>
                    </a:lnTo>
                    <a:lnTo>
                      <a:pt x="576" y="563"/>
                    </a:lnTo>
                    <a:lnTo>
                      <a:pt x="567" y="567"/>
                    </a:lnTo>
                    <a:lnTo>
                      <a:pt x="567" y="567"/>
                    </a:lnTo>
                    <a:lnTo>
                      <a:pt x="563" y="572"/>
                    </a:lnTo>
                    <a:lnTo>
                      <a:pt x="563" y="572"/>
                    </a:lnTo>
                    <a:lnTo>
                      <a:pt x="558" y="572"/>
                    </a:lnTo>
                    <a:lnTo>
                      <a:pt x="563" y="576"/>
                    </a:lnTo>
                    <a:lnTo>
                      <a:pt x="558" y="576"/>
                    </a:lnTo>
                    <a:lnTo>
                      <a:pt x="563" y="581"/>
                    </a:lnTo>
                    <a:lnTo>
                      <a:pt x="563" y="581"/>
                    </a:lnTo>
                    <a:lnTo>
                      <a:pt x="576" y="581"/>
                    </a:lnTo>
                    <a:lnTo>
                      <a:pt x="576" y="586"/>
                    </a:lnTo>
                    <a:lnTo>
                      <a:pt x="576" y="586"/>
                    </a:lnTo>
                    <a:lnTo>
                      <a:pt x="581" y="590"/>
                    </a:lnTo>
                    <a:lnTo>
                      <a:pt x="576" y="595"/>
                    </a:lnTo>
                    <a:lnTo>
                      <a:pt x="576" y="599"/>
                    </a:lnTo>
                    <a:lnTo>
                      <a:pt x="576" y="608"/>
                    </a:lnTo>
                    <a:lnTo>
                      <a:pt x="576" y="618"/>
                    </a:lnTo>
                    <a:lnTo>
                      <a:pt x="576" y="618"/>
                    </a:lnTo>
                    <a:lnTo>
                      <a:pt x="581" y="622"/>
                    </a:lnTo>
                    <a:lnTo>
                      <a:pt x="581" y="631"/>
                    </a:lnTo>
                    <a:lnTo>
                      <a:pt x="576" y="636"/>
                    </a:lnTo>
                    <a:lnTo>
                      <a:pt x="572" y="640"/>
                    </a:lnTo>
                    <a:lnTo>
                      <a:pt x="572" y="640"/>
                    </a:lnTo>
                    <a:lnTo>
                      <a:pt x="572" y="640"/>
                    </a:lnTo>
                    <a:lnTo>
                      <a:pt x="572" y="640"/>
                    </a:lnTo>
                    <a:lnTo>
                      <a:pt x="572" y="645"/>
                    </a:lnTo>
                    <a:lnTo>
                      <a:pt x="572" y="650"/>
                    </a:lnTo>
                    <a:lnTo>
                      <a:pt x="572" y="654"/>
                    </a:lnTo>
                    <a:lnTo>
                      <a:pt x="572" y="659"/>
                    </a:lnTo>
                    <a:lnTo>
                      <a:pt x="567" y="663"/>
                    </a:lnTo>
                    <a:lnTo>
                      <a:pt x="572" y="663"/>
                    </a:lnTo>
                    <a:lnTo>
                      <a:pt x="572" y="663"/>
                    </a:lnTo>
                    <a:lnTo>
                      <a:pt x="572" y="668"/>
                    </a:lnTo>
                    <a:lnTo>
                      <a:pt x="572" y="668"/>
                    </a:lnTo>
                    <a:lnTo>
                      <a:pt x="576" y="672"/>
                    </a:lnTo>
                    <a:lnTo>
                      <a:pt x="576" y="672"/>
                    </a:lnTo>
                    <a:lnTo>
                      <a:pt x="572" y="677"/>
                    </a:lnTo>
                    <a:lnTo>
                      <a:pt x="572" y="677"/>
                    </a:lnTo>
                    <a:lnTo>
                      <a:pt x="572" y="682"/>
                    </a:lnTo>
                    <a:lnTo>
                      <a:pt x="572" y="686"/>
                    </a:lnTo>
                    <a:lnTo>
                      <a:pt x="572" y="691"/>
                    </a:lnTo>
                    <a:lnTo>
                      <a:pt x="567" y="695"/>
                    </a:lnTo>
                    <a:lnTo>
                      <a:pt x="567" y="700"/>
                    </a:lnTo>
                    <a:lnTo>
                      <a:pt x="567" y="700"/>
                    </a:lnTo>
                    <a:lnTo>
                      <a:pt x="567" y="705"/>
                    </a:lnTo>
                    <a:lnTo>
                      <a:pt x="567" y="705"/>
                    </a:lnTo>
                    <a:lnTo>
                      <a:pt x="567" y="709"/>
                    </a:lnTo>
                    <a:lnTo>
                      <a:pt x="563" y="718"/>
                    </a:lnTo>
                    <a:lnTo>
                      <a:pt x="558" y="723"/>
                    </a:lnTo>
                    <a:lnTo>
                      <a:pt x="558" y="727"/>
                    </a:lnTo>
                    <a:lnTo>
                      <a:pt x="558" y="727"/>
                    </a:lnTo>
                    <a:lnTo>
                      <a:pt x="554" y="737"/>
                    </a:lnTo>
                    <a:lnTo>
                      <a:pt x="549" y="741"/>
                    </a:lnTo>
                    <a:lnTo>
                      <a:pt x="540" y="746"/>
                    </a:lnTo>
                    <a:lnTo>
                      <a:pt x="540" y="746"/>
                    </a:lnTo>
                    <a:lnTo>
                      <a:pt x="535" y="750"/>
                    </a:lnTo>
                    <a:lnTo>
                      <a:pt x="535" y="755"/>
                    </a:lnTo>
                    <a:lnTo>
                      <a:pt x="540" y="759"/>
                    </a:lnTo>
                    <a:lnTo>
                      <a:pt x="540" y="759"/>
                    </a:lnTo>
                    <a:lnTo>
                      <a:pt x="540" y="759"/>
                    </a:lnTo>
                    <a:lnTo>
                      <a:pt x="540" y="764"/>
                    </a:lnTo>
                    <a:lnTo>
                      <a:pt x="535" y="773"/>
                    </a:lnTo>
                    <a:lnTo>
                      <a:pt x="535" y="773"/>
                    </a:lnTo>
                    <a:lnTo>
                      <a:pt x="535" y="778"/>
                    </a:lnTo>
                    <a:lnTo>
                      <a:pt x="535" y="782"/>
                    </a:lnTo>
                    <a:lnTo>
                      <a:pt x="540" y="782"/>
                    </a:lnTo>
                    <a:lnTo>
                      <a:pt x="540" y="791"/>
                    </a:lnTo>
                    <a:lnTo>
                      <a:pt x="544" y="796"/>
                    </a:lnTo>
                    <a:lnTo>
                      <a:pt x="544" y="796"/>
                    </a:lnTo>
                    <a:lnTo>
                      <a:pt x="540" y="805"/>
                    </a:lnTo>
                    <a:lnTo>
                      <a:pt x="535" y="810"/>
                    </a:lnTo>
                    <a:lnTo>
                      <a:pt x="535" y="810"/>
                    </a:lnTo>
                    <a:lnTo>
                      <a:pt x="531" y="810"/>
                    </a:lnTo>
                    <a:lnTo>
                      <a:pt x="526" y="810"/>
                    </a:lnTo>
                    <a:lnTo>
                      <a:pt x="522" y="810"/>
                    </a:lnTo>
                    <a:lnTo>
                      <a:pt x="517" y="810"/>
                    </a:lnTo>
                    <a:lnTo>
                      <a:pt x="517" y="810"/>
                    </a:lnTo>
                    <a:lnTo>
                      <a:pt x="517" y="810"/>
                    </a:lnTo>
                    <a:lnTo>
                      <a:pt x="512" y="810"/>
                    </a:lnTo>
                    <a:lnTo>
                      <a:pt x="512" y="814"/>
                    </a:lnTo>
                    <a:lnTo>
                      <a:pt x="508" y="819"/>
                    </a:lnTo>
                    <a:lnTo>
                      <a:pt x="508" y="819"/>
                    </a:lnTo>
                    <a:lnTo>
                      <a:pt x="508" y="828"/>
                    </a:lnTo>
                    <a:lnTo>
                      <a:pt x="508" y="833"/>
                    </a:lnTo>
                    <a:lnTo>
                      <a:pt x="508" y="837"/>
                    </a:lnTo>
                    <a:lnTo>
                      <a:pt x="499" y="842"/>
                    </a:lnTo>
                    <a:lnTo>
                      <a:pt x="499" y="842"/>
                    </a:lnTo>
                    <a:lnTo>
                      <a:pt x="499" y="851"/>
                    </a:lnTo>
                    <a:lnTo>
                      <a:pt x="499" y="851"/>
                    </a:lnTo>
                    <a:lnTo>
                      <a:pt x="494" y="851"/>
                    </a:lnTo>
                    <a:lnTo>
                      <a:pt x="494" y="851"/>
                    </a:lnTo>
                    <a:lnTo>
                      <a:pt x="490" y="855"/>
                    </a:lnTo>
                    <a:lnTo>
                      <a:pt x="490" y="855"/>
                    </a:lnTo>
                    <a:lnTo>
                      <a:pt x="485" y="851"/>
                    </a:lnTo>
                    <a:lnTo>
                      <a:pt x="480" y="855"/>
                    </a:lnTo>
                    <a:lnTo>
                      <a:pt x="476" y="860"/>
                    </a:lnTo>
                    <a:lnTo>
                      <a:pt x="462" y="869"/>
                    </a:lnTo>
                    <a:lnTo>
                      <a:pt x="458" y="869"/>
                    </a:lnTo>
                    <a:lnTo>
                      <a:pt x="458" y="869"/>
                    </a:lnTo>
                    <a:lnTo>
                      <a:pt x="453" y="869"/>
                    </a:lnTo>
                    <a:lnTo>
                      <a:pt x="453" y="869"/>
                    </a:lnTo>
                    <a:lnTo>
                      <a:pt x="448" y="869"/>
                    </a:lnTo>
                    <a:lnTo>
                      <a:pt x="439" y="865"/>
                    </a:lnTo>
                    <a:lnTo>
                      <a:pt x="435" y="865"/>
                    </a:lnTo>
                    <a:lnTo>
                      <a:pt x="426" y="860"/>
                    </a:lnTo>
                    <a:lnTo>
                      <a:pt x="421" y="860"/>
                    </a:lnTo>
                    <a:lnTo>
                      <a:pt x="416" y="860"/>
                    </a:lnTo>
                    <a:lnTo>
                      <a:pt x="416" y="865"/>
                    </a:lnTo>
                    <a:lnTo>
                      <a:pt x="416" y="865"/>
                    </a:lnTo>
                    <a:lnTo>
                      <a:pt x="416" y="865"/>
                    </a:lnTo>
                    <a:lnTo>
                      <a:pt x="412" y="869"/>
                    </a:lnTo>
                    <a:lnTo>
                      <a:pt x="416" y="874"/>
                    </a:lnTo>
                    <a:lnTo>
                      <a:pt x="412" y="874"/>
                    </a:lnTo>
                    <a:lnTo>
                      <a:pt x="412" y="878"/>
                    </a:lnTo>
                    <a:lnTo>
                      <a:pt x="412" y="878"/>
                    </a:lnTo>
                    <a:lnTo>
                      <a:pt x="407" y="878"/>
                    </a:lnTo>
                    <a:lnTo>
                      <a:pt x="407" y="883"/>
                    </a:lnTo>
                    <a:lnTo>
                      <a:pt x="403" y="887"/>
                    </a:lnTo>
                    <a:lnTo>
                      <a:pt x="403" y="887"/>
                    </a:lnTo>
                    <a:lnTo>
                      <a:pt x="403" y="892"/>
                    </a:lnTo>
                    <a:lnTo>
                      <a:pt x="403" y="897"/>
                    </a:lnTo>
                    <a:lnTo>
                      <a:pt x="403" y="901"/>
                    </a:lnTo>
                    <a:lnTo>
                      <a:pt x="394" y="910"/>
                    </a:lnTo>
                    <a:lnTo>
                      <a:pt x="394" y="915"/>
                    </a:lnTo>
                    <a:lnTo>
                      <a:pt x="389" y="915"/>
                    </a:lnTo>
                    <a:lnTo>
                      <a:pt x="389" y="915"/>
                    </a:lnTo>
                    <a:lnTo>
                      <a:pt x="380" y="915"/>
                    </a:lnTo>
                    <a:lnTo>
                      <a:pt x="380" y="915"/>
                    </a:lnTo>
                    <a:lnTo>
                      <a:pt x="375" y="915"/>
                    </a:lnTo>
                    <a:lnTo>
                      <a:pt x="371" y="919"/>
                    </a:lnTo>
                    <a:lnTo>
                      <a:pt x="371" y="919"/>
                    </a:lnTo>
                    <a:lnTo>
                      <a:pt x="371" y="919"/>
                    </a:lnTo>
                    <a:lnTo>
                      <a:pt x="366" y="924"/>
                    </a:lnTo>
                    <a:lnTo>
                      <a:pt x="357" y="919"/>
                    </a:lnTo>
                    <a:lnTo>
                      <a:pt x="352" y="919"/>
                    </a:lnTo>
                    <a:lnTo>
                      <a:pt x="352" y="919"/>
                    </a:lnTo>
                    <a:lnTo>
                      <a:pt x="343" y="924"/>
                    </a:lnTo>
                    <a:lnTo>
                      <a:pt x="343" y="924"/>
                    </a:lnTo>
                    <a:lnTo>
                      <a:pt x="343" y="924"/>
                    </a:lnTo>
                    <a:lnTo>
                      <a:pt x="343" y="929"/>
                    </a:lnTo>
                    <a:lnTo>
                      <a:pt x="339" y="929"/>
                    </a:lnTo>
                    <a:lnTo>
                      <a:pt x="334" y="929"/>
                    </a:lnTo>
                    <a:lnTo>
                      <a:pt x="330" y="929"/>
                    </a:lnTo>
                    <a:lnTo>
                      <a:pt x="330" y="933"/>
                    </a:lnTo>
                    <a:lnTo>
                      <a:pt x="325" y="933"/>
                    </a:lnTo>
                    <a:lnTo>
                      <a:pt x="325" y="942"/>
                    </a:lnTo>
                    <a:lnTo>
                      <a:pt x="320" y="956"/>
                    </a:lnTo>
                    <a:lnTo>
                      <a:pt x="320" y="961"/>
                    </a:lnTo>
                    <a:lnTo>
                      <a:pt x="325" y="961"/>
                    </a:lnTo>
                    <a:lnTo>
                      <a:pt x="325" y="965"/>
                    </a:lnTo>
                    <a:lnTo>
                      <a:pt x="325" y="974"/>
                    </a:lnTo>
                    <a:lnTo>
                      <a:pt x="330" y="979"/>
                    </a:lnTo>
                    <a:lnTo>
                      <a:pt x="330" y="993"/>
                    </a:lnTo>
                    <a:lnTo>
                      <a:pt x="334" y="1011"/>
                    </a:lnTo>
                    <a:lnTo>
                      <a:pt x="334" y="1025"/>
                    </a:lnTo>
                    <a:lnTo>
                      <a:pt x="334" y="1034"/>
                    </a:lnTo>
                    <a:lnTo>
                      <a:pt x="334" y="1034"/>
                    </a:lnTo>
                    <a:lnTo>
                      <a:pt x="330" y="1034"/>
                    </a:lnTo>
                    <a:lnTo>
                      <a:pt x="330" y="1043"/>
                    </a:lnTo>
                    <a:lnTo>
                      <a:pt x="325" y="1047"/>
                    </a:lnTo>
                    <a:lnTo>
                      <a:pt x="320" y="1052"/>
                    </a:lnTo>
                    <a:lnTo>
                      <a:pt x="316" y="1057"/>
                    </a:lnTo>
                    <a:lnTo>
                      <a:pt x="316" y="1061"/>
                    </a:lnTo>
                    <a:lnTo>
                      <a:pt x="316" y="1061"/>
                    </a:lnTo>
                    <a:lnTo>
                      <a:pt x="316" y="1070"/>
                    </a:lnTo>
                    <a:lnTo>
                      <a:pt x="316" y="1070"/>
                    </a:lnTo>
                    <a:lnTo>
                      <a:pt x="320" y="1079"/>
                    </a:lnTo>
                    <a:lnTo>
                      <a:pt x="316" y="1084"/>
                    </a:lnTo>
                    <a:lnTo>
                      <a:pt x="316" y="1089"/>
                    </a:lnTo>
                    <a:lnTo>
                      <a:pt x="320" y="1089"/>
                    </a:lnTo>
                    <a:lnTo>
                      <a:pt x="320" y="1093"/>
                    </a:lnTo>
                    <a:lnTo>
                      <a:pt x="320" y="1093"/>
                    </a:lnTo>
                    <a:lnTo>
                      <a:pt x="320" y="1098"/>
                    </a:lnTo>
                    <a:lnTo>
                      <a:pt x="320" y="1102"/>
                    </a:lnTo>
                    <a:lnTo>
                      <a:pt x="316" y="1107"/>
                    </a:lnTo>
                    <a:lnTo>
                      <a:pt x="311" y="1111"/>
                    </a:lnTo>
                    <a:lnTo>
                      <a:pt x="311" y="1116"/>
                    </a:lnTo>
                    <a:lnTo>
                      <a:pt x="311" y="1121"/>
                    </a:lnTo>
                    <a:lnTo>
                      <a:pt x="307" y="1121"/>
                    </a:lnTo>
                    <a:lnTo>
                      <a:pt x="307" y="1121"/>
                    </a:lnTo>
                    <a:lnTo>
                      <a:pt x="302" y="1125"/>
                    </a:lnTo>
                    <a:lnTo>
                      <a:pt x="302" y="1125"/>
                    </a:lnTo>
                    <a:lnTo>
                      <a:pt x="298" y="1130"/>
                    </a:lnTo>
                    <a:lnTo>
                      <a:pt x="298" y="1134"/>
                    </a:lnTo>
                    <a:lnTo>
                      <a:pt x="293" y="1139"/>
                    </a:lnTo>
                    <a:lnTo>
                      <a:pt x="288" y="1143"/>
                    </a:lnTo>
                    <a:lnTo>
                      <a:pt x="288" y="1148"/>
                    </a:lnTo>
                    <a:lnTo>
                      <a:pt x="279" y="1153"/>
                    </a:lnTo>
                    <a:lnTo>
                      <a:pt x="275" y="1157"/>
                    </a:lnTo>
                    <a:lnTo>
                      <a:pt x="270" y="1162"/>
                    </a:lnTo>
                    <a:lnTo>
                      <a:pt x="270" y="1171"/>
                    </a:lnTo>
                    <a:lnTo>
                      <a:pt x="266" y="1175"/>
                    </a:lnTo>
                    <a:lnTo>
                      <a:pt x="266" y="1175"/>
                    </a:lnTo>
                    <a:lnTo>
                      <a:pt x="261" y="1175"/>
                    </a:lnTo>
                    <a:lnTo>
                      <a:pt x="261" y="1180"/>
                    </a:lnTo>
                    <a:lnTo>
                      <a:pt x="261" y="1185"/>
                    </a:lnTo>
                    <a:lnTo>
                      <a:pt x="261" y="1189"/>
                    </a:lnTo>
                    <a:lnTo>
                      <a:pt x="256" y="1194"/>
                    </a:lnTo>
                    <a:lnTo>
                      <a:pt x="256" y="1194"/>
                    </a:lnTo>
                    <a:lnTo>
                      <a:pt x="252" y="1198"/>
                    </a:lnTo>
                    <a:lnTo>
                      <a:pt x="252" y="1203"/>
                    </a:lnTo>
                    <a:lnTo>
                      <a:pt x="252" y="1207"/>
                    </a:lnTo>
                    <a:lnTo>
                      <a:pt x="252" y="1217"/>
                    </a:lnTo>
                    <a:lnTo>
                      <a:pt x="252" y="1221"/>
                    </a:lnTo>
                    <a:lnTo>
                      <a:pt x="247" y="1221"/>
                    </a:lnTo>
                    <a:lnTo>
                      <a:pt x="247" y="1221"/>
                    </a:lnTo>
                    <a:lnTo>
                      <a:pt x="243" y="1226"/>
                    </a:lnTo>
                    <a:lnTo>
                      <a:pt x="243" y="1230"/>
                    </a:lnTo>
                    <a:lnTo>
                      <a:pt x="247" y="1235"/>
                    </a:lnTo>
                    <a:lnTo>
                      <a:pt x="247" y="1249"/>
                    </a:lnTo>
                    <a:lnTo>
                      <a:pt x="247" y="1258"/>
                    </a:lnTo>
                    <a:lnTo>
                      <a:pt x="247" y="1267"/>
                    </a:lnTo>
                    <a:lnTo>
                      <a:pt x="247" y="1271"/>
                    </a:lnTo>
                    <a:lnTo>
                      <a:pt x="252" y="1276"/>
                    </a:lnTo>
                    <a:lnTo>
                      <a:pt x="243" y="1281"/>
                    </a:lnTo>
                    <a:lnTo>
                      <a:pt x="238" y="1281"/>
                    </a:lnTo>
                    <a:lnTo>
                      <a:pt x="238" y="1285"/>
                    </a:lnTo>
                    <a:lnTo>
                      <a:pt x="234" y="1285"/>
                    </a:lnTo>
                    <a:lnTo>
                      <a:pt x="224" y="1285"/>
                    </a:lnTo>
                    <a:lnTo>
                      <a:pt x="220" y="1290"/>
                    </a:lnTo>
                    <a:lnTo>
                      <a:pt x="220" y="1290"/>
                    </a:lnTo>
                    <a:lnTo>
                      <a:pt x="211" y="1299"/>
                    </a:lnTo>
                    <a:lnTo>
                      <a:pt x="206" y="1303"/>
                    </a:lnTo>
                    <a:lnTo>
                      <a:pt x="202" y="1313"/>
                    </a:lnTo>
                    <a:lnTo>
                      <a:pt x="197" y="1313"/>
                    </a:lnTo>
                    <a:lnTo>
                      <a:pt x="197" y="1313"/>
                    </a:lnTo>
                    <a:lnTo>
                      <a:pt x="197" y="1303"/>
                    </a:lnTo>
                    <a:lnTo>
                      <a:pt x="192" y="1299"/>
                    </a:lnTo>
                    <a:lnTo>
                      <a:pt x="188" y="1290"/>
                    </a:lnTo>
                    <a:lnTo>
                      <a:pt x="188" y="1276"/>
                    </a:lnTo>
                    <a:lnTo>
                      <a:pt x="183" y="1276"/>
                    </a:lnTo>
                    <a:lnTo>
                      <a:pt x="183" y="1276"/>
                    </a:lnTo>
                    <a:lnTo>
                      <a:pt x="183" y="1271"/>
                    </a:lnTo>
                    <a:lnTo>
                      <a:pt x="179" y="1258"/>
                    </a:lnTo>
                    <a:lnTo>
                      <a:pt x="179" y="1244"/>
                    </a:lnTo>
                    <a:lnTo>
                      <a:pt x="179" y="1239"/>
                    </a:lnTo>
                    <a:lnTo>
                      <a:pt x="179" y="1235"/>
                    </a:lnTo>
                    <a:lnTo>
                      <a:pt x="179" y="1230"/>
                    </a:lnTo>
                    <a:lnTo>
                      <a:pt x="179" y="1226"/>
                    </a:lnTo>
                    <a:lnTo>
                      <a:pt x="179" y="1217"/>
                    </a:lnTo>
                    <a:lnTo>
                      <a:pt x="179" y="1212"/>
                    </a:lnTo>
                    <a:lnTo>
                      <a:pt x="179" y="1203"/>
                    </a:lnTo>
                    <a:lnTo>
                      <a:pt x="174" y="1194"/>
                    </a:lnTo>
                    <a:lnTo>
                      <a:pt x="174" y="1189"/>
                    </a:lnTo>
                    <a:lnTo>
                      <a:pt x="170" y="1189"/>
                    </a:lnTo>
                    <a:lnTo>
                      <a:pt x="165" y="1185"/>
                    </a:lnTo>
                    <a:lnTo>
                      <a:pt x="165" y="1180"/>
                    </a:lnTo>
                    <a:lnTo>
                      <a:pt x="160" y="1180"/>
                    </a:lnTo>
                    <a:lnTo>
                      <a:pt x="160" y="1175"/>
                    </a:lnTo>
                    <a:lnTo>
                      <a:pt x="156" y="1175"/>
                    </a:lnTo>
                    <a:lnTo>
                      <a:pt x="156" y="1175"/>
                    </a:lnTo>
                    <a:lnTo>
                      <a:pt x="156" y="1171"/>
                    </a:lnTo>
                    <a:lnTo>
                      <a:pt x="151" y="1171"/>
                    </a:lnTo>
                    <a:lnTo>
                      <a:pt x="142" y="1166"/>
                    </a:lnTo>
                    <a:lnTo>
                      <a:pt x="138" y="1162"/>
                    </a:lnTo>
                    <a:lnTo>
                      <a:pt x="133" y="1153"/>
                    </a:lnTo>
                    <a:lnTo>
                      <a:pt x="133" y="1153"/>
                    </a:lnTo>
                    <a:lnTo>
                      <a:pt x="133" y="1148"/>
                    </a:lnTo>
                    <a:lnTo>
                      <a:pt x="128" y="1148"/>
                    </a:lnTo>
                    <a:lnTo>
                      <a:pt x="119" y="1139"/>
                    </a:lnTo>
                    <a:lnTo>
                      <a:pt x="119" y="1134"/>
                    </a:lnTo>
                    <a:lnTo>
                      <a:pt x="115" y="1134"/>
                    </a:lnTo>
                    <a:lnTo>
                      <a:pt x="115" y="1130"/>
                    </a:lnTo>
                    <a:lnTo>
                      <a:pt x="110" y="1130"/>
                    </a:lnTo>
                    <a:lnTo>
                      <a:pt x="110" y="1125"/>
                    </a:lnTo>
                    <a:lnTo>
                      <a:pt x="106" y="1125"/>
                    </a:lnTo>
                    <a:lnTo>
                      <a:pt x="101" y="1125"/>
                    </a:lnTo>
                    <a:lnTo>
                      <a:pt x="96" y="1125"/>
                    </a:lnTo>
                    <a:lnTo>
                      <a:pt x="92" y="1125"/>
                    </a:lnTo>
                    <a:lnTo>
                      <a:pt x="92" y="1130"/>
                    </a:lnTo>
                    <a:lnTo>
                      <a:pt x="87" y="1134"/>
                    </a:lnTo>
                    <a:lnTo>
                      <a:pt x="87" y="1139"/>
                    </a:lnTo>
                    <a:lnTo>
                      <a:pt x="87" y="1143"/>
                    </a:lnTo>
                    <a:lnTo>
                      <a:pt x="83" y="1148"/>
                    </a:lnTo>
                    <a:close/>
                  </a:path>
                </a:pathLst>
              </a:custGeom>
              <a:grpFill/>
              <a:ln w="6350" cmpd="sng">
                <a:solidFill>
                  <a:sysClr val="window" lastClr="FFFFFF"/>
                </a:solidFill>
                <a:miter lim="800000"/>
                <a:headEnd/>
                <a:tailEnd/>
              </a:ln>
              <a:effectLst/>
            </p:spPr>
            <p:txBody>
              <a:bodyPr lIns="182880" rIns="0" bIns="731520" anchor="ctr"/>
              <a:lstStyle/>
              <a:p>
                <a:pPr marL="0" marR="0" lvl="0" indent="0" algn="ctr"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Adamawa</a:t>
                </a:r>
              </a:p>
            </p:txBody>
          </p:sp>
          <p:sp>
            <p:nvSpPr>
              <p:cNvPr id="189" name="Freeform 8">
                <a:extLst>
                  <a:ext uri="{FF2B5EF4-FFF2-40B4-BE49-F238E27FC236}">
                    <a16:creationId xmlns:a16="http://schemas.microsoft.com/office/drawing/2014/main" id="{5788CE83-8069-4E27-9650-5CE2BA1CE331}"/>
                  </a:ext>
                </a:extLst>
              </p:cNvPr>
              <p:cNvSpPr>
                <a:spLocks noEditPoints="1"/>
              </p:cNvSpPr>
              <p:nvPr>
                <p:custDataLst>
                  <p:tags r:id="rId6"/>
                </p:custDataLst>
              </p:nvPr>
            </p:nvSpPr>
            <p:spPr bwMode="auto">
              <a:xfrm>
                <a:off x="2549147" y="5593132"/>
                <a:ext cx="457592" cy="492051"/>
              </a:xfrm>
              <a:custGeom>
                <a:avLst/>
                <a:gdLst/>
                <a:ahLst/>
                <a:cxnLst>
                  <a:cxn ang="0">
                    <a:pos x="320" y="265"/>
                  </a:cxn>
                  <a:cxn ang="0">
                    <a:pos x="329" y="275"/>
                  </a:cxn>
                  <a:cxn ang="0">
                    <a:pos x="338" y="339"/>
                  </a:cxn>
                  <a:cxn ang="0">
                    <a:pos x="343" y="348"/>
                  </a:cxn>
                  <a:cxn ang="0">
                    <a:pos x="334" y="357"/>
                  </a:cxn>
                  <a:cxn ang="0">
                    <a:pos x="338" y="339"/>
                  </a:cxn>
                  <a:cxn ang="0">
                    <a:pos x="46" y="371"/>
                  </a:cxn>
                  <a:cxn ang="0">
                    <a:pos x="41" y="343"/>
                  </a:cxn>
                  <a:cxn ang="0">
                    <a:pos x="46" y="316"/>
                  </a:cxn>
                  <a:cxn ang="0">
                    <a:pos x="41" y="293"/>
                  </a:cxn>
                  <a:cxn ang="0">
                    <a:pos x="28" y="275"/>
                  </a:cxn>
                  <a:cxn ang="0">
                    <a:pos x="18" y="265"/>
                  </a:cxn>
                  <a:cxn ang="0">
                    <a:pos x="18" y="247"/>
                  </a:cxn>
                  <a:cxn ang="0">
                    <a:pos x="9" y="229"/>
                  </a:cxn>
                  <a:cxn ang="0">
                    <a:pos x="23" y="211"/>
                  </a:cxn>
                  <a:cxn ang="0">
                    <a:pos x="9" y="206"/>
                  </a:cxn>
                  <a:cxn ang="0">
                    <a:pos x="9" y="192"/>
                  </a:cxn>
                  <a:cxn ang="0">
                    <a:pos x="28" y="165"/>
                  </a:cxn>
                  <a:cxn ang="0">
                    <a:pos x="28" y="128"/>
                  </a:cxn>
                  <a:cxn ang="0">
                    <a:pos x="41" y="101"/>
                  </a:cxn>
                  <a:cxn ang="0">
                    <a:pos x="28" y="83"/>
                  </a:cxn>
                  <a:cxn ang="0">
                    <a:pos x="69" y="78"/>
                  </a:cxn>
                  <a:cxn ang="0">
                    <a:pos x="60" y="51"/>
                  </a:cxn>
                  <a:cxn ang="0">
                    <a:pos x="87" y="28"/>
                  </a:cxn>
                  <a:cxn ang="0">
                    <a:pos x="110" y="0"/>
                  </a:cxn>
                  <a:cxn ang="0">
                    <a:pos x="128" y="37"/>
                  </a:cxn>
                  <a:cxn ang="0">
                    <a:pos x="160" y="64"/>
                  </a:cxn>
                  <a:cxn ang="0">
                    <a:pos x="146" y="78"/>
                  </a:cxn>
                  <a:cxn ang="0">
                    <a:pos x="174" y="92"/>
                  </a:cxn>
                  <a:cxn ang="0">
                    <a:pos x="206" y="101"/>
                  </a:cxn>
                  <a:cxn ang="0">
                    <a:pos x="242" y="124"/>
                  </a:cxn>
                  <a:cxn ang="0">
                    <a:pos x="247" y="174"/>
                  </a:cxn>
                  <a:cxn ang="0">
                    <a:pos x="297" y="215"/>
                  </a:cxn>
                  <a:cxn ang="0">
                    <a:pos x="316" y="261"/>
                  </a:cxn>
                  <a:cxn ang="0">
                    <a:pos x="311" y="265"/>
                  </a:cxn>
                  <a:cxn ang="0">
                    <a:pos x="320" y="284"/>
                  </a:cxn>
                  <a:cxn ang="0">
                    <a:pos x="334" y="297"/>
                  </a:cxn>
                  <a:cxn ang="0">
                    <a:pos x="334" y="307"/>
                  </a:cxn>
                  <a:cxn ang="0">
                    <a:pos x="334" y="325"/>
                  </a:cxn>
                  <a:cxn ang="0">
                    <a:pos x="338" y="334"/>
                  </a:cxn>
                  <a:cxn ang="0">
                    <a:pos x="329" y="348"/>
                  </a:cxn>
                  <a:cxn ang="0">
                    <a:pos x="325" y="361"/>
                  </a:cxn>
                  <a:cxn ang="0">
                    <a:pos x="320" y="375"/>
                  </a:cxn>
                  <a:cxn ang="0">
                    <a:pos x="293" y="375"/>
                  </a:cxn>
                  <a:cxn ang="0">
                    <a:pos x="256" y="375"/>
                  </a:cxn>
                  <a:cxn ang="0">
                    <a:pos x="210" y="375"/>
                  </a:cxn>
                  <a:cxn ang="0">
                    <a:pos x="188" y="375"/>
                  </a:cxn>
                  <a:cxn ang="0">
                    <a:pos x="142" y="384"/>
                  </a:cxn>
                  <a:cxn ang="0">
                    <a:pos x="124" y="389"/>
                  </a:cxn>
                  <a:cxn ang="0">
                    <a:pos x="92" y="393"/>
                  </a:cxn>
                  <a:cxn ang="0">
                    <a:pos x="87" y="393"/>
                  </a:cxn>
                  <a:cxn ang="0">
                    <a:pos x="69" y="398"/>
                  </a:cxn>
                  <a:cxn ang="0">
                    <a:pos x="64" y="398"/>
                  </a:cxn>
                  <a:cxn ang="0">
                    <a:pos x="55" y="384"/>
                  </a:cxn>
                </a:cxnLst>
                <a:rect l="0" t="0" r="r" b="b"/>
                <a:pathLst>
                  <a:path w="343" h="398">
                    <a:moveTo>
                      <a:pt x="329" y="279"/>
                    </a:moveTo>
                    <a:lnTo>
                      <a:pt x="325" y="279"/>
                    </a:lnTo>
                    <a:lnTo>
                      <a:pt x="320" y="275"/>
                    </a:lnTo>
                    <a:lnTo>
                      <a:pt x="320" y="265"/>
                    </a:lnTo>
                    <a:lnTo>
                      <a:pt x="320" y="265"/>
                    </a:lnTo>
                    <a:lnTo>
                      <a:pt x="320" y="265"/>
                    </a:lnTo>
                    <a:lnTo>
                      <a:pt x="325" y="265"/>
                    </a:lnTo>
                    <a:lnTo>
                      <a:pt x="325" y="270"/>
                    </a:lnTo>
                    <a:lnTo>
                      <a:pt x="329" y="275"/>
                    </a:lnTo>
                    <a:lnTo>
                      <a:pt x="329" y="275"/>
                    </a:lnTo>
                    <a:lnTo>
                      <a:pt x="329" y="279"/>
                    </a:lnTo>
                    <a:lnTo>
                      <a:pt x="329" y="279"/>
                    </a:lnTo>
                    <a:lnTo>
                      <a:pt x="329" y="279"/>
                    </a:lnTo>
                    <a:close/>
                    <a:moveTo>
                      <a:pt x="338" y="339"/>
                    </a:moveTo>
                    <a:lnTo>
                      <a:pt x="338" y="339"/>
                    </a:lnTo>
                    <a:lnTo>
                      <a:pt x="338" y="339"/>
                    </a:lnTo>
                    <a:lnTo>
                      <a:pt x="343" y="339"/>
                    </a:lnTo>
                    <a:lnTo>
                      <a:pt x="343" y="343"/>
                    </a:lnTo>
                    <a:lnTo>
                      <a:pt x="343" y="348"/>
                    </a:lnTo>
                    <a:lnTo>
                      <a:pt x="343" y="348"/>
                    </a:lnTo>
                    <a:lnTo>
                      <a:pt x="343" y="352"/>
                    </a:lnTo>
                    <a:lnTo>
                      <a:pt x="343" y="357"/>
                    </a:lnTo>
                    <a:lnTo>
                      <a:pt x="338" y="357"/>
                    </a:lnTo>
                    <a:lnTo>
                      <a:pt x="334" y="357"/>
                    </a:lnTo>
                    <a:lnTo>
                      <a:pt x="334" y="357"/>
                    </a:lnTo>
                    <a:lnTo>
                      <a:pt x="329" y="348"/>
                    </a:lnTo>
                    <a:lnTo>
                      <a:pt x="329" y="348"/>
                    </a:lnTo>
                    <a:lnTo>
                      <a:pt x="334" y="348"/>
                    </a:lnTo>
                    <a:lnTo>
                      <a:pt x="338" y="343"/>
                    </a:lnTo>
                    <a:lnTo>
                      <a:pt x="338" y="339"/>
                    </a:lnTo>
                    <a:lnTo>
                      <a:pt x="338" y="339"/>
                    </a:lnTo>
                    <a:close/>
                    <a:moveTo>
                      <a:pt x="55" y="384"/>
                    </a:moveTo>
                    <a:lnTo>
                      <a:pt x="50" y="384"/>
                    </a:lnTo>
                    <a:lnTo>
                      <a:pt x="46" y="380"/>
                    </a:lnTo>
                    <a:lnTo>
                      <a:pt x="46" y="371"/>
                    </a:lnTo>
                    <a:lnTo>
                      <a:pt x="46" y="366"/>
                    </a:lnTo>
                    <a:lnTo>
                      <a:pt x="46" y="357"/>
                    </a:lnTo>
                    <a:lnTo>
                      <a:pt x="41" y="357"/>
                    </a:lnTo>
                    <a:lnTo>
                      <a:pt x="41" y="343"/>
                    </a:lnTo>
                    <a:lnTo>
                      <a:pt x="41" y="343"/>
                    </a:lnTo>
                    <a:lnTo>
                      <a:pt x="41" y="339"/>
                    </a:lnTo>
                    <a:lnTo>
                      <a:pt x="41" y="329"/>
                    </a:lnTo>
                    <a:lnTo>
                      <a:pt x="41" y="325"/>
                    </a:lnTo>
                    <a:lnTo>
                      <a:pt x="41" y="320"/>
                    </a:lnTo>
                    <a:lnTo>
                      <a:pt x="46" y="316"/>
                    </a:lnTo>
                    <a:lnTo>
                      <a:pt x="46" y="311"/>
                    </a:lnTo>
                    <a:lnTo>
                      <a:pt x="46" y="307"/>
                    </a:lnTo>
                    <a:lnTo>
                      <a:pt x="46" y="302"/>
                    </a:lnTo>
                    <a:lnTo>
                      <a:pt x="46" y="302"/>
                    </a:lnTo>
                    <a:lnTo>
                      <a:pt x="41" y="293"/>
                    </a:lnTo>
                    <a:lnTo>
                      <a:pt x="41" y="288"/>
                    </a:lnTo>
                    <a:lnTo>
                      <a:pt x="37" y="279"/>
                    </a:lnTo>
                    <a:lnTo>
                      <a:pt x="37" y="279"/>
                    </a:lnTo>
                    <a:lnTo>
                      <a:pt x="32" y="275"/>
                    </a:lnTo>
                    <a:lnTo>
                      <a:pt x="28" y="275"/>
                    </a:lnTo>
                    <a:lnTo>
                      <a:pt x="28" y="270"/>
                    </a:lnTo>
                    <a:lnTo>
                      <a:pt x="23" y="270"/>
                    </a:lnTo>
                    <a:lnTo>
                      <a:pt x="23" y="265"/>
                    </a:lnTo>
                    <a:lnTo>
                      <a:pt x="18" y="265"/>
                    </a:lnTo>
                    <a:lnTo>
                      <a:pt x="18" y="265"/>
                    </a:lnTo>
                    <a:lnTo>
                      <a:pt x="9" y="261"/>
                    </a:lnTo>
                    <a:lnTo>
                      <a:pt x="14" y="256"/>
                    </a:lnTo>
                    <a:lnTo>
                      <a:pt x="18" y="256"/>
                    </a:lnTo>
                    <a:lnTo>
                      <a:pt x="18" y="252"/>
                    </a:lnTo>
                    <a:lnTo>
                      <a:pt x="18" y="247"/>
                    </a:lnTo>
                    <a:lnTo>
                      <a:pt x="18" y="243"/>
                    </a:lnTo>
                    <a:lnTo>
                      <a:pt x="18" y="238"/>
                    </a:lnTo>
                    <a:lnTo>
                      <a:pt x="14" y="233"/>
                    </a:lnTo>
                    <a:lnTo>
                      <a:pt x="5" y="229"/>
                    </a:lnTo>
                    <a:lnTo>
                      <a:pt x="9" y="229"/>
                    </a:lnTo>
                    <a:lnTo>
                      <a:pt x="9" y="224"/>
                    </a:lnTo>
                    <a:lnTo>
                      <a:pt x="14" y="224"/>
                    </a:lnTo>
                    <a:lnTo>
                      <a:pt x="18" y="220"/>
                    </a:lnTo>
                    <a:lnTo>
                      <a:pt x="18" y="211"/>
                    </a:lnTo>
                    <a:lnTo>
                      <a:pt x="23" y="211"/>
                    </a:lnTo>
                    <a:lnTo>
                      <a:pt x="28" y="206"/>
                    </a:lnTo>
                    <a:lnTo>
                      <a:pt x="28" y="206"/>
                    </a:lnTo>
                    <a:lnTo>
                      <a:pt x="23" y="201"/>
                    </a:lnTo>
                    <a:lnTo>
                      <a:pt x="18" y="206"/>
                    </a:lnTo>
                    <a:lnTo>
                      <a:pt x="9" y="206"/>
                    </a:lnTo>
                    <a:lnTo>
                      <a:pt x="5" y="206"/>
                    </a:lnTo>
                    <a:lnTo>
                      <a:pt x="0" y="201"/>
                    </a:lnTo>
                    <a:lnTo>
                      <a:pt x="5" y="201"/>
                    </a:lnTo>
                    <a:lnTo>
                      <a:pt x="5" y="197"/>
                    </a:lnTo>
                    <a:lnTo>
                      <a:pt x="9" y="192"/>
                    </a:lnTo>
                    <a:lnTo>
                      <a:pt x="14" y="192"/>
                    </a:lnTo>
                    <a:lnTo>
                      <a:pt x="18" y="188"/>
                    </a:lnTo>
                    <a:lnTo>
                      <a:pt x="18" y="183"/>
                    </a:lnTo>
                    <a:lnTo>
                      <a:pt x="23" y="174"/>
                    </a:lnTo>
                    <a:lnTo>
                      <a:pt x="28" y="165"/>
                    </a:lnTo>
                    <a:lnTo>
                      <a:pt x="32" y="151"/>
                    </a:lnTo>
                    <a:lnTo>
                      <a:pt x="28" y="147"/>
                    </a:lnTo>
                    <a:lnTo>
                      <a:pt x="28" y="142"/>
                    </a:lnTo>
                    <a:lnTo>
                      <a:pt x="28" y="137"/>
                    </a:lnTo>
                    <a:lnTo>
                      <a:pt x="28" y="128"/>
                    </a:lnTo>
                    <a:lnTo>
                      <a:pt x="28" y="119"/>
                    </a:lnTo>
                    <a:lnTo>
                      <a:pt x="28" y="115"/>
                    </a:lnTo>
                    <a:lnTo>
                      <a:pt x="32" y="101"/>
                    </a:lnTo>
                    <a:lnTo>
                      <a:pt x="37" y="101"/>
                    </a:lnTo>
                    <a:lnTo>
                      <a:pt x="41" y="101"/>
                    </a:lnTo>
                    <a:lnTo>
                      <a:pt x="41" y="101"/>
                    </a:lnTo>
                    <a:lnTo>
                      <a:pt x="37" y="96"/>
                    </a:lnTo>
                    <a:lnTo>
                      <a:pt x="32" y="92"/>
                    </a:lnTo>
                    <a:lnTo>
                      <a:pt x="28" y="87"/>
                    </a:lnTo>
                    <a:lnTo>
                      <a:pt x="28" y="83"/>
                    </a:lnTo>
                    <a:lnTo>
                      <a:pt x="32" y="83"/>
                    </a:lnTo>
                    <a:lnTo>
                      <a:pt x="32" y="83"/>
                    </a:lnTo>
                    <a:lnTo>
                      <a:pt x="41" y="83"/>
                    </a:lnTo>
                    <a:lnTo>
                      <a:pt x="60" y="78"/>
                    </a:lnTo>
                    <a:lnTo>
                      <a:pt x="69" y="78"/>
                    </a:lnTo>
                    <a:lnTo>
                      <a:pt x="73" y="73"/>
                    </a:lnTo>
                    <a:lnTo>
                      <a:pt x="73" y="69"/>
                    </a:lnTo>
                    <a:lnTo>
                      <a:pt x="69" y="60"/>
                    </a:lnTo>
                    <a:lnTo>
                      <a:pt x="60" y="60"/>
                    </a:lnTo>
                    <a:lnTo>
                      <a:pt x="60" y="51"/>
                    </a:lnTo>
                    <a:lnTo>
                      <a:pt x="64" y="41"/>
                    </a:lnTo>
                    <a:lnTo>
                      <a:pt x="69" y="37"/>
                    </a:lnTo>
                    <a:lnTo>
                      <a:pt x="73" y="37"/>
                    </a:lnTo>
                    <a:lnTo>
                      <a:pt x="82" y="37"/>
                    </a:lnTo>
                    <a:lnTo>
                      <a:pt x="87" y="28"/>
                    </a:lnTo>
                    <a:lnTo>
                      <a:pt x="96" y="23"/>
                    </a:lnTo>
                    <a:lnTo>
                      <a:pt x="96" y="14"/>
                    </a:lnTo>
                    <a:lnTo>
                      <a:pt x="96" y="9"/>
                    </a:lnTo>
                    <a:lnTo>
                      <a:pt x="101" y="0"/>
                    </a:lnTo>
                    <a:lnTo>
                      <a:pt x="110" y="0"/>
                    </a:lnTo>
                    <a:lnTo>
                      <a:pt x="114" y="5"/>
                    </a:lnTo>
                    <a:lnTo>
                      <a:pt x="119" y="9"/>
                    </a:lnTo>
                    <a:lnTo>
                      <a:pt x="124" y="19"/>
                    </a:lnTo>
                    <a:lnTo>
                      <a:pt x="128" y="28"/>
                    </a:lnTo>
                    <a:lnTo>
                      <a:pt x="128" y="37"/>
                    </a:lnTo>
                    <a:lnTo>
                      <a:pt x="142" y="46"/>
                    </a:lnTo>
                    <a:lnTo>
                      <a:pt x="146" y="55"/>
                    </a:lnTo>
                    <a:lnTo>
                      <a:pt x="151" y="60"/>
                    </a:lnTo>
                    <a:lnTo>
                      <a:pt x="156" y="60"/>
                    </a:lnTo>
                    <a:lnTo>
                      <a:pt x="160" y="64"/>
                    </a:lnTo>
                    <a:lnTo>
                      <a:pt x="160" y="73"/>
                    </a:lnTo>
                    <a:lnTo>
                      <a:pt x="156" y="73"/>
                    </a:lnTo>
                    <a:lnTo>
                      <a:pt x="151" y="73"/>
                    </a:lnTo>
                    <a:lnTo>
                      <a:pt x="146" y="73"/>
                    </a:lnTo>
                    <a:lnTo>
                      <a:pt x="146" y="78"/>
                    </a:lnTo>
                    <a:lnTo>
                      <a:pt x="146" y="83"/>
                    </a:lnTo>
                    <a:lnTo>
                      <a:pt x="151" y="83"/>
                    </a:lnTo>
                    <a:lnTo>
                      <a:pt x="156" y="83"/>
                    </a:lnTo>
                    <a:lnTo>
                      <a:pt x="165" y="87"/>
                    </a:lnTo>
                    <a:lnTo>
                      <a:pt x="174" y="92"/>
                    </a:lnTo>
                    <a:lnTo>
                      <a:pt x="174" y="96"/>
                    </a:lnTo>
                    <a:lnTo>
                      <a:pt x="183" y="101"/>
                    </a:lnTo>
                    <a:lnTo>
                      <a:pt x="188" y="101"/>
                    </a:lnTo>
                    <a:lnTo>
                      <a:pt x="197" y="101"/>
                    </a:lnTo>
                    <a:lnTo>
                      <a:pt x="206" y="101"/>
                    </a:lnTo>
                    <a:lnTo>
                      <a:pt x="215" y="101"/>
                    </a:lnTo>
                    <a:lnTo>
                      <a:pt x="229" y="101"/>
                    </a:lnTo>
                    <a:lnTo>
                      <a:pt x="238" y="105"/>
                    </a:lnTo>
                    <a:lnTo>
                      <a:pt x="242" y="119"/>
                    </a:lnTo>
                    <a:lnTo>
                      <a:pt x="242" y="124"/>
                    </a:lnTo>
                    <a:lnTo>
                      <a:pt x="238" y="137"/>
                    </a:lnTo>
                    <a:lnTo>
                      <a:pt x="238" y="142"/>
                    </a:lnTo>
                    <a:lnTo>
                      <a:pt x="238" y="147"/>
                    </a:lnTo>
                    <a:lnTo>
                      <a:pt x="238" y="160"/>
                    </a:lnTo>
                    <a:lnTo>
                      <a:pt x="247" y="174"/>
                    </a:lnTo>
                    <a:lnTo>
                      <a:pt x="261" y="192"/>
                    </a:lnTo>
                    <a:lnTo>
                      <a:pt x="270" y="206"/>
                    </a:lnTo>
                    <a:lnTo>
                      <a:pt x="274" y="206"/>
                    </a:lnTo>
                    <a:lnTo>
                      <a:pt x="284" y="211"/>
                    </a:lnTo>
                    <a:lnTo>
                      <a:pt x="297" y="215"/>
                    </a:lnTo>
                    <a:lnTo>
                      <a:pt x="297" y="220"/>
                    </a:lnTo>
                    <a:lnTo>
                      <a:pt x="316" y="243"/>
                    </a:lnTo>
                    <a:lnTo>
                      <a:pt x="320" y="256"/>
                    </a:lnTo>
                    <a:lnTo>
                      <a:pt x="316" y="261"/>
                    </a:lnTo>
                    <a:lnTo>
                      <a:pt x="316" y="261"/>
                    </a:lnTo>
                    <a:lnTo>
                      <a:pt x="311" y="261"/>
                    </a:lnTo>
                    <a:lnTo>
                      <a:pt x="316" y="265"/>
                    </a:lnTo>
                    <a:lnTo>
                      <a:pt x="316" y="265"/>
                    </a:lnTo>
                    <a:lnTo>
                      <a:pt x="311" y="270"/>
                    </a:lnTo>
                    <a:lnTo>
                      <a:pt x="311" y="265"/>
                    </a:lnTo>
                    <a:lnTo>
                      <a:pt x="306" y="270"/>
                    </a:lnTo>
                    <a:lnTo>
                      <a:pt x="311" y="275"/>
                    </a:lnTo>
                    <a:lnTo>
                      <a:pt x="316" y="279"/>
                    </a:lnTo>
                    <a:lnTo>
                      <a:pt x="316" y="279"/>
                    </a:lnTo>
                    <a:lnTo>
                      <a:pt x="320" y="284"/>
                    </a:lnTo>
                    <a:lnTo>
                      <a:pt x="320" y="284"/>
                    </a:lnTo>
                    <a:lnTo>
                      <a:pt x="329" y="288"/>
                    </a:lnTo>
                    <a:lnTo>
                      <a:pt x="334" y="293"/>
                    </a:lnTo>
                    <a:lnTo>
                      <a:pt x="334" y="297"/>
                    </a:lnTo>
                    <a:lnTo>
                      <a:pt x="334" y="297"/>
                    </a:lnTo>
                    <a:lnTo>
                      <a:pt x="334" y="302"/>
                    </a:lnTo>
                    <a:lnTo>
                      <a:pt x="334" y="307"/>
                    </a:lnTo>
                    <a:lnTo>
                      <a:pt x="329" y="307"/>
                    </a:lnTo>
                    <a:lnTo>
                      <a:pt x="334" y="307"/>
                    </a:lnTo>
                    <a:lnTo>
                      <a:pt x="334" y="307"/>
                    </a:lnTo>
                    <a:lnTo>
                      <a:pt x="329" y="307"/>
                    </a:lnTo>
                    <a:lnTo>
                      <a:pt x="334" y="307"/>
                    </a:lnTo>
                    <a:lnTo>
                      <a:pt x="334" y="307"/>
                    </a:lnTo>
                    <a:lnTo>
                      <a:pt x="338" y="311"/>
                    </a:lnTo>
                    <a:lnTo>
                      <a:pt x="334" y="325"/>
                    </a:lnTo>
                    <a:lnTo>
                      <a:pt x="334" y="329"/>
                    </a:lnTo>
                    <a:lnTo>
                      <a:pt x="334" y="329"/>
                    </a:lnTo>
                    <a:lnTo>
                      <a:pt x="334" y="329"/>
                    </a:lnTo>
                    <a:lnTo>
                      <a:pt x="334" y="334"/>
                    </a:lnTo>
                    <a:lnTo>
                      <a:pt x="338" y="334"/>
                    </a:lnTo>
                    <a:lnTo>
                      <a:pt x="338" y="339"/>
                    </a:lnTo>
                    <a:lnTo>
                      <a:pt x="334" y="343"/>
                    </a:lnTo>
                    <a:lnTo>
                      <a:pt x="334" y="348"/>
                    </a:lnTo>
                    <a:lnTo>
                      <a:pt x="334" y="348"/>
                    </a:lnTo>
                    <a:lnTo>
                      <a:pt x="329" y="348"/>
                    </a:lnTo>
                    <a:lnTo>
                      <a:pt x="329" y="348"/>
                    </a:lnTo>
                    <a:lnTo>
                      <a:pt x="329" y="352"/>
                    </a:lnTo>
                    <a:lnTo>
                      <a:pt x="329" y="357"/>
                    </a:lnTo>
                    <a:lnTo>
                      <a:pt x="325" y="361"/>
                    </a:lnTo>
                    <a:lnTo>
                      <a:pt x="325" y="361"/>
                    </a:lnTo>
                    <a:lnTo>
                      <a:pt x="325" y="361"/>
                    </a:lnTo>
                    <a:lnTo>
                      <a:pt x="325" y="361"/>
                    </a:lnTo>
                    <a:lnTo>
                      <a:pt x="320" y="371"/>
                    </a:lnTo>
                    <a:lnTo>
                      <a:pt x="320" y="375"/>
                    </a:lnTo>
                    <a:lnTo>
                      <a:pt x="320" y="375"/>
                    </a:lnTo>
                    <a:lnTo>
                      <a:pt x="320" y="375"/>
                    </a:lnTo>
                    <a:lnTo>
                      <a:pt x="316" y="375"/>
                    </a:lnTo>
                    <a:lnTo>
                      <a:pt x="306" y="375"/>
                    </a:lnTo>
                    <a:lnTo>
                      <a:pt x="302" y="375"/>
                    </a:lnTo>
                    <a:lnTo>
                      <a:pt x="293" y="375"/>
                    </a:lnTo>
                    <a:lnTo>
                      <a:pt x="293" y="375"/>
                    </a:lnTo>
                    <a:lnTo>
                      <a:pt x="288" y="375"/>
                    </a:lnTo>
                    <a:lnTo>
                      <a:pt x="270" y="375"/>
                    </a:lnTo>
                    <a:lnTo>
                      <a:pt x="261" y="375"/>
                    </a:lnTo>
                    <a:lnTo>
                      <a:pt x="256" y="375"/>
                    </a:lnTo>
                    <a:lnTo>
                      <a:pt x="229" y="375"/>
                    </a:lnTo>
                    <a:lnTo>
                      <a:pt x="220" y="375"/>
                    </a:lnTo>
                    <a:lnTo>
                      <a:pt x="215" y="375"/>
                    </a:lnTo>
                    <a:lnTo>
                      <a:pt x="210" y="375"/>
                    </a:lnTo>
                    <a:lnTo>
                      <a:pt x="210" y="375"/>
                    </a:lnTo>
                    <a:lnTo>
                      <a:pt x="210" y="375"/>
                    </a:lnTo>
                    <a:lnTo>
                      <a:pt x="206" y="375"/>
                    </a:lnTo>
                    <a:lnTo>
                      <a:pt x="201" y="375"/>
                    </a:lnTo>
                    <a:lnTo>
                      <a:pt x="192" y="375"/>
                    </a:lnTo>
                    <a:lnTo>
                      <a:pt x="188" y="375"/>
                    </a:lnTo>
                    <a:lnTo>
                      <a:pt x="188" y="375"/>
                    </a:lnTo>
                    <a:lnTo>
                      <a:pt x="188" y="380"/>
                    </a:lnTo>
                    <a:lnTo>
                      <a:pt x="174" y="380"/>
                    </a:lnTo>
                    <a:lnTo>
                      <a:pt x="169" y="380"/>
                    </a:lnTo>
                    <a:lnTo>
                      <a:pt x="142" y="384"/>
                    </a:lnTo>
                    <a:lnTo>
                      <a:pt x="137" y="384"/>
                    </a:lnTo>
                    <a:lnTo>
                      <a:pt x="133" y="384"/>
                    </a:lnTo>
                    <a:lnTo>
                      <a:pt x="128" y="384"/>
                    </a:lnTo>
                    <a:lnTo>
                      <a:pt x="128" y="384"/>
                    </a:lnTo>
                    <a:lnTo>
                      <a:pt x="124" y="389"/>
                    </a:lnTo>
                    <a:lnTo>
                      <a:pt x="105" y="389"/>
                    </a:lnTo>
                    <a:lnTo>
                      <a:pt x="101" y="389"/>
                    </a:lnTo>
                    <a:lnTo>
                      <a:pt x="96" y="389"/>
                    </a:lnTo>
                    <a:lnTo>
                      <a:pt x="92" y="393"/>
                    </a:lnTo>
                    <a:lnTo>
                      <a:pt x="92" y="393"/>
                    </a:lnTo>
                    <a:lnTo>
                      <a:pt x="87" y="393"/>
                    </a:lnTo>
                    <a:lnTo>
                      <a:pt x="87" y="389"/>
                    </a:lnTo>
                    <a:lnTo>
                      <a:pt x="87" y="389"/>
                    </a:lnTo>
                    <a:lnTo>
                      <a:pt x="87" y="393"/>
                    </a:lnTo>
                    <a:lnTo>
                      <a:pt x="87" y="393"/>
                    </a:lnTo>
                    <a:lnTo>
                      <a:pt x="82" y="393"/>
                    </a:lnTo>
                    <a:lnTo>
                      <a:pt x="73" y="398"/>
                    </a:lnTo>
                    <a:lnTo>
                      <a:pt x="73" y="398"/>
                    </a:lnTo>
                    <a:lnTo>
                      <a:pt x="69" y="398"/>
                    </a:lnTo>
                    <a:lnTo>
                      <a:pt x="69" y="398"/>
                    </a:lnTo>
                    <a:lnTo>
                      <a:pt x="64" y="398"/>
                    </a:lnTo>
                    <a:lnTo>
                      <a:pt x="64" y="398"/>
                    </a:lnTo>
                    <a:lnTo>
                      <a:pt x="64" y="398"/>
                    </a:lnTo>
                    <a:lnTo>
                      <a:pt x="64" y="398"/>
                    </a:lnTo>
                    <a:lnTo>
                      <a:pt x="64" y="398"/>
                    </a:lnTo>
                    <a:lnTo>
                      <a:pt x="64" y="393"/>
                    </a:lnTo>
                    <a:lnTo>
                      <a:pt x="60" y="393"/>
                    </a:lnTo>
                    <a:lnTo>
                      <a:pt x="60" y="389"/>
                    </a:lnTo>
                    <a:lnTo>
                      <a:pt x="55" y="389"/>
                    </a:lnTo>
                    <a:lnTo>
                      <a:pt x="55" y="384"/>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190" name="Freeform 9">
                <a:extLst>
                  <a:ext uri="{FF2B5EF4-FFF2-40B4-BE49-F238E27FC236}">
                    <a16:creationId xmlns:a16="http://schemas.microsoft.com/office/drawing/2014/main" id="{1803BFA0-3508-4256-B660-78F0D8C0C389}"/>
                  </a:ext>
                </a:extLst>
              </p:cNvPr>
              <p:cNvSpPr>
                <a:spLocks/>
              </p:cNvSpPr>
              <p:nvPr>
                <p:custDataLst>
                  <p:tags r:id="rId7"/>
                </p:custDataLst>
              </p:nvPr>
            </p:nvSpPr>
            <p:spPr bwMode="auto">
              <a:xfrm>
                <a:off x="2141199" y="5023007"/>
                <a:ext cx="377730" cy="475708"/>
              </a:xfrm>
              <a:custGeom>
                <a:avLst/>
                <a:gdLst/>
                <a:ahLst/>
                <a:cxnLst>
                  <a:cxn ang="0">
                    <a:pos x="68" y="77"/>
                  </a:cxn>
                  <a:cxn ang="0">
                    <a:pos x="82" y="64"/>
                  </a:cxn>
                  <a:cxn ang="0">
                    <a:pos x="87" y="27"/>
                  </a:cxn>
                  <a:cxn ang="0">
                    <a:pos x="96" y="18"/>
                  </a:cxn>
                  <a:cxn ang="0">
                    <a:pos x="114" y="0"/>
                  </a:cxn>
                  <a:cxn ang="0">
                    <a:pos x="119" y="18"/>
                  </a:cxn>
                  <a:cxn ang="0">
                    <a:pos x="132" y="18"/>
                  </a:cxn>
                  <a:cxn ang="0">
                    <a:pos x="155" y="22"/>
                  </a:cxn>
                  <a:cxn ang="0">
                    <a:pos x="174" y="27"/>
                  </a:cxn>
                  <a:cxn ang="0">
                    <a:pos x="196" y="36"/>
                  </a:cxn>
                  <a:cxn ang="0">
                    <a:pos x="192" y="54"/>
                  </a:cxn>
                  <a:cxn ang="0">
                    <a:pos x="183" y="64"/>
                  </a:cxn>
                  <a:cxn ang="0">
                    <a:pos x="164" y="82"/>
                  </a:cxn>
                  <a:cxn ang="0">
                    <a:pos x="164" y="105"/>
                  </a:cxn>
                  <a:cxn ang="0">
                    <a:pos x="155" y="109"/>
                  </a:cxn>
                  <a:cxn ang="0">
                    <a:pos x="164" y="123"/>
                  </a:cxn>
                  <a:cxn ang="0">
                    <a:pos x="183" y="132"/>
                  </a:cxn>
                  <a:cxn ang="0">
                    <a:pos x="192" y="141"/>
                  </a:cxn>
                  <a:cxn ang="0">
                    <a:pos x="201" y="155"/>
                  </a:cxn>
                  <a:cxn ang="0">
                    <a:pos x="206" y="173"/>
                  </a:cxn>
                  <a:cxn ang="0">
                    <a:pos x="196" y="187"/>
                  </a:cxn>
                  <a:cxn ang="0">
                    <a:pos x="206" y="196"/>
                  </a:cxn>
                  <a:cxn ang="0">
                    <a:pos x="219" y="201"/>
                  </a:cxn>
                  <a:cxn ang="0">
                    <a:pos x="224" y="214"/>
                  </a:cxn>
                  <a:cxn ang="0">
                    <a:pos x="233" y="237"/>
                  </a:cxn>
                  <a:cxn ang="0">
                    <a:pos x="242" y="260"/>
                  </a:cxn>
                  <a:cxn ang="0">
                    <a:pos x="260" y="269"/>
                  </a:cxn>
                  <a:cxn ang="0">
                    <a:pos x="279" y="269"/>
                  </a:cxn>
                  <a:cxn ang="0">
                    <a:pos x="270" y="278"/>
                  </a:cxn>
                  <a:cxn ang="0">
                    <a:pos x="247" y="288"/>
                  </a:cxn>
                  <a:cxn ang="0">
                    <a:pos x="238" y="306"/>
                  </a:cxn>
                  <a:cxn ang="0">
                    <a:pos x="210" y="315"/>
                  </a:cxn>
                  <a:cxn ang="0">
                    <a:pos x="169" y="310"/>
                  </a:cxn>
                  <a:cxn ang="0">
                    <a:pos x="128" y="320"/>
                  </a:cxn>
                  <a:cxn ang="0">
                    <a:pos x="119" y="329"/>
                  </a:cxn>
                  <a:cxn ang="0">
                    <a:pos x="110" y="356"/>
                  </a:cxn>
                  <a:cxn ang="0">
                    <a:pos x="87" y="374"/>
                  </a:cxn>
                  <a:cxn ang="0">
                    <a:pos x="55" y="365"/>
                  </a:cxn>
                  <a:cxn ang="0">
                    <a:pos x="18" y="379"/>
                  </a:cxn>
                  <a:cxn ang="0">
                    <a:pos x="0" y="370"/>
                  </a:cxn>
                  <a:cxn ang="0">
                    <a:pos x="9" y="329"/>
                  </a:cxn>
                  <a:cxn ang="0">
                    <a:pos x="23" y="297"/>
                  </a:cxn>
                  <a:cxn ang="0">
                    <a:pos x="32" y="256"/>
                  </a:cxn>
                  <a:cxn ang="0">
                    <a:pos x="41" y="233"/>
                  </a:cxn>
                  <a:cxn ang="0">
                    <a:pos x="36" y="192"/>
                  </a:cxn>
                  <a:cxn ang="0">
                    <a:pos x="23" y="141"/>
                  </a:cxn>
                  <a:cxn ang="0">
                    <a:pos x="14" y="96"/>
                  </a:cxn>
                  <a:cxn ang="0">
                    <a:pos x="18" y="82"/>
                  </a:cxn>
                  <a:cxn ang="0">
                    <a:pos x="50" y="82"/>
                  </a:cxn>
                </a:cxnLst>
                <a:rect l="0" t="0" r="r" b="b"/>
                <a:pathLst>
                  <a:path w="283" h="384">
                    <a:moveTo>
                      <a:pt x="59" y="82"/>
                    </a:moveTo>
                    <a:lnTo>
                      <a:pt x="64" y="82"/>
                    </a:lnTo>
                    <a:lnTo>
                      <a:pt x="64" y="77"/>
                    </a:lnTo>
                    <a:lnTo>
                      <a:pt x="68" y="77"/>
                    </a:lnTo>
                    <a:lnTo>
                      <a:pt x="73" y="77"/>
                    </a:lnTo>
                    <a:lnTo>
                      <a:pt x="78" y="73"/>
                    </a:lnTo>
                    <a:lnTo>
                      <a:pt x="82" y="68"/>
                    </a:lnTo>
                    <a:lnTo>
                      <a:pt x="82" y="64"/>
                    </a:lnTo>
                    <a:lnTo>
                      <a:pt x="82" y="59"/>
                    </a:lnTo>
                    <a:lnTo>
                      <a:pt x="87" y="45"/>
                    </a:lnTo>
                    <a:lnTo>
                      <a:pt x="87" y="36"/>
                    </a:lnTo>
                    <a:lnTo>
                      <a:pt x="87" y="27"/>
                    </a:lnTo>
                    <a:lnTo>
                      <a:pt x="87" y="27"/>
                    </a:lnTo>
                    <a:lnTo>
                      <a:pt x="91" y="18"/>
                    </a:lnTo>
                    <a:lnTo>
                      <a:pt x="96" y="18"/>
                    </a:lnTo>
                    <a:lnTo>
                      <a:pt x="96" y="18"/>
                    </a:lnTo>
                    <a:lnTo>
                      <a:pt x="100" y="18"/>
                    </a:lnTo>
                    <a:lnTo>
                      <a:pt x="105" y="13"/>
                    </a:lnTo>
                    <a:lnTo>
                      <a:pt x="110" y="0"/>
                    </a:lnTo>
                    <a:lnTo>
                      <a:pt x="114" y="0"/>
                    </a:lnTo>
                    <a:lnTo>
                      <a:pt x="114" y="4"/>
                    </a:lnTo>
                    <a:lnTo>
                      <a:pt x="114" y="13"/>
                    </a:lnTo>
                    <a:lnTo>
                      <a:pt x="114" y="18"/>
                    </a:lnTo>
                    <a:lnTo>
                      <a:pt x="119" y="18"/>
                    </a:lnTo>
                    <a:lnTo>
                      <a:pt x="123" y="18"/>
                    </a:lnTo>
                    <a:lnTo>
                      <a:pt x="128" y="18"/>
                    </a:lnTo>
                    <a:lnTo>
                      <a:pt x="128" y="18"/>
                    </a:lnTo>
                    <a:lnTo>
                      <a:pt x="132" y="18"/>
                    </a:lnTo>
                    <a:lnTo>
                      <a:pt x="142" y="18"/>
                    </a:lnTo>
                    <a:lnTo>
                      <a:pt x="146" y="18"/>
                    </a:lnTo>
                    <a:lnTo>
                      <a:pt x="151" y="18"/>
                    </a:lnTo>
                    <a:lnTo>
                      <a:pt x="155" y="22"/>
                    </a:lnTo>
                    <a:lnTo>
                      <a:pt x="160" y="22"/>
                    </a:lnTo>
                    <a:lnTo>
                      <a:pt x="164" y="27"/>
                    </a:lnTo>
                    <a:lnTo>
                      <a:pt x="169" y="27"/>
                    </a:lnTo>
                    <a:lnTo>
                      <a:pt x="174" y="27"/>
                    </a:lnTo>
                    <a:lnTo>
                      <a:pt x="178" y="27"/>
                    </a:lnTo>
                    <a:lnTo>
                      <a:pt x="183" y="32"/>
                    </a:lnTo>
                    <a:lnTo>
                      <a:pt x="192" y="36"/>
                    </a:lnTo>
                    <a:lnTo>
                      <a:pt x="196" y="36"/>
                    </a:lnTo>
                    <a:lnTo>
                      <a:pt x="196" y="41"/>
                    </a:lnTo>
                    <a:lnTo>
                      <a:pt x="196" y="45"/>
                    </a:lnTo>
                    <a:lnTo>
                      <a:pt x="192" y="50"/>
                    </a:lnTo>
                    <a:lnTo>
                      <a:pt x="192" y="54"/>
                    </a:lnTo>
                    <a:lnTo>
                      <a:pt x="187" y="54"/>
                    </a:lnTo>
                    <a:lnTo>
                      <a:pt x="187" y="59"/>
                    </a:lnTo>
                    <a:lnTo>
                      <a:pt x="187" y="64"/>
                    </a:lnTo>
                    <a:lnTo>
                      <a:pt x="183" y="64"/>
                    </a:lnTo>
                    <a:lnTo>
                      <a:pt x="183" y="68"/>
                    </a:lnTo>
                    <a:lnTo>
                      <a:pt x="178" y="73"/>
                    </a:lnTo>
                    <a:lnTo>
                      <a:pt x="169" y="77"/>
                    </a:lnTo>
                    <a:lnTo>
                      <a:pt x="164" y="82"/>
                    </a:lnTo>
                    <a:lnTo>
                      <a:pt x="164" y="86"/>
                    </a:lnTo>
                    <a:lnTo>
                      <a:pt x="160" y="91"/>
                    </a:lnTo>
                    <a:lnTo>
                      <a:pt x="160" y="100"/>
                    </a:lnTo>
                    <a:lnTo>
                      <a:pt x="164" y="105"/>
                    </a:lnTo>
                    <a:lnTo>
                      <a:pt x="164" y="105"/>
                    </a:lnTo>
                    <a:lnTo>
                      <a:pt x="160" y="105"/>
                    </a:lnTo>
                    <a:lnTo>
                      <a:pt x="160" y="109"/>
                    </a:lnTo>
                    <a:lnTo>
                      <a:pt x="155" y="109"/>
                    </a:lnTo>
                    <a:lnTo>
                      <a:pt x="155" y="114"/>
                    </a:lnTo>
                    <a:lnTo>
                      <a:pt x="155" y="118"/>
                    </a:lnTo>
                    <a:lnTo>
                      <a:pt x="155" y="123"/>
                    </a:lnTo>
                    <a:lnTo>
                      <a:pt x="164" y="123"/>
                    </a:lnTo>
                    <a:lnTo>
                      <a:pt x="174" y="123"/>
                    </a:lnTo>
                    <a:lnTo>
                      <a:pt x="174" y="128"/>
                    </a:lnTo>
                    <a:lnTo>
                      <a:pt x="178" y="128"/>
                    </a:lnTo>
                    <a:lnTo>
                      <a:pt x="183" y="132"/>
                    </a:lnTo>
                    <a:lnTo>
                      <a:pt x="187" y="132"/>
                    </a:lnTo>
                    <a:lnTo>
                      <a:pt x="187" y="137"/>
                    </a:lnTo>
                    <a:lnTo>
                      <a:pt x="192" y="137"/>
                    </a:lnTo>
                    <a:lnTo>
                      <a:pt x="192" y="141"/>
                    </a:lnTo>
                    <a:lnTo>
                      <a:pt x="196" y="146"/>
                    </a:lnTo>
                    <a:lnTo>
                      <a:pt x="196" y="146"/>
                    </a:lnTo>
                    <a:lnTo>
                      <a:pt x="196" y="155"/>
                    </a:lnTo>
                    <a:lnTo>
                      <a:pt x="201" y="155"/>
                    </a:lnTo>
                    <a:lnTo>
                      <a:pt x="201" y="164"/>
                    </a:lnTo>
                    <a:lnTo>
                      <a:pt x="206" y="169"/>
                    </a:lnTo>
                    <a:lnTo>
                      <a:pt x="206" y="169"/>
                    </a:lnTo>
                    <a:lnTo>
                      <a:pt x="206" y="173"/>
                    </a:lnTo>
                    <a:lnTo>
                      <a:pt x="201" y="178"/>
                    </a:lnTo>
                    <a:lnTo>
                      <a:pt x="196" y="178"/>
                    </a:lnTo>
                    <a:lnTo>
                      <a:pt x="196" y="182"/>
                    </a:lnTo>
                    <a:lnTo>
                      <a:pt x="196" y="187"/>
                    </a:lnTo>
                    <a:lnTo>
                      <a:pt x="201" y="192"/>
                    </a:lnTo>
                    <a:lnTo>
                      <a:pt x="201" y="192"/>
                    </a:lnTo>
                    <a:lnTo>
                      <a:pt x="201" y="196"/>
                    </a:lnTo>
                    <a:lnTo>
                      <a:pt x="206" y="196"/>
                    </a:lnTo>
                    <a:lnTo>
                      <a:pt x="215" y="196"/>
                    </a:lnTo>
                    <a:lnTo>
                      <a:pt x="219" y="196"/>
                    </a:lnTo>
                    <a:lnTo>
                      <a:pt x="219" y="196"/>
                    </a:lnTo>
                    <a:lnTo>
                      <a:pt x="219" y="201"/>
                    </a:lnTo>
                    <a:lnTo>
                      <a:pt x="219" y="205"/>
                    </a:lnTo>
                    <a:lnTo>
                      <a:pt x="219" y="210"/>
                    </a:lnTo>
                    <a:lnTo>
                      <a:pt x="219" y="214"/>
                    </a:lnTo>
                    <a:lnTo>
                      <a:pt x="224" y="214"/>
                    </a:lnTo>
                    <a:lnTo>
                      <a:pt x="228" y="214"/>
                    </a:lnTo>
                    <a:lnTo>
                      <a:pt x="228" y="219"/>
                    </a:lnTo>
                    <a:lnTo>
                      <a:pt x="228" y="233"/>
                    </a:lnTo>
                    <a:lnTo>
                      <a:pt x="233" y="237"/>
                    </a:lnTo>
                    <a:lnTo>
                      <a:pt x="238" y="246"/>
                    </a:lnTo>
                    <a:lnTo>
                      <a:pt x="238" y="246"/>
                    </a:lnTo>
                    <a:lnTo>
                      <a:pt x="238" y="256"/>
                    </a:lnTo>
                    <a:lnTo>
                      <a:pt x="242" y="260"/>
                    </a:lnTo>
                    <a:lnTo>
                      <a:pt x="247" y="265"/>
                    </a:lnTo>
                    <a:lnTo>
                      <a:pt x="251" y="269"/>
                    </a:lnTo>
                    <a:lnTo>
                      <a:pt x="256" y="269"/>
                    </a:lnTo>
                    <a:lnTo>
                      <a:pt x="260" y="269"/>
                    </a:lnTo>
                    <a:lnTo>
                      <a:pt x="265" y="269"/>
                    </a:lnTo>
                    <a:lnTo>
                      <a:pt x="270" y="269"/>
                    </a:lnTo>
                    <a:lnTo>
                      <a:pt x="274" y="269"/>
                    </a:lnTo>
                    <a:lnTo>
                      <a:pt x="279" y="269"/>
                    </a:lnTo>
                    <a:lnTo>
                      <a:pt x="283" y="269"/>
                    </a:lnTo>
                    <a:lnTo>
                      <a:pt x="283" y="274"/>
                    </a:lnTo>
                    <a:lnTo>
                      <a:pt x="274" y="278"/>
                    </a:lnTo>
                    <a:lnTo>
                      <a:pt x="270" y="278"/>
                    </a:lnTo>
                    <a:lnTo>
                      <a:pt x="260" y="278"/>
                    </a:lnTo>
                    <a:lnTo>
                      <a:pt x="260" y="278"/>
                    </a:lnTo>
                    <a:lnTo>
                      <a:pt x="251" y="278"/>
                    </a:lnTo>
                    <a:lnTo>
                      <a:pt x="247" y="288"/>
                    </a:lnTo>
                    <a:lnTo>
                      <a:pt x="242" y="297"/>
                    </a:lnTo>
                    <a:lnTo>
                      <a:pt x="242" y="301"/>
                    </a:lnTo>
                    <a:lnTo>
                      <a:pt x="242" y="301"/>
                    </a:lnTo>
                    <a:lnTo>
                      <a:pt x="238" y="306"/>
                    </a:lnTo>
                    <a:lnTo>
                      <a:pt x="233" y="310"/>
                    </a:lnTo>
                    <a:lnTo>
                      <a:pt x="219" y="315"/>
                    </a:lnTo>
                    <a:lnTo>
                      <a:pt x="219" y="315"/>
                    </a:lnTo>
                    <a:lnTo>
                      <a:pt x="210" y="315"/>
                    </a:lnTo>
                    <a:lnTo>
                      <a:pt x="196" y="315"/>
                    </a:lnTo>
                    <a:lnTo>
                      <a:pt x="187" y="315"/>
                    </a:lnTo>
                    <a:lnTo>
                      <a:pt x="174" y="310"/>
                    </a:lnTo>
                    <a:lnTo>
                      <a:pt x="169" y="310"/>
                    </a:lnTo>
                    <a:lnTo>
                      <a:pt x="151" y="315"/>
                    </a:lnTo>
                    <a:lnTo>
                      <a:pt x="137" y="315"/>
                    </a:lnTo>
                    <a:lnTo>
                      <a:pt x="132" y="320"/>
                    </a:lnTo>
                    <a:lnTo>
                      <a:pt x="128" y="320"/>
                    </a:lnTo>
                    <a:lnTo>
                      <a:pt x="123" y="320"/>
                    </a:lnTo>
                    <a:lnTo>
                      <a:pt x="114" y="324"/>
                    </a:lnTo>
                    <a:lnTo>
                      <a:pt x="119" y="324"/>
                    </a:lnTo>
                    <a:lnTo>
                      <a:pt x="119" y="329"/>
                    </a:lnTo>
                    <a:lnTo>
                      <a:pt x="123" y="338"/>
                    </a:lnTo>
                    <a:lnTo>
                      <a:pt x="123" y="342"/>
                    </a:lnTo>
                    <a:lnTo>
                      <a:pt x="119" y="352"/>
                    </a:lnTo>
                    <a:lnTo>
                      <a:pt x="110" y="356"/>
                    </a:lnTo>
                    <a:lnTo>
                      <a:pt x="110" y="361"/>
                    </a:lnTo>
                    <a:lnTo>
                      <a:pt x="100" y="365"/>
                    </a:lnTo>
                    <a:lnTo>
                      <a:pt x="96" y="374"/>
                    </a:lnTo>
                    <a:lnTo>
                      <a:pt x="87" y="374"/>
                    </a:lnTo>
                    <a:lnTo>
                      <a:pt x="78" y="370"/>
                    </a:lnTo>
                    <a:lnTo>
                      <a:pt x="64" y="365"/>
                    </a:lnTo>
                    <a:lnTo>
                      <a:pt x="55" y="365"/>
                    </a:lnTo>
                    <a:lnTo>
                      <a:pt x="55" y="365"/>
                    </a:lnTo>
                    <a:lnTo>
                      <a:pt x="46" y="365"/>
                    </a:lnTo>
                    <a:lnTo>
                      <a:pt x="36" y="365"/>
                    </a:lnTo>
                    <a:lnTo>
                      <a:pt x="23" y="370"/>
                    </a:lnTo>
                    <a:lnTo>
                      <a:pt x="18" y="379"/>
                    </a:lnTo>
                    <a:lnTo>
                      <a:pt x="18" y="384"/>
                    </a:lnTo>
                    <a:lnTo>
                      <a:pt x="0" y="379"/>
                    </a:lnTo>
                    <a:lnTo>
                      <a:pt x="0" y="374"/>
                    </a:lnTo>
                    <a:lnTo>
                      <a:pt x="0" y="370"/>
                    </a:lnTo>
                    <a:lnTo>
                      <a:pt x="0" y="361"/>
                    </a:lnTo>
                    <a:lnTo>
                      <a:pt x="4" y="342"/>
                    </a:lnTo>
                    <a:lnTo>
                      <a:pt x="4" y="333"/>
                    </a:lnTo>
                    <a:lnTo>
                      <a:pt x="9" y="329"/>
                    </a:lnTo>
                    <a:lnTo>
                      <a:pt x="14" y="324"/>
                    </a:lnTo>
                    <a:lnTo>
                      <a:pt x="18" y="320"/>
                    </a:lnTo>
                    <a:lnTo>
                      <a:pt x="18" y="306"/>
                    </a:lnTo>
                    <a:lnTo>
                      <a:pt x="23" y="297"/>
                    </a:lnTo>
                    <a:lnTo>
                      <a:pt x="27" y="283"/>
                    </a:lnTo>
                    <a:lnTo>
                      <a:pt x="27" y="274"/>
                    </a:lnTo>
                    <a:lnTo>
                      <a:pt x="32" y="269"/>
                    </a:lnTo>
                    <a:lnTo>
                      <a:pt x="32" y="256"/>
                    </a:lnTo>
                    <a:lnTo>
                      <a:pt x="36" y="246"/>
                    </a:lnTo>
                    <a:lnTo>
                      <a:pt x="41" y="246"/>
                    </a:lnTo>
                    <a:lnTo>
                      <a:pt x="41" y="237"/>
                    </a:lnTo>
                    <a:lnTo>
                      <a:pt x="41" y="233"/>
                    </a:lnTo>
                    <a:lnTo>
                      <a:pt x="41" y="224"/>
                    </a:lnTo>
                    <a:lnTo>
                      <a:pt x="41" y="214"/>
                    </a:lnTo>
                    <a:lnTo>
                      <a:pt x="36" y="196"/>
                    </a:lnTo>
                    <a:lnTo>
                      <a:pt x="36" y="192"/>
                    </a:lnTo>
                    <a:lnTo>
                      <a:pt x="36" y="178"/>
                    </a:lnTo>
                    <a:lnTo>
                      <a:pt x="32" y="164"/>
                    </a:lnTo>
                    <a:lnTo>
                      <a:pt x="27" y="146"/>
                    </a:lnTo>
                    <a:lnTo>
                      <a:pt x="23" y="141"/>
                    </a:lnTo>
                    <a:lnTo>
                      <a:pt x="18" y="128"/>
                    </a:lnTo>
                    <a:lnTo>
                      <a:pt x="18" y="114"/>
                    </a:lnTo>
                    <a:lnTo>
                      <a:pt x="18" y="105"/>
                    </a:lnTo>
                    <a:lnTo>
                      <a:pt x="14" y="96"/>
                    </a:lnTo>
                    <a:lnTo>
                      <a:pt x="18" y="96"/>
                    </a:lnTo>
                    <a:lnTo>
                      <a:pt x="18" y="96"/>
                    </a:lnTo>
                    <a:lnTo>
                      <a:pt x="23" y="96"/>
                    </a:lnTo>
                    <a:lnTo>
                      <a:pt x="18" y="82"/>
                    </a:lnTo>
                    <a:lnTo>
                      <a:pt x="36" y="82"/>
                    </a:lnTo>
                    <a:lnTo>
                      <a:pt x="41" y="82"/>
                    </a:lnTo>
                    <a:lnTo>
                      <a:pt x="46" y="82"/>
                    </a:lnTo>
                    <a:lnTo>
                      <a:pt x="50" y="82"/>
                    </a:lnTo>
                    <a:lnTo>
                      <a:pt x="59" y="82"/>
                    </a:lnTo>
                    <a:lnTo>
                      <a:pt x="59" y="82"/>
                    </a:lnTo>
                    <a:close/>
                  </a:path>
                </a:pathLst>
              </a:custGeom>
              <a:solidFill>
                <a:srgbClr val="006301"/>
              </a:solidFill>
              <a:ln w="9525" cmpd="sng">
                <a:solidFill>
                  <a:sysClr val="window" lastClr="FFFFFF"/>
                </a:solidFill>
                <a:miter lim="800000"/>
                <a:headEnd/>
                <a:tailEnd/>
              </a:ln>
              <a:effectLst/>
            </p:spPr>
            <p:txBody>
              <a:bodyPr lIns="45720" tIns="91440" rIns="0" bIns="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Anambra</a:t>
                </a:r>
              </a:p>
            </p:txBody>
          </p:sp>
          <p:sp>
            <p:nvSpPr>
              <p:cNvPr id="191" name="Freeform 10">
                <a:extLst>
                  <a:ext uri="{FF2B5EF4-FFF2-40B4-BE49-F238E27FC236}">
                    <a16:creationId xmlns:a16="http://schemas.microsoft.com/office/drawing/2014/main" id="{F0BF83E3-CED1-42BE-BBA4-32FF3FB17AE6}"/>
                  </a:ext>
                </a:extLst>
              </p:cNvPr>
              <p:cNvSpPr>
                <a:spLocks/>
              </p:cNvSpPr>
              <p:nvPr>
                <p:custDataLst>
                  <p:tags r:id="rId8"/>
                </p:custDataLst>
              </p:nvPr>
            </p:nvSpPr>
            <p:spPr bwMode="auto">
              <a:xfrm>
                <a:off x="3235706" y="2401933"/>
                <a:ext cx="1139665" cy="1430758"/>
              </a:xfrm>
              <a:custGeom>
                <a:avLst/>
                <a:gdLst/>
                <a:ahLst/>
                <a:cxnLst>
                  <a:cxn ang="0">
                    <a:pos x="599" y="517"/>
                  </a:cxn>
                  <a:cxn ang="0">
                    <a:pos x="549" y="494"/>
                  </a:cxn>
                  <a:cxn ang="0">
                    <a:pos x="448" y="467"/>
                  </a:cxn>
                  <a:cxn ang="0">
                    <a:pos x="416" y="416"/>
                  </a:cxn>
                  <a:cxn ang="0">
                    <a:pos x="393" y="389"/>
                  </a:cxn>
                  <a:cxn ang="0">
                    <a:pos x="402" y="334"/>
                  </a:cxn>
                  <a:cxn ang="0">
                    <a:pos x="375" y="298"/>
                  </a:cxn>
                  <a:cxn ang="0">
                    <a:pos x="329" y="284"/>
                  </a:cxn>
                  <a:cxn ang="0">
                    <a:pos x="370" y="252"/>
                  </a:cxn>
                  <a:cxn ang="0">
                    <a:pos x="439" y="229"/>
                  </a:cxn>
                  <a:cxn ang="0">
                    <a:pos x="498" y="206"/>
                  </a:cxn>
                  <a:cxn ang="0">
                    <a:pos x="530" y="138"/>
                  </a:cxn>
                  <a:cxn ang="0">
                    <a:pos x="558" y="46"/>
                  </a:cxn>
                  <a:cxn ang="0">
                    <a:pos x="631" y="32"/>
                  </a:cxn>
                  <a:cxn ang="0">
                    <a:pos x="677" y="14"/>
                  </a:cxn>
                  <a:cxn ang="0">
                    <a:pos x="722" y="19"/>
                  </a:cxn>
                  <a:cxn ang="0">
                    <a:pos x="745" y="106"/>
                  </a:cxn>
                  <a:cxn ang="0">
                    <a:pos x="768" y="183"/>
                  </a:cxn>
                  <a:cxn ang="0">
                    <a:pos x="777" y="256"/>
                  </a:cxn>
                  <a:cxn ang="0">
                    <a:pos x="800" y="302"/>
                  </a:cxn>
                  <a:cxn ang="0">
                    <a:pos x="818" y="398"/>
                  </a:cxn>
                  <a:cxn ang="0">
                    <a:pos x="795" y="439"/>
                  </a:cxn>
                  <a:cxn ang="0">
                    <a:pos x="846" y="467"/>
                  </a:cxn>
                  <a:cxn ang="0">
                    <a:pos x="786" y="549"/>
                  </a:cxn>
                  <a:cxn ang="0">
                    <a:pos x="699" y="608"/>
                  </a:cxn>
                  <a:cxn ang="0">
                    <a:pos x="681" y="659"/>
                  </a:cxn>
                  <a:cxn ang="0">
                    <a:pos x="672" y="736"/>
                  </a:cxn>
                  <a:cxn ang="0">
                    <a:pos x="777" y="810"/>
                  </a:cxn>
                  <a:cxn ang="0">
                    <a:pos x="745" y="919"/>
                  </a:cxn>
                  <a:cxn ang="0">
                    <a:pos x="832" y="1038"/>
                  </a:cxn>
                  <a:cxn ang="0">
                    <a:pos x="791" y="1125"/>
                  </a:cxn>
                  <a:cxn ang="0">
                    <a:pos x="745" y="1148"/>
                  </a:cxn>
                  <a:cxn ang="0">
                    <a:pos x="658" y="1125"/>
                  </a:cxn>
                  <a:cxn ang="0">
                    <a:pos x="603" y="1093"/>
                  </a:cxn>
                  <a:cxn ang="0">
                    <a:pos x="526" y="1061"/>
                  </a:cxn>
                  <a:cxn ang="0">
                    <a:pos x="462" y="1034"/>
                  </a:cxn>
                  <a:cxn ang="0">
                    <a:pos x="416" y="1052"/>
                  </a:cxn>
                  <a:cxn ang="0">
                    <a:pos x="434" y="1084"/>
                  </a:cxn>
                  <a:cxn ang="0">
                    <a:pos x="379" y="1120"/>
                  </a:cxn>
                  <a:cxn ang="0">
                    <a:pos x="251" y="1125"/>
                  </a:cxn>
                  <a:cxn ang="0">
                    <a:pos x="210" y="1088"/>
                  </a:cxn>
                  <a:cxn ang="0">
                    <a:pos x="169" y="1066"/>
                  </a:cxn>
                  <a:cxn ang="0">
                    <a:pos x="183" y="1002"/>
                  </a:cxn>
                  <a:cxn ang="0">
                    <a:pos x="155" y="951"/>
                  </a:cxn>
                  <a:cxn ang="0">
                    <a:pos x="91" y="947"/>
                  </a:cxn>
                  <a:cxn ang="0">
                    <a:pos x="82" y="874"/>
                  </a:cxn>
                  <a:cxn ang="0">
                    <a:pos x="55" y="828"/>
                  </a:cxn>
                  <a:cxn ang="0">
                    <a:pos x="0" y="796"/>
                  </a:cxn>
                  <a:cxn ang="0">
                    <a:pos x="18" y="736"/>
                  </a:cxn>
                  <a:cxn ang="0">
                    <a:pos x="37" y="682"/>
                  </a:cxn>
                  <a:cxn ang="0">
                    <a:pos x="9" y="627"/>
                  </a:cxn>
                  <a:cxn ang="0">
                    <a:pos x="23" y="549"/>
                  </a:cxn>
                  <a:cxn ang="0">
                    <a:pos x="64" y="526"/>
                  </a:cxn>
                  <a:cxn ang="0">
                    <a:pos x="105" y="480"/>
                  </a:cxn>
                  <a:cxn ang="0">
                    <a:pos x="142" y="458"/>
                  </a:cxn>
                  <a:cxn ang="0">
                    <a:pos x="187" y="444"/>
                  </a:cxn>
                  <a:cxn ang="0">
                    <a:pos x="242" y="458"/>
                  </a:cxn>
                  <a:cxn ang="0">
                    <a:pos x="306" y="458"/>
                  </a:cxn>
                  <a:cxn ang="0">
                    <a:pos x="343" y="490"/>
                  </a:cxn>
                  <a:cxn ang="0">
                    <a:pos x="402" y="485"/>
                  </a:cxn>
                  <a:cxn ang="0">
                    <a:pos x="439" y="567"/>
                  </a:cxn>
                  <a:cxn ang="0">
                    <a:pos x="517" y="590"/>
                  </a:cxn>
                  <a:cxn ang="0">
                    <a:pos x="526" y="581"/>
                  </a:cxn>
                </a:cxnLst>
                <a:rect l="0" t="0" r="r" b="b"/>
                <a:pathLst>
                  <a:path w="855" h="1157">
                    <a:moveTo>
                      <a:pt x="553" y="544"/>
                    </a:moveTo>
                    <a:lnTo>
                      <a:pt x="567" y="544"/>
                    </a:lnTo>
                    <a:lnTo>
                      <a:pt x="571" y="544"/>
                    </a:lnTo>
                    <a:lnTo>
                      <a:pt x="576" y="540"/>
                    </a:lnTo>
                    <a:lnTo>
                      <a:pt x="581" y="540"/>
                    </a:lnTo>
                    <a:lnTo>
                      <a:pt x="585" y="535"/>
                    </a:lnTo>
                    <a:lnTo>
                      <a:pt x="590" y="531"/>
                    </a:lnTo>
                    <a:lnTo>
                      <a:pt x="594" y="526"/>
                    </a:lnTo>
                    <a:lnTo>
                      <a:pt x="594" y="526"/>
                    </a:lnTo>
                    <a:lnTo>
                      <a:pt x="594" y="526"/>
                    </a:lnTo>
                    <a:lnTo>
                      <a:pt x="594" y="522"/>
                    </a:lnTo>
                    <a:lnTo>
                      <a:pt x="599" y="522"/>
                    </a:lnTo>
                    <a:lnTo>
                      <a:pt x="599" y="517"/>
                    </a:lnTo>
                    <a:lnTo>
                      <a:pt x="599" y="512"/>
                    </a:lnTo>
                    <a:lnTo>
                      <a:pt x="603" y="512"/>
                    </a:lnTo>
                    <a:lnTo>
                      <a:pt x="603" y="508"/>
                    </a:lnTo>
                    <a:lnTo>
                      <a:pt x="599" y="503"/>
                    </a:lnTo>
                    <a:lnTo>
                      <a:pt x="594" y="503"/>
                    </a:lnTo>
                    <a:lnTo>
                      <a:pt x="594" y="503"/>
                    </a:lnTo>
                    <a:lnTo>
                      <a:pt x="585" y="503"/>
                    </a:lnTo>
                    <a:lnTo>
                      <a:pt x="581" y="503"/>
                    </a:lnTo>
                    <a:lnTo>
                      <a:pt x="576" y="499"/>
                    </a:lnTo>
                    <a:lnTo>
                      <a:pt x="571" y="499"/>
                    </a:lnTo>
                    <a:lnTo>
                      <a:pt x="567" y="499"/>
                    </a:lnTo>
                    <a:lnTo>
                      <a:pt x="553" y="494"/>
                    </a:lnTo>
                    <a:lnTo>
                      <a:pt x="549" y="494"/>
                    </a:lnTo>
                    <a:lnTo>
                      <a:pt x="539" y="490"/>
                    </a:lnTo>
                    <a:lnTo>
                      <a:pt x="530" y="490"/>
                    </a:lnTo>
                    <a:lnTo>
                      <a:pt x="521" y="485"/>
                    </a:lnTo>
                    <a:lnTo>
                      <a:pt x="507" y="480"/>
                    </a:lnTo>
                    <a:lnTo>
                      <a:pt x="503" y="480"/>
                    </a:lnTo>
                    <a:lnTo>
                      <a:pt x="494" y="480"/>
                    </a:lnTo>
                    <a:lnTo>
                      <a:pt x="485" y="480"/>
                    </a:lnTo>
                    <a:lnTo>
                      <a:pt x="485" y="480"/>
                    </a:lnTo>
                    <a:lnTo>
                      <a:pt x="471" y="480"/>
                    </a:lnTo>
                    <a:lnTo>
                      <a:pt x="466" y="480"/>
                    </a:lnTo>
                    <a:lnTo>
                      <a:pt x="457" y="476"/>
                    </a:lnTo>
                    <a:lnTo>
                      <a:pt x="453" y="471"/>
                    </a:lnTo>
                    <a:lnTo>
                      <a:pt x="448" y="467"/>
                    </a:lnTo>
                    <a:lnTo>
                      <a:pt x="448" y="462"/>
                    </a:lnTo>
                    <a:lnTo>
                      <a:pt x="443" y="458"/>
                    </a:lnTo>
                    <a:lnTo>
                      <a:pt x="439" y="458"/>
                    </a:lnTo>
                    <a:lnTo>
                      <a:pt x="439" y="453"/>
                    </a:lnTo>
                    <a:lnTo>
                      <a:pt x="439" y="448"/>
                    </a:lnTo>
                    <a:lnTo>
                      <a:pt x="439" y="444"/>
                    </a:lnTo>
                    <a:lnTo>
                      <a:pt x="434" y="444"/>
                    </a:lnTo>
                    <a:lnTo>
                      <a:pt x="434" y="439"/>
                    </a:lnTo>
                    <a:lnTo>
                      <a:pt x="434" y="439"/>
                    </a:lnTo>
                    <a:lnTo>
                      <a:pt x="430" y="439"/>
                    </a:lnTo>
                    <a:lnTo>
                      <a:pt x="430" y="435"/>
                    </a:lnTo>
                    <a:lnTo>
                      <a:pt x="421" y="416"/>
                    </a:lnTo>
                    <a:lnTo>
                      <a:pt x="416" y="416"/>
                    </a:lnTo>
                    <a:lnTo>
                      <a:pt x="416" y="416"/>
                    </a:lnTo>
                    <a:lnTo>
                      <a:pt x="416" y="412"/>
                    </a:lnTo>
                    <a:lnTo>
                      <a:pt x="416" y="407"/>
                    </a:lnTo>
                    <a:lnTo>
                      <a:pt x="411" y="407"/>
                    </a:lnTo>
                    <a:lnTo>
                      <a:pt x="407" y="407"/>
                    </a:lnTo>
                    <a:lnTo>
                      <a:pt x="398" y="407"/>
                    </a:lnTo>
                    <a:lnTo>
                      <a:pt x="398" y="403"/>
                    </a:lnTo>
                    <a:lnTo>
                      <a:pt x="393" y="403"/>
                    </a:lnTo>
                    <a:lnTo>
                      <a:pt x="393" y="398"/>
                    </a:lnTo>
                    <a:lnTo>
                      <a:pt x="393" y="398"/>
                    </a:lnTo>
                    <a:lnTo>
                      <a:pt x="393" y="394"/>
                    </a:lnTo>
                    <a:lnTo>
                      <a:pt x="393" y="394"/>
                    </a:lnTo>
                    <a:lnTo>
                      <a:pt x="393" y="389"/>
                    </a:lnTo>
                    <a:lnTo>
                      <a:pt x="393" y="384"/>
                    </a:lnTo>
                    <a:lnTo>
                      <a:pt x="393" y="380"/>
                    </a:lnTo>
                    <a:lnTo>
                      <a:pt x="393" y="380"/>
                    </a:lnTo>
                    <a:lnTo>
                      <a:pt x="393" y="375"/>
                    </a:lnTo>
                    <a:lnTo>
                      <a:pt x="393" y="371"/>
                    </a:lnTo>
                    <a:lnTo>
                      <a:pt x="398" y="371"/>
                    </a:lnTo>
                    <a:lnTo>
                      <a:pt x="398" y="371"/>
                    </a:lnTo>
                    <a:lnTo>
                      <a:pt x="398" y="366"/>
                    </a:lnTo>
                    <a:lnTo>
                      <a:pt x="402" y="362"/>
                    </a:lnTo>
                    <a:lnTo>
                      <a:pt x="402" y="352"/>
                    </a:lnTo>
                    <a:lnTo>
                      <a:pt x="402" y="348"/>
                    </a:lnTo>
                    <a:lnTo>
                      <a:pt x="407" y="339"/>
                    </a:lnTo>
                    <a:lnTo>
                      <a:pt x="402" y="334"/>
                    </a:lnTo>
                    <a:lnTo>
                      <a:pt x="402" y="330"/>
                    </a:lnTo>
                    <a:lnTo>
                      <a:pt x="402" y="330"/>
                    </a:lnTo>
                    <a:lnTo>
                      <a:pt x="402" y="325"/>
                    </a:lnTo>
                    <a:lnTo>
                      <a:pt x="398" y="320"/>
                    </a:lnTo>
                    <a:lnTo>
                      <a:pt x="398" y="316"/>
                    </a:lnTo>
                    <a:lnTo>
                      <a:pt x="393" y="311"/>
                    </a:lnTo>
                    <a:lnTo>
                      <a:pt x="393" y="307"/>
                    </a:lnTo>
                    <a:lnTo>
                      <a:pt x="393" y="307"/>
                    </a:lnTo>
                    <a:lnTo>
                      <a:pt x="389" y="302"/>
                    </a:lnTo>
                    <a:lnTo>
                      <a:pt x="384" y="298"/>
                    </a:lnTo>
                    <a:lnTo>
                      <a:pt x="379" y="298"/>
                    </a:lnTo>
                    <a:lnTo>
                      <a:pt x="375" y="298"/>
                    </a:lnTo>
                    <a:lnTo>
                      <a:pt x="375" y="298"/>
                    </a:lnTo>
                    <a:lnTo>
                      <a:pt x="370" y="302"/>
                    </a:lnTo>
                    <a:lnTo>
                      <a:pt x="366" y="302"/>
                    </a:lnTo>
                    <a:lnTo>
                      <a:pt x="361" y="302"/>
                    </a:lnTo>
                    <a:lnTo>
                      <a:pt x="357" y="302"/>
                    </a:lnTo>
                    <a:lnTo>
                      <a:pt x="352" y="307"/>
                    </a:lnTo>
                    <a:lnTo>
                      <a:pt x="347" y="307"/>
                    </a:lnTo>
                    <a:lnTo>
                      <a:pt x="343" y="307"/>
                    </a:lnTo>
                    <a:lnTo>
                      <a:pt x="338" y="307"/>
                    </a:lnTo>
                    <a:lnTo>
                      <a:pt x="334" y="307"/>
                    </a:lnTo>
                    <a:lnTo>
                      <a:pt x="334" y="302"/>
                    </a:lnTo>
                    <a:lnTo>
                      <a:pt x="329" y="298"/>
                    </a:lnTo>
                    <a:lnTo>
                      <a:pt x="329" y="293"/>
                    </a:lnTo>
                    <a:lnTo>
                      <a:pt x="329" y="284"/>
                    </a:lnTo>
                    <a:lnTo>
                      <a:pt x="334" y="284"/>
                    </a:lnTo>
                    <a:lnTo>
                      <a:pt x="334" y="284"/>
                    </a:lnTo>
                    <a:lnTo>
                      <a:pt x="338" y="284"/>
                    </a:lnTo>
                    <a:lnTo>
                      <a:pt x="343" y="279"/>
                    </a:lnTo>
                    <a:lnTo>
                      <a:pt x="347" y="275"/>
                    </a:lnTo>
                    <a:lnTo>
                      <a:pt x="352" y="275"/>
                    </a:lnTo>
                    <a:lnTo>
                      <a:pt x="352" y="270"/>
                    </a:lnTo>
                    <a:lnTo>
                      <a:pt x="352" y="266"/>
                    </a:lnTo>
                    <a:lnTo>
                      <a:pt x="352" y="261"/>
                    </a:lnTo>
                    <a:lnTo>
                      <a:pt x="357" y="261"/>
                    </a:lnTo>
                    <a:lnTo>
                      <a:pt x="361" y="261"/>
                    </a:lnTo>
                    <a:lnTo>
                      <a:pt x="366" y="256"/>
                    </a:lnTo>
                    <a:lnTo>
                      <a:pt x="370" y="252"/>
                    </a:lnTo>
                    <a:lnTo>
                      <a:pt x="375" y="252"/>
                    </a:lnTo>
                    <a:lnTo>
                      <a:pt x="375" y="252"/>
                    </a:lnTo>
                    <a:lnTo>
                      <a:pt x="384" y="247"/>
                    </a:lnTo>
                    <a:lnTo>
                      <a:pt x="389" y="247"/>
                    </a:lnTo>
                    <a:lnTo>
                      <a:pt x="393" y="247"/>
                    </a:lnTo>
                    <a:lnTo>
                      <a:pt x="398" y="247"/>
                    </a:lnTo>
                    <a:lnTo>
                      <a:pt x="402" y="243"/>
                    </a:lnTo>
                    <a:lnTo>
                      <a:pt x="407" y="243"/>
                    </a:lnTo>
                    <a:lnTo>
                      <a:pt x="411" y="238"/>
                    </a:lnTo>
                    <a:lnTo>
                      <a:pt x="416" y="238"/>
                    </a:lnTo>
                    <a:lnTo>
                      <a:pt x="430" y="234"/>
                    </a:lnTo>
                    <a:lnTo>
                      <a:pt x="439" y="229"/>
                    </a:lnTo>
                    <a:lnTo>
                      <a:pt x="439" y="229"/>
                    </a:lnTo>
                    <a:lnTo>
                      <a:pt x="443" y="224"/>
                    </a:lnTo>
                    <a:lnTo>
                      <a:pt x="448" y="224"/>
                    </a:lnTo>
                    <a:lnTo>
                      <a:pt x="453" y="220"/>
                    </a:lnTo>
                    <a:lnTo>
                      <a:pt x="457" y="220"/>
                    </a:lnTo>
                    <a:lnTo>
                      <a:pt x="462" y="220"/>
                    </a:lnTo>
                    <a:lnTo>
                      <a:pt x="462" y="220"/>
                    </a:lnTo>
                    <a:lnTo>
                      <a:pt x="466" y="215"/>
                    </a:lnTo>
                    <a:lnTo>
                      <a:pt x="471" y="215"/>
                    </a:lnTo>
                    <a:lnTo>
                      <a:pt x="475" y="211"/>
                    </a:lnTo>
                    <a:lnTo>
                      <a:pt x="480" y="211"/>
                    </a:lnTo>
                    <a:lnTo>
                      <a:pt x="485" y="211"/>
                    </a:lnTo>
                    <a:lnTo>
                      <a:pt x="489" y="206"/>
                    </a:lnTo>
                    <a:lnTo>
                      <a:pt x="498" y="206"/>
                    </a:lnTo>
                    <a:lnTo>
                      <a:pt x="503" y="202"/>
                    </a:lnTo>
                    <a:lnTo>
                      <a:pt x="503" y="202"/>
                    </a:lnTo>
                    <a:lnTo>
                      <a:pt x="507" y="202"/>
                    </a:lnTo>
                    <a:lnTo>
                      <a:pt x="507" y="197"/>
                    </a:lnTo>
                    <a:lnTo>
                      <a:pt x="512" y="197"/>
                    </a:lnTo>
                    <a:lnTo>
                      <a:pt x="517" y="192"/>
                    </a:lnTo>
                    <a:lnTo>
                      <a:pt x="521" y="188"/>
                    </a:lnTo>
                    <a:lnTo>
                      <a:pt x="526" y="179"/>
                    </a:lnTo>
                    <a:lnTo>
                      <a:pt x="526" y="174"/>
                    </a:lnTo>
                    <a:lnTo>
                      <a:pt x="526" y="174"/>
                    </a:lnTo>
                    <a:lnTo>
                      <a:pt x="526" y="170"/>
                    </a:lnTo>
                    <a:lnTo>
                      <a:pt x="530" y="160"/>
                    </a:lnTo>
                    <a:lnTo>
                      <a:pt x="530" y="138"/>
                    </a:lnTo>
                    <a:lnTo>
                      <a:pt x="530" y="110"/>
                    </a:lnTo>
                    <a:lnTo>
                      <a:pt x="535" y="106"/>
                    </a:lnTo>
                    <a:lnTo>
                      <a:pt x="535" y="92"/>
                    </a:lnTo>
                    <a:lnTo>
                      <a:pt x="539" y="83"/>
                    </a:lnTo>
                    <a:lnTo>
                      <a:pt x="544" y="74"/>
                    </a:lnTo>
                    <a:lnTo>
                      <a:pt x="544" y="69"/>
                    </a:lnTo>
                    <a:lnTo>
                      <a:pt x="549" y="64"/>
                    </a:lnTo>
                    <a:lnTo>
                      <a:pt x="549" y="64"/>
                    </a:lnTo>
                    <a:lnTo>
                      <a:pt x="549" y="60"/>
                    </a:lnTo>
                    <a:lnTo>
                      <a:pt x="549" y="55"/>
                    </a:lnTo>
                    <a:lnTo>
                      <a:pt x="553" y="51"/>
                    </a:lnTo>
                    <a:lnTo>
                      <a:pt x="558" y="51"/>
                    </a:lnTo>
                    <a:lnTo>
                      <a:pt x="558" y="46"/>
                    </a:lnTo>
                    <a:lnTo>
                      <a:pt x="562" y="46"/>
                    </a:lnTo>
                    <a:lnTo>
                      <a:pt x="567" y="42"/>
                    </a:lnTo>
                    <a:lnTo>
                      <a:pt x="567" y="42"/>
                    </a:lnTo>
                    <a:lnTo>
                      <a:pt x="571" y="42"/>
                    </a:lnTo>
                    <a:lnTo>
                      <a:pt x="576" y="37"/>
                    </a:lnTo>
                    <a:lnTo>
                      <a:pt x="585" y="37"/>
                    </a:lnTo>
                    <a:lnTo>
                      <a:pt x="594" y="32"/>
                    </a:lnTo>
                    <a:lnTo>
                      <a:pt x="603" y="32"/>
                    </a:lnTo>
                    <a:lnTo>
                      <a:pt x="608" y="32"/>
                    </a:lnTo>
                    <a:lnTo>
                      <a:pt x="617" y="28"/>
                    </a:lnTo>
                    <a:lnTo>
                      <a:pt x="622" y="28"/>
                    </a:lnTo>
                    <a:lnTo>
                      <a:pt x="626" y="28"/>
                    </a:lnTo>
                    <a:lnTo>
                      <a:pt x="631" y="32"/>
                    </a:lnTo>
                    <a:lnTo>
                      <a:pt x="635" y="37"/>
                    </a:lnTo>
                    <a:lnTo>
                      <a:pt x="635" y="37"/>
                    </a:lnTo>
                    <a:lnTo>
                      <a:pt x="640" y="37"/>
                    </a:lnTo>
                    <a:lnTo>
                      <a:pt x="645" y="37"/>
                    </a:lnTo>
                    <a:lnTo>
                      <a:pt x="645" y="32"/>
                    </a:lnTo>
                    <a:lnTo>
                      <a:pt x="649" y="32"/>
                    </a:lnTo>
                    <a:lnTo>
                      <a:pt x="649" y="28"/>
                    </a:lnTo>
                    <a:lnTo>
                      <a:pt x="654" y="28"/>
                    </a:lnTo>
                    <a:lnTo>
                      <a:pt x="654" y="23"/>
                    </a:lnTo>
                    <a:lnTo>
                      <a:pt x="658" y="23"/>
                    </a:lnTo>
                    <a:lnTo>
                      <a:pt x="658" y="23"/>
                    </a:lnTo>
                    <a:lnTo>
                      <a:pt x="667" y="19"/>
                    </a:lnTo>
                    <a:lnTo>
                      <a:pt x="677" y="14"/>
                    </a:lnTo>
                    <a:lnTo>
                      <a:pt x="681" y="10"/>
                    </a:lnTo>
                    <a:lnTo>
                      <a:pt x="681" y="10"/>
                    </a:lnTo>
                    <a:lnTo>
                      <a:pt x="681" y="5"/>
                    </a:lnTo>
                    <a:lnTo>
                      <a:pt x="686" y="5"/>
                    </a:lnTo>
                    <a:lnTo>
                      <a:pt x="690" y="0"/>
                    </a:lnTo>
                    <a:lnTo>
                      <a:pt x="690" y="0"/>
                    </a:lnTo>
                    <a:lnTo>
                      <a:pt x="704" y="0"/>
                    </a:lnTo>
                    <a:lnTo>
                      <a:pt x="704" y="5"/>
                    </a:lnTo>
                    <a:lnTo>
                      <a:pt x="709" y="10"/>
                    </a:lnTo>
                    <a:lnTo>
                      <a:pt x="713" y="10"/>
                    </a:lnTo>
                    <a:lnTo>
                      <a:pt x="713" y="14"/>
                    </a:lnTo>
                    <a:lnTo>
                      <a:pt x="718" y="14"/>
                    </a:lnTo>
                    <a:lnTo>
                      <a:pt x="722" y="19"/>
                    </a:lnTo>
                    <a:lnTo>
                      <a:pt x="722" y="23"/>
                    </a:lnTo>
                    <a:lnTo>
                      <a:pt x="736" y="32"/>
                    </a:lnTo>
                    <a:lnTo>
                      <a:pt x="736" y="37"/>
                    </a:lnTo>
                    <a:lnTo>
                      <a:pt x="736" y="42"/>
                    </a:lnTo>
                    <a:lnTo>
                      <a:pt x="741" y="46"/>
                    </a:lnTo>
                    <a:lnTo>
                      <a:pt x="745" y="51"/>
                    </a:lnTo>
                    <a:lnTo>
                      <a:pt x="745" y="55"/>
                    </a:lnTo>
                    <a:lnTo>
                      <a:pt x="745" y="64"/>
                    </a:lnTo>
                    <a:lnTo>
                      <a:pt x="745" y="64"/>
                    </a:lnTo>
                    <a:lnTo>
                      <a:pt x="745" y="78"/>
                    </a:lnTo>
                    <a:lnTo>
                      <a:pt x="745" y="87"/>
                    </a:lnTo>
                    <a:lnTo>
                      <a:pt x="745" y="101"/>
                    </a:lnTo>
                    <a:lnTo>
                      <a:pt x="745" y="106"/>
                    </a:lnTo>
                    <a:lnTo>
                      <a:pt x="745" y="110"/>
                    </a:lnTo>
                    <a:lnTo>
                      <a:pt x="745" y="119"/>
                    </a:lnTo>
                    <a:lnTo>
                      <a:pt x="745" y="128"/>
                    </a:lnTo>
                    <a:lnTo>
                      <a:pt x="750" y="133"/>
                    </a:lnTo>
                    <a:lnTo>
                      <a:pt x="750" y="138"/>
                    </a:lnTo>
                    <a:lnTo>
                      <a:pt x="754" y="142"/>
                    </a:lnTo>
                    <a:lnTo>
                      <a:pt x="754" y="147"/>
                    </a:lnTo>
                    <a:lnTo>
                      <a:pt x="759" y="156"/>
                    </a:lnTo>
                    <a:lnTo>
                      <a:pt x="763" y="160"/>
                    </a:lnTo>
                    <a:lnTo>
                      <a:pt x="763" y="165"/>
                    </a:lnTo>
                    <a:lnTo>
                      <a:pt x="768" y="170"/>
                    </a:lnTo>
                    <a:lnTo>
                      <a:pt x="768" y="174"/>
                    </a:lnTo>
                    <a:lnTo>
                      <a:pt x="768" y="183"/>
                    </a:lnTo>
                    <a:lnTo>
                      <a:pt x="768" y="192"/>
                    </a:lnTo>
                    <a:lnTo>
                      <a:pt x="768" y="202"/>
                    </a:lnTo>
                    <a:lnTo>
                      <a:pt x="768" y="206"/>
                    </a:lnTo>
                    <a:lnTo>
                      <a:pt x="768" y="215"/>
                    </a:lnTo>
                    <a:lnTo>
                      <a:pt x="768" y="220"/>
                    </a:lnTo>
                    <a:lnTo>
                      <a:pt x="768" y="224"/>
                    </a:lnTo>
                    <a:lnTo>
                      <a:pt x="768" y="229"/>
                    </a:lnTo>
                    <a:lnTo>
                      <a:pt x="773" y="234"/>
                    </a:lnTo>
                    <a:lnTo>
                      <a:pt x="773" y="238"/>
                    </a:lnTo>
                    <a:lnTo>
                      <a:pt x="777" y="238"/>
                    </a:lnTo>
                    <a:lnTo>
                      <a:pt x="777" y="238"/>
                    </a:lnTo>
                    <a:lnTo>
                      <a:pt x="777" y="243"/>
                    </a:lnTo>
                    <a:lnTo>
                      <a:pt x="777" y="256"/>
                    </a:lnTo>
                    <a:lnTo>
                      <a:pt x="777" y="261"/>
                    </a:lnTo>
                    <a:lnTo>
                      <a:pt x="777" y="261"/>
                    </a:lnTo>
                    <a:lnTo>
                      <a:pt x="777" y="266"/>
                    </a:lnTo>
                    <a:lnTo>
                      <a:pt x="782" y="270"/>
                    </a:lnTo>
                    <a:lnTo>
                      <a:pt x="782" y="275"/>
                    </a:lnTo>
                    <a:lnTo>
                      <a:pt x="791" y="284"/>
                    </a:lnTo>
                    <a:lnTo>
                      <a:pt x="791" y="284"/>
                    </a:lnTo>
                    <a:lnTo>
                      <a:pt x="791" y="288"/>
                    </a:lnTo>
                    <a:lnTo>
                      <a:pt x="791" y="288"/>
                    </a:lnTo>
                    <a:lnTo>
                      <a:pt x="791" y="293"/>
                    </a:lnTo>
                    <a:lnTo>
                      <a:pt x="795" y="298"/>
                    </a:lnTo>
                    <a:lnTo>
                      <a:pt x="795" y="302"/>
                    </a:lnTo>
                    <a:lnTo>
                      <a:pt x="800" y="302"/>
                    </a:lnTo>
                    <a:lnTo>
                      <a:pt x="800" y="307"/>
                    </a:lnTo>
                    <a:lnTo>
                      <a:pt x="805" y="311"/>
                    </a:lnTo>
                    <a:lnTo>
                      <a:pt x="805" y="320"/>
                    </a:lnTo>
                    <a:lnTo>
                      <a:pt x="809" y="330"/>
                    </a:lnTo>
                    <a:lnTo>
                      <a:pt x="814" y="348"/>
                    </a:lnTo>
                    <a:lnTo>
                      <a:pt x="814" y="357"/>
                    </a:lnTo>
                    <a:lnTo>
                      <a:pt x="814" y="366"/>
                    </a:lnTo>
                    <a:lnTo>
                      <a:pt x="818" y="371"/>
                    </a:lnTo>
                    <a:lnTo>
                      <a:pt x="818" y="380"/>
                    </a:lnTo>
                    <a:lnTo>
                      <a:pt x="818" y="389"/>
                    </a:lnTo>
                    <a:lnTo>
                      <a:pt x="818" y="394"/>
                    </a:lnTo>
                    <a:lnTo>
                      <a:pt x="818" y="394"/>
                    </a:lnTo>
                    <a:lnTo>
                      <a:pt x="818" y="398"/>
                    </a:lnTo>
                    <a:lnTo>
                      <a:pt x="818" y="403"/>
                    </a:lnTo>
                    <a:lnTo>
                      <a:pt x="818" y="407"/>
                    </a:lnTo>
                    <a:lnTo>
                      <a:pt x="818" y="412"/>
                    </a:lnTo>
                    <a:lnTo>
                      <a:pt x="814" y="416"/>
                    </a:lnTo>
                    <a:lnTo>
                      <a:pt x="814" y="416"/>
                    </a:lnTo>
                    <a:lnTo>
                      <a:pt x="814" y="421"/>
                    </a:lnTo>
                    <a:lnTo>
                      <a:pt x="809" y="426"/>
                    </a:lnTo>
                    <a:lnTo>
                      <a:pt x="809" y="430"/>
                    </a:lnTo>
                    <a:lnTo>
                      <a:pt x="805" y="430"/>
                    </a:lnTo>
                    <a:lnTo>
                      <a:pt x="805" y="435"/>
                    </a:lnTo>
                    <a:lnTo>
                      <a:pt x="800" y="439"/>
                    </a:lnTo>
                    <a:lnTo>
                      <a:pt x="800" y="439"/>
                    </a:lnTo>
                    <a:lnTo>
                      <a:pt x="795" y="439"/>
                    </a:lnTo>
                    <a:lnTo>
                      <a:pt x="795" y="444"/>
                    </a:lnTo>
                    <a:lnTo>
                      <a:pt x="795" y="448"/>
                    </a:lnTo>
                    <a:lnTo>
                      <a:pt x="800" y="453"/>
                    </a:lnTo>
                    <a:lnTo>
                      <a:pt x="800" y="458"/>
                    </a:lnTo>
                    <a:lnTo>
                      <a:pt x="805" y="458"/>
                    </a:lnTo>
                    <a:lnTo>
                      <a:pt x="809" y="462"/>
                    </a:lnTo>
                    <a:lnTo>
                      <a:pt x="814" y="462"/>
                    </a:lnTo>
                    <a:lnTo>
                      <a:pt x="814" y="467"/>
                    </a:lnTo>
                    <a:lnTo>
                      <a:pt x="818" y="467"/>
                    </a:lnTo>
                    <a:lnTo>
                      <a:pt x="827" y="467"/>
                    </a:lnTo>
                    <a:lnTo>
                      <a:pt x="832" y="467"/>
                    </a:lnTo>
                    <a:lnTo>
                      <a:pt x="832" y="467"/>
                    </a:lnTo>
                    <a:lnTo>
                      <a:pt x="846" y="467"/>
                    </a:lnTo>
                    <a:lnTo>
                      <a:pt x="855" y="467"/>
                    </a:lnTo>
                    <a:lnTo>
                      <a:pt x="855" y="471"/>
                    </a:lnTo>
                    <a:lnTo>
                      <a:pt x="850" y="476"/>
                    </a:lnTo>
                    <a:lnTo>
                      <a:pt x="850" y="480"/>
                    </a:lnTo>
                    <a:lnTo>
                      <a:pt x="841" y="490"/>
                    </a:lnTo>
                    <a:lnTo>
                      <a:pt x="837" y="503"/>
                    </a:lnTo>
                    <a:lnTo>
                      <a:pt x="832" y="508"/>
                    </a:lnTo>
                    <a:lnTo>
                      <a:pt x="823" y="517"/>
                    </a:lnTo>
                    <a:lnTo>
                      <a:pt x="814" y="526"/>
                    </a:lnTo>
                    <a:lnTo>
                      <a:pt x="805" y="531"/>
                    </a:lnTo>
                    <a:lnTo>
                      <a:pt x="800" y="540"/>
                    </a:lnTo>
                    <a:lnTo>
                      <a:pt x="791" y="549"/>
                    </a:lnTo>
                    <a:lnTo>
                      <a:pt x="786" y="549"/>
                    </a:lnTo>
                    <a:lnTo>
                      <a:pt x="777" y="549"/>
                    </a:lnTo>
                    <a:lnTo>
                      <a:pt x="768" y="544"/>
                    </a:lnTo>
                    <a:lnTo>
                      <a:pt x="763" y="535"/>
                    </a:lnTo>
                    <a:lnTo>
                      <a:pt x="750" y="540"/>
                    </a:lnTo>
                    <a:lnTo>
                      <a:pt x="741" y="544"/>
                    </a:lnTo>
                    <a:lnTo>
                      <a:pt x="736" y="549"/>
                    </a:lnTo>
                    <a:lnTo>
                      <a:pt x="731" y="558"/>
                    </a:lnTo>
                    <a:lnTo>
                      <a:pt x="722" y="567"/>
                    </a:lnTo>
                    <a:lnTo>
                      <a:pt x="718" y="572"/>
                    </a:lnTo>
                    <a:lnTo>
                      <a:pt x="704" y="581"/>
                    </a:lnTo>
                    <a:lnTo>
                      <a:pt x="695" y="590"/>
                    </a:lnTo>
                    <a:lnTo>
                      <a:pt x="699" y="595"/>
                    </a:lnTo>
                    <a:lnTo>
                      <a:pt x="699" y="608"/>
                    </a:lnTo>
                    <a:lnTo>
                      <a:pt x="704" y="613"/>
                    </a:lnTo>
                    <a:lnTo>
                      <a:pt x="709" y="618"/>
                    </a:lnTo>
                    <a:lnTo>
                      <a:pt x="713" y="627"/>
                    </a:lnTo>
                    <a:lnTo>
                      <a:pt x="713" y="636"/>
                    </a:lnTo>
                    <a:lnTo>
                      <a:pt x="704" y="636"/>
                    </a:lnTo>
                    <a:lnTo>
                      <a:pt x="699" y="627"/>
                    </a:lnTo>
                    <a:lnTo>
                      <a:pt x="695" y="622"/>
                    </a:lnTo>
                    <a:lnTo>
                      <a:pt x="686" y="622"/>
                    </a:lnTo>
                    <a:lnTo>
                      <a:pt x="681" y="622"/>
                    </a:lnTo>
                    <a:lnTo>
                      <a:pt x="681" y="631"/>
                    </a:lnTo>
                    <a:lnTo>
                      <a:pt x="681" y="636"/>
                    </a:lnTo>
                    <a:lnTo>
                      <a:pt x="681" y="645"/>
                    </a:lnTo>
                    <a:lnTo>
                      <a:pt x="681" y="659"/>
                    </a:lnTo>
                    <a:lnTo>
                      <a:pt x="677" y="668"/>
                    </a:lnTo>
                    <a:lnTo>
                      <a:pt x="672" y="672"/>
                    </a:lnTo>
                    <a:lnTo>
                      <a:pt x="672" y="677"/>
                    </a:lnTo>
                    <a:lnTo>
                      <a:pt x="667" y="677"/>
                    </a:lnTo>
                    <a:lnTo>
                      <a:pt x="658" y="686"/>
                    </a:lnTo>
                    <a:lnTo>
                      <a:pt x="658" y="695"/>
                    </a:lnTo>
                    <a:lnTo>
                      <a:pt x="658" y="700"/>
                    </a:lnTo>
                    <a:lnTo>
                      <a:pt x="654" y="704"/>
                    </a:lnTo>
                    <a:lnTo>
                      <a:pt x="654" y="714"/>
                    </a:lnTo>
                    <a:lnTo>
                      <a:pt x="654" y="718"/>
                    </a:lnTo>
                    <a:lnTo>
                      <a:pt x="654" y="723"/>
                    </a:lnTo>
                    <a:lnTo>
                      <a:pt x="658" y="723"/>
                    </a:lnTo>
                    <a:lnTo>
                      <a:pt x="672" y="736"/>
                    </a:lnTo>
                    <a:lnTo>
                      <a:pt x="672" y="746"/>
                    </a:lnTo>
                    <a:lnTo>
                      <a:pt x="681" y="755"/>
                    </a:lnTo>
                    <a:lnTo>
                      <a:pt x="681" y="759"/>
                    </a:lnTo>
                    <a:lnTo>
                      <a:pt x="681" y="768"/>
                    </a:lnTo>
                    <a:lnTo>
                      <a:pt x="686" y="768"/>
                    </a:lnTo>
                    <a:lnTo>
                      <a:pt x="695" y="773"/>
                    </a:lnTo>
                    <a:lnTo>
                      <a:pt x="709" y="773"/>
                    </a:lnTo>
                    <a:lnTo>
                      <a:pt x="722" y="773"/>
                    </a:lnTo>
                    <a:lnTo>
                      <a:pt x="731" y="782"/>
                    </a:lnTo>
                    <a:lnTo>
                      <a:pt x="754" y="787"/>
                    </a:lnTo>
                    <a:lnTo>
                      <a:pt x="768" y="791"/>
                    </a:lnTo>
                    <a:lnTo>
                      <a:pt x="777" y="800"/>
                    </a:lnTo>
                    <a:lnTo>
                      <a:pt x="777" y="810"/>
                    </a:lnTo>
                    <a:lnTo>
                      <a:pt x="777" y="810"/>
                    </a:lnTo>
                    <a:lnTo>
                      <a:pt x="777" y="828"/>
                    </a:lnTo>
                    <a:lnTo>
                      <a:pt x="777" y="837"/>
                    </a:lnTo>
                    <a:lnTo>
                      <a:pt x="777" y="851"/>
                    </a:lnTo>
                    <a:lnTo>
                      <a:pt x="782" y="860"/>
                    </a:lnTo>
                    <a:lnTo>
                      <a:pt x="791" y="869"/>
                    </a:lnTo>
                    <a:lnTo>
                      <a:pt x="782" y="878"/>
                    </a:lnTo>
                    <a:lnTo>
                      <a:pt x="777" y="887"/>
                    </a:lnTo>
                    <a:lnTo>
                      <a:pt x="773" y="896"/>
                    </a:lnTo>
                    <a:lnTo>
                      <a:pt x="773" y="906"/>
                    </a:lnTo>
                    <a:lnTo>
                      <a:pt x="768" y="910"/>
                    </a:lnTo>
                    <a:lnTo>
                      <a:pt x="754" y="915"/>
                    </a:lnTo>
                    <a:lnTo>
                      <a:pt x="745" y="919"/>
                    </a:lnTo>
                    <a:lnTo>
                      <a:pt x="736" y="919"/>
                    </a:lnTo>
                    <a:lnTo>
                      <a:pt x="731" y="919"/>
                    </a:lnTo>
                    <a:lnTo>
                      <a:pt x="722" y="928"/>
                    </a:lnTo>
                    <a:lnTo>
                      <a:pt x="727" y="942"/>
                    </a:lnTo>
                    <a:lnTo>
                      <a:pt x="745" y="947"/>
                    </a:lnTo>
                    <a:lnTo>
                      <a:pt x="763" y="960"/>
                    </a:lnTo>
                    <a:lnTo>
                      <a:pt x="777" y="970"/>
                    </a:lnTo>
                    <a:lnTo>
                      <a:pt x="800" y="983"/>
                    </a:lnTo>
                    <a:lnTo>
                      <a:pt x="818" y="997"/>
                    </a:lnTo>
                    <a:lnTo>
                      <a:pt x="832" y="1011"/>
                    </a:lnTo>
                    <a:lnTo>
                      <a:pt x="837" y="1020"/>
                    </a:lnTo>
                    <a:lnTo>
                      <a:pt x="832" y="1029"/>
                    </a:lnTo>
                    <a:lnTo>
                      <a:pt x="832" y="1038"/>
                    </a:lnTo>
                    <a:lnTo>
                      <a:pt x="832" y="1052"/>
                    </a:lnTo>
                    <a:lnTo>
                      <a:pt x="832" y="1075"/>
                    </a:lnTo>
                    <a:lnTo>
                      <a:pt x="837" y="1079"/>
                    </a:lnTo>
                    <a:lnTo>
                      <a:pt x="841" y="1116"/>
                    </a:lnTo>
                    <a:lnTo>
                      <a:pt x="832" y="1116"/>
                    </a:lnTo>
                    <a:lnTo>
                      <a:pt x="823" y="1116"/>
                    </a:lnTo>
                    <a:lnTo>
                      <a:pt x="818" y="1116"/>
                    </a:lnTo>
                    <a:lnTo>
                      <a:pt x="814" y="1116"/>
                    </a:lnTo>
                    <a:lnTo>
                      <a:pt x="809" y="1116"/>
                    </a:lnTo>
                    <a:lnTo>
                      <a:pt x="805" y="1120"/>
                    </a:lnTo>
                    <a:lnTo>
                      <a:pt x="800" y="1120"/>
                    </a:lnTo>
                    <a:lnTo>
                      <a:pt x="791" y="1125"/>
                    </a:lnTo>
                    <a:lnTo>
                      <a:pt x="791" y="1125"/>
                    </a:lnTo>
                    <a:lnTo>
                      <a:pt x="786" y="1130"/>
                    </a:lnTo>
                    <a:lnTo>
                      <a:pt x="782" y="1130"/>
                    </a:lnTo>
                    <a:lnTo>
                      <a:pt x="782" y="1134"/>
                    </a:lnTo>
                    <a:lnTo>
                      <a:pt x="777" y="1134"/>
                    </a:lnTo>
                    <a:lnTo>
                      <a:pt x="773" y="1134"/>
                    </a:lnTo>
                    <a:lnTo>
                      <a:pt x="768" y="1139"/>
                    </a:lnTo>
                    <a:lnTo>
                      <a:pt x="768" y="1139"/>
                    </a:lnTo>
                    <a:lnTo>
                      <a:pt x="763" y="1139"/>
                    </a:lnTo>
                    <a:lnTo>
                      <a:pt x="763" y="1143"/>
                    </a:lnTo>
                    <a:lnTo>
                      <a:pt x="759" y="1143"/>
                    </a:lnTo>
                    <a:lnTo>
                      <a:pt x="754" y="1143"/>
                    </a:lnTo>
                    <a:lnTo>
                      <a:pt x="750" y="1148"/>
                    </a:lnTo>
                    <a:lnTo>
                      <a:pt x="745" y="1148"/>
                    </a:lnTo>
                    <a:lnTo>
                      <a:pt x="741" y="1152"/>
                    </a:lnTo>
                    <a:lnTo>
                      <a:pt x="727" y="1152"/>
                    </a:lnTo>
                    <a:lnTo>
                      <a:pt x="722" y="1152"/>
                    </a:lnTo>
                    <a:lnTo>
                      <a:pt x="718" y="1152"/>
                    </a:lnTo>
                    <a:lnTo>
                      <a:pt x="713" y="1152"/>
                    </a:lnTo>
                    <a:lnTo>
                      <a:pt x="695" y="1157"/>
                    </a:lnTo>
                    <a:lnTo>
                      <a:pt x="690" y="1152"/>
                    </a:lnTo>
                    <a:lnTo>
                      <a:pt x="681" y="1148"/>
                    </a:lnTo>
                    <a:lnTo>
                      <a:pt x="681" y="1148"/>
                    </a:lnTo>
                    <a:lnTo>
                      <a:pt x="681" y="1143"/>
                    </a:lnTo>
                    <a:lnTo>
                      <a:pt x="677" y="1139"/>
                    </a:lnTo>
                    <a:lnTo>
                      <a:pt x="663" y="1134"/>
                    </a:lnTo>
                    <a:lnTo>
                      <a:pt x="658" y="1125"/>
                    </a:lnTo>
                    <a:lnTo>
                      <a:pt x="649" y="1120"/>
                    </a:lnTo>
                    <a:lnTo>
                      <a:pt x="645" y="1116"/>
                    </a:lnTo>
                    <a:lnTo>
                      <a:pt x="640" y="1116"/>
                    </a:lnTo>
                    <a:lnTo>
                      <a:pt x="635" y="1116"/>
                    </a:lnTo>
                    <a:lnTo>
                      <a:pt x="635" y="1116"/>
                    </a:lnTo>
                    <a:lnTo>
                      <a:pt x="631" y="1111"/>
                    </a:lnTo>
                    <a:lnTo>
                      <a:pt x="626" y="1107"/>
                    </a:lnTo>
                    <a:lnTo>
                      <a:pt x="622" y="1107"/>
                    </a:lnTo>
                    <a:lnTo>
                      <a:pt x="617" y="1102"/>
                    </a:lnTo>
                    <a:lnTo>
                      <a:pt x="613" y="1098"/>
                    </a:lnTo>
                    <a:lnTo>
                      <a:pt x="613" y="1098"/>
                    </a:lnTo>
                    <a:lnTo>
                      <a:pt x="608" y="1098"/>
                    </a:lnTo>
                    <a:lnTo>
                      <a:pt x="603" y="1093"/>
                    </a:lnTo>
                    <a:lnTo>
                      <a:pt x="599" y="1093"/>
                    </a:lnTo>
                    <a:lnTo>
                      <a:pt x="594" y="1088"/>
                    </a:lnTo>
                    <a:lnTo>
                      <a:pt x="585" y="1088"/>
                    </a:lnTo>
                    <a:lnTo>
                      <a:pt x="581" y="1084"/>
                    </a:lnTo>
                    <a:lnTo>
                      <a:pt x="571" y="1079"/>
                    </a:lnTo>
                    <a:lnTo>
                      <a:pt x="553" y="1079"/>
                    </a:lnTo>
                    <a:lnTo>
                      <a:pt x="549" y="1075"/>
                    </a:lnTo>
                    <a:lnTo>
                      <a:pt x="544" y="1075"/>
                    </a:lnTo>
                    <a:lnTo>
                      <a:pt x="539" y="1075"/>
                    </a:lnTo>
                    <a:lnTo>
                      <a:pt x="535" y="1070"/>
                    </a:lnTo>
                    <a:lnTo>
                      <a:pt x="530" y="1066"/>
                    </a:lnTo>
                    <a:lnTo>
                      <a:pt x="530" y="1061"/>
                    </a:lnTo>
                    <a:lnTo>
                      <a:pt x="526" y="1061"/>
                    </a:lnTo>
                    <a:lnTo>
                      <a:pt x="526" y="1056"/>
                    </a:lnTo>
                    <a:lnTo>
                      <a:pt x="521" y="1056"/>
                    </a:lnTo>
                    <a:lnTo>
                      <a:pt x="517" y="1052"/>
                    </a:lnTo>
                    <a:lnTo>
                      <a:pt x="512" y="1052"/>
                    </a:lnTo>
                    <a:lnTo>
                      <a:pt x="507" y="1052"/>
                    </a:lnTo>
                    <a:lnTo>
                      <a:pt x="503" y="1047"/>
                    </a:lnTo>
                    <a:lnTo>
                      <a:pt x="494" y="1043"/>
                    </a:lnTo>
                    <a:lnTo>
                      <a:pt x="480" y="1043"/>
                    </a:lnTo>
                    <a:lnTo>
                      <a:pt x="475" y="1043"/>
                    </a:lnTo>
                    <a:lnTo>
                      <a:pt x="475" y="1038"/>
                    </a:lnTo>
                    <a:lnTo>
                      <a:pt x="471" y="1038"/>
                    </a:lnTo>
                    <a:lnTo>
                      <a:pt x="466" y="1038"/>
                    </a:lnTo>
                    <a:lnTo>
                      <a:pt x="462" y="1034"/>
                    </a:lnTo>
                    <a:lnTo>
                      <a:pt x="462" y="1034"/>
                    </a:lnTo>
                    <a:lnTo>
                      <a:pt x="448" y="1029"/>
                    </a:lnTo>
                    <a:lnTo>
                      <a:pt x="448" y="1029"/>
                    </a:lnTo>
                    <a:lnTo>
                      <a:pt x="443" y="1029"/>
                    </a:lnTo>
                    <a:lnTo>
                      <a:pt x="439" y="1029"/>
                    </a:lnTo>
                    <a:lnTo>
                      <a:pt x="430" y="1029"/>
                    </a:lnTo>
                    <a:lnTo>
                      <a:pt x="425" y="1029"/>
                    </a:lnTo>
                    <a:lnTo>
                      <a:pt x="421" y="1029"/>
                    </a:lnTo>
                    <a:lnTo>
                      <a:pt x="416" y="1034"/>
                    </a:lnTo>
                    <a:lnTo>
                      <a:pt x="416" y="1038"/>
                    </a:lnTo>
                    <a:lnTo>
                      <a:pt x="416" y="1043"/>
                    </a:lnTo>
                    <a:lnTo>
                      <a:pt x="416" y="1047"/>
                    </a:lnTo>
                    <a:lnTo>
                      <a:pt x="416" y="1052"/>
                    </a:lnTo>
                    <a:lnTo>
                      <a:pt x="421" y="1052"/>
                    </a:lnTo>
                    <a:lnTo>
                      <a:pt x="421" y="1052"/>
                    </a:lnTo>
                    <a:lnTo>
                      <a:pt x="425" y="1052"/>
                    </a:lnTo>
                    <a:lnTo>
                      <a:pt x="425" y="1056"/>
                    </a:lnTo>
                    <a:lnTo>
                      <a:pt x="430" y="1056"/>
                    </a:lnTo>
                    <a:lnTo>
                      <a:pt x="430" y="1061"/>
                    </a:lnTo>
                    <a:lnTo>
                      <a:pt x="434" y="1061"/>
                    </a:lnTo>
                    <a:lnTo>
                      <a:pt x="434" y="1066"/>
                    </a:lnTo>
                    <a:lnTo>
                      <a:pt x="439" y="1070"/>
                    </a:lnTo>
                    <a:lnTo>
                      <a:pt x="439" y="1075"/>
                    </a:lnTo>
                    <a:lnTo>
                      <a:pt x="439" y="1075"/>
                    </a:lnTo>
                    <a:lnTo>
                      <a:pt x="439" y="1079"/>
                    </a:lnTo>
                    <a:lnTo>
                      <a:pt x="434" y="1084"/>
                    </a:lnTo>
                    <a:lnTo>
                      <a:pt x="430" y="1084"/>
                    </a:lnTo>
                    <a:lnTo>
                      <a:pt x="416" y="1088"/>
                    </a:lnTo>
                    <a:lnTo>
                      <a:pt x="411" y="1088"/>
                    </a:lnTo>
                    <a:lnTo>
                      <a:pt x="402" y="1093"/>
                    </a:lnTo>
                    <a:lnTo>
                      <a:pt x="398" y="1098"/>
                    </a:lnTo>
                    <a:lnTo>
                      <a:pt x="393" y="1098"/>
                    </a:lnTo>
                    <a:lnTo>
                      <a:pt x="393" y="1102"/>
                    </a:lnTo>
                    <a:lnTo>
                      <a:pt x="393" y="1111"/>
                    </a:lnTo>
                    <a:lnTo>
                      <a:pt x="393" y="1116"/>
                    </a:lnTo>
                    <a:lnTo>
                      <a:pt x="389" y="1116"/>
                    </a:lnTo>
                    <a:lnTo>
                      <a:pt x="389" y="1116"/>
                    </a:lnTo>
                    <a:lnTo>
                      <a:pt x="384" y="1120"/>
                    </a:lnTo>
                    <a:lnTo>
                      <a:pt x="379" y="1120"/>
                    </a:lnTo>
                    <a:lnTo>
                      <a:pt x="379" y="1125"/>
                    </a:lnTo>
                    <a:lnTo>
                      <a:pt x="375" y="1125"/>
                    </a:lnTo>
                    <a:lnTo>
                      <a:pt x="366" y="1130"/>
                    </a:lnTo>
                    <a:lnTo>
                      <a:pt x="361" y="1130"/>
                    </a:lnTo>
                    <a:lnTo>
                      <a:pt x="347" y="1134"/>
                    </a:lnTo>
                    <a:lnTo>
                      <a:pt x="329" y="1134"/>
                    </a:lnTo>
                    <a:lnTo>
                      <a:pt x="329" y="1134"/>
                    </a:lnTo>
                    <a:lnTo>
                      <a:pt x="306" y="1134"/>
                    </a:lnTo>
                    <a:lnTo>
                      <a:pt x="302" y="1134"/>
                    </a:lnTo>
                    <a:lnTo>
                      <a:pt x="288" y="1134"/>
                    </a:lnTo>
                    <a:lnTo>
                      <a:pt x="283" y="1134"/>
                    </a:lnTo>
                    <a:lnTo>
                      <a:pt x="283" y="1134"/>
                    </a:lnTo>
                    <a:lnTo>
                      <a:pt x="251" y="1125"/>
                    </a:lnTo>
                    <a:lnTo>
                      <a:pt x="242" y="1120"/>
                    </a:lnTo>
                    <a:lnTo>
                      <a:pt x="238" y="1116"/>
                    </a:lnTo>
                    <a:lnTo>
                      <a:pt x="233" y="1116"/>
                    </a:lnTo>
                    <a:lnTo>
                      <a:pt x="229" y="1116"/>
                    </a:lnTo>
                    <a:lnTo>
                      <a:pt x="224" y="1116"/>
                    </a:lnTo>
                    <a:lnTo>
                      <a:pt x="224" y="1111"/>
                    </a:lnTo>
                    <a:lnTo>
                      <a:pt x="219" y="1111"/>
                    </a:lnTo>
                    <a:lnTo>
                      <a:pt x="219" y="1107"/>
                    </a:lnTo>
                    <a:lnTo>
                      <a:pt x="219" y="1102"/>
                    </a:lnTo>
                    <a:lnTo>
                      <a:pt x="215" y="1098"/>
                    </a:lnTo>
                    <a:lnTo>
                      <a:pt x="210" y="1098"/>
                    </a:lnTo>
                    <a:lnTo>
                      <a:pt x="210" y="1093"/>
                    </a:lnTo>
                    <a:lnTo>
                      <a:pt x="210" y="1088"/>
                    </a:lnTo>
                    <a:lnTo>
                      <a:pt x="210" y="1088"/>
                    </a:lnTo>
                    <a:lnTo>
                      <a:pt x="206" y="1084"/>
                    </a:lnTo>
                    <a:lnTo>
                      <a:pt x="201" y="1075"/>
                    </a:lnTo>
                    <a:lnTo>
                      <a:pt x="197" y="1075"/>
                    </a:lnTo>
                    <a:lnTo>
                      <a:pt x="197" y="1075"/>
                    </a:lnTo>
                    <a:lnTo>
                      <a:pt x="192" y="1075"/>
                    </a:lnTo>
                    <a:lnTo>
                      <a:pt x="192" y="1070"/>
                    </a:lnTo>
                    <a:lnTo>
                      <a:pt x="187" y="1070"/>
                    </a:lnTo>
                    <a:lnTo>
                      <a:pt x="183" y="1070"/>
                    </a:lnTo>
                    <a:lnTo>
                      <a:pt x="178" y="1070"/>
                    </a:lnTo>
                    <a:lnTo>
                      <a:pt x="174" y="1070"/>
                    </a:lnTo>
                    <a:lnTo>
                      <a:pt x="174" y="1070"/>
                    </a:lnTo>
                    <a:lnTo>
                      <a:pt x="169" y="1066"/>
                    </a:lnTo>
                    <a:lnTo>
                      <a:pt x="169" y="1061"/>
                    </a:lnTo>
                    <a:lnTo>
                      <a:pt x="165" y="1052"/>
                    </a:lnTo>
                    <a:lnTo>
                      <a:pt x="165" y="1052"/>
                    </a:lnTo>
                    <a:lnTo>
                      <a:pt x="165" y="1047"/>
                    </a:lnTo>
                    <a:lnTo>
                      <a:pt x="169" y="1034"/>
                    </a:lnTo>
                    <a:lnTo>
                      <a:pt x="174" y="1029"/>
                    </a:lnTo>
                    <a:lnTo>
                      <a:pt x="174" y="1029"/>
                    </a:lnTo>
                    <a:lnTo>
                      <a:pt x="174" y="1029"/>
                    </a:lnTo>
                    <a:lnTo>
                      <a:pt x="174" y="1024"/>
                    </a:lnTo>
                    <a:lnTo>
                      <a:pt x="178" y="1020"/>
                    </a:lnTo>
                    <a:lnTo>
                      <a:pt x="178" y="1015"/>
                    </a:lnTo>
                    <a:lnTo>
                      <a:pt x="183" y="1006"/>
                    </a:lnTo>
                    <a:lnTo>
                      <a:pt x="183" y="1002"/>
                    </a:lnTo>
                    <a:lnTo>
                      <a:pt x="183" y="997"/>
                    </a:lnTo>
                    <a:lnTo>
                      <a:pt x="183" y="992"/>
                    </a:lnTo>
                    <a:lnTo>
                      <a:pt x="183" y="988"/>
                    </a:lnTo>
                    <a:lnTo>
                      <a:pt x="178" y="988"/>
                    </a:lnTo>
                    <a:lnTo>
                      <a:pt x="178" y="988"/>
                    </a:lnTo>
                    <a:lnTo>
                      <a:pt x="178" y="983"/>
                    </a:lnTo>
                    <a:lnTo>
                      <a:pt x="174" y="979"/>
                    </a:lnTo>
                    <a:lnTo>
                      <a:pt x="174" y="970"/>
                    </a:lnTo>
                    <a:lnTo>
                      <a:pt x="174" y="965"/>
                    </a:lnTo>
                    <a:lnTo>
                      <a:pt x="169" y="965"/>
                    </a:lnTo>
                    <a:lnTo>
                      <a:pt x="160" y="956"/>
                    </a:lnTo>
                    <a:lnTo>
                      <a:pt x="155" y="951"/>
                    </a:lnTo>
                    <a:lnTo>
                      <a:pt x="155" y="951"/>
                    </a:lnTo>
                    <a:lnTo>
                      <a:pt x="142" y="947"/>
                    </a:lnTo>
                    <a:lnTo>
                      <a:pt x="133" y="947"/>
                    </a:lnTo>
                    <a:lnTo>
                      <a:pt x="128" y="947"/>
                    </a:lnTo>
                    <a:lnTo>
                      <a:pt x="123" y="951"/>
                    </a:lnTo>
                    <a:lnTo>
                      <a:pt x="119" y="956"/>
                    </a:lnTo>
                    <a:lnTo>
                      <a:pt x="110" y="960"/>
                    </a:lnTo>
                    <a:lnTo>
                      <a:pt x="105" y="965"/>
                    </a:lnTo>
                    <a:lnTo>
                      <a:pt x="101" y="965"/>
                    </a:lnTo>
                    <a:lnTo>
                      <a:pt x="96" y="965"/>
                    </a:lnTo>
                    <a:lnTo>
                      <a:pt x="96" y="965"/>
                    </a:lnTo>
                    <a:lnTo>
                      <a:pt x="91" y="960"/>
                    </a:lnTo>
                    <a:lnTo>
                      <a:pt x="91" y="951"/>
                    </a:lnTo>
                    <a:lnTo>
                      <a:pt x="91" y="947"/>
                    </a:lnTo>
                    <a:lnTo>
                      <a:pt x="91" y="933"/>
                    </a:lnTo>
                    <a:lnTo>
                      <a:pt x="91" y="919"/>
                    </a:lnTo>
                    <a:lnTo>
                      <a:pt x="91" y="915"/>
                    </a:lnTo>
                    <a:lnTo>
                      <a:pt x="91" y="910"/>
                    </a:lnTo>
                    <a:lnTo>
                      <a:pt x="91" y="901"/>
                    </a:lnTo>
                    <a:lnTo>
                      <a:pt x="91" y="896"/>
                    </a:lnTo>
                    <a:lnTo>
                      <a:pt x="91" y="896"/>
                    </a:lnTo>
                    <a:lnTo>
                      <a:pt x="87" y="892"/>
                    </a:lnTo>
                    <a:lnTo>
                      <a:pt x="87" y="887"/>
                    </a:lnTo>
                    <a:lnTo>
                      <a:pt x="87" y="883"/>
                    </a:lnTo>
                    <a:lnTo>
                      <a:pt x="87" y="878"/>
                    </a:lnTo>
                    <a:lnTo>
                      <a:pt x="87" y="878"/>
                    </a:lnTo>
                    <a:lnTo>
                      <a:pt x="82" y="874"/>
                    </a:lnTo>
                    <a:lnTo>
                      <a:pt x="82" y="869"/>
                    </a:lnTo>
                    <a:lnTo>
                      <a:pt x="82" y="864"/>
                    </a:lnTo>
                    <a:lnTo>
                      <a:pt x="82" y="860"/>
                    </a:lnTo>
                    <a:lnTo>
                      <a:pt x="82" y="855"/>
                    </a:lnTo>
                    <a:lnTo>
                      <a:pt x="82" y="846"/>
                    </a:lnTo>
                    <a:lnTo>
                      <a:pt x="82" y="842"/>
                    </a:lnTo>
                    <a:lnTo>
                      <a:pt x="78" y="837"/>
                    </a:lnTo>
                    <a:lnTo>
                      <a:pt x="73" y="832"/>
                    </a:lnTo>
                    <a:lnTo>
                      <a:pt x="73" y="832"/>
                    </a:lnTo>
                    <a:lnTo>
                      <a:pt x="69" y="832"/>
                    </a:lnTo>
                    <a:lnTo>
                      <a:pt x="64" y="828"/>
                    </a:lnTo>
                    <a:lnTo>
                      <a:pt x="59" y="828"/>
                    </a:lnTo>
                    <a:lnTo>
                      <a:pt x="55" y="828"/>
                    </a:lnTo>
                    <a:lnTo>
                      <a:pt x="50" y="828"/>
                    </a:lnTo>
                    <a:lnTo>
                      <a:pt x="46" y="828"/>
                    </a:lnTo>
                    <a:lnTo>
                      <a:pt x="46" y="828"/>
                    </a:lnTo>
                    <a:lnTo>
                      <a:pt x="32" y="823"/>
                    </a:lnTo>
                    <a:lnTo>
                      <a:pt x="27" y="819"/>
                    </a:lnTo>
                    <a:lnTo>
                      <a:pt x="23" y="814"/>
                    </a:lnTo>
                    <a:lnTo>
                      <a:pt x="23" y="814"/>
                    </a:lnTo>
                    <a:lnTo>
                      <a:pt x="18" y="814"/>
                    </a:lnTo>
                    <a:lnTo>
                      <a:pt x="14" y="814"/>
                    </a:lnTo>
                    <a:lnTo>
                      <a:pt x="14" y="810"/>
                    </a:lnTo>
                    <a:lnTo>
                      <a:pt x="9" y="810"/>
                    </a:lnTo>
                    <a:lnTo>
                      <a:pt x="5" y="810"/>
                    </a:lnTo>
                    <a:lnTo>
                      <a:pt x="0" y="796"/>
                    </a:lnTo>
                    <a:lnTo>
                      <a:pt x="0" y="791"/>
                    </a:lnTo>
                    <a:lnTo>
                      <a:pt x="0" y="787"/>
                    </a:lnTo>
                    <a:lnTo>
                      <a:pt x="0" y="773"/>
                    </a:lnTo>
                    <a:lnTo>
                      <a:pt x="0" y="768"/>
                    </a:lnTo>
                    <a:lnTo>
                      <a:pt x="0" y="764"/>
                    </a:lnTo>
                    <a:lnTo>
                      <a:pt x="0" y="759"/>
                    </a:lnTo>
                    <a:lnTo>
                      <a:pt x="0" y="755"/>
                    </a:lnTo>
                    <a:lnTo>
                      <a:pt x="5" y="755"/>
                    </a:lnTo>
                    <a:lnTo>
                      <a:pt x="5" y="750"/>
                    </a:lnTo>
                    <a:lnTo>
                      <a:pt x="9" y="746"/>
                    </a:lnTo>
                    <a:lnTo>
                      <a:pt x="14" y="746"/>
                    </a:lnTo>
                    <a:lnTo>
                      <a:pt x="14" y="741"/>
                    </a:lnTo>
                    <a:lnTo>
                      <a:pt x="18" y="736"/>
                    </a:lnTo>
                    <a:lnTo>
                      <a:pt x="18" y="732"/>
                    </a:lnTo>
                    <a:lnTo>
                      <a:pt x="23" y="727"/>
                    </a:lnTo>
                    <a:lnTo>
                      <a:pt x="23" y="723"/>
                    </a:lnTo>
                    <a:lnTo>
                      <a:pt x="27" y="723"/>
                    </a:lnTo>
                    <a:lnTo>
                      <a:pt x="27" y="718"/>
                    </a:lnTo>
                    <a:lnTo>
                      <a:pt x="32" y="718"/>
                    </a:lnTo>
                    <a:lnTo>
                      <a:pt x="32" y="714"/>
                    </a:lnTo>
                    <a:lnTo>
                      <a:pt x="37" y="709"/>
                    </a:lnTo>
                    <a:lnTo>
                      <a:pt x="37" y="700"/>
                    </a:lnTo>
                    <a:lnTo>
                      <a:pt x="37" y="700"/>
                    </a:lnTo>
                    <a:lnTo>
                      <a:pt x="37" y="695"/>
                    </a:lnTo>
                    <a:lnTo>
                      <a:pt x="37" y="691"/>
                    </a:lnTo>
                    <a:lnTo>
                      <a:pt x="37" y="682"/>
                    </a:lnTo>
                    <a:lnTo>
                      <a:pt x="37" y="677"/>
                    </a:lnTo>
                    <a:lnTo>
                      <a:pt x="37" y="668"/>
                    </a:lnTo>
                    <a:lnTo>
                      <a:pt x="32" y="663"/>
                    </a:lnTo>
                    <a:lnTo>
                      <a:pt x="27" y="663"/>
                    </a:lnTo>
                    <a:lnTo>
                      <a:pt x="27" y="659"/>
                    </a:lnTo>
                    <a:lnTo>
                      <a:pt x="23" y="659"/>
                    </a:lnTo>
                    <a:lnTo>
                      <a:pt x="23" y="654"/>
                    </a:lnTo>
                    <a:lnTo>
                      <a:pt x="23" y="650"/>
                    </a:lnTo>
                    <a:lnTo>
                      <a:pt x="18" y="645"/>
                    </a:lnTo>
                    <a:lnTo>
                      <a:pt x="14" y="640"/>
                    </a:lnTo>
                    <a:lnTo>
                      <a:pt x="14" y="636"/>
                    </a:lnTo>
                    <a:lnTo>
                      <a:pt x="14" y="636"/>
                    </a:lnTo>
                    <a:lnTo>
                      <a:pt x="9" y="627"/>
                    </a:lnTo>
                    <a:lnTo>
                      <a:pt x="9" y="622"/>
                    </a:lnTo>
                    <a:lnTo>
                      <a:pt x="9" y="618"/>
                    </a:lnTo>
                    <a:lnTo>
                      <a:pt x="9" y="604"/>
                    </a:lnTo>
                    <a:lnTo>
                      <a:pt x="14" y="590"/>
                    </a:lnTo>
                    <a:lnTo>
                      <a:pt x="14" y="586"/>
                    </a:lnTo>
                    <a:lnTo>
                      <a:pt x="14" y="567"/>
                    </a:lnTo>
                    <a:lnTo>
                      <a:pt x="14" y="567"/>
                    </a:lnTo>
                    <a:lnTo>
                      <a:pt x="14" y="563"/>
                    </a:lnTo>
                    <a:lnTo>
                      <a:pt x="14" y="558"/>
                    </a:lnTo>
                    <a:lnTo>
                      <a:pt x="18" y="558"/>
                    </a:lnTo>
                    <a:lnTo>
                      <a:pt x="18" y="554"/>
                    </a:lnTo>
                    <a:lnTo>
                      <a:pt x="18" y="549"/>
                    </a:lnTo>
                    <a:lnTo>
                      <a:pt x="23" y="549"/>
                    </a:lnTo>
                    <a:lnTo>
                      <a:pt x="23" y="549"/>
                    </a:lnTo>
                    <a:lnTo>
                      <a:pt x="23" y="549"/>
                    </a:lnTo>
                    <a:lnTo>
                      <a:pt x="23" y="544"/>
                    </a:lnTo>
                    <a:lnTo>
                      <a:pt x="27" y="544"/>
                    </a:lnTo>
                    <a:lnTo>
                      <a:pt x="32" y="544"/>
                    </a:lnTo>
                    <a:lnTo>
                      <a:pt x="37" y="544"/>
                    </a:lnTo>
                    <a:lnTo>
                      <a:pt x="46" y="540"/>
                    </a:lnTo>
                    <a:lnTo>
                      <a:pt x="50" y="540"/>
                    </a:lnTo>
                    <a:lnTo>
                      <a:pt x="55" y="535"/>
                    </a:lnTo>
                    <a:lnTo>
                      <a:pt x="59" y="535"/>
                    </a:lnTo>
                    <a:lnTo>
                      <a:pt x="59" y="531"/>
                    </a:lnTo>
                    <a:lnTo>
                      <a:pt x="64" y="526"/>
                    </a:lnTo>
                    <a:lnTo>
                      <a:pt x="64" y="526"/>
                    </a:lnTo>
                    <a:lnTo>
                      <a:pt x="69" y="522"/>
                    </a:lnTo>
                    <a:lnTo>
                      <a:pt x="69" y="517"/>
                    </a:lnTo>
                    <a:lnTo>
                      <a:pt x="69" y="512"/>
                    </a:lnTo>
                    <a:lnTo>
                      <a:pt x="73" y="512"/>
                    </a:lnTo>
                    <a:lnTo>
                      <a:pt x="73" y="508"/>
                    </a:lnTo>
                    <a:lnTo>
                      <a:pt x="78" y="503"/>
                    </a:lnTo>
                    <a:lnTo>
                      <a:pt x="82" y="503"/>
                    </a:lnTo>
                    <a:lnTo>
                      <a:pt x="82" y="499"/>
                    </a:lnTo>
                    <a:lnTo>
                      <a:pt x="91" y="485"/>
                    </a:lnTo>
                    <a:lnTo>
                      <a:pt x="96" y="485"/>
                    </a:lnTo>
                    <a:lnTo>
                      <a:pt x="96" y="480"/>
                    </a:lnTo>
                    <a:lnTo>
                      <a:pt x="101" y="480"/>
                    </a:lnTo>
                    <a:lnTo>
                      <a:pt x="105" y="480"/>
                    </a:lnTo>
                    <a:lnTo>
                      <a:pt x="105" y="476"/>
                    </a:lnTo>
                    <a:lnTo>
                      <a:pt x="110" y="476"/>
                    </a:lnTo>
                    <a:lnTo>
                      <a:pt x="110" y="471"/>
                    </a:lnTo>
                    <a:lnTo>
                      <a:pt x="110" y="471"/>
                    </a:lnTo>
                    <a:lnTo>
                      <a:pt x="110" y="467"/>
                    </a:lnTo>
                    <a:lnTo>
                      <a:pt x="114" y="467"/>
                    </a:lnTo>
                    <a:lnTo>
                      <a:pt x="114" y="462"/>
                    </a:lnTo>
                    <a:lnTo>
                      <a:pt x="119" y="462"/>
                    </a:lnTo>
                    <a:lnTo>
                      <a:pt x="128" y="458"/>
                    </a:lnTo>
                    <a:lnTo>
                      <a:pt x="133" y="458"/>
                    </a:lnTo>
                    <a:lnTo>
                      <a:pt x="133" y="458"/>
                    </a:lnTo>
                    <a:lnTo>
                      <a:pt x="137" y="458"/>
                    </a:lnTo>
                    <a:lnTo>
                      <a:pt x="142" y="458"/>
                    </a:lnTo>
                    <a:lnTo>
                      <a:pt x="146" y="458"/>
                    </a:lnTo>
                    <a:lnTo>
                      <a:pt x="151" y="458"/>
                    </a:lnTo>
                    <a:lnTo>
                      <a:pt x="155" y="458"/>
                    </a:lnTo>
                    <a:lnTo>
                      <a:pt x="160" y="458"/>
                    </a:lnTo>
                    <a:lnTo>
                      <a:pt x="160" y="458"/>
                    </a:lnTo>
                    <a:lnTo>
                      <a:pt x="160" y="458"/>
                    </a:lnTo>
                    <a:lnTo>
                      <a:pt x="165" y="458"/>
                    </a:lnTo>
                    <a:lnTo>
                      <a:pt x="165" y="453"/>
                    </a:lnTo>
                    <a:lnTo>
                      <a:pt x="169" y="453"/>
                    </a:lnTo>
                    <a:lnTo>
                      <a:pt x="174" y="448"/>
                    </a:lnTo>
                    <a:lnTo>
                      <a:pt x="174" y="448"/>
                    </a:lnTo>
                    <a:lnTo>
                      <a:pt x="178" y="444"/>
                    </a:lnTo>
                    <a:lnTo>
                      <a:pt x="187" y="444"/>
                    </a:lnTo>
                    <a:lnTo>
                      <a:pt x="192" y="444"/>
                    </a:lnTo>
                    <a:lnTo>
                      <a:pt x="197" y="448"/>
                    </a:lnTo>
                    <a:lnTo>
                      <a:pt x="197" y="448"/>
                    </a:lnTo>
                    <a:lnTo>
                      <a:pt x="201" y="444"/>
                    </a:lnTo>
                    <a:lnTo>
                      <a:pt x="206" y="444"/>
                    </a:lnTo>
                    <a:lnTo>
                      <a:pt x="210" y="444"/>
                    </a:lnTo>
                    <a:lnTo>
                      <a:pt x="219" y="444"/>
                    </a:lnTo>
                    <a:lnTo>
                      <a:pt x="219" y="448"/>
                    </a:lnTo>
                    <a:lnTo>
                      <a:pt x="229" y="448"/>
                    </a:lnTo>
                    <a:lnTo>
                      <a:pt x="233" y="453"/>
                    </a:lnTo>
                    <a:lnTo>
                      <a:pt x="238" y="453"/>
                    </a:lnTo>
                    <a:lnTo>
                      <a:pt x="242" y="458"/>
                    </a:lnTo>
                    <a:lnTo>
                      <a:pt x="242" y="458"/>
                    </a:lnTo>
                    <a:lnTo>
                      <a:pt x="247" y="458"/>
                    </a:lnTo>
                    <a:lnTo>
                      <a:pt x="251" y="458"/>
                    </a:lnTo>
                    <a:lnTo>
                      <a:pt x="251" y="462"/>
                    </a:lnTo>
                    <a:lnTo>
                      <a:pt x="256" y="462"/>
                    </a:lnTo>
                    <a:lnTo>
                      <a:pt x="261" y="462"/>
                    </a:lnTo>
                    <a:lnTo>
                      <a:pt x="265" y="467"/>
                    </a:lnTo>
                    <a:lnTo>
                      <a:pt x="270" y="467"/>
                    </a:lnTo>
                    <a:lnTo>
                      <a:pt x="283" y="462"/>
                    </a:lnTo>
                    <a:lnTo>
                      <a:pt x="283" y="458"/>
                    </a:lnTo>
                    <a:lnTo>
                      <a:pt x="293" y="458"/>
                    </a:lnTo>
                    <a:lnTo>
                      <a:pt x="297" y="458"/>
                    </a:lnTo>
                    <a:lnTo>
                      <a:pt x="302" y="458"/>
                    </a:lnTo>
                    <a:lnTo>
                      <a:pt x="306" y="458"/>
                    </a:lnTo>
                    <a:lnTo>
                      <a:pt x="306" y="462"/>
                    </a:lnTo>
                    <a:lnTo>
                      <a:pt x="311" y="467"/>
                    </a:lnTo>
                    <a:lnTo>
                      <a:pt x="311" y="471"/>
                    </a:lnTo>
                    <a:lnTo>
                      <a:pt x="311" y="476"/>
                    </a:lnTo>
                    <a:lnTo>
                      <a:pt x="315" y="480"/>
                    </a:lnTo>
                    <a:lnTo>
                      <a:pt x="315" y="480"/>
                    </a:lnTo>
                    <a:lnTo>
                      <a:pt x="320" y="480"/>
                    </a:lnTo>
                    <a:lnTo>
                      <a:pt x="320" y="485"/>
                    </a:lnTo>
                    <a:lnTo>
                      <a:pt x="325" y="485"/>
                    </a:lnTo>
                    <a:lnTo>
                      <a:pt x="329" y="490"/>
                    </a:lnTo>
                    <a:lnTo>
                      <a:pt x="329" y="490"/>
                    </a:lnTo>
                    <a:lnTo>
                      <a:pt x="338" y="490"/>
                    </a:lnTo>
                    <a:lnTo>
                      <a:pt x="343" y="490"/>
                    </a:lnTo>
                    <a:lnTo>
                      <a:pt x="347" y="490"/>
                    </a:lnTo>
                    <a:lnTo>
                      <a:pt x="352" y="490"/>
                    </a:lnTo>
                    <a:lnTo>
                      <a:pt x="357" y="485"/>
                    </a:lnTo>
                    <a:lnTo>
                      <a:pt x="366" y="485"/>
                    </a:lnTo>
                    <a:lnTo>
                      <a:pt x="370" y="480"/>
                    </a:lnTo>
                    <a:lnTo>
                      <a:pt x="375" y="480"/>
                    </a:lnTo>
                    <a:lnTo>
                      <a:pt x="384" y="480"/>
                    </a:lnTo>
                    <a:lnTo>
                      <a:pt x="389" y="480"/>
                    </a:lnTo>
                    <a:lnTo>
                      <a:pt x="393" y="480"/>
                    </a:lnTo>
                    <a:lnTo>
                      <a:pt x="393" y="480"/>
                    </a:lnTo>
                    <a:lnTo>
                      <a:pt x="398" y="480"/>
                    </a:lnTo>
                    <a:lnTo>
                      <a:pt x="402" y="480"/>
                    </a:lnTo>
                    <a:lnTo>
                      <a:pt x="402" y="485"/>
                    </a:lnTo>
                    <a:lnTo>
                      <a:pt x="407" y="485"/>
                    </a:lnTo>
                    <a:lnTo>
                      <a:pt x="411" y="494"/>
                    </a:lnTo>
                    <a:lnTo>
                      <a:pt x="416" y="494"/>
                    </a:lnTo>
                    <a:lnTo>
                      <a:pt x="416" y="499"/>
                    </a:lnTo>
                    <a:lnTo>
                      <a:pt x="416" y="503"/>
                    </a:lnTo>
                    <a:lnTo>
                      <a:pt x="421" y="512"/>
                    </a:lnTo>
                    <a:lnTo>
                      <a:pt x="425" y="522"/>
                    </a:lnTo>
                    <a:lnTo>
                      <a:pt x="425" y="526"/>
                    </a:lnTo>
                    <a:lnTo>
                      <a:pt x="425" y="526"/>
                    </a:lnTo>
                    <a:lnTo>
                      <a:pt x="430" y="540"/>
                    </a:lnTo>
                    <a:lnTo>
                      <a:pt x="434" y="558"/>
                    </a:lnTo>
                    <a:lnTo>
                      <a:pt x="434" y="563"/>
                    </a:lnTo>
                    <a:lnTo>
                      <a:pt x="439" y="567"/>
                    </a:lnTo>
                    <a:lnTo>
                      <a:pt x="439" y="572"/>
                    </a:lnTo>
                    <a:lnTo>
                      <a:pt x="439" y="576"/>
                    </a:lnTo>
                    <a:lnTo>
                      <a:pt x="439" y="581"/>
                    </a:lnTo>
                    <a:lnTo>
                      <a:pt x="439" y="586"/>
                    </a:lnTo>
                    <a:lnTo>
                      <a:pt x="443" y="586"/>
                    </a:lnTo>
                    <a:lnTo>
                      <a:pt x="448" y="590"/>
                    </a:lnTo>
                    <a:lnTo>
                      <a:pt x="453" y="590"/>
                    </a:lnTo>
                    <a:lnTo>
                      <a:pt x="457" y="586"/>
                    </a:lnTo>
                    <a:lnTo>
                      <a:pt x="462" y="586"/>
                    </a:lnTo>
                    <a:lnTo>
                      <a:pt x="485" y="590"/>
                    </a:lnTo>
                    <a:lnTo>
                      <a:pt x="503" y="590"/>
                    </a:lnTo>
                    <a:lnTo>
                      <a:pt x="507" y="590"/>
                    </a:lnTo>
                    <a:lnTo>
                      <a:pt x="517" y="590"/>
                    </a:lnTo>
                    <a:lnTo>
                      <a:pt x="517" y="595"/>
                    </a:lnTo>
                    <a:lnTo>
                      <a:pt x="521" y="595"/>
                    </a:lnTo>
                    <a:lnTo>
                      <a:pt x="526" y="595"/>
                    </a:lnTo>
                    <a:lnTo>
                      <a:pt x="526" y="599"/>
                    </a:lnTo>
                    <a:lnTo>
                      <a:pt x="530" y="599"/>
                    </a:lnTo>
                    <a:lnTo>
                      <a:pt x="535" y="599"/>
                    </a:lnTo>
                    <a:lnTo>
                      <a:pt x="539" y="599"/>
                    </a:lnTo>
                    <a:lnTo>
                      <a:pt x="539" y="595"/>
                    </a:lnTo>
                    <a:lnTo>
                      <a:pt x="535" y="590"/>
                    </a:lnTo>
                    <a:lnTo>
                      <a:pt x="530" y="590"/>
                    </a:lnTo>
                    <a:lnTo>
                      <a:pt x="526" y="586"/>
                    </a:lnTo>
                    <a:lnTo>
                      <a:pt x="526" y="581"/>
                    </a:lnTo>
                    <a:lnTo>
                      <a:pt x="526" y="581"/>
                    </a:lnTo>
                    <a:lnTo>
                      <a:pt x="526" y="576"/>
                    </a:lnTo>
                    <a:lnTo>
                      <a:pt x="526" y="567"/>
                    </a:lnTo>
                    <a:lnTo>
                      <a:pt x="526" y="563"/>
                    </a:lnTo>
                    <a:lnTo>
                      <a:pt x="526" y="558"/>
                    </a:lnTo>
                    <a:lnTo>
                      <a:pt x="526" y="554"/>
                    </a:lnTo>
                    <a:lnTo>
                      <a:pt x="535" y="549"/>
                    </a:lnTo>
                    <a:lnTo>
                      <a:pt x="539" y="549"/>
                    </a:lnTo>
                    <a:lnTo>
                      <a:pt x="549" y="549"/>
                    </a:lnTo>
                    <a:lnTo>
                      <a:pt x="549" y="544"/>
                    </a:lnTo>
                    <a:lnTo>
                      <a:pt x="553" y="544"/>
                    </a:lnTo>
                    <a:close/>
                  </a:path>
                </a:pathLst>
              </a:custGeom>
              <a:grp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192" name="Freeform 11">
                <a:extLst>
                  <a:ext uri="{FF2B5EF4-FFF2-40B4-BE49-F238E27FC236}">
                    <a16:creationId xmlns:a16="http://schemas.microsoft.com/office/drawing/2014/main" id="{FF31B751-3EE4-44CC-9AC6-7B4FA5FB3289}"/>
                  </a:ext>
                </a:extLst>
              </p:cNvPr>
              <p:cNvSpPr>
                <a:spLocks/>
              </p:cNvSpPr>
              <p:nvPr>
                <p:custDataLst>
                  <p:tags r:id="rId9"/>
                </p:custDataLst>
              </p:nvPr>
            </p:nvSpPr>
            <p:spPr bwMode="auto">
              <a:xfrm>
                <a:off x="1506614" y="5667575"/>
                <a:ext cx="615158" cy="513838"/>
              </a:xfrm>
              <a:custGeom>
                <a:avLst/>
                <a:gdLst/>
                <a:ahLst/>
                <a:cxnLst>
                  <a:cxn ang="0">
                    <a:pos x="430" y="306"/>
                  </a:cxn>
                  <a:cxn ang="0">
                    <a:pos x="430" y="329"/>
                  </a:cxn>
                  <a:cxn ang="0">
                    <a:pos x="416" y="352"/>
                  </a:cxn>
                  <a:cxn ang="0">
                    <a:pos x="412" y="388"/>
                  </a:cxn>
                  <a:cxn ang="0">
                    <a:pos x="412" y="402"/>
                  </a:cxn>
                  <a:cxn ang="0">
                    <a:pos x="403" y="393"/>
                  </a:cxn>
                  <a:cxn ang="0">
                    <a:pos x="389" y="393"/>
                  </a:cxn>
                  <a:cxn ang="0">
                    <a:pos x="348" y="407"/>
                  </a:cxn>
                  <a:cxn ang="0">
                    <a:pos x="325" y="407"/>
                  </a:cxn>
                  <a:cxn ang="0">
                    <a:pos x="284" y="416"/>
                  </a:cxn>
                  <a:cxn ang="0">
                    <a:pos x="270" y="411"/>
                  </a:cxn>
                  <a:cxn ang="0">
                    <a:pos x="247" y="407"/>
                  </a:cxn>
                  <a:cxn ang="0">
                    <a:pos x="224" y="393"/>
                  </a:cxn>
                  <a:cxn ang="0">
                    <a:pos x="183" y="365"/>
                  </a:cxn>
                  <a:cxn ang="0">
                    <a:pos x="174" y="356"/>
                  </a:cxn>
                  <a:cxn ang="0">
                    <a:pos x="147" y="338"/>
                  </a:cxn>
                  <a:cxn ang="0">
                    <a:pos x="133" y="320"/>
                  </a:cxn>
                  <a:cxn ang="0">
                    <a:pos x="124" y="315"/>
                  </a:cxn>
                  <a:cxn ang="0">
                    <a:pos x="92" y="279"/>
                  </a:cxn>
                  <a:cxn ang="0">
                    <a:pos x="64" y="237"/>
                  </a:cxn>
                  <a:cxn ang="0">
                    <a:pos x="51" y="215"/>
                  </a:cxn>
                  <a:cxn ang="0">
                    <a:pos x="37" y="178"/>
                  </a:cxn>
                  <a:cxn ang="0">
                    <a:pos x="28" y="164"/>
                  </a:cxn>
                  <a:cxn ang="0">
                    <a:pos x="19" y="132"/>
                  </a:cxn>
                  <a:cxn ang="0">
                    <a:pos x="0" y="91"/>
                  </a:cxn>
                  <a:cxn ang="0">
                    <a:pos x="19" y="87"/>
                  </a:cxn>
                  <a:cxn ang="0">
                    <a:pos x="37" y="100"/>
                  </a:cxn>
                  <a:cxn ang="0">
                    <a:pos x="64" y="114"/>
                  </a:cxn>
                  <a:cxn ang="0">
                    <a:pos x="101" y="128"/>
                  </a:cxn>
                  <a:cxn ang="0">
                    <a:pos x="124" y="141"/>
                  </a:cxn>
                  <a:cxn ang="0">
                    <a:pos x="147" y="132"/>
                  </a:cxn>
                  <a:cxn ang="0">
                    <a:pos x="179" y="114"/>
                  </a:cxn>
                  <a:cxn ang="0">
                    <a:pos x="202" y="105"/>
                  </a:cxn>
                  <a:cxn ang="0">
                    <a:pos x="211" y="87"/>
                  </a:cxn>
                  <a:cxn ang="0">
                    <a:pos x="229" y="87"/>
                  </a:cxn>
                  <a:cxn ang="0">
                    <a:pos x="252" y="105"/>
                  </a:cxn>
                  <a:cxn ang="0">
                    <a:pos x="275" y="87"/>
                  </a:cxn>
                  <a:cxn ang="0">
                    <a:pos x="298" y="87"/>
                  </a:cxn>
                  <a:cxn ang="0">
                    <a:pos x="311" y="64"/>
                  </a:cxn>
                  <a:cxn ang="0">
                    <a:pos x="334" y="55"/>
                  </a:cxn>
                  <a:cxn ang="0">
                    <a:pos x="371" y="32"/>
                  </a:cxn>
                  <a:cxn ang="0">
                    <a:pos x="407" y="23"/>
                  </a:cxn>
                  <a:cxn ang="0">
                    <a:pos x="426" y="0"/>
                  </a:cxn>
                  <a:cxn ang="0">
                    <a:pos x="448" y="0"/>
                  </a:cxn>
                  <a:cxn ang="0">
                    <a:pos x="439" y="23"/>
                  </a:cxn>
                  <a:cxn ang="0">
                    <a:pos x="453" y="55"/>
                  </a:cxn>
                  <a:cxn ang="0">
                    <a:pos x="430" y="82"/>
                  </a:cxn>
                  <a:cxn ang="0">
                    <a:pos x="407" y="91"/>
                  </a:cxn>
                  <a:cxn ang="0">
                    <a:pos x="384" y="137"/>
                  </a:cxn>
                  <a:cxn ang="0">
                    <a:pos x="394" y="160"/>
                  </a:cxn>
                  <a:cxn ang="0">
                    <a:pos x="384" y="178"/>
                  </a:cxn>
                  <a:cxn ang="0">
                    <a:pos x="380" y="219"/>
                  </a:cxn>
                  <a:cxn ang="0">
                    <a:pos x="394" y="242"/>
                  </a:cxn>
                  <a:cxn ang="0">
                    <a:pos x="426" y="242"/>
                  </a:cxn>
                  <a:cxn ang="0">
                    <a:pos x="453" y="251"/>
                  </a:cxn>
                  <a:cxn ang="0">
                    <a:pos x="421" y="279"/>
                  </a:cxn>
                </a:cxnLst>
                <a:rect l="0" t="0" r="r" b="b"/>
                <a:pathLst>
                  <a:path w="462" h="416">
                    <a:moveTo>
                      <a:pt x="416" y="283"/>
                    </a:moveTo>
                    <a:lnTo>
                      <a:pt x="421" y="288"/>
                    </a:lnTo>
                    <a:lnTo>
                      <a:pt x="426" y="297"/>
                    </a:lnTo>
                    <a:lnTo>
                      <a:pt x="430" y="306"/>
                    </a:lnTo>
                    <a:lnTo>
                      <a:pt x="430" y="306"/>
                    </a:lnTo>
                    <a:lnTo>
                      <a:pt x="430" y="311"/>
                    </a:lnTo>
                    <a:lnTo>
                      <a:pt x="435" y="315"/>
                    </a:lnTo>
                    <a:lnTo>
                      <a:pt x="430" y="324"/>
                    </a:lnTo>
                    <a:lnTo>
                      <a:pt x="430" y="329"/>
                    </a:lnTo>
                    <a:lnTo>
                      <a:pt x="430" y="329"/>
                    </a:lnTo>
                    <a:lnTo>
                      <a:pt x="430" y="338"/>
                    </a:lnTo>
                    <a:lnTo>
                      <a:pt x="421" y="343"/>
                    </a:lnTo>
                    <a:lnTo>
                      <a:pt x="421" y="343"/>
                    </a:lnTo>
                    <a:lnTo>
                      <a:pt x="416" y="347"/>
                    </a:lnTo>
                    <a:lnTo>
                      <a:pt x="416" y="352"/>
                    </a:lnTo>
                    <a:lnTo>
                      <a:pt x="416" y="356"/>
                    </a:lnTo>
                    <a:lnTo>
                      <a:pt x="412" y="370"/>
                    </a:lnTo>
                    <a:lnTo>
                      <a:pt x="407" y="375"/>
                    </a:lnTo>
                    <a:lnTo>
                      <a:pt x="407" y="384"/>
                    </a:lnTo>
                    <a:lnTo>
                      <a:pt x="412" y="388"/>
                    </a:lnTo>
                    <a:lnTo>
                      <a:pt x="412" y="393"/>
                    </a:lnTo>
                    <a:lnTo>
                      <a:pt x="421" y="393"/>
                    </a:lnTo>
                    <a:lnTo>
                      <a:pt x="426" y="397"/>
                    </a:lnTo>
                    <a:lnTo>
                      <a:pt x="416" y="402"/>
                    </a:lnTo>
                    <a:lnTo>
                      <a:pt x="412" y="402"/>
                    </a:lnTo>
                    <a:lnTo>
                      <a:pt x="412" y="402"/>
                    </a:lnTo>
                    <a:lnTo>
                      <a:pt x="407" y="397"/>
                    </a:lnTo>
                    <a:lnTo>
                      <a:pt x="403" y="397"/>
                    </a:lnTo>
                    <a:lnTo>
                      <a:pt x="403" y="393"/>
                    </a:lnTo>
                    <a:lnTo>
                      <a:pt x="403" y="393"/>
                    </a:lnTo>
                    <a:lnTo>
                      <a:pt x="403" y="388"/>
                    </a:lnTo>
                    <a:lnTo>
                      <a:pt x="398" y="393"/>
                    </a:lnTo>
                    <a:lnTo>
                      <a:pt x="394" y="393"/>
                    </a:lnTo>
                    <a:lnTo>
                      <a:pt x="394" y="393"/>
                    </a:lnTo>
                    <a:lnTo>
                      <a:pt x="389" y="393"/>
                    </a:lnTo>
                    <a:lnTo>
                      <a:pt x="398" y="402"/>
                    </a:lnTo>
                    <a:lnTo>
                      <a:pt x="394" y="402"/>
                    </a:lnTo>
                    <a:lnTo>
                      <a:pt x="366" y="407"/>
                    </a:lnTo>
                    <a:lnTo>
                      <a:pt x="352" y="407"/>
                    </a:lnTo>
                    <a:lnTo>
                      <a:pt x="348" y="407"/>
                    </a:lnTo>
                    <a:lnTo>
                      <a:pt x="334" y="407"/>
                    </a:lnTo>
                    <a:lnTo>
                      <a:pt x="330" y="407"/>
                    </a:lnTo>
                    <a:lnTo>
                      <a:pt x="330" y="407"/>
                    </a:lnTo>
                    <a:lnTo>
                      <a:pt x="330" y="407"/>
                    </a:lnTo>
                    <a:lnTo>
                      <a:pt x="325" y="407"/>
                    </a:lnTo>
                    <a:lnTo>
                      <a:pt x="320" y="411"/>
                    </a:lnTo>
                    <a:lnTo>
                      <a:pt x="320" y="411"/>
                    </a:lnTo>
                    <a:lnTo>
                      <a:pt x="302" y="411"/>
                    </a:lnTo>
                    <a:lnTo>
                      <a:pt x="293" y="416"/>
                    </a:lnTo>
                    <a:lnTo>
                      <a:pt x="284" y="416"/>
                    </a:lnTo>
                    <a:lnTo>
                      <a:pt x="279" y="416"/>
                    </a:lnTo>
                    <a:lnTo>
                      <a:pt x="275" y="416"/>
                    </a:lnTo>
                    <a:lnTo>
                      <a:pt x="270" y="416"/>
                    </a:lnTo>
                    <a:lnTo>
                      <a:pt x="270" y="416"/>
                    </a:lnTo>
                    <a:lnTo>
                      <a:pt x="270" y="411"/>
                    </a:lnTo>
                    <a:lnTo>
                      <a:pt x="261" y="407"/>
                    </a:lnTo>
                    <a:lnTo>
                      <a:pt x="261" y="407"/>
                    </a:lnTo>
                    <a:lnTo>
                      <a:pt x="256" y="407"/>
                    </a:lnTo>
                    <a:lnTo>
                      <a:pt x="252" y="407"/>
                    </a:lnTo>
                    <a:lnTo>
                      <a:pt x="247" y="407"/>
                    </a:lnTo>
                    <a:lnTo>
                      <a:pt x="238" y="402"/>
                    </a:lnTo>
                    <a:lnTo>
                      <a:pt x="238" y="402"/>
                    </a:lnTo>
                    <a:lnTo>
                      <a:pt x="234" y="402"/>
                    </a:lnTo>
                    <a:lnTo>
                      <a:pt x="234" y="402"/>
                    </a:lnTo>
                    <a:lnTo>
                      <a:pt x="224" y="393"/>
                    </a:lnTo>
                    <a:lnTo>
                      <a:pt x="224" y="393"/>
                    </a:lnTo>
                    <a:lnTo>
                      <a:pt x="220" y="393"/>
                    </a:lnTo>
                    <a:lnTo>
                      <a:pt x="192" y="375"/>
                    </a:lnTo>
                    <a:lnTo>
                      <a:pt x="183" y="370"/>
                    </a:lnTo>
                    <a:lnTo>
                      <a:pt x="183" y="365"/>
                    </a:lnTo>
                    <a:lnTo>
                      <a:pt x="183" y="365"/>
                    </a:lnTo>
                    <a:lnTo>
                      <a:pt x="183" y="365"/>
                    </a:lnTo>
                    <a:lnTo>
                      <a:pt x="179" y="365"/>
                    </a:lnTo>
                    <a:lnTo>
                      <a:pt x="174" y="361"/>
                    </a:lnTo>
                    <a:lnTo>
                      <a:pt x="174" y="356"/>
                    </a:lnTo>
                    <a:lnTo>
                      <a:pt x="170" y="356"/>
                    </a:lnTo>
                    <a:lnTo>
                      <a:pt x="165" y="352"/>
                    </a:lnTo>
                    <a:lnTo>
                      <a:pt x="156" y="347"/>
                    </a:lnTo>
                    <a:lnTo>
                      <a:pt x="151" y="343"/>
                    </a:lnTo>
                    <a:lnTo>
                      <a:pt x="147" y="338"/>
                    </a:lnTo>
                    <a:lnTo>
                      <a:pt x="147" y="338"/>
                    </a:lnTo>
                    <a:lnTo>
                      <a:pt x="142" y="329"/>
                    </a:lnTo>
                    <a:lnTo>
                      <a:pt x="138" y="329"/>
                    </a:lnTo>
                    <a:lnTo>
                      <a:pt x="138" y="324"/>
                    </a:lnTo>
                    <a:lnTo>
                      <a:pt x="133" y="320"/>
                    </a:lnTo>
                    <a:lnTo>
                      <a:pt x="128" y="320"/>
                    </a:lnTo>
                    <a:lnTo>
                      <a:pt x="128" y="315"/>
                    </a:lnTo>
                    <a:lnTo>
                      <a:pt x="124" y="315"/>
                    </a:lnTo>
                    <a:lnTo>
                      <a:pt x="124" y="315"/>
                    </a:lnTo>
                    <a:lnTo>
                      <a:pt x="124" y="315"/>
                    </a:lnTo>
                    <a:lnTo>
                      <a:pt x="119" y="315"/>
                    </a:lnTo>
                    <a:lnTo>
                      <a:pt x="115" y="311"/>
                    </a:lnTo>
                    <a:lnTo>
                      <a:pt x="106" y="297"/>
                    </a:lnTo>
                    <a:lnTo>
                      <a:pt x="96" y="288"/>
                    </a:lnTo>
                    <a:lnTo>
                      <a:pt x="92" y="279"/>
                    </a:lnTo>
                    <a:lnTo>
                      <a:pt x="83" y="269"/>
                    </a:lnTo>
                    <a:lnTo>
                      <a:pt x="74" y="256"/>
                    </a:lnTo>
                    <a:lnTo>
                      <a:pt x="69" y="247"/>
                    </a:lnTo>
                    <a:lnTo>
                      <a:pt x="64" y="242"/>
                    </a:lnTo>
                    <a:lnTo>
                      <a:pt x="64" y="237"/>
                    </a:lnTo>
                    <a:lnTo>
                      <a:pt x="64" y="237"/>
                    </a:lnTo>
                    <a:lnTo>
                      <a:pt x="60" y="228"/>
                    </a:lnTo>
                    <a:lnTo>
                      <a:pt x="55" y="228"/>
                    </a:lnTo>
                    <a:lnTo>
                      <a:pt x="55" y="224"/>
                    </a:lnTo>
                    <a:lnTo>
                      <a:pt x="51" y="215"/>
                    </a:lnTo>
                    <a:lnTo>
                      <a:pt x="42" y="201"/>
                    </a:lnTo>
                    <a:lnTo>
                      <a:pt x="32" y="187"/>
                    </a:lnTo>
                    <a:lnTo>
                      <a:pt x="32" y="183"/>
                    </a:lnTo>
                    <a:lnTo>
                      <a:pt x="32" y="183"/>
                    </a:lnTo>
                    <a:lnTo>
                      <a:pt x="37" y="178"/>
                    </a:lnTo>
                    <a:lnTo>
                      <a:pt x="37" y="178"/>
                    </a:lnTo>
                    <a:lnTo>
                      <a:pt x="32" y="178"/>
                    </a:lnTo>
                    <a:lnTo>
                      <a:pt x="32" y="173"/>
                    </a:lnTo>
                    <a:lnTo>
                      <a:pt x="32" y="169"/>
                    </a:lnTo>
                    <a:lnTo>
                      <a:pt x="28" y="164"/>
                    </a:lnTo>
                    <a:lnTo>
                      <a:pt x="28" y="164"/>
                    </a:lnTo>
                    <a:lnTo>
                      <a:pt x="28" y="160"/>
                    </a:lnTo>
                    <a:lnTo>
                      <a:pt x="28" y="155"/>
                    </a:lnTo>
                    <a:lnTo>
                      <a:pt x="23" y="141"/>
                    </a:lnTo>
                    <a:lnTo>
                      <a:pt x="19" y="132"/>
                    </a:lnTo>
                    <a:lnTo>
                      <a:pt x="19" y="132"/>
                    </a:lnTo>
                    <a:lnTo>
                      <a:pt x="19" y="128"/>
                    </a:lnTo>
                    <a:lnTo>
                      <a:pt x="14" y="119"/>
                    </a:lnTo>
                    <a:lnTo>
                      <a:pt x="0" y="96"/>
                    </a:lnTo>
                    <a:lnTo>
                      <a:pt x="0" y="91"/>
                    </a:lnTo>
                    <a:lnTo>
                      <a:pt x="0" y="91"/>
                    </a:lnTo>
                    <a:lnTo>
                      <a:pt x="0" y="91"/>
                    </a:lnTo>
                    <a:lnTo>
                      <a:pt x="0" y="91"/>
                    </a:lnTo>
                    <a:lnTo>
                      <a:pt x="14" y="87"/>
                    </a:lnTo>
                    <a:lnTo>
                      <a:pt x="19" y="87"/>
                    </a:lnTo>
                    <a:lnTo>
                      <a:pt x="23" y="87"/>
                    </a:lnTo>
                    <a:lnTo>
                      <a:pt x="28" y="91"/>
                    </a:lnTo>
                    <a:lnTo>
                      <a:pt x="32" y="91"/>
                    </a:lnTo>
                    <a:lnTo>
                      <a:pt x="37" y="96"/>
                    </a:lnTo>
                    <a:lnTo>
                      <a:pt x="37" y="100"/>
                    </a:lnTo>
                    <a:lnTo>
                      <a:pt x="55" y="109"/>
                    </a:lnTo>
                    <a:lnTo>
                      <a:pt x="55" y="109"/>
                    </a:lnTo>
                    <a:lnTo>
                      <a:pt x="55" y="114"/>
                    </a:lnTo>
                    <a:lnTo>
                      <a:pt x="60" y="114"/>
                    </a:lnTo>
                    <a:lnTo>
                      <a:pt x="64" y="114"/>
                    </a:lnTo>
                    <a:lnTo>
                      <a:pt x="74" y="119"/>
                    </a:lnTo>
                    <a:lnTo>
                      <a:pt x="78" y="123"/>
                    </a:lnTo>
                    <a:lnTo>
                      <a:pt x="83" y="123"/>
                    </a:lnTo>
                    <a:lnTo>
                      <a:pt x="92" y="128"/>
                    </a:lnTo>
                    <a:lnTo>
                      <a:pt x="101" y="128"/>
                    </a:lnTo>
                    <a:lnTo>
                      <a:pt x="106" y="132"/>
                    </a:lnTo>
                    <a:lnTo>
                      <a:pt x="110" y="132"/>
                    </a:lnTo>
                    <a:lnTo>
                      <a:pt x="115" y="137"/>
                    </a:lnTo>
                    <a:lnTo>
                      <a:pt x="119" y="141"/>
                    </a:lnTo>
                    <a:lnTo>
                      <a:pt x="124" y="141"/>
                    </a:lnTo>
                    <a:lnTo>
                      <a:pt x="124" y="141"/>
                    </a:lnTo>
                    <a:lnTo>
                      <a:pt x="128" y="141"/>
                    </a:lnTo>
                    <a:lnTo>
                      <a:pt x="133" y="137"/>
                    </a:lnTo>
                    <a:lnTo>
                      <a:pt x="138" y="132"/>
                    </a:lnTo>
                    <a:lnTo>
                      <a:pt x="147" y="132"/>
                    </a:lnTo>
                    <a:lnTo>
                      <a:pt x="160" y="128"/>
                    </a:lnTo>
                    <a:lnTo>
                      <a:pt x="165" y="123"/>
                    </a:lnTo>
                    <a:lnTo>
                      <a:pt x="170" y="123"/>
                    </a:lnTo>
                    <a:lnTo>
                      <a:pt x="174" y="119"/>
                    </a:lnTo>
                    <a:lnTo>
                      <a:pt x="179" y="114"/>
                    </a:lnTo>
                    <a:lnTo>
                      <a:pt x="183" y="109"/>
                    </a:lnTo>
                    <a:lnTo>
                      <a:pt x="188" y="109"/>
                    </a:lnTo>
                    <a:lnTo>
                      <a:pt x="188" y="109"/>
                    </a:lnTo>
                    <a:lnTo>
                      <a:pt x="188" y="109"/>
                    </a:lnTo>
                    <a:lnTo>
                      <a:pt x="202" y="105"/>
                    </a:lnTo>
                    <a:lnTo>
                      <a:pt x="202" y="100"/>
                    </a:lnTo>
                    <a:lnTo>
                      <a:pt x="206" y="100"/>
                    </a:lnTo>
                    <a:lnTo>
                      <a:pt x="206" y="96"/>
                    </a:lnTo>
                    <a:lnTo>
                      <a:pt x="211" y="87"/>
                    </a:lnTo>
                    <a:lnTo>
                      <a:pt x="211" y="87"/>
                    </a:lnTo>
                    <a:lnTo>
                      <a:pt x="211" y="87"/>
                    </a:lnTo>
                    <a:lnTo>
                      <a:pt x="215" y="82"/>
                    </a:lnTo>
                    <a:lnTo>
                      <a:pt x="220" y="82"/>
                    </a:lnTo>
                    <a:lnTo>
                      <a:pt x="224" y="87"/>
                    </a:lnTo>
                    <a:lnTo>
                      <a:pt x="229" y="87"/>
                    </a:lnTo>
                    <a:lnTo>
                      <a:pt x="234" y="91"/>
                    </a:lnTo>
                    <a:lnTo>
                      <a:pt x="234" y="96"/>
                    </a:lnTo>
                    <a:lnTo>
                      <a:pt x="243" y="105"/>
                    </a:lnTo>
                    <a:lnTo>
                      <a:pt x="247" y="105"/>
                    </a:lnTo>
                    <a:lnTo>
                      <a:pt x="252" y="105"/>
                    </a:lnTo>
                    <a:lnTo>
                      <a:pt x="256" y="100"/>
                    </a:lnTo>
                    <a:lnTo>
                      <a:pt x="256" y="100"/>
                    </a:lnTo>
                    <a:lnTo>
                      <a:pt x="261" y="91"/>
                    </a:lnTo>
                    <a:lnTo>
                      <a:pt x="266" y="87"/>
                    </a:lnTo>
                    <a:lnTo>
                      <a:pt x="275" y="87"/>
                    </a:lnTo>
                    <a:lnTo>
                      <a:pt x="275" y="87"/>
                    </a:lnTo>
                    <a:lnTo>
                      <a:pt x="284" y="87"/>
                    </a:lnTo>
                    <a:lnTo>
                      <a:pt x="288" y="87"/>
                    </a:lnTo>
                    <a:lnTo>
                      <a:pt x="293" y="87"/>
                    </a:lnTo>
                    <a:lnTo>
                      <a:pt x="298" y="87"/>
                    </a:lnTo>
                    <a:lnTo>
                      <a:pt x="298" y="87"/>
                    </a:lnTo>
                    <a:lnTo>
                      <a:pt x="307" y="82"/>
                    </a:lnTo>
                    <a:lnTo>
                      <a:pt x="311" y="73"/>
                    </a:lnTo>
                    <a:lnTo>
                      <a:pt x="311" y="64"/>
                    </a:lnTo>
                    <a:lnTo>
                      <a:pt x="311" y="64"/>
                    </a:lnTo>
                    <a:lnTo>
                      <a:pt x="311" y="55"/>
                    </a:lnTo>
                    <a:lnTo>
                      <a:pt x="316" y="50"/>
                    </a:lnTo>
                    <a:lnTo>
                      <a:pt x="320" y="50"/>
                    </a:lnTo>
                    <a:lnTo>
                      <a:pt x="330" y="50"/>
                    </a:lnTo>
                    <a:lnTo>
                      <a:pt x="334" y="55"/>
                    </a:lnTo>
                    <a:lnTo>
                      <a:pt x="339" y="50"/>
                    </a:lnTo>
                    <a:lnTo>
                      <a:pt x="343" y="41"/>
                    </a:lnTo>
                    <a:lnTo>
                      <a:pt x="348" y="36"/>
                    </a:lnTo>
                    <a:lnTo>
                      <a:pt x="357" y="32"/>
                    </a:lnTo>
                    <a:lnTo>
                      <a:pt x="371" y="32"/>
                    </a:lnTo>
                    <a:lnTo>
                      <a:pt x="380" y="32"/>
                    </a:lnTo>
                    <a:lnTo>
                      <a:pt x="384" y="32"/>
                    </a:lnTo>
                    <a:lnTo>
                      <a:pt x="394" y="32"/>
                    </a:lnTo>
                    <a:lnTo>
                      <a:pt x="407" y="27"/>
                    </a:lnTo>
                    <a:lnTo>
                      <a:pt x="407" y="23"/>
                    </a:lnTo>
                    <a:lnTo>
                      <a:pt x="412" y="23"/>
                    </a:lnTo>
                    <a:lnTo>
                      <a:pt x="426" y="18"/>
                    </a:lnTo>
                    <a:lnTo>
                      <a:pt x="430" y="13"/>
                    </a:lnTo>
                    <a:lnTo>
                      <a:pt x="430" y="4"/>
                    </a:lnTo>
                    <a:lnTo>
                      <a:pt x="426" y="0"/>
                    </a:lnTo>
                    <a:lnTo>
                      <a:pt x="426" y="0"/>
                    </a:lnTo>
                    <a:lnTo>
                      <a:pt x="430" y="0"/>
                    </a:lnTo>
                    <a:lnTo>
                      <a:pt x="430" y="0"/>
                    </a:lnTo>
                    <a:lnTo>
                      <a:pt x="439" y="0"/>
                    </a:lnTo>
                    <a:lnTo>
                      <a:pt x="448" y="0"/>
                    </a:lnTo>
                    <a:lnTo>
                      <a:pt x="453" y="0"/>
                    </a:lnTo>
                    <a:lnTo>
                      <a:pt x="453" y="4"/>
                    </a:lnTo>
                    <a:lnTo>
                      <a:pt x="448" y="9"/>
                    </a:lnTo>
                    <a:lnTo>
                      <a:pt x="444" y="18"/>
                    </a:lnTo>
                    <a:lnTo>
                      <a:pt x="439" y="23"/>
                    </a:lnTo>
                    <a:lnTo>
                      <a:pt x="435" y="27"/>
                    </a:lnTo>
                    <a:lnTo>
                      <a:pt x="439" y="36"/>
                    </a:lnTo>
                    <a:lnTo>
                      <a:pt x="444" y="41"/>
                    </a:lnTo>
                    <a:lnTo>
                      <a:pt x="444" y="50"/>
                    </a:lnTo>
                    <a:lnTo>
                      <a:pt x="453" y="55"/>
                    </a:lnTo>
                    <a:lnTo>
                      <a:pt x="448" y="64"/>
                    </a:lnTo>
                    <a:lnTo>
                      <a:pt x="448" y="64"/>
                    </a:lnTo>
                    <a:lnTo>
                      <a:pt x="444" y="73"/>
                    </a:lnTo>
                    <a:lnTo>
                      <a:pt x="444" y="77"/>
                    </a:lnTo>
                    <a:lnTo>
                      <a:pt x="430" y="82"/>
                    </a:lnTo>
                    <a:lnTo>
                      <a:pt x="426" y="77"/>
                    </a:lnTo>
                    <a:lnTo>
                      <a:pt x="416" y="77"/>
                    </a:lnTo>
                    <a:lnTo>
                      <a:pt x="416" y="82"/>
                    </a:lnTo>
                    <a:lnTo>
                      <a:pt x="412" y="87"/>
                    </a:lnTo>
                    <a:lnTo>
                      <a:pt x="407" y="91"/>
                    </a:lnTo>
                    <a:lnTo>
                      <a:pt x="407" y="105"/>
                    </a:lnTo>
                    <a:lnTo>
                      <a:pt x="398" y="114"/>
                    </a:lnTo>
                    <a:lnTo>
                      <a:pt x="394" y="128"/>
                    </a:lnTo>
                    <a:lnTo>
                      <a:pt x="389" y="132"/>
                    </a:lnTo>
                    <a:lnTo>
                      <a:pt x="384" y="137"/>
                    </a:lnTo>
                    <a:lnTo>
                      <a:pt x="384" y="146"/>
                    </a:lnTo>
                    <a:lnTo>
                      <a:pt x="384" y="151"/>
                    </a:lnTo>
                    <a:lnTo>
                      <a:pt x="389" y="155"/>
                    </a:lnTo>
                    <a:lnTo>
                      <a:pt x="389" y="160"/>
                    </a:lnTo>
                    <a:lnTo>
                      <a:pt x="394" y="160"/>
                    </a:lnTo>
                    <a:lnTo>
                      <a:pt x="398" y="160"/>
                    </a:lnTo>
                    <a:lnTo>
                      <a:pt x="398" y="164"/>
                    </a:lnTo>
                    <a:lnTo>
                      <a:pt x="394" y="169"/>
                    </a:lnTo>
                    <a:lnTo>
                      <a:pt x="394" y="173"/>
                    </a:lnTo>
                    <a:lnTo>
                      <a:pt x="384" y="178"/>
                    </a:lnTo>
                    <a:lnTo>
                      <a:pt x="384" y="187"/>
                    </a:lnTo>
                    <a:lnTo>
                      <a:pt x="375" y="196"/>
                    </a:lnTo>
                    <a:lnTo>
                      <a:pt x="371" y="201"/>
                    </a:lnTo>
                    <a:lnTo>
                      <a:pt x="371" y="215"/>
                    </a:lnTo>
                    <a:lnTo>
                      <a:pt x="380" y="219"/>
                    </a:lnTo>
                    <a:lnTo>
                      <a:pt x="384" y="228"/>
                    </a:lnTo>
                    <a:lnTo>
                      <a:pt x="394" y="228"/>
                    </a:lnTo>
                    <a:lnTo>
                      <a:pt x="398" y="233"/>
                    </a:lnTo>
                    <a:lnTo>
                      <a:pt x="394" y="237"/>
                    </a:lnTo>
                    <a:lnTo>
                      <a:pt x="394" y="242"/>
                    </a:lnTo>
                    <a:lnTo>
                      <a:pt x="398" y="242"/>
                    </a:lnTo>
                    <a:lnTo>
                      <a:pt x="403" y="247"/>
                    </a:lnTo>
                    <a:lnTo>
                      <a:pt x="403" y="251"/>
                    </a:lnTo>
                    <a:lnTo>
                      <a:pt x="412" y="247"/>
                    </a:lnTo>
                    <a:lnTo>
                      <a:pt x="426" y="242"/>
                    </a:lnTo>
                    <a:lnTo>
                      <a:pt x="435" y="242"/>
                    </a:lnTo>
                    <a:lnTo>
                      <a:pt x="448" y="242"/>
                    </a:lnTo>
                    <a:lnTo>
                      <a:pt x="458" y="242"/>
                    </a:lnTo>
                    <a:lnTo>
                      <a:pt x="462" y="247"/>
                    </a:lnTo>
                    <a:lnTo>
                      <a:pt x="453" y="251"/>
                    </a:lnTo>
                    <a:lnTo>
                      <a:pt x="444" y="260"/>
                    </a:lnTo>
                    <a:lnTo>
                      <a:pt x="439" y="260"/>
                    </a:lnTo>
                    <a:lnTo>
                      <a:pt x="430" y="269"/>
                    </a:lnTo>
                    <a:lnTo>
                      <a:pt x="426" y="274"/>
                    </a:lnTo>
                    <a:lnTo>
                      <a:pt x="421" y="279"/>
                    </a:lnTo>
                    <a:lnTo>
                      <a:pt x="416" y="283"/>
                    </a:lnTo>
                    <a:lnTo>
                      <a:pt x="416" y="283"/>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193" name="Freeform 12">
                <a:extLst>
                  <a:ext uri="{FF2B5EF4-FFF2-40B4-BE49-F238E27FC236}">
                    <a16:creationId xmlns:a16="http://schemas.microsoft.com/office/drawing/2014/main" id="{030E8E81-397A-40E0-98B3-38B9092FB84D}"/>
                  </a:ext>
                </a:extLst>
              </p:cNvPr>
              <p:cNvSpPr>
                <a:spLocks/>
              </p:cNvSpPr>
              <p:nvPr>
                <p:custDataLst>
                  <p:tags r:id="rId10"/>
                </p:custDataLst>
              </p:nvPr>
            </p:nvSpPr>
            <p:spPr bwMode="auto">
              <a:xfrm>
                <a:off x="2620550" y="4442760"/>
                <a:ext cx="1206575" cy="797085"/>
              </a:xfrm>
              <a:custGeom>
                <a:avLst/>
                <a:gdLst/>
                <a:ahLst/>
                <a:cxnLst>
                  <a:cxn ang="0">
                    <a:pos x="627" y="110"/>
                  </a:cxn>
                  <a:cxn ang="0">
                    <a:pos x="617" y="151"/>
                  </a:cxn>
                  <a:cxn ang="0">
                    <a:pos x="659" y="132"/>
                  </a:cxn>
                  <a:cxn ang="0">
                    <a:pos x="745" y="110"/>
                  </a:cxn>
                  <a:cxn ang="0">
                    <a:pos x="791" y="123"/>
                  </a:cxn>
                  <a:cxn ang="0">
                    <a:pos x="823" y="151"/>
                  </a:cxn>
                  <a:cxn ang="0">
                    <a:pos x="878" y="206"/>
                  </a:cxn>
                  <a:cxn ang="0">
                    <a:pos x="901" y="242"/>
                  </a:cxn>
                  <a:cxn ang="0">
                    <a:pos x="901" y="315"/>
                  </a:cxn>
                  <a:cxn ang="0">
                    <a:pos x="873" y="388"/>
                  </a:cxn>
                  <a:cxn ang="0">
                    <a:pos x="837" y="430"/>
                  </a:cxn>
                  <a:cxn ang="0">
                    <a:pos x="819" y="471"/>
                  </a:cxn>
                  <a:cxn ang="0">
                    <a:pos x="819" y="539"/>
                  </a:cxn>
                  <a:cxn ang="0">
                    <a:pos x="805" y="617"/>
                  </a:cxn>
                  <a:cxn ang="0">
                    <a:pos x="782" y="612"/>
                  </a:cxn>
                  <a:cxn ang="0">
                    <a:pos x="773" y="631"/>
                  </a:cxn>
                  <a:cxn ang="0">
                    <a:pos x="736" y="617"/>
                  </a:cxn>
                  <a:cxn ang="0">
                    <a:pos x="700" y="576"/>
                  </a:cxn>
                  <a:cxn ang="0">
                    <a:pos x="649" y="553"/>
                  </a:cxn>
                  <a:cxn ang="0">
                    <a:pos x="599" y="571"/>
                  </a:cxn>
                  <a:cxn ang="0">
                    <a:pos x="567" y="548"/>
                  </a:cxn>
                  <a:cxn ang="0">
                    <a:pos x="563" y="516"/>
                  </a:cxn>
                  <a:cxn ang="0">
                    <a:pos x="526" y="498"/>
                  </a:cxn>
                  <a:cxn ang="0">
                    <a:pos x="439" y="480"/>
                  </a:cxn>
                  <a:cxn ang="0">
                    <a:pos x="403" y="494"/>
                  </a:cxn>
                  <a:cxn ang="0">
                    <a:pos x="421" y="507"/>
                  </a:cxn>
                  <a:cxn ang="0">
                    <a:pos x="398" y="544"/>
                  </a:cxn>
                  <a:cxn ang="0">
                    <a:pos x="343" y="548"/>
                  </a:cxn>
                  <a:cxn ang="0">
                    <a:pos x="307" y="567"/>
                  </a:cxn>
                  <a:cxn ang="0">
                    <a:pos x="284" y="530"/>
                  </a:cxn>
                  <a:cxn ang="0">
                    <a:pos x="233" y="539"/>
                  </a:cxn>
                  <a:cxn ang="0">
                    <a:pos x="179" y="562"/>
                  </a:cxn>
                  <a:cxn ang="0">
                    <a:pos x="160" y="617"/>
                  </a:cxn>
                  <a:cxn ang="0">
                    <a:pos x="128" y="594"/>
                  </a:cxn>
                  <a:cxn ang="0">
                    <a:pos x="128" y="558"/>
                  </a:cxn>
                  <a:cxn ang="0">
                    <a:pos x="133" y="521"/>
                  </a:cxn>
                  <a:cxn ang="0">
                    <a:pos x="110" y="480"/>
                  </a:cxn>
                  <a:cxn ang="0">
                    <a:pos x="69" y="494"/>
                  </a:cxn>
                  <a:cxn ang="0">
                    <a:pos x="28" y="466"/>
                  </a:cxn>
                  <a:cxn ang="0">
                    <a:pos x="0" y="425"/>
                  </a:cxn>
                  <a:cxn ang="0">
                    <a:pos x="23" y="398"/>
                  </a:cxn>
                  <a:cxn ang="0">
                    <a:pos x="64" y="370"/>
                  </a:cxn>
                  <a:cxn ang="0">
                    <a:pos x="92" y="352"/>
                  </a:cxn>
                  <a:cxn ang="0">
                    <a:pos x="110" y="315"/>
                  </a:cxn>
                  <a:cxn ang="0">
                    <a:pos x="105" y="283"/>
                  </a:cxn>
                  <a:cxn ang="0">
                    <a:pos x="73" y="219"/>
                  </a:cxn>
                  <a:cxn ang="0">
                    <a:pos x="69" y="137"/>
                  </a:cxn>
                  <a:cxn ang="0">
                    <a:pos x="41" y="96"/>
                  </a:cxn>
                  <a:cxn ang="0">
                    <a:pos x="51" y="46"/>
                  </a:cxn>
                  <a:cxn ang="0">
                    <a:pos x="110" y="64"/>
                  </a:cxn>
                  <a:cxn ang="0">
                    <a:pos x="192" y="82"/>
                  </a:cxn>
                  <a:cxn ang="0">
                    <a:pos x="233" y="100"/>
                  </a:cxn>
                  <a:cxn ang="0">
                    <a:pos x="288" y="119"/>
                  </a:cxn>
                  <a:cxn ang="0">
                    <a:pos x="329" y="142"/>
                  </a:cxn>
                  <a:cxn ang="0">
                    <a:pos x="348" y="132"/>
                  </a:cxn>
                  <a:cxn ang="0">
                    <a:pos x="329" y="87"/>
                  </a:cxn>
                  <a:cxn ang="0">
                    <a:pos x="325" y="55"/>
                  </a:cxn>
                  <a:cxn ang="0">
                    <a:pos x="375" y="9"/>
                  </a:cxn>
                  <a:cxn ang="0">
                    <a:pos x="421" y="14"/>
                  </a:cxn>
                  <a:cxn ang="0">
                    <a:pos x="480" y="32"/>
                  </a:cxn>
                  <a:cxn ang="0">
                    <a:pos x="549" y="41"/>
                  </a:cxn>
                  <a:cxn ang="0">
                    <a:pos x="595" y="50"/>
                  </a:cxn>
                  <a:cxn ang="0">
                    <a:pos x="617" y="87"/>
                  </a:cxn>
                </a:cxnLst>
                <a:rect l="0" t="0" r="r" b="b"/>
                <a:pathLst>
                  <a:path w="905" h="644">
                    <a:moveTo>
                      <a:pt x="617" y="87"/>
                    </a:moveTo>
                    <a:lnTo>
                      <a:pt x="622" y="87"/>
                    </a:lnTo>
                    <a:lnTo>
                      <a:pt x="622" y="91"/>
                    </a:lnTo>
                    <a:lnTo>
                      <a:pt x="622" y="96"/>
                    </a:lnTo>
                    <a:lnTo>
                      <a:pt x="627" y="96"/>
                    </a:lnTo>
                    <a:lnTo>
                      <a:pt x="627" y="100"/>
                    </a:lnTo>
                    <a:lnTo>
                      <a:pt x="627" y="105"/>
                    </a:lnTo>
                    <a:lnTo>
                      <a:pt x="631" y="105"/>
                    </a:lnTo>
                    <a:lnTo>
                      <a:pt x="631" y="105"/>
                    </a:lnTo>
                    <a:lnTo>
                      <a:pt x="627" y="110"/>
                    </a:lnTo>
                    <a:lnTo>
                      <a:pt x="627" y="114"/>
                    </a:lnTo>
                    <a:lnTo>
                      <a:pt x="627" y="119"/>
                    </a:lnTo>
                    <a:lnTo>
                      <a:pt x="622" y="123"/>
                    </a:lnTo>
                    <a:lnTo>
                      <a:pt x="622" y="123"/>
                    </a:lnTo>
                    <a:lnTo>
                      <a:pt x="617" y="128"/>
                    </a:lnTo>
                    <a:lnTo>
                      <a:pt x="617" y="137"/>
                    </a:lnTo>
                    <a:lnTo>
                      <a:pt x="617" y="142"/>
                    </a:lnTo>
                    <a:lnTo>
                      <a:pt x="617" y="146"/>
                    </a:lnTo>
                    <a:lnTo>
                      <a:pt x="617" y="146"/>
                    </a:lnTo>
                    <a:lnTo>
                      <a:pt x="617" y="151"/>
                    </a:lnTo>
                    <a:lnTo>
                      <a:pt x="617" y="155"/>
                    </a:lnTo>
                    <a:lnTo>
                      <a:pt x="617" y="155"/>
                    </a:lnTo>
                    <a:lnTo>
                      <a:pt x="622" y="155"/>
                    </a:lnTo>
                    <a:lnTo>
                      <a:pt x="631" y="155"/>
                    </a:lnTo>
                    <a:lnTo>
                      <a:pt x="631" y="151"/>
                    </a:lnTo>
                    <a:lnTo>
                      <a:pt x="636" y="146"/>
                    </a:lnTo>
                    <a:lnTo>
                      <a:pt x="640" y="146"/>
                    </a:lnTo>
                    <a:lnTo>
                      <a:pt x="649" y="142"/>
                    </a:lnTo>
                    <a:lnTo>
                      <a:pt x="654" y="137"/>
                    </a:lnTo>
                    <a:lnTo>
                      <a:pt x="659" y="132"/>
                    </a:lnTo>
                    <a:lnTo>
                      <a:pt x="659" y="132"/>
                    </a:lnTo>
                    <a:lnTo>
                      <a:pt x="668" y="128"/>
                    </a:lnTo>
                    <a:lnTo>
                      <a:pt x="672" y="128"/>
                    </a:lnTo>
                    <a:lnTo>
                      <a:pt x="677" y="128"/>
                    </a:lnTo>
                    <a:lnTo>
                      <a:pt x="681" y="128"/>
                    </a:lnTo>
                    <a:lnTo>
                      <a:pt x="704" y="123"/>
                    </a:lnTo>
                    <a:lnTo>
                      <a:pt x="713" y="119"/>
                    </a:lnTo>
                    <a:lnTo>
                      <a:pt x="736" y="114"/>
                    </a:lnTo>
                    <a:lnTo>
                      <a:pt x="741" y="110"/>
                    </a:lnTo>
                    <a:lnTo>
                      <a:pt x="745" y="110"/>
                    </a:lnTo>
                    <a:lnTo>
                      <a:pt x="759" y="110"/>
                    </a:lnTo>
                    <a:lnTo>
                      <a:pt x="768" y="114"/>
                    </a:lnTo>
                    <a:lnTo>
                      <a:pt x="768" y="114"/>
                    </a:lnTo>
                    <a:lnTo>
                      <a:pt x="773" y="114"/>
                    </a:lnTo>
                    <a:lnTo>
                      <a:pt x="777" y="119"/>
                    </a:lnTo>
                    <a:lnTo>
                      <a:pt x="782" y="119"/>
                    </a:lnTo>
                    <a:lnTo>
                      <a:pt x="787" y="119"/>
                    </a:lnTo>
                    <a:lnTo>
                      <a:pt x="791" y="123"/>
                    </a:lnTo>
                    <a:lnTo>
                      <a:pt x="791" y="123"/>
                    </a:lnTo>
                    <a:lnTo>
                      <a:pt x="791" y="123"/>
                    </a:lnTo>
                    <a:lnTo>
                      <a:pt x="796" y="128"/>
                    </a:lnTo>
                    <a:lnTo>
                      <a:pt x="800" y="128"/>
                    </a:lnTo>
                    <a:lnTo>
                      <a:pt x="805" y="132"/>
                    </a:lnTo>
                    <a:lnTo>
                      <a:pt x="809" y="137"/>
                    </a:lnTo>
                    <a:lnTo>
                      <a:pt x="814" y="142"/>
                    </a:lnTo>
                    <a:lnTo>
                      <a:pt x="814" y="146"/>
                    </a:lnTo>
                    <a:lnTo>
                      <a:pt x="814" y="146"/>
                    </a:lnTo>
                    <a:lnTo>
                      <a:pt x="819" y="146"/>
                    </a:lnTo>
                    <a:lnTo>
                      <a:pt x="823" y="146"/>
                    </a:lnTo>
                    <a:lnTo>
                      <a:pt x="823" y="151"/>
                    </a:lnTo>
                    <a:lnTo>
                      <a:pt x="832" y="155"/>
                    </a:lnTo>
                    <a:lnTo>
                      <a:pt x="837" y="160"/>
                    </a:lnTo>
                    <a:lnTo>
                      <a:pt x="841" y="169"/>
                    </a:lnTo>
                    <a:lnTo>
                      <a:pt x="846" y="169"/>
                    </a:lnTo>
                    <a:lnTo>
                      <a:pt x="855" y="178"/>
                    </a:lnTo>
                    <a:lnTo>
                      <a:pt x="864" y="187"/>
                    </a:lnTo>
                    <a:lnTo>
                      <a:pt x="869" y="192"/>
                    </a:lnTo>
                    <a:lnTo>
                      <a:pt x="873" y="196"/>
                    </a:lnTo>
                    <a:lnTo>
                      <a:pt x="878" y="201"/>
                    </a:lnTo>
                    <a:lnTo>
                      <a:pt x="878" y="206"/>
                    </a:lnTo>
                    <a:lnTo>
                      <a:pt x="878" y="210"/>
                    </a:lnTo>
                    <a:lnTo>
                      <a:pt x="883" y="210"/>
                    </a:lnTo>
                    <a:lnTo>
                      <a:pt x="883" y="215"/>
                    </a:lnTo>
                    <a:lnTo>
                      <a:pt x="887" y="215"/>
                    </a:lnTo>
                    <a:lnTo>
                      <a:pt x="892" y="219"/>
                    </a:lnTo>
                    <a:lnTo>
                      <a:pt x="892" y="224"/>
                    </a:lnTo>
                    <a:lnTo>
                      <a:pt x="901" y="233"/>
                    </a:lnTo>
                    <a:lnTo>
                      <a:pt x="901" y="233"/>
                    </a:lnTo>
                    <a:lnTo>
                      <a:pt x="901" y="238"/>
                    </a:lnTo>
                    <a:lnTo>
                      <a:pt x="901" y="242"/>
                    </a:lnTo>
                    <a:lnTo>
                      <a:pt x="905" y="242"/>
                    </a:lnTo>
                    <a:lnTo>
                      <a:pt x="905" y="251"/>
                    </a:lnTo>
                    <a:lnTo>
                      <a:pt x="905" y="256"/>
                    </a:lnTo>
                    <a:lnTo>
                      <a:pt x="905" y="256"/>
                    </a:lnTo>
                    <a:lnTo>
                      <a:pt x="905" y="260"/>
                    </a:lnTo>
                    <a:lnTo>
                      <a:pt x="905" y="270"/>
                    </a:lnTo>
                    <a:lnTo>
                      <a:pt x="905" y="279"/>
                    </a:lnTo>
                    <a:lnTo>
                      <a:pt x="905" y="288"/>
                    </a:lnTo>
                    <a:lnTo>
                      <a:pt x="901" y="302"/>
                    </a:lnTo>
                    <a:lnTo>
                      <a:pt x="901" y="315"/>
                    </a:lnTo>
                    <a:lnTo>
                      <a:pt x="896" y="343"/>
                    </a:lnTo>
                    <a:lnTo>
                      <a:pt x="896" y="366"/>
                    </a:lnTo>
                    <a:lnTo>
                      <a:pt x="892" y="375"/>
                    </a:lnTo>
                    <a:lnTo>
                      <a:pt x="892" y="379"/>
                    </a:lnTo>
                    <a:lnTo>
                      <a:pt x="887" y="379"/>
                    </a:lnTo>
                    <a:lnTo>
                      <a:pt x="887" y="384"/>
                    </a:lnTo>
                    <a:lnTo>
                      <a:pt x="883" y="384"/>
                    </a:lnTo>
                    <a:lnTo>
                      <a:pt x="878" y="388"/>
                    </a:lnTo>
                    <a:lnTo>
                      <a:pt x="878" y="388"/>
                    </a:lnTo>
                    <a:lnTo>
                      <a:pt x="873" y="388"/>
                    </a:lnTo>
                    <a:lnTo>
                      <a:pt x="864" y="388"/>
                    </a:lnTo>
                    <a:lnTo>
                      <a:pt x="860" y="393"/>
                    </a:lnTo>
                    <a:lnTo>
                      <a:pt x="855" y="393"/>
                    </a:lnTo>
                    <a:lnTo>
                      <a:pt x="855" y="398"/>
                    </a:lnTo>
                    <a:lnTo>
                      <a:pt x="855" y="402"/>
                    </a:lnTo>
                    <a:lnTo>
                      <a:pt x="851" y="402"/>
                    </a:lnTo>
                    <a:lnTo>
                      <a:pt x="846" y="411"/>
                    </a:lnTo>
                    <a:lnTo>
                      <a:pt x="841" y="416"/>
                    </a:lnTo>
                    <a:lnTo>
                      <a:pt x="841" y="425"/>
                    </a:lnTo>
                    <a:lnTo>
                      <a:pt x="837" y="430"/>
                    </a:lnTo>
                    <a:lnTo>
                      <a:pt x="837" y="434"/>
                    </a:lnTo>
                    <a:lnTo>
                      <a:pt x="837" y="439"/>
                    </a:lnTo>
                    <a:lnTo>
                      <a:pt x="837" y="448"/>
                    </a:lnTo>
                    <a:lnTo>
                      <a:pt x="832" y="452"/>
                    </a:lnTo>
                    <a:lnTo>
                      <a:pt x="832" y="452"/>
                    </a:lnTo>
                    <a:lnTo>
                      <a:pt x="828" y="457"/>
                    </a:lnTo>
                    <a:lnTo>
                      <a:pt x="828" y="462"/>
                    </a:lnTo>
                    <a:lnTo>
                      <a:pt x="823" y="462"/>
                    </a:lnTo>
                    <a:lnTo>
                      <a:pt x="823" y="466"/>
                    </a:lnTo>
                    <a:lnTo>
                      <a:pt x="819" y="471"/>
                    </a:lnTo>
                    <a:lnTo>
                      <a:pt x="819" y="475"/>
                    </a:lnTo>
                    <a:lnTo>
                      <a:pt x="814" y="475"/>
                    </a:lnTo>
                    <a:lnTo>
                      <a:pt x="814" y="475"/>
                    </a:lnTo>
                    <a:lnTo>
                      <a:pt x="814" y="484"/>
                    </a:lnTo>
                    <a:lnTo>
                      <a:pt x="814" y="489"/>
                    </a:lnTo>
                    <a:lnTo>
                      <a:pt x="814" y="512"/>
                    </a:lnTo>
                    <a:lnTo>
                      <a:pt x="814" y="516"/>
                    </a:lnTo>
                    <a:lnTo>
                      <a:pt x="819" y="521"/>
                    </a:lnTo>
                    <a:lnTo>
                      <a:pt x="819" y="530"/>
                    </a:lnTo>
                    <a:lnTo>
                      <a:pt x="819" y="539"/>
                    </a:lnTo>
                    <a:lnTo>
                      <a:pt x="819" y="562"/>
                    </a:lnTo>
                    <a:lnTo>
                      <a:pt x="819" y="567"/>
                    </a:lnTo>
                    <a:lnTo>
                      <a:pt x="814" y="585"/>
                    </a:lnTo>
                    <a:lnTo>
                      <a:pt x="814" y="599"/>
                    </a:lnTo>
                    <a:lnTo>
                      <a:pt x="809" y="608"/>
                    </a:lnTo>
                    <a:lnTo>
                      <a:pt x="809" y="612"/>
                    </a:lnTo>
                    <a:lnTo>
                      <a:pt x="809" y="617"/>
                    </a:lnTo>
                    <a:lnTo>
                      <a:pt x="809" y="617"/>
                    </a:lnTo>
                    <a:lnTo>
                      <a:pt x="805" y="617"/>
                    </a:lnTo>
                    <a:lnTo>
                      <a:pt x="805" y="617"/>
                    </a:lnTo>
                    <a:lnTo>
                      <a:pt x="800" y="612"/>
                    </a:lnTo>
                    <a:lnTo>
                      <a:pt x="800" y="612"/>
                    </a:lnTo>
                    <a:lnTo>
                      <a:pt x="796" y="608"/>
                    </a:lnTo>
                    <a:lnTo>
                      <a:pt x="796" y="612"/>
                    </a:lnTo>
                    <a:lnTo>
                      <a:pt x="796" y="612"/>
                    </a:lnTo>
                    <a:lnTo>
                      <a:pt x="791" y="612"/>
                    </a:lnTo>
                    <a:lnTo>
                      <a:pt x="791" y="612"/>
                    </a:lnTo>
                    <a:lnTo>
                      <a:pt x="787" y="612"/>
                    </a:lnTo>
                    <a:lnTo>
                      <a:pt x="782" y="612"/>
                    </a:lnTo>
                    <a:lnTo>
                      <a:pt x="782" y="612"/>
                    </a:lnTo>
                    <a:lnTo>
                      <a:pt x="777" y="608"/>
                    </a:lnTo>
                    <a:lnTo>
                      <a:pt x="777" y="608"/>
                    </a:lnTo>
                    <a:lnTo>
                      <a:pt x="777" y="612"/>
                    </a:lnTo>
                    <a:lnTo>
                      <a:pt x="777" y="617"/>
                    </a:lnTo>
                    <a:lnTo>
                      <a:pt x="773" y="617"/>
                    </a:lnTo>
                    <a:lnTo>
                      <a:pt x="773" y="622"/>
                    </a:lnTo>
                    <a:lnTo>
                      <a:pt x="773" y="626"/>
                    </a:lnTo>
                    <a:lnTo>
                      <a:pt x="773" y="626"/>
                    </a:lnTo>
                    <a:lnTo>
                      <a:pt x="773" y="631"/>
                    </a:lnTo>
                    <a:lnTo>
                      <a:pt x="773" y="631"/>
                    </a:lnTo>
                    <a:lnTo>
                      <a:pt x="773" y="631"/>
                    </a:lnTo>
                    <a:lnTo>
                      <a:pt x="764" y="635"/>
                    </a:lnTo>
                    <a:lnTo>
                      <a:pt x="755" y="640"/>
                    </a:lnTo>
                    <a:lnTo>
                      <a:pt x="750" y="644"/>
                    </a:lnTo>
                    <a:lnTo>
                      <a:pt x="745" y="644"/>
                    </a:lnTo>
                    <a:lnTo>
                      <a:pt x="741" y="640"/>
                    </a:lnTo>
                    <a:lnTo>
                      <a:pt x="741" y="631"/>
                    </a:lnTo>
                    <a:lnTo>
                      <a:pt x="741" y="626"/>
                    </a:lnTo>
                    <a:lnTo>
                      <a:pt x="741" y="622"/>
                    </a:lnTo>
                    <a:lnTo>
                      <a:pt x="736" y="617"/>
                    </a:lnTo>
                    <a:lnTo>
                      <a:pt x="732" y="612"/>
                    </a:lnTo>
                    <a:lnTo>
                      <a:pt x="727" y="608"/>
                    </a:lnTo>
                    <a:lnTo>
                      <a:pt x="718" y="608"/>
                    </a:lnTo>
                    <a:lnTo>
                      <a:pt x="713" y="603"/>
                    </a:lnTo>
                    <a:lnTo>
                      <a:pt x="709" y="599"/>
                    </a:lnTo>
                    <a:lnTo>
                      <a:pt x="704" y="594"/>
                    </a:lnTo>
                    <a:lnTo>
                      <a:pt x="704" y="585"/>
                    </a:lnTo>
                    <a:lnTo>
                      <a:pt x="700" y="585"/>
                    </a:lnTo>
                    <a:lnTo>
                      <a:pt x="700" y="580"/>
                    </a:lnTo>
                    <a:lnTo>
                      <a:pt x="700" y="576"/>
                    </a:lnTo>
                    <a:lnTo>
                      <a:pt x="695" y="576"/>
                    </a:lnTo>
                    <a:lnTo>
                      <a:pt x="695" y="571"/>
                    </a:lnTo>
                    <a:lnTo>
                      <a:pt x="695" y="567"/>
                    </a:lnTo>
                    <a:lnTo>
                      <a:pt x="691" y="562"/>
                    </a:lnTo>
                    <a:lnTo>
                      <a:pt x="686" y="558"/>
                    </a:lnTo>
                    <a:lnTo>
                      <a:pt x="681" y="553"/>
                    </a:lnTo>
                    <a:lnTo>
                      <a:pt x="672" y="553"/>
                    </a:lnTo>
                    <a:lnTo>
                      <a:pt x="668" y="553"/>
                    </a:lnTo>
                    <a:lnTo>
                      <a:pt x="663" y="553"/>
                    </a:lnTo>
                    <a:lnTo>
                      <a:pt x="649" y="553"/>
                    </a:lnTo>
                    <a:lnTo>
                      <a:pt x="640" y="553"/>
                    </a:lnTo>
                    <a:lnTo>
                      <a:pt x="636" y="553"/>
                    </a:lnTo>
                    <a:lnTo>
                      <a:pt x="627" y="558"/>
                    </a:lnTo>
                    <a:lnTo>
                      <a:pt x="622" y="558"/>
                    </a:lnTo>
                    <a:lnTo>
                      <a:pt x="617" y="558"/>
                    </a:lnTo>
                    <a:lnTo>
                      <a:pt x="617" y="562"/>
                    </a:lnTo>
                    <a:lnTo>
                      <a:pt x="613" y="562"/>
                    </a:lnTo>
                    <a:lnTo>
                      <a:pt x="608" y="567"/>
                    </a:lnTo>
                    <a:lnTo>
                      <a:pt x="604" y="571"/>
                    </a:lnTo>
                    <a:lnTo>
                      <a:pt x="599" y="571"/>
                    </a:lnTo>
                    <a:lnTo>
                      <a:pt x="595" y="571"/>
                    </a:lnTo>
                    <a:lnTo>
                      <a:pt x="595" y="571"/>
                    </a:lnTo>
                    <a:lnTo>
                      <a:pt x="590" y="571"/>
                    </a:lnTo>
                    <a:lnTo>
                      <a:pt x="590" y="567"/>
                    </a:lnTo>
                    <a:lnTo>
                      <a:pt x="581" y="562"/>
                    </a:lnTo>
                    <a:lnTo>
                      <a:pt x="581" y="562"/>
                    </a:lnTo>
                    <a:lnTo>
                      <a:pt x="576" y="558"/>
                    </a:lnTo>
                    <a:lnTo>
                      <a:pt x="572" y="558"/>
                    </a:lnTo>
                    <a:lnTo>
                      <a:pt x="572" y="558"/>
                    </a:lnTo>
                    <a:lnTo>
                      <a:pt x="567" y="548"/>
                    </a:lnTo>
                    <a:lnTo>
                      <a:pt x="563" y="548"/>
                    </a:lnTo>
                    <a:lnTo>
                      <a:pt x="563" y="544"/>
                    </a:lnTo>
                    <a:lnTo>
                      <a:pt x="558" y="539"/>
                    </a:lnTo>
                    <a:lnTo>
                      <a:pt x="558" y="535"/>
                    </a:lnTo>
                    <a:lnTo>
                      <a:pt x="558" y="530"/>
                    </a:lnTo>
                    <a:lnTo>
                      <a:pt x="558" y="526"/>
                    </a:lnTo>
                    <a:lnTo>
                      <a:pt x="558" y="521"/>
                    </a:lnTo>
                    <a:lnTo>
                      <a:pt x="563" y="521"/>
                    </a:lnTo>
                    <a:lnTo>
                      <a:pt x="563" y="521"/>
                    </a:lnTo>
                    <a:lnTo>
                      <a:pt x="563" y="516"/>
                    </a:lnTo>
                    <a:lnTo>
                      <a:pt x="567" y="512"/>
                    </a:lnTo>
                    <a:lnTo>
                      <a:pt x="567" y="507"/>
                    </a:lnTo>
                    <a:lnTo>
                      <a:pt x="563" y="507"/>
                    </a:lnTo>
                    <a:lnTo>
                      <a:pt x="558" y="503"/>
                    </a:lnTo>
                    <a:lnTo>
                      <a:pt x="553" y="503"/>
                    </a:lnTo>
                    <a:lnTo>
                      <a:pt x="549" y="503"/>
                    </a:lnTo>
                    <a:lnTo>
                      <a:pt x="549" y="498"/>
                    </a:lnTo>
                    <a:lnTo>
                      <a:pt x="544" y="498"/>
                    </a:lnTo>
                    <a:lnTo>
                      <a:pt x="531" y="498"/>
                    </a:lnTo>
                    <a:lnTo>
                      <a:pt x="526" y="498"/>
                    </a:lnTo>
                    <a:lnTo>
                      <a:pt x="512" y="494"/>
                    </a:lnTo>
                    <a:lnTo>
                      <a:pt x="508" y="494"/>
                    </a:lnTo>
                    <a:lnTo>
                      <a:pt x="489" y="489"/>
                    </a:lnTo>
                    <a:lnTo>
                      <a:pt x="485" y="484"/>
                    </a:lnTo>
                    <a:lnTo>
                      <a:pt x="480" y="484"/>
                    </a:lnTo>
                    <a:lnTo>
                      <a:pt x="476" y="484"/>
                    </a:lnTo>
                    <a:lnTo>
                      <a:pt x="462" y="480"/>
                    </a:lnTo>
                    <a:lnTo>
                      <a:pt x="457" y="480"/>
                    </a:lnTo>
                    <a:lnTo>
                      <a:pt x="444" y="480"/>
                    </a:lnTo>
                    <a:lnTo>
                      <a:pt x="439" y="480"/>
                    </a:lnTo>
                    <a:lnTo>
                      <a:pt x="435" y="475"/>
                    </a:lnTo>
                    <a:lnTo>
                      <a:pt x="430" y="475"/>
                    </a:lnTo>
                    <a:lnTo>
                      <a:pt x="425" y="475"/>
                    </a:lnTo>
                    <a:lnTo>
                      <a:pt x="421" y="475"/>
                    </a:lnTo>
                    <a:lnTo>
                      <a:pt x="416" y="475"/>
                    </a:lnTo>
                    <a:lnTo>
                      <a:pt x="416" y="480"/>
                    </a:lnTo>
                    <a:lnTo>
                      <a:pt x="416" y="484"/>
                    </a:lnTo>
                    <a:lnTo>
                      <a:pt x="412" y="489"/>
                    </a:lnTo>
                    <a:lnTo>
                      <a:pt x="407" y="494"/>
                    </a:lnTo>
                    <a:lnTo>
                      <a:pt x="403" y="494"/>
                    </a:lnTo>
                    <a:lnTo>
                      <a:pt x="398" y="498"/>
                    </a:lnTo>
                    <a:lnTo>
                      <a:pt x="398" y="498"/>
                    </a:lnTo>
                    <a:lnTo>
                      <a:pt x="398" y="498"/>
                    </a:lnTo>
                    <a:lnTo>
                      <a:pt x="398" y="503"/>
                    </a:lnTo>
                    <a:lnTo>
                      <a:pt x="398" y="507"/>
                    </a:lnTo>
                    <a:lnTo>
                      <a:pt x="407" y="507"/>
                    </a:lnTo>
                    <a:lnTo>
                      <a:pt x="416" y="503"/>
                    </a:lnTo>
                    <a:lnTo>
                      <a:pt x="416" y="503"/>
                    </a:lnTo>
                    <a:lnTo>
                      <a:pt x="416" y="507"/>
                    </a:lnTo>
                    <a:lnTo>
                      <a:pt x="421" y="507"/>
                    </a:lnTo>
                    <a:lnTo>
                      <a:pt x="425" y="512"/>
                    </a:lnTo>
                    <a:lnTo>
                      <a:pt x="430" y="516"/>
                    </a:lnTo>
                    <a:lnTo>
                      <a:pt x="430" y="521"/>
                    </a:lnTo>
                    <a:lnTo>
                      <a:pt x="430" y="526"/>
                    </a:lnTo>
                    <a:lnTo>
                      <a:pt x="425" y="535"/>
                    </a:lnTo>
                    <a:lnTo>
                      <a:pt x="421" y="539"/>
                    </a:lnTo>
                    <a:lnTo>
                      <a:pt x="416" y="539"/>
                    </a:lnTo>
                    <a:lnTo>
                      <a:pt x="416" y="544"/>
                    </a:lnTo>
                    <a:lnTo>
                      <a:pt x="407" y="544"/>
                    </a:lnTo>
                    <a:lnTo>
                      <a:pt x="398" y="544"/>
                    </a:lnTo>
                    <a:lnTo>
                      <a:pt x="398" y="544"/>
                    </a:lnTo>
                    <a:lnTo>
                      <a:pt x="398" y="544"/>
                    </a:lnTo>
                    <a:lnTo>
                      <a:pt x="393" y="544"/>
                    </a:lnTo>
                    <a:lnTo>
                      <a:pt x="380" y="544"/>
                    </a:lnTo>
                    <a:lnTo>
                      <a:pt x="371" y="544"/>
                    </a:lnTo>
                    <a:lnTo>
                      <a:pt x="366" y="544"/>
                    </a:lnTo>
                    <a:lnTo>
                      <a:pt x="352" y="544"/>
                    </a:lnTo>
                    <a:lnTo>
                      <a:pt x="352" y="544"/>
                    </a:lnTo>
                    <a:lnTo>
                      <a:pt x="348" y="548"/>
                    </a:lnTo>
                    <a:lnTo>
                      <a:pt x="343" y="548"/>
                    </a:lnTo>
                    <a:lnTo>
                      <a:pt x="334" y="558"/>
                    </a:lnTo>
                    <a:lnTo>
                      <a:pt x="329" y="558"/>
                    </a:lnTo>
                    <a:lnTo>
                      <a:pt x="329" y="562"/>
                    </a:lnTo>
                    <a:lnTo>
                      <a:pt x="329" y="562"/>
                    </a:lnTo>
                    <a:lnTo>
                      <a:pt x="320" y="571"/>
                    </a:lnTo>
                    <a:lnTo>
                      <a:pt x="316" y="576"/>
                    </a:lnTo>
                    <a:lnTo>
                      <a:pt x="311" y="576"/>
                    </a:lnTo>
                    <a:lnTo>
                      <a:pt x="307" y="576"/>
                    </a:lnTo>
                    <a:lnTo>
                      <a:pt x="307" y="571"/>
                    </a:lnTo>
                    <a:lnTo>
                      <a:pt x="307" y="567"/>
                    </a:lnTo>
                    <a:lnTo>
                      <a:pt x="302" y="562"/>
                    </a:lnTo>
                    <a:lnTo>
                      <a:pt x="297" y="562"/>
                    </a:lnTo>
                    <a:lnTo>
                      <a:pt x="297" y="558"/>
                    </a:lnTo>
                    <a:lnTo>
                      <a:pt x="297" y="553"/>
                    </a:lnTo>
                    <a:lnTo>
                      <a:pt x="293" y="548"/>
                    </a:lnTo>
                    <a:lnTo>
                      <a:pt x="288" y="544"/>
                    </a:lnTo>
                    <a:lnTo>
                      <a:pt x="288" y="539"/>
                    </a:lnTo>
                    <a:lnTo>
                      <a:pt x="288" y="535"/>
                    </a:lnTo>
                    <a:lnTo>
                      <a:pt x="284" y="535"/>
                    </a:lnTo>
                    <a:lnTo>
                      <a:pt x="284" y="530"/>
                    </a:lnTo>
                    <a:lnTo>
                      <a:pt x="279" y="526"/>
                    </a:lnTo>
                    <a:lnTo>
                      <a:pt x="275" y="521"/>
                    </a:lnTo>
                    <a:lnTo>
                      <a:pt x="270" y="521"/>
                    </a:lnTo>
                    <a:lnTo>
                      <a:pt x="265" y="521"/>
                    </a:lnTo>
                    <a:lnTo>
                      <a:pt x="261" y="521"/>
                    </a:lnTo>
                    <a:lnTo>
                      <a:pt x="261" y="526"/>
                    </a:lnTo>
                    <a:lnTo>
                      <a:pt x="252" y="526"/>
                    </a:lnTo>
                    <a:lnTo>
                      <a:pt x="247" y="526"/>
                    </a:lnTo>
                    <a:lnTo>
                      <a:pt x="243" y="530"/>
                    </a:lnTo>
                    <a:lnTo>
                      <a:pt x="233" y="539"/>
                    </a:lnTo>
                    <a:lnTo>
                      <a:pt x="224" y="544"/>
                    </a:lnTo>
                    <a:lnTo>
                      <a:pt x="215" y="544"/>
                    </a:lnTo>
                    <a:lnTo>
                      <a:pt x="201" y="544"/>
                    </a:lnTo>
                    <a:lnTo>
                      <a:pt x="197" y="544"/>
                    </a:lnTo>
                    <a:lnTo>
                      <a:pt x="197" y="544"/>
                    </a:lnTo>
                    <a:lnTo>
                      <a:pt x="192" y="544"/>
                    </a:lnTo>
                    <a:lnTo>
                      <a:pt x="188" y="548"/>
                    </a:lnTo>
                    <a:lnTo>
                      <a:pt x="179" y="553"/>
                    </a:lnTo>
                    <a:lnTo>
                      <a:pt x="179" y="558"/>
                    </a:lnTo>
                    <a:lnTo>
                      <a:pt x="179" y="562"/>
                    </a:lnTo>
                    <a:lnTo>
                      <a:pt x="179" y="567"/>
                    </a:lnTo>
                    <a:lnTo>
                      <a:pt x="179" y="576"/>
                    </a:lnTo>
                    <a:lnTo>
                      <a:pt x="179" y="580"/>
                    </a:lnTo>
                    <a:lnTo>
                      <a:pt x="179" y="585"/>
                    </a:lnTo>
                    <a:lnTo>
                      <a:pt x="174" y="594"/>
                    </a:lnTo>
                    <a:lnTo>
                      <a:pt x="174" y="603"/>
                    </a:lnTo>
                    <a:lnTo>
                      <a:pt x="174" y="608"/>
                    </a:lnTo>
                    <a:lnTo>
                      <a:pt x="169" y="612"/>
                    </a:lnTo>
                    <a:lnTo>
                      <a:pt x="165" y="617"/>
                    </a:lnTo>
                    <a:lnTo>
                      <a:pt x="160" y="617"/>
                    </a:lnTo>
                    <a:lnTo>
                      <a:pt x="156" y="617"/>
                    </a:lnTo>
                    <a:lnTo>
                      <a:pt x="156" y="617"/>
                    </a:lnTo>
                    <a:lnTo>
                      <a:pt x="156" y="612"/>
                    </a:lnTo>
                    <a:lnTo>
                      <a:pt x="151" y="612"/>
                    </a:lnTo>
                    <a:lnTo>
                      <a:pt x="147" y="608"/>
                    </a:lnTo>
                    <a:lnTo>
                      <a:pt x="142" y="608"/>
                    </a:lnTo>
                    <a:lnTo>
                      <a:pt x="137" y="603"/>
                    </a:lnTo>
                    <a:lnTo>
                      <a:pt x="133" y="603"/>
                    </a:lnTo>
                    <a:lnTo>
                      <a:pt x="133" y="599"/>
                    </a:lnTo>
                    <a:lnTo>
                      <a:pt x="128" y="594"/>
                    </a:lnTo>
                    <a:lnTo>
                      <a:pt x="128" y="590"/>
                    </a:lnTo>
                    <a:lnTo>
                      <a:pt x="124" y="590"/>
                    </a:lnTo>
                    <a:lnTo>
                      <a:pt x="124" y="585"/>
                    </a:lnTo>
                    <a:lnTo>
                      <a:pt x="119" y="585"/>
                    </a:lnTo>
                    <a:lnTo>
                      <a:pt x="119" y="580"/>
                    </a:lnTo>
                    <a:lnTo>
                      <a:pt x="119" y="576"/>
                    </a:lnTo>
                    <a:lnTo>
                      <a:pt x="119" y="567"/>
                    </a:lnTo>
                    <a:lnTo>
                      <a:pt x="124" y="562"/>
                    </a:lnTo>
                    <a:lnTo>
                      <a:pt x="124" y="562"/>
                    </a:lnTo>
                    <a:lnTo>
                      <a:pt x="128" y="558"/>
                    </a:lnTo>
                    <a:lnTo>
                      <a:pt x="128" y="553"/>
                    </a:lnTo>
                    <a:lnTo>
                      <a:pt x="133" y="548"/>
                    </a:lnTo>
                    <a:lnTo>
                      <a:pt x="133" y="544"/>
                    </a:lnTo>
                    <a:lnTo>
                      <a:pt x="133" y="544"/>
                    </a:lnTo>
                    <a:lnTo>
                      <a:pt x="133" y="539"/>
                    </a:lnTo>
                    <a:lnTo>
                      <a:pt x="133" y="535"/>
                    </a:lnTo>
                    <a:lnTo>
                      <a:pt x="133" y="530"/>
                    </a:lnTo>
                    <a:lnTo>
                      <a:pt x="133" y="526"/>
                    </a:lnTo>
                    <a:lnTo>
                      <a:pt x="133" y="521"/>
                    </a:lnTo>
                    <a:lnTo>
                      <a:pt x="133" y="521"/>
                    </a:lnTo>
                    <a:lnTo>
                      <a:pt x="133" y="516"/>
                    </a:lnTo>
                    <a:lnTo>
                      <a:pt x="133" y="507"/>
                    </a:lnTo>
                    <a:lnTo>
                      <a:pt x="133" y="503"/>
                    </a:lnTo>
                    <a:lnTo>
                      <a:pt x="128" y="498"/>
                    </a:lnTo>
                    <a:lnTo>
                      <a:pt x="124" y="498"/>
                    </a:lnTo>
                    <a:lnTo>
                      <a:pt x="124" y="494"/>
                    </a:lnTo>
                    <a:lnTo>
                      <a:pt x="119" y="494"/>
                    </a:lnTo>
                    <a:lnTo>
                      <a:pt x="115" y="484"/>
                    </a:lnTo>
                    <a:lnTo>
                      <a:pt x="110" y="484"/>
                    </a:lnTo>
                    <a:lnTo>
                      <a:pt x="110" y="480"/>
                    </a:lnTo>
                    <a:lnTo>
                      <a:pt x="110" y="480"/>
                    </a:lnTo>
                    <a:lnTo>
                      <a:pt x="105" y="480"/>
                    </a:lnTo>
                    <a:lnTo>
                      <a:pt x="101" y="480"/>
                    </a:lnTo>
                    <a:lnTo>
                      <a:pt x="92" y="480"/>
                    </a:lnTo>
                    <a:lnTo>
                      <a:pt x="87" y="484"/>
                    </a:lnTo>
                    <a:lnTo>
                      <a:pt x="83" y="489"/>
                    </a:lnTo>
                    <a:lnTo>
                      <a:pt x="78" y="489"/>
                    </a:lnTo>
                    <a:lnTo>
                      <a:pt x="73" y="489"/>
                    </a:lnTo>
                    <a:lnTo>
                      <a:pt x="73" y="494"/>
                    </a:lnTo>
                    <a:lnTo>
                      <a:pt x="69" y="494"/>
                    </a:lnTo>
                    <a:lnTo>
                      <a:pt x="60" y="494"/>
                    </a:lnTo>
                    <a:lnTo>
                      <a:pt x="51" y="494"/>
                    </a:lnTo>
                    <a:lnTo>
                      <a:pt x="46" y="489"/>
                    </a:lnTo>
                    <a:lnTo>
                      <a:pt x="46" y="484"/>
                    </a:lnTo>
                    <a:lnTo>
                      <a:pt x="41" y="480"/>
                    </a:lnTo>
                    <a:lnTo>
                      <a:pt x="37" y="475"/>
                    </a:lnTo>
                    <a:lnTo>
                      <a:pt x="37" y="475"/>
                    </a:lnTo>
                    <a:lnTo>
                      <a:pt x="32" y="475"/>
                    </a:lnTo>
                    <a:lnTo>
                      <a:pt x="32" y="471"/>
                    </a:lnTo>
                    <a:lnTo>
                      <a:pt x="28" y="466"/>
                    </a:lnTo>
                    <a:lnTo>
                      <a:pt x="23" y="466"/>
                    </a:lnTo>
                    <a:lnTo>
                      <a:pt x="23" y="462"/>
                    </a:lnTo>
                    <a:lnTo>
                      <a:pt x="23" y="457"/>
                    </a:lnTo>
                    <a:lnTo>
                      <a:pt x="19" y="457"/>
                    </a:lnTo>
                    <a:lnTo>
                      <a:pt x="14" y="452"/>
                    </a:lnTo>
                    <a:lnTo>
                      <a:pt x="9" y="448"/>
                    </a:lnTo>
                    <a:lnTo>
                      <a:pt x="5" y="443"/>
                    </a:lnTo>
                    <a:lnTo>
                      <a:pt x="5" y="439"/>
                    </a:lnTo>
                    <a:lnTo>
                      <a:pt x="5" y="434"/>
                    </a:lnTo>
                    <a:lnTo>
                      <a:pt x="0" y="425"/>
                    </a:lnTo>
                    <a:lnTo>
                      <a:pt x="5" y="430"/>
                    </a:lnTo>
                    <a:lnTo>
                      <a:pt x="19" y="434"/>
                    </a:lnTo>
                    <a:lnTo>
                      <a:pt x="19" y="430"/>
                    </a:lnTo>
                    <a:lnTo>
                      <a:pt x="19" y="425"/>
                    </a:lnTo>
                    <a:lnTo>
                      <a:pt x="19" y="420"/>
                    </a:lnTo>
                    <a:lnTo>
                      <a:pt x="19" y="416"/>
                    </a:lnTo>
                    <a:lnTo>
                      <a:pt x="19" y="411"/>
                    </a:lnTo>
                    <a:lnTo>
                      <a:pt x="19" y="407"/>
                    </a:lnTo>
                    <a:lnTo>
                      <a:pt x="23" y="407"/>
                    </a:lnTo>
                    <a:lnTo>
                      <a:pt x="23" y="398"/>
                    </a:lnTo>
                    <a:lnTo>
                      <a:pt x="23" y="393"/>
                    </a:lnTo>
                    <a:lnTo>
                      <a:pt x="28" y="388"/>
                    </a:lnTo>
                    <a:lnTo>
                      <a:pt x="37" y="384"/>
                    </a:lnTo>
                    <a:lnTo>
                      <a:pt x="41" y="379"/>
                    </a:lnTo>
                    <a:lnTo>
                      <a:pt x="46" y="379"/>
                    </a:lnTo>
                    <a:lnTo>
                      <a:pt x="46" y="379"/>
                    </a:lnTo>
                    <a:lnTo>
                      <a:pt x="51" y="375"/>
                    </a:lnTo>
                    <a:lnTo>
                      <a:pt x="55" y="375"/>
                    </a:lnTo>
                    <a:lnTo>
                      <a:pt x="60" y="375"/>
                    </a:lnTo>
                    <a:lnTo>
                      <a:pt x="64" y="370"/>
                    </a:lnTo>
                    <a:lnTo>
                      <a:pt x="69" y="370"/>
                    </a:lnTo>
                    <a:lnTo>
                      <a:pt x="69" y="370"/>
                    </a:lnTo>
                    <a:lnTo>
                      <a:pt x="73" y="366"/>
                    </a:lnTo>
                    <a:lnTo>
                      <a:pt x="78" y="366"/>
                    </a:lnTo>
                    <a:lnTo>
                      <a:pt x="83" y="366"/>
                    </a:lnTo>
                    <a:lnTo>
                      <a:pt x="87" y="366"/>
                    </a:lnTo>
                    <a:lnTo>
                      <a:pt x="87" y="361"/>
                    </a:lnTo>
                    <a:lnTo>
                      <a:pt x="87" y="356"/>
                    </a:lnTo>
                    <a:lnTo>
                      <a:pt x="92" y="356"/>
                    </a:lnTo>
                    <a:lnTo>
                      <a:pt x="92" y="352"/>
                    </a:lnTo>
                    <a:lnTo>
                      <a:pt x="92" y="347"/>
                    </a:lnTo>
                    <a:lnTo>
                      <a:pt x="96" y="343"/>
                    </a:lnTo>
                    <a:lnTo>
                      <a:pt x="96" y="343"/>
                    </a:lnTo>
                    <a:lnTo>
                      <a:pt x="96" y="338"/>
                    </a:lnTo>
                    <a:lnTo>
                      <a:pt x="96" y="334"/>
                    </a:lnTo>
                    <a:lnTo>
                      <a:pt x="101" y="334"/>
                    </a:lnTo>
                    <a:lnTo>
                      <a:pt x="101" y="329"/>
                    </a:lnTo>
                    <a:lnTo>
                      <a:pt x="101" y="324"/>
                    </a:lnTo>
                    <a:lnTo>
                      <a:pt x="105" y="324"/>
                    </a:lnTo>
                    <a:lnTo>
                      <a:pt x="110" y="315"/>
                    </a:lnTo>
                    <a:lnTo>
                      <a:pt x="110" y="311"/>
                    </a:lnTo>
                    <a:lnTo>
                      <a:pt x="110" y="306"/>
                    </a:lnTo>
                    <a:lnTo>
                      <a:pt x="110" y="306"/>
                    </a:lnTo>
                    <a:lnTo>
                      <a:pt x="110" y="302"/>
                    </a:lnTo>
                    <a:lnTo>
                      <a:pt x="115" y="297"/>
                    </a:lnTo>
                    <a:lnTo>
                      <a:pt x="115" y="297"/>
                    </a:lnTo>
                    <a:lnTo>
                      <a:pt x="110" y="292"/>
                    </a:lnTo>
                    <a:lnTo>
                      <a:pt x="110" y="288"/>
                    </a:lnTo>
                    <a:lnTo>
                      <a:pt x="110" y="288"/>
                    </a:lnTo>
                    <a:lnTo>
                      <a:pt x="105" y="283"/>
                    </a:lnTo>
                    <a:lnTo>
                      <a:pt x="101" y="283"/>
                    </a:lnTo>
                    <a:lnTo>
                      <a:pt x="96" y="279"/>
                    </a:lnTo>
                    <a:lnTo>
                      <a:pt x="87" y="274"/>
                    </a:lnTo>
                    <a:lnTo>
                      <a:pt x="87" y="270"/>
                    </a:lnTo>
                    <a:lnTo>
                      <a:pt x="83" y="265"/>
                    </a:lnTo>
                    <a:lnTo>
                      <a:pt x="83" y="260"/>
                    </a:lnTo>
                    <a:lnTo>
                      <a:pt x="83" y="256"/>
                    </a:lnTo>
                    <a:lnTo>
                      <a:pt x="78" y="251"/>
                    </a:lnTo>
                    <a:lnTo>
                      <a:pt x="78" y="233"/>
                    </a:lnTo>
                    <a:lnTo>
                      <a:pt x="73" y="219"/>
                    </a:lnTo>
                    <a:lnTo>
                      <a:pt x="73" y="201"/>
                    </a:lnTo>
                    <a:lnTo>
                      <a:pt x="73" y="192"/>
                    </a:lnTo>
                    <a:lnTo>
                      <a:pt x="78" y="169"/>
                    </a:lnTo>
                    <a:lnTo>
                      <a:pt x="73" y="160"/>
                    </a:lnTo>
                    <a:lnTo>
                      <a:pt x="73" y="155"/>
                    </a:lnTo>
                    <a:lnTo>
                      <a:pt x="69" y="151"/>
                    </a:lnTo>
                    <a:lnTo>
                      <a:pt x="69" y="146"/>
                    </a:lnTo>
                    <a:lnTo>
                      <a:pt x="69" y="146"/>
                    </a:lnTo>
                    <a:lnTo>
                      <a:pt x="69" y="142"/>
                    </a:lnTo>
                    <a:lnTo>
                      <a:pt x="69" y="137"/>
                    </a:lnTo>
                    <a:lnTo>
                      <a:pt x="64" y="132"/>
                    </a:lnTo>
                    <a:lnTo>
                      <a:pt x="60" y="128"/>
                    </a:lnTo>
                    <a:lnTo>
                      <a:pt x="55" y="123"/>
                    </a:lnTo>
                    <a:lnTo>
                      <a:pt x="55" y="123"/>
                    </a:lnTo>
                    <a:lnTo>
                      <a:pt x="51" y="114"/>
                    </a:lnTo>
                    <a:lnTo>
                      <a:pt x="46" y="110"/>
                    </a:lnTo>
                    <a:lnTo>
                      <a:pt x="46" y="105"/>
                    </a:lnTo>
                    <a:lnTo>
                      <a:pt x="46" y="105"/>
                    </a:lnTo>
                    <a:lnTo>
                      <a:pt x="41" y="100"/>
                    </a:lnTo>
                    <a:lnTo>
                      <a:pt x="41" y="96"/>
                    </a:lnTo>
                    <a:lnTo>
                      <a:pt x="41" y="91"/>
                    </a:lnTo>
                    <a:lnTo>
                      <a:pt x="41" y="87"/>
                    </a:lnTo>
                    <a:lnTo>
                      <a:pt x="37" y="82"/>
                    </a:lnTo>
                    <a:lnTo>
                      <a:pt x="37" y="73"/>
                    </a:lnTo>
                    <a:lnTo>
                      <a:pt x="37" y="64"/>
                    </a:lnTo>
                    <a:lnTo>
                      <a:pt x="37" y="55"/>
                    </a:lnTo>
                    <a:lnTo>
                      <a:pt x="37" y="41"/>
                    </a:lnTo>
                    <a:lnTo>
                      <a:pt x="41" y="41"/>
                    </a:lnTo>
                    <a:lnTo>
                      <a:pt x="46" y="46"/>
                    </a:lnTo>
                    <a:lnTo>
                      <a:pt x="51" y="46"/>
                    </a:lnTo>
                    <a:lnTo>
                      <a:pt x="55" y="46"/>
                    </a:lnTo>
                    <a:lnTo>
                      <a:pt x="60" y="50"/>
                    </a:lnTo>
                    <a:lnTo>
                      <a:pt x="69" y="50"/>
                    </a:lnTo>
                    <a:lnTo>
                      <a:pt x="73" y="55"/>
                    </a:lnTo>
                    <a:lnTo>
                      <a:pt x="78" y="55"/>
                    </a:lnTo>
                    <a:lnTo>
                      <a:pt x="87" y="59"/>
                    </a:lnTo>
                    <a:lnTo>
                      <a:pt x="92" y="59"/>
                    </a:lnTo>
                    <a:lnTo>
                      <a:pt x="96" y="59"/>
                    </a:lnTo>
                    <a:lnTo>
                      <a:pt x="110" y="59"/>
                    </a:lnTo>
                    <a:lnTo>
                      <a:pt x="110" y="64"/>
                    </a:lnTo>
                    <a:lnTo>
                      <a:pt x="119" y="64"/>
                    </a:lnTo>
                    <a:lnTo>
                      <a:pt x="137" y="68"/>
                    </a:lnTo>
                    <a:lnTo>
                      <a:pt x="151" y="68"/>
                    </a:lnTo>
                    <a:lnTo>
                      <a:pt x="156" y="68"/>
                    </a:lnTo>
                    <a:lnTo>
                      <a:pt x="165" y="73"/>
                    </a:lnTo>
                    <a:lnTo>
                      <a:pt x="169" y="78"/>
                    </a:lnTo>
                    <a:lnTo>
                      <a:pt x="179" y="78"/>
                    </a:lnTo>
                    <a:lnTo>
                      <a:pt x="183" y="82"/>
                    </a:lnTo>
                    <a:lnTo>
                      <a:pt x="188" y="82"/>
                    </a:lnTo>
                    <a:lnTo>
                      <a:pt x="192" y="82"/>
                    </a:lnTo>
                    <a:lnTo>
                      <a:pt x="197" y="82"/>
                    </a:lnTo>
                    <a:lnTo>
                      <a:pt x="197" y="82"/>
                    </a:lnTo>
                    <a:lnTo>
                      <a:pt x="201" y="82"/>
                    </a:lnTo>
                    <a:lnTo>
                      <a:pt x="206" y="87"/>
                    </a:lnTo>
                    <a:lnTo>
                      <a:pt x="211" y="87"/>
                    </a:lnTo>
                    <a:lnTo>
                      <a:pt x="215" y="87"/>
                    </a:lnTo>
                    <a:lnTo>
                      <a:pt x="215" y="91"/>
                    </a:lnTo>
                    <a:lnTo>
                      <a:pt x="220" y="91"/>
                    </a:lnTo>
                    <a:lnTo>
                      <a:pt x="220" y="91"/>
                    </a:lnTo>
                    <a:lnTo>
                      <a:pt x="233" y="100"/>
                    </a:lnTo>
                    <a:lnTo>
                      <a:pt x="243" y="100"/>
                    </a:lnTo>
                    <a:lnTo>
                      <a:pt x="243" y="105"/>
                    </a:lnTo>
                    <a:lnTo>
                      <a:pt x="252" y="105"/>
                    </a:lnTo>
                    <a:lnTo>
                      <a:pt x="256" y="105"/>
                    </a:lnTo>
                    <a:lnTo>
                      <a:pt x="265" y="110"/>
                    </a:lnTo>
                    <a:lnTo>
                      <a:pt x="270" y="110"/>
                    </a:lnTo>
                    <a:lnTo>
                      <a:pt x="275" y="114"/>
                    </a:lnTo>
                    <a:lnTo>
                      <a:pt x="279" y="114"/>
                    </a:lnTo>
                    <a:lnTo>
                      <a:pt x="284" y="114"/>
                    </a:lnTo>
                    <a:lnTo>
                      <a:pt x="288" y="119"/>
                    </a:lnTo>
                    <a:lnTo>
                      <a:pt x="288" y="123"/>
                    </a:lnTo>
                    <a:lnTo>
                      <a:pt x="293" y="123"/>
                    </a:lnTo>
                    <a:lnTo>
                      <a:pt x="297" y="123"/>
                    </a:lnTo>
                    <a:lnTo>
                      <a:pt x="302" y="123"/>
                    </a:lnTo>
                    <a:lnTo>
                      <a:pt x="307" y="128"/>
                    </a:lnTo>
                    <a:lnTo>
                      <a:pt x="307" y="128"/>
                    </a:lnTo>
                    <a:lnTo>
                      <a:pt x="307" y="132"/>
                    </a:lnTo>
                    <a:lnTo>
                      <a:pt x="311" y="132"/>
                    </a:lnTo>
                    <a:lnTo>
                      <a:pt x="316" y="132"/>
                    </a:lnTo>
                    <a:lnTo>
                      <a:pt x="329" y="142"/>
                    </a:lnTo>
                    <a:lnTo>
                      <a:pt x="329" y="146"/>
                    </a:lnTo>
                    <a:lnTo>
                      <a:pt x="329" y="146"/>
                    </a:lnTo>
                    <a:lnTo>
                      <a:pt x="334" y="146"/>
                    </a:lnTo>
                    <a:lnTo>
                      <a:pt x="339" y="146"/>
                    </a:lnTo>
                    <a:lnTo>
                      <a:pt x="343" y="146"/>
                    </a:lnTo>
                    <a:lnTo>
                      <a:pt x="348" y="146"/>
                    </a:lnTo>
                    <a:lnTo>
                      <a:pt x="348" y="146"/>
                    </a:lnTo>
                    <a:lnTo>
                      <a:pt x="352" y="142"/>
                    </a:lnTo>
                    <a:lnTo>
                      <a:pt x="352" y="137"/>
                    </a:lnTo>
                    <a:lnTo>
                      <a:pt x="348" y="132"/>
                    </a:lnTo>
                    <a:lnTo>
                      <a:pt x="348" y="128"/>
                    </a:lnTo>
                    <a:lnTo>
                      <a:pt x="343" y="123"/>
                    </a:lnTo>
                    <a:lnTo>
                      <a:pt x="343" y="123"/>
                    </a:lnTo>
                    <a:lnTo>
                      <a:pt x="339" y="114"/>
                    </a:lnTo>
                    <a:lnTo>
                      <a:pt x="339" y="110"/>
                    </a:lnTo>
                    <a:lnTo>
                      <a:pt x="334" y="105"/>
                    </a:lnTo>
                    <a:lnTo>
                      <a:pt x="334" y="100"/>
                    </a:lnTo>
                    <a:lnTo>
                      <a:pt x="329" y="100"/>
                    </a:lnTo>
                    <a:lnTo>
                      <a:pt x="329" y="91"/>
                    </a:lnTo>
                    <a:lnTo>
                      <a:pt x="329" y="87"/>
                    </a:lnTo>
                    <a:lnTo>
                      <a:pt x="329" y="82"/>
                    </a:lnTo>
                    <a:lnTo>
                      <a:pt x="325" y="82"/>
                    </a:lnTo>
                    <a:lnTo>
                      <a:pt x="325" y="82"/>
                    </a:lnTo>
                    <a:lnTo>
                      <a:pt x="325" y="78"/>
                    </a:lnTo>
                    <a:lnTo>
                      <a:pt x="320" y="73"/>
                    </a:lnTo>
                    <a:lnTo>
                      <a:pt x="320" y="68"/>
                    </a:lnTo>
                    <a:lnTo>
                      <a:pt x="320" y="59"/>
                    </a:lnTo>
                    <a:lnTo>
                      <a:pt x="320" y="59"/>
                    </a:lnTo>
                    <a:lnTo>
                      <a:pt x="325" y="59"/>
                    </a:lnTo>
                    <a:lnTo>
                      <a:pt x="325" y="55"/>
                    </a:lnTo>
                    <a:lnTo>
                      <a:pt x="325" y="50"/>
                    </a:lnTo>
                    <a:lnTo>
                      <a:pt x="329" y="46"/>
                    </a:lnTo>
                    <a:lnTo>
                      <a:pt x="329" y="41"/>
                    </a:lnTo>
                    <a:lnTo>
                      <a:pt x="329" y="36"/>
                    </a:lnTo>
                    <a:lnTo>
                      <a:pt x="329" y="36"/>
                    </a:lnTo>
                    <a:lnTo>
                      <a:pt x="334" y="36"/>
                    </a:lnTo>
                    <a:lnTo>
                      <a:pt x="357" y="14"/>
                    </a:lnTo>
                    <a:lnTo>
                      <a:pt x="366" y="14"/>
                    </a:lnTo>
                    <a:lnTo>
                      <a:pt x="371" y="14"/>
                    </a:lnTo>
                    <a:lnTo>
                      <a:pt x="375" y="9"/>
                    </a:lnTo>
                    <a:lnTo>
                      <a:pt x="380" y="4"/>
                    </a:lnTo>
                    <a:lnTo>
                      <a:pt x="384" y="4"/>
                    </a:lnTo>
                    <a:lnTo>
                      <a:pt x="398" y="0"/>
                    </a:lnTo>
                    <a:lnTo>
                      <a:pt x="398" y="0"/>
                    </a:lnTo>
                    <a:lnTo>
                      <a:pt x="403" y="0"/>
                    </a:lnTo>
                    <a:lnTo>
                      <a:pt x="407" y="4"/>
                    </a:lnTo>
                    <a:lnTo>
                      <a:pt x="412" y="4"/>
                    </a:lnTo>
                    <a:lnTo>
                      <a:pt x="416" y="9"/>
                    </a:lnTo>
                    <a:lnTo>
                      <a:pt x="416" y="9"/>
                    </a:lnTo>
                    <a:lnTo>
                      <a:pt x="421" y="14"/>
                    </a:lnTo>
                    <a:lnTo>
                      <a:pt x="430" y="14"/>
                    </a:lnTo>
                    <a:lnTo>
                      <a:pt x="430" y="14"/>
                    </a:lnTo>
                    <a:lnTo>
                      <a:pt x="435" y="14"/>
                    </a:lnTo>
                    <a:lnTo>
                      <a:pt x="439" y="14"/>
                    </a:lnTo>
                    <a:lnTo>
                      <a:pt x="453" y="23"/>
                    </a:lnTo>
                    <a:lnTo>
                      <a:pt x="457" y="23"/>
                    </a:lnTo>
                    <a:lnTo>
                      <a:pt x="462" y="23"/>
                    </a:lnTo>
                    <a:lnTo>
                      <a:pt x="462" y="23"/>
                    </a:lnTo>
                    <a:lnTo>
                      <a:pt x="476" y="27"/>
                    </a:lnTo>
                    <a:lnTo>
                      <a:pt x="480" y="32"/>
                    </a:lnTo>
                    <a:lnTo>
                      <a:pt x="489" y="32"/>
                    </a:lnTo>
                    <a:lnTo>
                      <a:pt x="489" y="36"/>
                    </a:lnTo>
                    <a:lnTo>
                      <a:pt x="499" y="36"/>
                    </a:lnTo>
                    <a:lnTo>
                      <a:pt x="503" y="36"/>
                    </a:lnTo>
                    <a:lnTo>
                      <a:pt x="512" y="36"/>
                    </a:lnTo>
                    <a:lnTo>
                      <a:pt x="526" y="36"/>
                    </a:lnTo>
                    <a:lnTo>
                      <a:pt x="531" y="36"/>
                    </a:lnTo>
                    <a:lnTo>
                      <a:pt x="540" y="41"/>
                    </a:lnTo>
                    <a:lnTo>
                      <a:pt x="544" y="41"/>
                    </a:lnTo>
                    <a:lnTo>
                      <a:pt x="549" y="41"/>
                    </a:lnTo>
                    <a:lnTo>
                      <a:pt x="549" y="41"/>
                    </a:lnTo>
                    <a:lnTo>
                      <a:pt x="558" y="41"/>
                    </a:lnTo>
                    <a:lnTo>
                      <a:pt x="563" y="36"/>
                    </a:lnTo>
                    <a:lnTo>
                      <a:pt x="567" y="36"/>
                    </a:lnTo>
                    <a:lnTo>
                      <a:pt x="572" y="36"/>
                    </a:lnTo>
                    <a:lnTo>
                      <a:pt x="576" y="36"/>
                    </a:lnTo>
                    <a:lnTo>
                      <a:pt x="581" y="36"/>
                    </a:lnTo>
                    <a:lnTo>
                      <a:pt x="585" y="41"/>
                    </a:lnTo>
                    <a:lnTo>
                      <a:pt x="595" y="46"/>
                    </a:lnTo>
                    <a:lnTo>
                      <a:pt x="595" y="50"/>
                    </a:lnTo>
                    <a:lnTo>
                      <a:pt x="599" y="50"/>
                    </a:lnTo>
                    <a:lnTo>
                      <a:pt x="599" y="55"/>
                    </a:lnTo>
                    <a:lnTo>
                      <a:pt x="604" y="55"/>
                    </a:lnTo>
                    <a:lnTo>
                      <a:pt x="604" y="59"/>
                    </a:lnTo>
                    <a:lnTo>
                      <a:pt x="608" y="64"/>
                    </a:lnTo>
                    <a:lnTo>
                      <a:pt x="613" y="64"/>
                    </a:lnTo>
                    <a:lnTo>
                      <a:pt x="613" y="73"/>
                    </a:lnTo>
                    <a:lnTo>
                      <a:pt x="617" y="82"/>
                    </a:lnTo>
                    <a:lnTo>
                      <a:pt x="617" y="82"/>
                    </a:lnTo>
                    <a:lnTo>
                      <a:pt x="617" y="87"/>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Benue</a:t>
                </a:r>
              </a:p>
            </p:txBody>
          </p:sp>
          <p:sp>
            <p:nvSpPr>
              <p:cNvPr id="194" name="Freeform 14">
                <a:extLst>
                  <a:ext uri="{FF2B5EF4-FFF2-40B4-BE49-F238E27FC236}">
                    <a16:creationId xmlns:a16="http://schemas.microsoft.com/office/drawing/2014/main" id="{D716CC18-1F0A-45B5-9FCB-590959D92654}"/>
                  </a:ext>
                </a:extLst>
              </p:cNvPr>
              <p:cNvSpPr>
                <a:spLocks noEditPoints="1"/>
              </p:cNvSpPr>
              <p:nvPr>
                <p:custDataLst>
                  <p:tags r:id="rId11"/>
                </p:custDataLst>
              </p:nvPr>
            </p:nvSpPr>
            <p:spPr bwMode="auto">
              <a:xfrm>
                <a:off x="1690082" y="4976902"/>
                <a:ext cx="1901599" cy="1120275"/>
              </a:xfrm>
              <a:custGeom>
                <a:avLst/>
                <a:gdLst/>
                <a:ahLst/>
                <a:cxnLst>
                  <a:cxn ang="0">
                    <a:pos x="1248" y="69"/>
                  </a:cxn>
                  <a:cxn ang="0">
                    <a:pos x="1275" y="96"/>
                  </a:cxn>
                  <a:cxn ang="0">
                    <a:pos x="1307" y="83"/>
                  </a:cxn>
                  <a:cxn ang="0">
                    <a:pos x="1371" y="83"/>
                  </a:cxn>
                  <a:cxn ang="0">
                    <a:pos x="1389" y="119"/>
                  </a:cxn>
                  <a:cxn ang="0">
                    <a:pos x="1426" y="156"/>
                  </a:cxn>
                  <a:cxn ang="0">
                    <a:pos x="1412" y="179"/>
                  </a:cxn>
                  <a:cxn ang="0">
                    <a:pos x="1398" y="215"/>
                  </a:cxn>
                  <a:cxn ang="0">
                    <a:pos x="1362" y="215"/>
                  </a:cxn>
                  <a:cxn ang="0">
                    <a:pos x="1357" y="229"/>
                  </a:cxn>
                  <a:cxn ang="0">
                    <a:pos x="1344" y="252"/>
                  </a:cxn>
                  <a:cxn ang="0">
                    <a:pos x="1298" y="284"/>
                  </a:cxn>
                  <a:cxn ang="0">
                    <a:pos x="1252" y="339"/>
                  </a:cxn>
                  <a:cxn ang="0">
                    <a:pos x="1193" y="389"/>
                  </a:cxn>
                  <a:cxn ang="0">
                    <a:pos x="1188" y="412"/>
                  </a:cxn>
                  <a:cxn ang="0">
                    <a:pos x="1170" y="444"/>
                  </a:cxn>
                  <a:cxn ang="0">
                    <a:pos x="1174" y="457"/>
                  </a:cxn>
                  <a:cxn ang="0">
                    <a:pos x="1202" y="489"/>
                  </a:cxn>
                  <a:cxn ang="0">
                    <a:pos x="1184" y="535"/>
                  </a:cxn>
                  <a:cxn ang="0">
                    <a:pos x="1174" y="567"/>
                  </a:cxn>
                  <a:cxn ang="0">
                    <a:pos x="1165" y="640"/>
                  </a:cxn>
                  <a:cxn ang="0">
                    <a:pos x="1147" y="672"/>
                  </a:cxn>
                  <a:cxn ang="0">
                    <a:pos x="1129" y="695"/>
                  </a:cxn>
                  <a:cxn ang="0">
                    <a:pos x="1115" y="713"/>
                  </a:cxn>
                  <a:cxn ang="0">
                    <a:pos x="1115" y="718"/>
                  </a:cxn>
                  <a:cxn ang="0">
                    <a:pos x="1101" y="736"/>
                  </a:cxn>
                  <a:cxn ang="0">
                    <a:pos x="1088" y="759"/>
                  </a:cxn>
                  <a:cxn ang="0">
                    <a:pos x="1083" y="787"/>
                  </a:cxn>
                  <a:cxn ang="0">
                    <a:pos x="1060" y="800"/>
                  </a:cxn>
                  <a:cxn ang="0">
                    <a:pos x="1051" y="828"/>
                  </a:cxn>
                  <a:cxn ang="0">
                    <a:pos x="1037" y="819"/>
                  </a:cxn>
                  <a:cxn ang="0">
                    <a:pos x="1028" y="814"/>
                  </a:cxn>
                  <a:cxn ang="0">
                    <a:pos x="1005" y="805"/>
                  </a:cxn>
                  <a:cxn ang="0">
                    <a:pos x="1001" y="796"/>
                  </a:cxn>
                  <a:cxn ang="0">
                    <a:pos x="982" y="777"/>
                  </a:cxn>
                  <a:cxn ang="0">
                    <a:pos x="941" y="727"/>
                  </a:cxn>
                  <a:cxn ang="0">
                    <a:pos x="882" y="649"/>
                  </a:cxn>
                  <a:cxn ang="0">
                    <a:pos x="818" y="608"/>
                  </a:cxn>
                  <a:cxn ang="0">
                    <a:pos x="800" y="585"/>
                  </a:cxn>
                  <a:cxn ang="0">
                    <a:pos x="827" y="572"/>
                  </a:cxn>
                  <a:cxn ang="0">
                    <a:pos x="818" y="503"/>
                  </a:cxn>
                  <a:cxn ang="0">
                    <a:pos x="818" y="425"/>
                  </a:cxn>
                  <a:cxn ang="0">
                    <a:pos x="841" y="371"/>
                  </a:cxn>
                  <a:cxn ang="0">
                    <a:pos x="877" y="329"/>
                  </a:cxn>
                  <a:cxn ang="0">
                    <a:pos x="918" y="357"/>
                  </a:cxn>
                  <a:cxn ang="0">
                    <a:pos x="955" y="329"/>
                  </a:cxn>
                  <a:cxn ang="0">
                    <a:pos x="978" y="311"/>
                  </a:cxn>
                  <a:cxn ang="0">
                    <a:pos x="982" y="279"/>
                  </a:cxn>
                  <a:cxn ang="0">
                    <a:pos x="1010" y="247"/>
                  </a:cxn>
                  <a:cxn ang="0">
                    <a:pos x="1037" y="220"/>
                  </a:cxn>
                  <a:cxn ang="0">
                    <a:pos x="1060" y="197"/>
                  </a:cxn>
                  <a:cxn ang="0">
                    <a:pos x="1037" y="169"/>
                  </a:cxn>
                  <a:cxn ang="0">
                    <a:pos x="1019" y="133"/>
                  </a:cxn>
                  <a:cxn ang="0">
                    <a:pos x="1014" y="87"/>
                  </a:cxn>
                  <a:cxn ang="0">
                    <a:pos x="1056" y="69"/>
                  </a:cxn>
                  <a:cxn ang="0">
                    <a:pos x="1106" y="64"/>
                  </a:cxn>
                  <a:cxn ang="0">
                    <a:pos x="1101" y="28"/>
                  </a:cxn>
                  <a:cxn ang="0">
                    <a:pos x="1097" y="14"/>
                  </a:cxn>
                  <a:cxn ang="0">
                    <a:pos x="1129" y="5"/>
                  </a:cxn>
                  <a:cxn ang="0">
                    <a:pos x="1211" y="23"/>
                  </a:cxn>
                  <a:cxn ang="0">
                    <a:pos x="1252" y="37"/>
                  </a:cxn>
                  <a:cxn ang="0">
                    <a:pos x="1248" y="69"/>
                  </a:cxn>
                </a:cxnLst>
                <a:rect l="0" t="0" r="r" b="b"/>
                <a:pathLst>
                  <a:path w="1426" h="905">
                    <a:moveTo>
                      <a:pt x="4" y="905"/>
                    </a:moveTo>
                    <a:lnTo>
                      <a:pt x="4" y="905"/>
                    </a:lnTo>
                    <a:lnTo>
                      <a:pt x="0" y="901"/>
                    </a:lnTo>
                    <a:lnTo>
                      <a:pt x="0" y="901"/>
                    </a:lnTo>
                    <a:lnTo>
                      <a:pt x="0" y="901"/>
                    </a:lnTo>
                    <a:lnTo>
                      <a:pt x="4" y="901"/>
                    </a:lnTo>
                    <a:lnTo>
                      <a:pt x="4" y="905"/>
                    </a:lnTo>
                    <a:lnTo>
                      <a:pt x="4" y="905"/>
                    </a:lnTo>
                    <a:close/>
                    <a:moveTo>
                      <a:pt x="1248" y="69"/>
                    </a:moveTo>
                    <a:lnTo>
                      <a:pt x="1248" y="73"/>
                    </a:lnTo>
                    <a:lnTo>
                      <a:pt x="1252" y="73"/>
                    </a:lnTo>
                    <a:lnTo>
                      <a:pt x="1257" y="83"/>
                    </a:lnTo>
                    <a:lnTo>
                      <a:pt x="1257" y="83"/>
                    </a:lnTo>
                    <a:lnTo>
                      <a:pt x="1261" y="83"/>
                    </a:lnTo>
                    <a:lnTo>
                      <a:pt x="1266" y="87"/>
                    </a:lnTo>
                    <a:lnTo>
                      <a:pt x="1266" y="87"/>
                    </a:lnTo>
                    <a:lnTo>
                      <a:pt x="1275" y="92"/>
                    </a:lnTo>
                    <a:lnTo>
                      <a:pt x="1275" y="96"/>
                    </a:lnTo>
                    <a:lnTo>
                      <a:pt x="1280" y="96"/>
                    </a:lnTo>
                    <a:lnTo>
                      <a:pt x="1280" y="96"/>
                    </a:lnTo>
                    <a:lnTo>
                      <a:pt x="1284" y="96"/>
                    </a:lnTo>
                    <a:lnTo>
                      <a:pt x="1289" y="96"/>
                    </a:lnTo>
                    <a:lnTo>
                      <a:pt x="1293" y="92"/>
                    </a:lnTo>
                    <a:lnTo>
                      <a:pt x="1298" y="87"/>
                    </a:lnTo>
                    <a:lnTo>
                      <a:pt x="1302" y="87"/>
                    </a:lnTo>
                    <a:lnTo>
                      <a:pt x="1302" y="83"/>
                    </a:lnTo>
                    <a:lnTo>
                      <a:pt x="1307" y="83"/>
                    </a:lnTo>
                    <a:lnTo>
                      <a:pt x="1312" y="83"/>
                    </a:lnTo>
                    <a:lnTo>
                      <a:pt x="1321" y="78"/>
                    </a:lnTo>
                    <a:lnTo>
                      <a:pt x="1325" y="78"/>
                    </a:lnTo>
                    <a:lnTo>
                      <a:pt x="1334" y="78"/>
                    </a:lnTo>
                    <a:lnTo>
                      <a:pt x="1348" y="78"/>
                    </a:lnTo>
                    <a:lnTo>
                      <a:pt x="1353" y="78"/>
                    </a:lnTo>
                    <a:lnTo>
                      <a:pt x="1357" y="78"/>
                    </a:lnTo>
                    <a:lnTo>
                      <a:pt x="1366" y="78"/>
                    </a:lnTo>
                    <a:lnTo>
                      <a:pt x="1371" y="83"/>
                    </a:lnTo>
                    <a:lnTo>
                      <a:pt x="1376" y="87"/>
                    </a:lnTo>
                    <a:lnTo>
                      <a:pt x="1380" y="92"/>
                    </a:lnTo>
                    <a:lnTo>
                      <a:pt x="1380" y="96"/>
                    </a:lnTo>
                    <a:lnTo>
                      <a:pt x="1380" y="101"/>
                    </a:lnTo>
                    <a:lnTo>
                      <a:pt x="1385" y="101"/>
                    </a:lnTo>
                    <a:lnTo>
                      <a:pt x="1385" y="105"/>
                    </a:lnTo>
                    <a:lnTo>
                      <a:pt x="1385" y="110"/>
                    </a:lnTo>
                    <a:lnTo>
                      <a:pt x="1389" y="110"/>
                    </a:lnTo>
                    <a:lnTo>
                      <a:pt x="1389" y="119"/>
                    </a:lnTo>
                    <a:lnTo>
                      <a:pt x="1394" y="124"/>
                    </a:lnTo>
                    <a:lnTo>
                      <a:pt x="1398" y="128"/>
                    </a:lnTo>
                    <a:lnTo>
                      <a:pt x="1403" y="133"/>
                    </a:lnTo>
                    <a:lnTo>
                      <a:pt x="1412" y="133"/>
                    </a:lnTo>
                    <a:lnTo>
                      <a:pt x="1417" y="137"/>
                    </a:lnTo>
                    <a:lnTo>
                      <a:pt x="1421" y="142"/>
                    </a:lnTo>
                    <a:lnTo>
                      <a:pt x="1426" y="147"/>
                    </a:lnTo>
                    <a:lnTo>
                      <a:pt x="1426" y="151"/>
                    </a:lnTo>
                    <a:lnTo>
                      <a:pt x="1426" y="156"/>
                    </a:lnTo>
                    <a:lnTo>
                      <a:pt x="1426" y="165"/>
                    </a:lnTo>
                    <a:lnTo>
                      <a:pt x="1417" y="165"/>
                    </a:lnTo>
                    <a:lnTo>
                      <a:pt x="1412" y="165"/>
                    </a:lnTo>
                    <a:lnTo>
                      <a:pt x="1412" y="169"/>
                    </a:lnTo>
                    <a:lnTo>
                      <a:pt x="1412" y="169"/>
                    </a:lnTo>
                    <a:lnTo>
                      <a:pt x="1412" y="174"/>
                    </a:lnTo>
                    <a:lnTo>
                      <a:pt x="1408" y="174"/>
                    </a:lnTo>
                    <a:lnTo>
                      <a:pt x="1412" y="179"/>
                    </a:lnTo>
                    <a:lnTo>
                      <a:pt x="1412" y="179"/>
                    </a:lnTo>
                    <a:lnTo>
                      <a:pt x="1408" y="188"/>
                    </a:lnTo>
                    <a:lnTo>
                      <a:pt x="1408" y="192"/>
                    </a:lnTo>
                    <a:lnTo>
                      <a:pt x="1408" y="192"/>
                    </a:lnTo>
                    <a:lnTo>
                      <a:pt x="1403" y="192"/>
                    </a:lnTo>
                    <a:lnTo>
                      <a:pt x="1403" y="192"/>
                    </a:lnTo>
                    <a:lnTo>
                      <a:pt x="1403" y="197"/>
                    </a:lnTo>
                    <a:lnTo>
                      <a:pt x="1403" y="197"/>
                    </a:lnTo>
                    <a:lnTo>
                      <a:pt x="1398" y="215"/>
                    </a:lnTo>
                    <a:lnTo>
                      <a:pt x="1398" y="215"/>
                    </a:lnTo>
                    <a:lnTo>
                      <a:pt x="1385" y="211"/>
                    </a:lnTo>
                    <a:lnTo>
                      <a:pt x="1380" y="206"/>
                    </a:lnTo>
                    <a:lnTo>
                      <a:pt x="1380" y="206"/>
                    </a:lnTo>
                    <a:lnTo>
                      <a:pt x="1376" y="206"/>
                    </a:lnTo>
                    <a:lnTo>
                      <a:pt x="1371" y="201"/>
                    </a:lnTo>
                    <a:lnTo>
                      <a:pt x="1366" y="201"/>
                    </a:lnTo>
                    <a:lnTo>
                      <a:pt x="1366" y="206"/>
                    </a:lnTo>
                    <a:lnTo>
                      <a:pt x="1366" y="211"/>
                    </a:lnTo>
                    <a:lnTo>
                      <a:pt x="1362" y="215"/>
                    </a:lnTo>
                    <a:lnTo>
                      <a:pt x="1366" y="215"/>
                    </a:lnTo>
                    <a:lnTo>
                      <a:pt x="1366" y="220"/>
                    </a:lnTo>
                    <a:lnTo>
                      <a:pt x="1366" y="220"/>
                    </a:lnTo>
                    <a:lnTo>
                      <a:pt x="1366" y="224"/>
                    </a:lnTo>
                    <a:lnTo>
                      <a:pt x="1362" y="224"/>
                    </a:lnTo>
                    <a:lnTo>
                      <a:pt x="1362" y="224"/>
                    </a:lnTo>
                    <a:lnTo>
                      <a:pt x="1362" y="229"/>
                    </a:lnTo>
                    <a:lnTo>
                      <a:pt x="1362" y="229"/>
                    </a:lnTo>
                    <a:lnTo>
                      <a:pt x="1357" y="229"/>
                    </a:lnTo>
                    <a:lnTo>
                      <a:pt x="1357" y="229"/>
                    </a:lnTo>
                    <a:lnTo>
                      <a:pt x="1362" y="229"/>
                    </a:lnTo>
                    <a:lnTo>
                      <a:pt x="1362" y="229"/>
                    </a:lnTo>
                    <a:lnTo>
                      <a:pt x="1357" y="233"/>
                    </a:lnTo>
                    <a:lnTo>
                      <a:pt x="1357" y="233"/>
                    </a:lnTo>
                    <a:lnTo>
                      <a:pt x="1353" y="238"/>
                    </a:lnTo>
                    <a:lnTo>
                      <a:pt x="1348" y="247"/>
                    </a:lnTo>
                    <a:lnTo>
                      <a:pt x="1344" y="252"/>
                    </a:lnTo>
                    <a:lnTo>
                      <a:pt x="1344" y="252"/>
                    </a:lnTo>
                    <a:lnTo>
                      <a:pt x="1334" y="265"/>
                    </a:lnTo>
                    <a:lnTo>
                      <a:pt x="1334" y="265"/>
                    </a:lnTo>
                    <a:lnTo>
                      <a:pt x="1330" y="265"/>
                    </a:lnTo>
                    <a:lnTo>
                      <a:pt x="1325" y="270"/>
                    </a:lnTo>
                    <a:lnTo>
                      <a:pt x="1321" y="270"/>
                    </a:lnTo>
                    <a:lnTo>
                      <a:pt x="1316" y="270"/>
                    </a:lnTo>
                    <a:lnTo>
                      <a:pt x="1307" y="279"/>
                    </a:lnTo>
                    <a:lnTo>
                      <a:pt x="1302" y="284"/>
                    </a:lnTo>
                    <a:lnTo>
                      <a:pt x="1298" y="284"/>
                    </a:lnTo>
                    <a:lnTo>
                      <a:pt x="1298" y="293"/>
                    </a:lnTo>
                    <a:lnTo>
                      <a:pt x="1293" y="302"/>
                    </a:lnTo>
                    <a:lnTo>
                      <a:pt x="1289" y="307"/>
                    </a:lnTo>
                    <a:lnTo>
                      <a:pt x="1275" y="316"/>
                    </a:lnTo>
                    <a:lnTo>
                      <a:pt x="1275" y="316"/>
                    </a:lnTo>
                    <a:lnTo>
                      <a:pt x="1266" y="329"/>
                    </a:lnTo>
                    <a:lnTo>
                      <a:pt x="1261" y="329"/>
                    </a:lnTo>
                    <a:lnTo>
                      <a:pt x="1252" y="339"/>
                    </a:lnTo>
                    <a:lnTo>
                      <a:pt x="1252" y="339"/>
                    </a:lnTo>
                    <a:lnTo>
                      <a:pt x="1238" y="352"/>
                    </a:lnTo>
                    <a:lnTo>
                      <a:pt x="1234" y="352"/>
                    </a:lnTo>
                    <a:lnTo>
                      <a:pt x="1229" y="357"/>
                    </a:lnTo>
                    <a:lnTo>
                      <a:pt x="1229" y="357"/>
                    </a:lnTo>
                    <a:lnTo>
                      <a:pt x="1225" y="361"/>
                    </a:lnTo>
                    <a:lnTo>
                      <a:pt x="1211" y="371"/>
                    </a:lnTo>
                    <a:lnTo>
                      <a:pt x="1202" y="375"/>
                    </a:lnTo>
                    <a:lnTo>
                      <a:pt x="1202" y="375"/>
                    </a:lnTo>
                    <a:lnTo>
                      <a:pt x="1193" y="389"/>
                    </a:lnTo>
                    <a:lnTo>
                      <a:pt x="1184" y="393"/>
                    </a:lnTo>
                    <a:lnTo>
                      <a:pt x="1179" y="398"/>
                    </a:lnTo>
                    <a:lnTo>
                      <a:pt x="1174" y="403"/>
                    </a:lnTo>
                    <a:lnTo>
                      <a:pt x="1174" y="403"/>
                    </a:lnTo>
                    <a:lnTo>
                      <a:pt x="1179" y="407"/>
                    </a:lnTo>
                    <a:lnTo>
                      <a:pt x="1179" y="407"/>
                    </a:lnTo>
                    <a:lnTo>
                      <a:pt x="1184" y="412"/>
                    </a:lnTo>
                    <a:lnTo>
                      <a:pt x="1188" y="412"/>
                    </a:lnTo>
                    <a:lnTo>
                      <a:pt x="1188" y="412"/>
                    </a:lnTo>
                    <a:lnTo>
                      <a:pt x="1188" y="416"/>
                    </a:lnTo>
                    <a:lnTo>
                      <a:pt x="1184" y="416"/>
                    </a:lnTo>
                    <a:lnTo>
                      <a:pt x="1179" y="421"/>
                    </a:lnTo>
                    <a:lnTo>
                      <a:pt x="1179" y="421"/>
                    </a:lnTo>
                    <a:lnTo>
                      <a:pt x="1179" y="425"/>
                    </a:lnTo>
                    <a:lnTo>
                      <a:pt x="1184" y="425"/>
                    </a:lnTo>
                    <a:lnTo>
                      <a:pt x="1184" y="430"/>
                    </a:lnTo>
                    <a:lnTo>
                      <a:pt x="1179" y="435"/>
                    </a:lnTo>
                    <a:lnTo>
                      <a:pt x="1170" y="444"/>
                    </a:lnTo>
                    <a:lnTo>
                      <a:pt x="1170" y="444"/>
                    </a:lnTo>
                    <a:lnTo>
                      <a:pt x="1165" y="439"/>
                    </a:lnTo>
                    <a:lnTo>
                      <a:pt x="1165" y="444"/>
                    </a:lnTo>
                    <a:lnTo>
                      <a:pt x="1165" y="444"/>
                    </a:lnTo>
                    <a:lnTo>
                      <a:pt x="1170" y="448"/>
                    </a:lnTo>
                    <a:lnTo>
                      <a:pt x="1170" y="453"/>
                    </a:lnTo>
                    <a:lnTo>
                      <a:pt x="1170" y="453"/>
                    </a:lnTo>
                    <a:lnTo>
                      <a:pt x="1174" y="457"/>
                    </a:lnTo>
                    <a:lnTo>
                      <a:pt x="1174" y="457"/>
                    </a:lnTo>
                    <a:lnTo>
                      <a:pt x="1179" y="462"/>
                    </a:lnTo>
                    <a:lnTo>
                      <a:pt x="1184" y="467"/>
                    </a:lnTo>
                    <a:lnTo>
                      <a:pt x="1184" y="471"/>
                    </a:lnTo>
                    <a:lnTo>
                      <a:pt x="1188" y="476"/>
                    </a:lnTo>
                    <a:lnTo>
                      <a:pt x="1193" y="476"/>
                    </a:lnTo>
                    <a:lnTo>
                      <a:pt x="1197" y="480"/>
                    </a:lnTo>
                    <a:lnTo>
                      <a:pt x="1197" y="480"/>
                    </a:lnTo>
                    <a:lnTo>
                      <a:pt x="1197" y="485"/>
                    </a:lnTo>
                    <a:lnTo>
                      <a:pt x="1202" y="489"/>
                    </a:lnTo>
                    <a:lnTo>
                      <a:pt x="1202" y="494"/>
                    </a:lnTo>
                    <a:lnTo>
                      <a:pt x="1202" y="499"/>
                    </a:lnTo>
                    <a:lnTo>
                      <a:pt x="1197" y="503"/>
                    </a:lnTo>
                    <a:lnTo>
                      <a:pt x="1193" y="508"/>
                    </a:lnTo>
                    <a:lnTo>
                      <a:pt x="1188" y="517"/>
                    </a:lnTo>
                    <a:lnTo>
                      <a:pt x="1188" y="521"/>
                    </a:lnTo>
                    <a:lnTo>
                      <a:pt x="1184" y="521"/>
                    </a:lnTo>
                    <a:lnTo>
                      <a:pt x="1184" y="526"/>
                    </a:lnTo>
                    <a:lnTo>
                      <a:pt x="1184" y="535"/>
                    </a:lnTo>
                    <a:lnTo>
                      <a:pt x="1184" y="535"/>
                    </a:lnTo>
                    <a:lnTo>
                      <a:pt x="1179" y="540"/>
                    </a:lnTo>
                    <a:lnTo>
                      <a:pt x="1174" y="544"/>
                    </a:lnTo>
                    <a:lnTo>
                      <a:pt x="1174" y="549"/>
                    </a:lnTo>
                    <a:lnTo>
                      <a:pt x="1174" y="553"/>
                    </a:lnTo>
                    <a:lnTo>
                      <a:pt x="1174" y="558"/>
                    </a:lnTo>
                    <a:lnTo>
                      <a:pt x="1174" y="558"/>
                    </a:lnTo>
                    <a:lnTo>
                      <a:pt x="1174" y="563"/>
                    </a:lnTo>
                    <a:lnTo>
                      <a:pt x="1174" y="567"/>
                    </a:lnTo>
                    <a:lnTo>
                      <a:pt x="1174" y="572"/>
                    </a:lnTo>
                    <a:lnTo>
                      <a:pt x="1170" y="585"/>
                    </a:lnTo>
                    <a:lnTo>
                      <a:pt x="1170" y="595"/>
                    </a:lnTo>
                    <a:lnTo>
                      <a:pt x="1165" y="604"/>
                    </a:lnTo>
                    <a:lnTo>
                      <a:pt x="1165" y="613"/>
                    </a:lnTo>
                    <a:lnTo>
                      <a:pt x="1165" y="622"/>
                    </a:lnTo>
                    <a:lnTo>
                      <a:pt x="1165" y="627"/>
                    </a:lnTo>
                    <a:lnTo>
                      <a:pt x="1165" y="631"/>
                    </a:lnTo>
                    <a:lnTo>
                      <a:pt x="1165" y="640"/>
                    </a:lnTo>
                    <a:lnTo>
                      <a:pt x="1165" y="645"/>
                    </a:lnTo>
                    <a:lnTo>
                      <a:pt x="1161" y="649"/>
                    </a:lnTo>
                    <a:lnTo>
                      <a:pt x="1161" y="654"/>
                    </a:lnTo>
                    <a:lnTo>
                      <a:pt x="1156" y="659"/>
                    </a:lnTo>
                    <a:lnTo>
                      <a:pt x="1156" y="659"/>
                    </a:lnTo>
                    <a:lnTo>
                      <a:pt x="1156" y="659"/>
                    </a:lnTo>
                    <a:lnTo>
                      <a:pt x="1156" y="663"/>
                    </a:lnTo>
                    <a:lnTo>
                      <a:pt x="1152" y="668"/>
                    </a:lnTo>
                    <a:lnTo>
                      <a:pt x="1147" y="672"/>
                    </a:lnTo>
                    <a:lnTo>
                      <a:pt x="1138" y="672"/>
                    </a:lnTo>
                    <a:lnTo>
                      <a:pt x="1138" y="677"/>
                    </a:lnTo>
                    <a:lnTo>
                      <a:pt x="1138" y="677"/>
                    </a:lnTo>
                    <a:lnTo>
                      <a:pt x="1138" y="681"/>
                    </a:lnTo>
                    <a:lnTo>
                      <a:pt x="1138" y="681"/>
                    </a:lnTo>
                    <a:lnTo>
                      <a:pt x="1133" y="681"/>
                    </a:lnTo>
                    <a:lnTo>
                      <a:pt x="1129" y="686"/>
                    </a:lnTo>
                    <a:lnTo>
                      <a:pt x="1129" y="691"/>
                    </a:lnTo>
                    <a:lnTo>
                      <a:pt x="1129" y="695"/>
                    </a:lnTo>
                    <a:lnTo>
                      <a:pt x="1124" y="695"/>
                    </a:lnTo>
                    <a:lnTo>
                      <a:pt x="1129" y="700"/>
                    </a:lnTo>
                    <a:lnTo>
                      <a:pt x="1124" y="700"/>
                    </a:lnTo>
                    <a:lnTo>
                      <a:pt x="1124" y="700"/>
                    </a:lnTo>
                    <a:lnTo>
                      <a:pt x="1124" y="704"/>
                    </a:lnTo>
                    <a:lnTo>
                      <a:pt x="1124" y="704"/>
                    </a:lnTo>
                    <a:lnTo>
                      <a:pt x="1124" y="704"/>
                    </a:lnTo>
                    <a:lnTo>
                      <a:pt x="1120" y="704"/>
                    </a:lnTo>
                    <a:lnTo>
                      <a:pt x="1115" y="713"/>
                    </a:lnTo>
                    <a:lnTo>
                      <a:pt x="1115" y="713"/>
                    </a:lnTo>
                    <a:lnTo>
                      <a:pt x="1115" y="713"/>
                    </a:lnTo>
                    <a:lnTo>
                      <a:pt x="1120" y="713"/>
                    </a:lnTo>
                    <a:lnTo>
                      <a:pt x="1124" y="718"/>
                    </a:lnTo>
                    <a:lnTo>
                      <a:pt x="1124" y="718"/>
                    </a:lnTo>
                    <a:lnTo>
                      <a:pt x="1120" y="718"/>
                    </a:lnTo>
                    <a:lnTo>
                      <a:pt x="1120" y="718"/>
                    </a:lnTo>
                    <a:lnTo>
                      <a:pt x="1120" y="718"/>
                    </a:lnTo>
                    <a:lnTo>
                      <a:pt x="1115" y="718"/>
                    </a:lnTo>
                    <a:lnTo>
                      <a:pt x="1115" y="723"/>
                    </a:lnTo>
                    <a:lnTo>
                      <a:pt x="1115" y="723"/>
                    </a:lnTo>
                    <a:lnTo>
                      <a:pt x="1110" y="727"/>
                    </a:lnTo>
                    <a:lnTo>
                      <a:pt x="1110" y="727"/>
                    </a:lnTo>
                    <a:lnTo>
                      <a:pt x="1110" y="732"/>
                    </a:lnTo>
                    <a:lnTo>
                      <a:pt x="1110" y="732"/>
                    </a:lnTo>
                    <a:lnTo>
                      <a:pt x="1106" y="736"/>
                    </a:lnTo>
                    <a:lnTo>
                      <a:pt x="1106" y="732"/>
                    </a:lnTo>
                    <a:lnTo>
                      <a:pt x="1101" y="736"/>
                    </a:lnTo>
                    <a:lnTo>
                      <a:pt x="1101" y="736"/>
                    </a:lnTo>
                    <a:lnTo>
                      <a:pt x="1106" y="741"/>
                    </a:lnTo>
                    <a:lnTo>
                      <a:pt x="1106" y="745"/>
                    </a:lnTo>
                    <a:lnTo>
                      <a:pt x="1101" y="745"/>
                    </a:lnTo>
                    <a:lnTo>
                      <a:pt x="1097" y="745"/>
                    </a:lnTo>
                    <a:lnTo>
                      <a:pt x="1092" y="750"/>
                    </a:lnTo>
                    <a:lnTo>
                      <a:pt x="1088" y="755"/>
                    </a:lnTo>
                    <a:lnTo>
                      <a:pt x="1088" y="755"/>
                    </a:lnTo>
                    <a:lnTo>
                      <a:pt x="1088" y="759"/>
                    </a:lnTo>
                    <a:lnTo>
                      <a:pt x="1088" y="759"/>
                    </a:lnTo>
                    <a:lnTo>
                      <a:pt x="1088" y="764"/>
                    </a:lnTo>
                    <a:lnTo>
                      <a:pt x="1088" y="764"/>
                    </a:lnTo>
                    <a:lnTo>
                      <a:pt x="1092" y="768"/>
                    </a:lnTo>
                    <a:lnTo>
                      <a:pt x="1097" y="773"/>
                    </a:lnTo>
                    <a:lnTo>
                      <a:pt x="1097" y="777"/>
                    </a:lnTo>
                    <a:lnTo>
                      <a:pt x="1092" y="782"/>
                    </a:lnTo>
                    <a:lnTo>
                      <a:pt x="1083" y="787"/>
                    </a:lnTo>
                    <a:lnTo>
                      <a:pt x="1083" y="787"/>
                    </a:lnTo>
                    <a:lnTo>
                      <a:pt x="1078" y="787"/>
                    </a:lnTo>
                    <a:lnTo>
                      <a:pt x="1074" y="787"/>
                    </a:lnTo>
                    <a:lnTo>
                      <a:pt x="1074" y="782"/>
                    </a:lnTo>
                    <a:lnTo>
                      <a:pt x="1069" y="782"/>
                    </a:lnTo>
                    <a:lnTo>
                      <a:pt x="1069" y="782"/>
                    </a:lnTo>
                    <a:lnTo>
                      <a:pt x="1065" y="787"/>
                    </a:lnTo>
                    <a:lnTo>
                      <a:pt x="1065" y="787"/>
                    </a:lnTo>
                    <a:lnTo>
                      <a:pt x="1060" y="791"/>
                    </a:lnTo>
                    <a:lnTo>
                      <a:pt x="1060" y="800"/>
                    </a:lnTo>
                    <a:lnTo>
                      <a:pt x="1056" y="809"/>
                    </a:lnTo>
                    <a:lnTo>
                      <a:pt x="1056" y="819"/>
                    </a:lnTo>
                    <a:lnTo>
                      <a:pt x="1060" y="819"/>
                    </a:lnTo>
                    <a:lnTo>
                      <a:pt x="1060" y="823"/>
                    </a:lnTo>
                    <a:lnTo>
                      <a:pt x="1060" y="823"/>
                    </a:lnTo>
                    <a:lnTo>
                      <a:pt x="1060" y="823"/>
                    </a:lnTo>
                    <a:lnTo>
                      <a:pt x="1056" y="823"/>
                    </a:lnTo>
                    <a:lnTo>
                      <a:pt x="1051" y="823"/>
                    </a:lnTo>
                    <a:lnTo>
                      <a:pt x="1051" y="828"/>
                    </a:lnTo>
                    <a:lnTo>
                      <a:pt x="1046" y="828"/>
                    </a:lnTo>
                    <a:lnTo>
                      <a:pt x="1042" y="832"/>
                    </a:lnTo>
                    <a:lnTo>
                      <a:pt x="1042" y="832"/>
                    </a:lnTo>
                    <a:lnTo>
                      <a:pt x="1037" y="828"/>
                    </a:lnTo>
                    <a:lnTo>
                      <a:pt x="1033" y="828"/>
                    </a:lnTo>
                    <a:lnTo>
                      <a:pt x="1033" y="823"/>
                    </a:lnTo>
                    <a:lnTo>
                      <a:pt x="1033" y="819"/>
                    </a:lnTo>
                    <a:lnTo>
                      <a:pt x="1037" y="814"/>
                    </a:lnTo>
                    <a:lnTo>
                      <a:pt x="1037" y="819"/>
                    </a:lnTo>
                    <a:lnTo>
                      <a:pt x="1037" y="814"/>
                    </a:lnTo>
                    <a:lnTo>
                      <a:pt x="1037" y="814"/>
                    </a:lnTo>
                    <a:lnTo>
                      <a:pt x="1037" y="809"/>
                    </a:lnTo>
                    <a:lnTo>
                      <a:pt x="1033" y="805"/>
                    </a:lnTo>
                    <a:lnTo>
                      <a:pt x="1033" y="805"/>
                    </a:lnTo>
                    <a:lnTo>
                      <a:pt x="1033" y="809"/>
                    </a:lnTo>
                    <a:lnTo>
                      <a:pt x="1033" y="809"/>
                    </a:lnTo>
                    <a:lnTo>
                      <a:pt x="1028" y="814"/>
                    </a:lnTo>
                    <a:lnTo>
                      <a:pt x="1028" y="814"/>
                    </a:lnTo>
                    <a:lnTo>
                      <a:pt x="1024" y="814"/>
                    </a:lnTo>
                    <a:lnTo>
                      <a:pt x="1024" y="814"/>
                    </a:lnTo>
                    <a:lnTo>
                      <a:pt x="1019" y="819"/>
                    </a:lnTo>
                    <a:lnTo>
                      <a:pt x="1014" y="819"/>
                    </a:lnTo>
                    <a:lnTo>
                      <a:pt x="1014" y="814"/>
                    </a:lnTo>
                    <a:lnTo>
                      <a:pt x="1014" y="814"/>
                    </a:lnTo>
                    <a:lnTo>
                      <a:pt x="1010" y="814"/>
                    </a:lnTo>
                    <a:lnTo>
                      <a:pt x="1010" y="814"/>
                    </a:lnTo>
                    <a:lnTo>
                      <a:pt x="1005" y="805"/>
                    </a:lnTo>
                    <a:lnTo>
                      <a:pt x="1005" y="805"/>
                    </a:lnTo>
                    <a:lnTo>
                      <a:pt x="1010" y="800"/>
                    </a:lnTo>
                    <a:lnTo>
                      <a:pt x="1010" y="800"/>
                    </a:lnTo>
                    <a:lnTo>
                      <a:pt x="1010" y="800"/>
                    </a:lnTo>
                    <a:lnTo>
                      <a:pt x="1010" y="796"/>
                    </a:lnTo>
                    <a:lnTo>
                      <a:pt x="1010" y="796"/>
                    </a:lnTo>
                    <a:lnTo>
                      <a:pt x="1005" y="796"/>
                    </a:lnTo>
                    <a:lnTo>
                      <a:pt x="1001" y="796"/>
                    </a:lnTo>
                    <a:lnTo>
                      <a:pt x="1001" y="796"/>
                    </a:lnTo>
                    <a:lnTo>
                      <a:pt x="996" y="796"/>
                    </a:lnTo>
                    <a:lnTo>
                      <a:pt x="996" y="791"/>
                    </a:lnTo>
                    <a:lnTo>
                      <a:pt x="987" y="791"/>
                    </a:lnTo>
                    <a:lnTo>
                      <a:pt x="982" y="787"/>
                    </a:lnTo>
                    <a:lnTo>
                      <a:pt x="982" y="782"/>
                    </a:lnTo>
                    <a:lnTo>
                      <a:pt x="987" y="777"/>
                    </a:lnTo>
                    <a:lnTo>
                      <a:pt x="987" y="777"/>
                    </a:lnTo>
                    <a:lnTo>
                      <a:pt x="982" y="777"/>
                    </a:lnTo>
                    <a:lnTo>
                      <a:pt x="982" y="777"/>
                    </a:lnTo>
                    <a:lnTo>
                      <a:pt x="973" y="773"/>
                    </a:lnTo>
                    <a:lnTo>
                      <a:pt x="973" y="768"/>
                    </a:lnTo>
                    <a:lnTo>
                      <a:pt x="969" y="768"/>
                    </a:lnTo>
                    <a:lnTo>
                      <a:pt x="969" y="768"/>
                    </a:lnTo>
                    <a:lnTo>
                      <a:pt x="969" y="768"/>
                    </a:lnTo>
                    <a:lnTo>
                      <a:pt x="964" y="768"/>
                    </a:lnTo>
                    <a:lnTo>
                      <a:pt x="960" y="755"/>
                    </a:lnTo>
                    <a:lnTo>
                      <a:pt x="941" y="732"/>
                    </a:lnTo>
                    <a:lnTo>
                      <a:pt x="941" y="727"/>
                    </a:lnTo>
                    <a:lnTo>
                      <a:pt x="928" y="723"/>
                    </a:lnTo>
                    <a:lnTo>
                      <a:pt x="918" y="718"/>
                    </a:lnTo>
                    <a:lnTo>
                      <a:pt x="914" y="718"/>
                    </a:lnTo>
                    <a:lnTo>
                      <a:pt x="905" y="704"/>
                    </a:lnTo>
                    <a:lnTo>
                      <a:pt x="891" y="686"/>
                    </a:lnTo>
                    <a:lnTo>
                      <a:pt x="882" y="672"/>
                    </a:lnTo>
                    <a:lnTo>
                      <a:pt x="882" y="659"/>
                    </a:lnTo>
                    <a:lnTo>
                      <a:pt x="882" y="654"/>
                    </a:lnTo>
                    <a:lnTo>
                      <a:pt x="882" y="649"/>
                    </a:lnTo>
                    <a:lnTo>
                      <a:pt x="886" y="636"/>
                    </a:lnTo>
                    <a:lnTo>
                      <a:pt x="886" y="631"/>
                    </a:lnTo>
                    <a:lnTo>
                      <a:pt x="882" y="617"/>
                    </a:lnTo>
                    <a:lnTo>
                      <a:pt x="873" y="613"/>
                    </a:lnTo>
                    <a:lnTo>
                      <a:pt x="859" y="613"/>
                    </a:lnTo>
                    <a:lnTo>
                      <a:pt x="850" y="613"/>
                    </a:lnTo>
                    <a:lnTo>
                      <a:pt x="841" y="613"/>
                    </a:lnTo>
                    <a:lnTo>
                      <a:pt x="832" y="613"/>
                    </a:lnTo>
                    <a:lnTo>
                      <a:pt x="818" y="608"/>
                    </a:lnTo>
                    <a:lnTo>
                      <a:pt x="818" y="604"/>
                    </a:lnTo>
                    <a:lnTo>
                      <a:pt x="809" y="599"/>
                    </a:lnTo>
                    <a:lnTo>
                      <a:pt x="800" y="595"/>
                    </a:lnTo>
                    <a:lnTo>
                      <a:pt x="795" y="595"/>
                    </a:lnTo>
                    <a:lnTo>
                      <a:pt x="790" y="595"/>
                    </a:lnTo>
                    <a:lnTo>
                      <a:pt x="790" y="590"/>
                    </a:lnTo>
                    <a:lnTo>
                      <a:pt x="790" y="585"/>
                    </a:lnTo>
                    <a:lnTo>
                      <a:pt x="795" y="585"/>
                    </a:lnTo>
                    <a:lnTo>
                      <a:pt x="800" y="585"/>
                    </a:lnTo>
                    <a:lnTo>
                      <a:pt x="804" y="585"/>
                    </a:lnTo>
                    <a:lnTo>
                      <a:pt x="804" y="576"/>
                    </a:lnTo>
                    <a:lnTo>
                      <a:pt x="800" y="572"/>
                    </a:lnTo>
                    <a:lnTo>
                      <a:pt x="795" y="572"/>
                    </a:lnTo>
                    <a:lnTo>
                      <a:pt x="804" y="567"/>
                    </a:lnTo>
                    <a:lnTo>
                      <a:pt x="809" y="563"/>
                    </a:lnTo>
                    <a:lnTo>
                      <a:pt x="813" y="567"/>
                    </a:lnTo>
                    <a:lnTo>
                      <a:pt x="818" y="572"/>
                    </a:lnTo>
                    <a:lnTo>
                      <a:pt x="827" y="572"/>
                    </a:lnTo>
                    <a:lnTo>
                      <a:pt x="836" y="563"/>
                    </a:lnTo>
                    <a:lnTo>
                      <a:pt x="832" y="553"/>
                    </a:lnTo>
                    <a:lnTo>
                      <a:pt x="827" y="549"/>
                    </a:lnTo>
                    <a:lnTo>
                      <a:pt x="827" y="540"/>
                    </a:lnTo>
                    <a:lnTo>
                      <a:pt x="818" y="526"/>
                    </a:lnTo>
                    <a:lnTo>
                      <a:pt x="818" y="517"/>
                    </a:lnTo>
                    <a:lnTo>
                      <a:pt x="818" y="512"/>
                    </a:lnTo>
                    <a:lnTo>
                      <a:pt x="818" y="508"/>
                    </a:lnTo>
                    <a:lnTo>
                      <a:pt x="818" y="503"/>
                    </a:lnTo>
                    <a:lnTo>
                      <a:pt x="818" y="499"/>
                    </a:lnTo>
                    <a:lnTo>
                      <a:pt x="813" y="485"/>
                    </a:lnTo>
                    <a:lnTo>
                      <a:pt x="809" y="467"/>
                    </a:lnTo>
                    <a:lnTo>
                      <a:pt x="809" y="457"/>
                    </a:lnTo>
                    <a:lnTo>
                      <a:pt x="809" y="453"/>
                    </a:lnTo>
                    <a:lnTo>
                      <a:pt x="804" y="444"/>
                    </a:lnTo>
                    <a:lnTo>
                      <a:pt x="809" y="439"/>
                    </a:lnTo>
                    <a:lnTo>
                      <a:pt x="818" y="430"/>
                    </a:lnTo>
                    <a:lnTo>
                      <a:pt x="818" y="425"/>
                    </a:lnTo>
                    <a:lnTo>
                      <a:pt x="818" y="421"/>
                    </a:lnTo>
                    <a:lnTo>
                      <a:pt x="822" y="421"/>
                    </a:lnTo>
                    <a:lnTo>
                      <a:pt x="832" y="416"/>
                    </a:lnTo>
                    <a:lnTo>
                      <a:pt x="827" y="403"/>
                    </a:lnTo>
                    <a:lnTo>
                      <a:pt x="822" y="398"/>
                    </a:lnTo>
                    <a:lnTo>
                      <a:pt x="822" y="393"/>
                    </a:lnTo>
                    <a:lnTo>
                      <a:pt x="832" y="393"/>
                    </a:lnTo>
                    <a:lnTo>
                      <a:pt x="841" y="384"/>
                    </a:lnTo>
                    <a:lnTo>
                      <a:pt x="841" y="371"/>
                    </a:lnTo>
                    <a:lnTo>
                      <a:pt x="845" y="357"/>
                    </a:lnTo>
                    <a:lnTo>
                      <a:pt x="845" y="348"/>
                    </a:lnTo>
                    <a:lnTo>
                      <a:pt x="841" y="343"/>
                    </a:lnTo>
                    <a:lnTo>
                      <a:pt x="841" y="334"/>
                    </a:lnTo>
                    <a:lnTo>
                      <a:pt x="841" y="329"/>
                    </a:lnTo>
                    <a:lnTo>
                      <a:pt x="850" y="329"/>
                    </a:lnTo>
                    <a:lnTo>
                      <a:pt x="868" y="329"/>
                    </a:lnTo>
                    <a:lnTo>
                      <a:pt x="873" y="334"/>
                    </a:lnTo>
                    <a:lnTo>
                      <a:pt x="877" y="329"/>
                    </a:lnTo>
                    <a:lnTo>
                      <a:pt x="882" y="329"/>
                    </a:lnTo>
                    <a:lnTo>
                      <a:pt x="886" y="329"/>
                    </a:lnTo>
                    <a:lnTo>
                      <a:pt x="886" y="334"/>
                    </a:lnTo>
                    <a:lnTo>
                      <a:pt x="891" y="334"/>
                    </a:lnTo>
                    <a:lnTo>
                      <a:pt x="896" y="339"/>
                    </a:lnTo>
                    <a:lnTo>
                      <a:pt x="900" y="348"/>
                    </a:lnTo>
                    <a:lnTo>
                      <a:pt x="905" y="352"/>
                    </a:lnTo>
                    <a:lnTo>
                      <a:pt x="909" y="357"/>
                    </a:lnTo>
                    <a:lnTo>
                      <a:pt x="918" y="357"/>
                    </a:lnTo>
                    <a:lnTo>
                      <a:pt x="918" y="352"/>
                    </a:lnTo>
                    <a:lnTo>
                      <a:pt x="923" y="352"/>
                    </a:lnTo>
                    <a:lnTo>
                      <a:pt x="928" y="352"/>
                    </a:lnTo>
                    <a:lnTo>
                      <a:pt x="928" y="348"/>
                    </a:lnTo>
                    <a:lnTo>
                      <a:pt x="932" y="343"/>
                    </a:lnTo>
                    <a:lnTo>
                      <a:pt x="946" y="334"/>
                    </a:lnTo>
                    <a:lnTo>
                      <a:pt x="950" y="329"/>
                    </a:lnTo>
                    <a:lnTo>
                      <a:pt x="950" y="329"/>
                    </a:lnTo>
                    <a:lnTo>
                      <a:pt x="955" y="329"/>
                    </a:lnTo>
                    <a:lnTo>
                      <a:pt x="960" y="329"/>
                    </a:lnTo>
                    <a:lnTo>
                      <a:pt x="964" y="329"/>
                    </a:lnTo>
                    <a:lnTo>
                      <a:pt x="973" y="334"/>
                    </a:lnTo>
                    <a:lnTo>
                      <a:pt x="973" y="334"/>
                    </a:lnTo>
                    <a:lnTo>
                      <a:pt x="973" y="329"/>
                    </a:lnTo>
                    <a:lnTo>
                      <a:pt x="973" y="329"/>
                    </a:lnTo>
                    <a:lnTo>
                      <a:pt x="978" y="325"/>
                    </a:lnTo>
                    <a:lnTo>
                      <a:pt x="978" y="320"/>
                    </a:lnTo>
                    <a:lnTo>
                      <a:pt x="978" y="311"/>
                    </a:lnTo>
                    <a:lnTo>
                      <a:pt x="978" y="307"/>
                    </a:lnTo>
                    <a:lnTo>
                      <a:pt x="973" y="302"/>
                    </a:lnTo>
                    <a:lnTo>
                      <a:pt x="973" y="293"/>
                    </a:lnTo>
                    <a:lnTo>
                      <a:pt x="973" y="293"/>
                    </a:lnTo>
                    <a:lnTo>
                      <a:pt x="973" y="288"/>
                    </a:lnTo>
                    <a:lnTo>
                      <a:pt x="973" y="288"/>
                    </a:lnTo>
                    <a:lnTo>
                      <a:pt x="973" y="284"/>
                    </a:lnTo>
                    <a:lnTo>
                      <a:pt x="978" y="279"/>
                    </a:lnTo>
                    <a:lnTo>
                      <a:pt x="982" y="279"/>
                    </a:lnTo>
                    <a:lnTo>
                      <a:pt x="987" y="275"/>
                    </a:lnTo>
                    <a:lnTo>
                      <a:pt x="987" y="270"/>
                    </a:lnTo>
                    <a:lnTo>
                      <a:pt x="992" y="265"/>
                    </a:lnTo>
                    <a:lnTo>
                      <a:pt x="992" y="265"/>
                    </a:lnTo>
                    <a:lnTo>
                      <a:pt x="996" y="261"/>
                    </a:lnTo>
                    <a:lnTo>
                      <a:pt x="1001" y="261"/>
                    </a:lnTo>
                    <a:lnTo>
                      <a:pt x="1005" y="252"/>
                    </a:lnTo>
                    <a:lnTo>
                      <a:pt x="1010" y="252"/>
                    </a:lnTo>
                    <a:lnTo>
                      <a:pt x="1010" y="247"/>
                    </a:lnTo>
                    <a:lnTo>
                      <a:pt x="1014" y="243"/>
                    </a:lnTo>
                    <a:lnTo>
                      <a:pt x="1014" y="243"/>
                    </a:lnTo>
                    <a:lnTo>
                      <a:pt x="1014" y="238"/>
                    </a:lnTo>
                    <a:lnTo>
                      <a:pt x="1014" y="233"/>
                    </a:lnTo>
                    <a:lnTo>
                      <a:pt x="1019" y="233"/>
                    </a:lnTo>
                    <a:lnTo>
                      <a:pt x="1019" y="229"/>
                    </a:lnTo>
                    <a:lnTo>
                      <a:pt x="1028" y="224"/>
                    </a:lnTo>
                    <a:lnTo>
                      <a:pt x="1037" y="220"/>
                    </a:lnTo>
                    <a:lnTo>
                      <a:pt x="1037" y="220"/>
                    </a:lnTo>
                    <a:lnTo>
                      <a:pt x="1046" y="220"/>
                    </a:lnTo>
                    <a:lnTo>
                      <a:pt x="1051" y="220"/>
                    </a:lnTo>
                    <a:lnTo>
                      <a:pt x="1056" y="220"/>
                    </a:lnTo>
                    <a:lnTo>
                      <a:pt x="1060" y="220"/>
                    </a:lnTo>
                    <a:lnTo>
                      <a:pt x="1060" y="215"/>
                    </a:lnTo>
                    <a:lnTo>
                      <a:pt x="1060" y="211"/>
                    </a:lnTo>
                    <a:lnTo>
                      <a:pt x="1060" y="201"/>
                    </a:lnTo>
                    <a:lnTo>
                      <a:pt x="1060" y="201"/>
                    </a:lnTo>
                    <a:lnTo>
                      <a:pt x="1060" y="197"/>
                    </a:lnTo>
                    <a:lnTo>
                      <a:pt x="1056" y="197"/>
                    </a:lnTo>
                    <a:lnTo>
                      <a:pt x="1051" y="197"/>
                    </a:lnTo>
                    <a:lnTo>
                      <a:pt x="1046" y="192"/>
                    </a:lnTo>
                    <a:lnTo>
                      <a:pt x="1046" y="188"/>
                    </a:lnTo>
                    <a:lnTo>
                      <a:pt x="1046" y="179"/>
                    </a:lnTo>
                    <a:lnTo>
                      <a:pt x="1042" y="179"/>
                    </a:lnTo>
                    <a:lnTo>
                      <a:pt x="1037" y="174"/>
                    </a:lnTo>
                    <a:lnTo>
                      <a:pt x="1037" y="169"/>
                    </a:lnTo>
                    <a:lnTo>
                      <a:pt x="1037" y="169"/>
                    </a:lnTo>
                    <a:lnTo>
                      <a:pt x="1037" y="165"/>
                    </a:lnTo>
                    <a:lnTo>
                      <a:pt x="1033" y="156"/>
                    </a:lnTo>
                    <a:lnTo>
                      <a:pt x="1033" y="156"/>
                    </a:lnTo>
                    <a:lnTo>
                      <a:pt x="1033" y="151"/>
                    </a:lnTo>
                    <a:lnTo>
                      <a:pt x="1028" y="147"/>
                    </a:lnTo>
                    <a:lnTo>
                      <a:pt x="1028" y="142"/>
                    </a:lnTo>
                    <a:lnTo>
                      <a:pt x="1024" y="137"/>
                    </a:lnTo>
                    <a:lnTo>
                      <a:pt x="1019" y="133"/>
                    </a:lnTo>
                    <a:lnTo>
                      <a:pt x="1019" y="133"/>
                    </a:lnTo>
                    <a:lnTo>
                      <a:pt x="1005" y="119"/>
                    </a:lnTo>
                    <a:lnTo>
                      <a:pt x="1001" y="119"/>
                    </a:lnTo>
                    <a:lnTo>
                      <a:pt x="1001" y="110"/>
                    </a:lnTo>
                    <a:lnTo>
                      <a:pt x="996" y="110"/>
                    </a:lnTo>
                    <a:lnTo>
                      <a:pt x="992" y="101"/>
                    </a:lnTo>
                    <a:lnTo>
                      <a:pt x="996" y="101"/>
                    </a:lnTo>
                    <a:lnTo>
                      <a:pt x="1001" y="101"/>
                    </a:lnTo>
                    <a:lnTo>
                      <a:pt x="1005" y="96"/>
                    </a:lnTo>
                    <a:lnTo>
                      <a:pt x="1014" y="87"/>
                    </a:lnTo>
                    <a:lnTo>
                      <a:pt x="1014" y="87"/>
                    </a:lnTo>
                    <a:lnTo>
                      <a:pt x="1014" y="83"/>
                    </a:lnTo>
                    <a:lnTo>
                      <a:pt x="1019" y="83"/>
                    </a:lnTo>
                    <a:lnTo>
                      <a:pt x="1028" y="73"/>
                    </a:lnTo>
                    <a:lnTo>
                      <a:pt x="1033" y="73"/>
                    </a:lnTo>
                    <a:lnTo>
                      <a:pt x="1037" y="69"/>
                    </a:lnTo>
                    <a:lnTo>
                      <a:pt x="1037" y="69"/>
                    </a:lnTo>
                    <a:lnTo>
                      <a:pt x="1051" y="69"/>
                    </a:lnTo>
                    <a:lnTo>
                      <a:pt x="1056" y="69"/>
                    </a:lnTo>
                    <a:lnTo>
                      <a:pt x="1065" y="69"/>
                    </a:lnTo>
                    <a:lnTo>
                      <a:pt x="1078" y="69"/>
                    </a:lnTo>
                    <a:lnTo>
                      <a:pt x="1083" y="69"/>
                    </a:lnTo>
                    <a:lnTo>
                      <a:pt x="1083" y="69"/>
                    </a:lnTo>
                    <a:lnTo>
                      <a:pt x="1083" y="69"/>
                    </a:lnTo>
                    <a:lnTo>
                      <a:pt x="1092" y="69"/>
                    </a:lnTo>
                    <a:lnTo>
                      <a:pt x="1101" y="69"/>
                    </a:lnTo>
                    <a:lnTo>
                      <a:pt x="1101" y="64"/>
                    </a:lnTo>
                    <a:lnTo>
                      <a:pt x="1106" y="64"/>
                    </a:lnTo>
                    <a:lnTo>
                      <a:pt x="1110" y="60"/>
                    </a:lnTo>
                    <a:lnTo>
                      <a:pt x="1115" y="51"/>
                    </a:lnTo>
                    <a:lnTo>
                      <a:pt x="1115" y="46"/>
                    </a:lnTo>
                    <a:lnTo>
                      <a:pt x="1115" y="41"/>
                    </a:lnTo>
                    <a:lnTo>
                      <a:pt x="1110" y="37"/>
                    </a:lnTo>
                    <a:lnTo>
                      <a:pt x="1106" y="32"/>
                    </a:lnTo>
                    <a:lnTo>
                      <a:pt x="1101" y="32"/>
                    </a:lnTo>
                    <a:lnTo>
                      <a:pt x="1101" y="28"/>
                    </a:lnTo>
                    <a:lnTo>
                      <a:pt x="1101" y="28"/>
                    </a:lnTo>
                    <a:lnTo>
                      <a:pt x="1092" y="32"/>
                    </a:lnTo>
                    <a:lnTo>
                      <a:pt x="1083" y="32"/>
                    </a:lnTo>
                    <a:lnTo>
                      <a:pt x="1083" y="28"/>
                    </a:lnTo>
                    <a:lnTo>
                      <a:pt x="1083" y="23"/>
                    </a:lnTo>
                    <a:lnTo>
                      <a:pt x="1083" y="23"/>
                    </a:lnTo>
                    <a:lnTo>
                      <a:pt x="1083" y="23"/>
                    </a:lnTo>
                    <a:lnTo>
                      <a:pt x="1088" y="19"/>
                    </a:lnTo>
                    <a:lnTo>
                      <a:pt x="1092" y="19"/>
                    </a:lnTo>
                    <a:lnTo>
                      <a:pt x="1097" y="14"/>
                    </a:lnTo>
                    <a:lnTo>
                      <a:pt x="1101" y="9"/>
                    </a:lnTo>
                    <a:lnTo>
                      <a:pt x="1101" y="5"/>
                    </a:lnTo>
                    <a:lnTo>
                      <a:pt x="1101" y="0"/>
                    </a:lnTo>
                    <a:lnTo>
                      <a:pt x="1106" y="0"/>
                    </a:lnTo>
                    <a:lnTo>
                      <a:pt x="1110" y="0"/>
                    </a:lnTo>
                    <a:lnTo>
                      <a:pt x="1115" y="0"/>
                    </a:lnTo>
                    <a:lnTo>
                      <a:pt x="1120" y="0"/>
                    </a:lnTo>
                    <a:lnTo>
                      <a:pt x="1124" y="5"/>
                    </a:lnTo>
                    <a:lnTo>
                      <a:pt x="1129" y="5"/>
                    </a:lnTo>
                    <a:lnTo>
                      <a:pt x="1142" y="5"/>
                    </a:lnTo>
                    <a:lnTo>
                      <a:pt x="1147" y="5"/>
                    </a:lnTo>
                    <a:lnTo>
                      <a:pt x="1161" y="9"/>
                    </a:lnTo>
                    <a:lnTo>
                      <a:pt x="1165" y="9"/>
                    </a:lnTo>
                    <a:lnTo>
                      <a:pt x="1170" y="9"/>
                    </a:lnTo>
                    <a:lnTo>
                      <a:pt x="1174" y="14"/>
                    </a:lnTo>
                    <a:lnTo>
                      <a:pt x="1193" y="19"/>
                    </a:lnTo>
                    <a:lnTo>
                      <a:pt x="1197" y="19"/>
                    </a:lnTo>
                    <a:lnTo>
                      <a:pt x="1211" y="23"/>
                    </a:lnTo>
                    <a:lnTo>
                      <a:pt x="1216" y="23"/>
                    </a:lnTo>
                    <a:lnTo>
                      <a:pt x="1229" y="23"/>
                    </a:lnTo>
                    <a:lnTo>
                      <a:pt x="1234" y="23"/>
                    </a:lnTo>
                    <a:lnTo>
                      <a:pt x="1234" y="28"/>
                    </a:lnTo>
                    <a:lnTo>
                      <a:pt x="1238" y="28"/>
                    </a:lnTo>
                    <a:lnTo>
                      <a:pt x="1243" y="28"/>
                    </a:lnTo>
                    <a:lnTo>
                      <a:pt x="1248" y="32"/>
                    </a:lnTo>
                    <a:lnTo>
                      <a:pt x="1252" y="32"/>
                    </a:lnTo>
                    <a:lnTo>
                      <a:pt x="1252" y="37"/>
                    </a:lnTo>
                    <a:lnTo>
                      <a:pt x="1248" y="41"/>
                    </a:lnTo>
                    <a:lnTo>
                      <a:pt x="1248" y="46"/>
                    </a:lnTo>
                    <a:lnTo>
                      <a:pt x="1248" y="46"/>
                    </a:lnTo>
                    <a:lnTo>
                      <a:pt x="1243" y="46"/>
                    </a:lnTo>
                    <a:lnTo>
                      <a:pt x="1243" y="51"/>
                    </a:lnTo>
                    <a:lnTo>
                      <a:pt x="1243" y="55"/>
                    </a:lnTo>
                    <a:lnTo>
                      <a:pt x="1243" y="60"/>
                    </a:lnTo>
                    <a:lnTo>
                      <a:pt x="1243" y="64"/>
                    </a:lnTo>
                    <a:lnTo>
                      <a:pt x="1248" y="69"/>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195" name="Freeform 15">
                <a:extLst>
                  <a:ext uri="{FF2B5EF4-FFF2-40B4-BE49-F238E27FC236}">
                    <a16:creationId xmlns:a16="http://schemas.microsoft.com/office/drawing/2014/main" id="{D031C4AC-BB78-488C-A2E5-147670F66EDB}"/>
                  </a:ext>
                </a:extLst>
              </p:cNvPr>
              <p:cNvSpPr>
                <a:spLocks/>
              </p:cNvSpPr>
              <p:nvPr>
                <p:custDataLst>
                  <p:tags r:id="rId12"/>
                </p:custDataLst>
              </p:nvPr>
            </p:nvSpPr>
            <p:spPr bwMode="auto">
              <a:xfrm>
                <a:off x="1305876" y="5142843"/>
                <a:ext cx="889283" cy="699038"/>
              </a:xfrm>
              <a:custGeom>
                <a:avLst/>
                <a:gdLst/>
                <a:ahLst/>
                <a:cxnLst>
                  <a:cxn ang="0">
                    <a:pos x="251" y="178"/>
                  </a:cxn>
                  <a:cxn ang="0">
                    <a:pos x="274" y="178"/>
                  </a:cxn>
                  <a:cxn ang="0">
                    <a:pos x="310" y="192"/>
                  </a:cxn>
                  <a:cxn ang="0">
                    <a:pos x="342" y="224"/>
                  </a:cxn>
                  <a:cxn ang="0">
                    <a:pos x="361" y="246"/>
                  </a:cxn>
                  <a:cxn ang="0">
                    <a:pos x="356" y="278"/>
                  </a:cxn>
                  <a:cxn ang="0">
                    <a:pos x="388" y="283"/>
                  </a:cxn>
                  <a:cxn ang="0">
                    <a:pos x="425" y="269"/>
                  </a:cxn>
                  <a:cxn ang="0">
                    <a:pos x="443" y="246"/>
                  </a:cxn>
                  <a:cxn ang="0">
                    <a:pos x="461" y="233"/>
                  </a:cxn>
                  <a:cxn ang="0">
                    <a:pos x="484" y="196"/>
                  </a:cxn>
                  <a:cxn ang="0">
                    <a:pos x="475" y="173"/>
                  </a:cxn>
                  <a:cxn ang="0">
                    <a:pos x="452" y="150"/>
                  </a:cxn>
                  <a:cxn ang="0">
                    <a:pos x="434" y="100"/>
                  </a:cxn>
                  <a:cxn ang="0">
                    <a:pos x="425" y="68"/>
                  </a:cxn>
                  <a:cxn ang="0">
                    <a:pos x="448" y="54"/>
                  </a:cxn>
                  <a:cxn ang="0">
                    <a:pos x="470" y="82"/>
                  </a:cxn>
                  <a:cxn ang="0">
                    <a:pos x="498" y="59"/>
                  </a:cxn>
                  <a:cxn ang="0">
                    <a:pos x="534" y="41"/>
                  </a:cxn>
                  <a:cxn ang="0">
                    <a:pos x="562" y="22"/>
                  </a:cxn>
                  <a:cxn ang="0">
                    <a:pos x="603" y="4"/>
                  </a:cxn>
                  <a:cxn ang="0">
                    <a:pos x="649" y="45"/>
                  </a:cxn>
                  <a:cxn ang="0">
                    <a:pos x="667" y="128"/>
                  </a:cxn>
                  <a:cxn ang="0">
                    <a:pos x="649" y="201"/>
                  </a:cxn>
                  <a:cxn ang="0">
                    <a:pos x="626" y="274"/>
                  </a:cxn>
                  <a:cxn ang="0">
                    <a:pos x="612" y="329"/>
                  </a:cxn>
                  <a:cxn ang="0">
                    <a:pos x="585" y="402"/>
                  </a:cxn>
                  <a:cxn ang="0">
                    <a:pos x="580" y="438"/>
                  </a:cxn>
                  <a:cxn ang="0">
                    <a:pos x="521" y="457"/>
                  </a:cxn>
                  <a:cxn ang="0">
                    <a:pos x="466" y="475"/>
                  </a:cxn>
                  <a:cxn ang="0">
                    <a:pos x="443" y="512"/>
                  </a:cxn>
                  <a:cxn ang="0">
                    <a:pos x="406" y="525"/>
                  </a:cxn>
                  <a:cxn ang="0">
                    <a:pos x="374" y="512"/>
                  </a:cxn>
                  <a:cxn ang="0">
                    <a:pos x="352" y="525"/>
                  </a:cxn>
                  <a:cxn ang="0">
                    <a:pos x="320" y="548"/>
                  </a:cxn>
                  <a:cxn ang="0">
                    <a:pos x="274" y="566"/>
                  </a:cxn>
                  <a:cxn ang="0">
                    <a:pos x="228" y="548"/>
                  </a:cxn>
                  <a:cxn ang="0">
                    <a:pos x="187" y="521"/>
                  </a:cxn>
                  <a:cxn ang="0">
                    <a:pos x="150" y="512"/>
                  </a:cxn>
                  <a:cxn ang="0">
                    <a:pos x="146" y="489"/>
                  </a:cxn>
                  <a:cxn ang="0">
                    <a:pos x="132" y="429"/>
                  </a:cxn>
                  <a:cxn ang="0">
                    <a:pos x="160" y="420"/>
                  </a:cxn>
                  <a:cxn ang="0">
                    <a:pos x="118" y="406"/>
                  </a:cxn>
                  <a:cxn ang="0">
                    <a:pos x="77" y="370"/>
                  </a:cxn>
                  <a:cxn ang="0">
                    <a:pos x="54" y="324"/>
                  </a:cxn>
                  <a:cxn ang="0">
                    <a:pos x="27" y="274"/>
                  </a:cxn>
                  <a:cxn ang="0">
                    <a:pos x="4" y="228"/>
                  </a:cxn>
                  <a:cxn ang="0">
                    <a:pos x="32" y="182"/>
                  </a:cxn>
                  <a:cxn ang="0">
                    <a:pos x="45" y="150"/>
                  </a:cxn>
                  <a:cxn ang="0">
                    <a:pos x="64" y="132"/>
                  </a:cxn>
                  <a:cxn ang="0">
                    <a:pos x="96" y="155"/>
                  </a:cxn>
                  <a:cxn ang="0">
                    <a:pos x="109" y="178"/>
                  </a:cxn>
                  <a:cxn ang="0">
                    <a:pos x="105" y="205"/>
                  </a:cxn>
                  <a:cxn ang="0">
                    <a:pos x="123" y="219"/>
                  </a:cxn>
                  <a:cxn ang="0">
                    <a:pos x="146" y="205"/>
                  </a:cxn>
                  <a:cxn ang="0">
                    <a:pos x="146" y="182"/>
                  </a:cxn>
                  <a:cxn ang="0">
                    <a:pos x="173" y="182"/>
                  </a:cxn>
                  <a:cxn ang="0">
                    <a:pos x="205" y="182"/>
                  </a:cxn>
                </a:cxnLst>
                <a:rect l="0" t="0" r="r" b="b"/>
                <a:pathLst>
                  <a:path w="667" h="566">
                    <a:moveTo>
                      <a:pt x="228" y="187"/>
                    </a:moveTo>
                    <a:lnTo>
                      <a:pt x="228" y="187"/>
                    </a:lnTo>
                    <a:lnTo>
                      <a:pt x="228" y="182"/>
                    </a:lnTo>
                    <a:lnTo>
                      <a:pt x="233" y="182"/>
                    </a:lnTo>
                    <a:lnTo>
                      <a:pt x="237" y="182"/>
                    </a:lnTo>
                    <a:lnTo>
                      <a:pt x="242" y="182"/>
                    </a:lnTo>
                    <a:lnTo>
                      <a:pt x="246" y="178"/>
                    </a:lnTo>
                    <a:lnTo>
                      <a:pt x="251" y="178"/>
                    </a:lnTo>
                    <a:lnTo>
                      <a:pt x="251" y="173"/>
                    </a:lnTo>
                    <a:lnTo>
                      <a:pt x="256" y="173"/>
                    </a:lnTo>
                    <a:lnTo>
                      <a:pt x="260" y="173"/>
                    </a:lnTo>
                    <a:lnTo>
                      <a:pt x="260" y="169"/>
                    </a:lnTo>
                    <a:lnTo>
                      <a:pt x="265" y="169"/>
                    </a:lnTo>
                    <a:lnTo>
                      <a:pt x="269" y="169"/>
                    </a:lnTo>
                    <a:lnTo>
                      <a:pt x="274" y="173"/>
                    </a:lnTo>
                    <a:lnTo>
                      <a:pt x="274" y="178"/>
                    </a:lnTo>
                    <a:lnTo>
                      <a:pt x="278" y="178"/>
                    </a:lnTo>
                    <a:lnTo>
                      <a:pt x="283" y="182"/>
                    </a:lnTo>
                    <a:lnTo>
                      <a:pt x="292" y="182"/>
                    </a:lnTo>
                    <a:lnTo>
                      <a:pt x="297" y="182"/>
                    </a:lnTo>
                    <a:lnTo>
                      <a:pt x="297" y="187"/>
                    </a:lnTo>
                    <a:lnTo>
                      <a:pt x="301" y="192"/>
                    </a:lnTo>
                    <a:lnTo>
                      <a:pt x="306" y="192"/>
                    </a:lnTo>
                    <a:lnTo>
                      <a:pt x="310" y="192"/>
                    </a:lnTo>
                    <a:lnTo>
                      <a:pt x="315" y="196"/>
                    </a:lnTo>
                    <a:lnTo>
                      <a:pt x="324" y="205"/>
                    </a:lnTo>
                    <a:lnTo>
                      <a:pt x="329" y="210"/>
                    </a:lnTo>
                    <a:lnTo>
                      <a:pt x="333" y="210"/>
                    </a:lnTo>
                    <a:lnTo>
                      <a:pt x="333" y="214"/>
                    </a:lnTo>
                    <a:lnTo>
                      <a:pt x="338" y="219"/>
                    </a:lnTo>
                    <a:lnTo>
                      <a:pt x="338" y="219"/>
                    </a:lnTo>
                    <a:lnTo>
                      <a:pt x="342" y="224"/>
                    </a:lnTo>
                    <a:lnTo>
                      <a:pt x="352" y="228"/>
                    </a:lnTo>
                    <a:lnTo>
                      <a:pt x="356" y="228"/>
                    </a:lnTo>
                    <a:lnTo>
                      <a:pt x="361" y="228"/>
                    </a:lnTo>
                    <a:lnTo>
                      <a:pt x="361" y="233"/>
                    </a:lnTo>
                    <a:lnTo>
                      <a:pt x="361" y="233"/>
                    </a:lnTo>
                    <a:lnTo>
                      <a:pt x="361" y="237"/>
                    </a:lnTo>
                    <a:lnTo>
                      <a:pt x="361" y="242"/>
                    </a:lnTo>
                    <a:lnTo>
                      <a:pt x="361" y="246"/>
                    </a:lnTo>
                    <a:lnTo>
                      <a:pt x="356" y="251"/>
                    </a:lnTo>
                    <a:lnTo>
                      <a:pt x="352" y="256"/>
                    </a:lnTo>
                    <a:lnTo>
                      <a:pt x="347" y="260"/>
                    </a:lnTo>
                    <a:lnTo>
                      <a:pt x="347" y="265"/>
                    </a:lnTo>
                    <a:lnTo>
                      <a:pt x="352" y="269"/>
                    </a:lnTo>
                    <a:lnTo>
                      <a:pt x="356" y="269"/>
                    </a:lnTo>
                    <a:lnTo>
                      <a:pt x="356" y="269"/>
                    </a:lnTo>
                    <a:lnTo>
                      <a:pt x="356" y="278"/>
                    </a:lnTo>
                    <a:lnTo>
                      <a:pt x="361" y="278"/>
                    </a:lnTo>
                    <a:lnTo>
                      <a:pt x="361" y="283"/>
                    </a:lnTo>
                    <a:lnTo>
                      <a:pt x="361" y="283"/>
                    </a:lnTo>
                    <a:lnTo>
                      <a:pt x="370" y="288"/>
                    </a:lnTo>
                    <a:lnTo>
                      <a:pt x="374" y="288"/>
                    </a:lnTo>
                    <a:lnTo>
                      <a:pt x="379" y="283"/>
                    </a:lnTo>
                    <a:lnTo>
                      <a:pt x="384" y="283"/>
                    </a:lnTo>
                    <a:lnTo>
                      <a:pt x="388" y="283"/>
                    </a:lnTo>
                    <a:lnTo>
                      <a:pt x="388" y="278"/>
                    </a:lnTo>
                    <a:lnTo>
                      <a:pt x="393" y="278"/>
                    </a:lnTo>
                    <a:lnTo>
                      <a:pt x="397" y="278"/>
                    </a:lnTo>
                    <a:lnTo>
                      <a:pt x="402" y="274"/>
                    </a:lnTo>
                    <a:lnTo>
                      <a:pt x="406" y="274"/>
                    </a:lnTo>
                    <a:lnTo>
                      <a:pt x="411" y="269"/>
                    </a:lnTo>
                    <a:lnTo>
                      <a:pt x="420" y="269"/>
                    </a:lnTo>
                    <a:lnTo>
                      <a:pt x="425" y="269"/>
                    </a:lnTo>
                    <a:lnTo>
                      <a:pt x="425" y="265"/>
                    </a:lnTo>
                    <a:lnTo>
                      <a:pt x="429" y="265"/>
                    </a:lnTo>
                    <a:lnTo>
                      <a:pt x="429" y="260"/>
                    </a:lnTo>
                    <a:lnTo>
                      <a:pt x="434" y="256"/>
                    </a:lnTo>
                    <a:lnTo>
                      <a:pt x="434" y="251"/>
                    </a:lnTo>
                    <a:lnTo>
                      <a:pt x="438" y="251"/>
                    </a:lnTo>
                    <a:lnTo>
                      <a:pt x="438" y="246"/>
                    </a:lnTo>
                    <a:lnTo>
                      <a:pt x="443" y="246"/>
                    </a:lnTo>
                    <a:lnTo>
                      <a:pt x="443" y="246"/>
                    </a:lnTo>
                    <a:lnTo>
                      <a:pt x="448" y="246"/>
                    </a:lnTo>
                    <a:lnTo>
                      <a:pt x="448" y="242"/>
                    </a:lnTo>
                    <a:lnTo>
                      <a:pt x="448" y="242"/>
                    </a:lnTo>
                    <a:lnTo>
                      <a:pt x="448" y="237"/>
                    </a:lnTo>
                    <a:lnTo>
                      <a:pt x="452" y="237"/>
                    </a:lnTo>
                    <a:lnTo>
                      <a:pt x="457" y="233"/>
                    </a:lnTo>
                    <a:lnTo>
                      <a:pt x="461" y="233"/>
                    </a:lnTo>
                    <a:lnTo>
                      <a:pt x="466" y="228"/>
                    </a:lnTo>
                    <a:lnTo>
                      <a:pt x="470" y="228"/>
                    </a:lnTo>
                    <a:lnTo>
                      <a:pt x="470" y="224"/>
                    </a:lnTo>
                    <a:lnTo>
                      <a:pt x="470" y="219"/>
                    </a:lnTo>
                    <a:lnTo>
                      <a:pt x="475" y="214"/>
                    </a:lnTo>
                    <a:lnTo>
                      <a:pt x="475" y="210"/>
                    </a:lnTo>
                    <a:lnTo>
                      <a:pt x="484" y="201"/>
                    </a:lnTo>
                    <a:lnTo>
                      <a:pt x="484" y="196"/>
                    </a:lnTo>
                    <a:lnTo>
                      <a:pt x="489" y="192"/>
                    </a:lnTo>
                    <a:lnTo>
                      <a:pt x="489" y="187"/>
                    </a:lnTo>
                    <a:lnTo>
                      <a:pt x="493" y="182"/>
                    </a:lnTo>
                    <a:lnTo>
                      <a:pt x="493" y="182"/>
                    </a:lnTo>
                    <a:lnTo>
                      <a:pt x="489" y="182"/>
                    </a:lnTo>
                    <a:lnTo>
                      <a:pt x="489" y="178"/>
                    </a:lnTo>
                    <a:lnTo>
                      <a:pt x="480" y="178"/>
                    </a:lnTo>
                    <a:lnTo>
                      <a:pt x="475" y="173"/>
                    </a:lnTo>
                    <a:lnTo>
                      <a:pt x="470" y="173"/>
                    </a:lnTo>
                    <a:lnTo>
                      <a:pt x="466" y="164"/>
                    </a:lnTo>
                    <a:lnTo>
                      <a:pt x="466" y="160"/>
                    </a:lnTo>
                    <a:lnTo>
                      <a:pt x="461" y="160"/>
                    </a:lnTo>
                    <a:lnTo>
                      <a:pt x="461" y="160"/>
                    </a:lnTo>
                    <a:lnTo>
                      <a:pt x="457" y="160"/>
                    </a:lnTo>
                    <a:lnTo>
                      <a:pt x="457" y="155"/>
                    </a:lnTo>
                    <a:lnTo>
                      <a:pt x="452" y="150"/>
                    </a:lnTo>
                    <a:lnTo>
                      <a:pt x="448" y="146"/>
                    </a:lnTo>
                    <a:lnTo>
                      <a:pt x="448" y="141"/>
                    </a:lnTo>
                    <a:lnTo>
                      <a:pt x="448" y="141"/>
                    </a:lnTo>
                    <a:lnTo>
                      <a:pt x="443" y="137"/>
                    </a:lnTo>
                    <a:lnTo>
                      <a:pt x="443" y="128"/>
                    </a:lnTo>
                    <a:lnTo>
                      <a:pt x="438" y="118"/>
                    </a:lnTo>
                    <a:lnTo>
                      <a:pt x="438" y="105"/>
                    </a:lnTo>
                    <a:lnTo>
                      <a:pt x="434" y="100"/>
                    </a:lnTo>
                    <a:lnTo>
                      <a:pt x="434" y="96"/>
                    </a:lnTo>
                    <a:lnTo>
                      <a:pt x="425" y="96"/>
                    </a:lnTo>
                    <a:lnTo>
                      <a:pt x="425" y="96"/>
                    </a:lnTo>
                    <a:lnTo>
                      <a:pt x="420" y="86"/>
                    </a:lnTo>
                    <a:lnTo>
                      <a:pt x="420" y="82"/>
                    </a:lnTo>
                    <a:lnTo>
                      <a:pt x="425" y="77"/>
                    </a:lnTo>
                    <a:lnTo>
                      <a:pt x="425" y="73"/>
                    </a:lnTo>
                    <a:lnTo>
                      <a:pt x="425" y="68"/>
                    </a:lnTo>
                    <a:lnTo>
                      <a:pt x="425" y="64"/>
                    </a:lnTo>
                    <a:lnTo>
                      <a:pt x="429" y="59"/>
                    </a:lnTo>
                    <a:lnTo>
                      <a:pt x="434" y="59"/>
                    </a:lnTo>
                    <a:lnTo>
                      <a:pt x="434" y="54"/>
                    </a:lnTo>
                    <a:lnTo>
                      <a:pt x="438" y="54"/>
                    </a:lnTo>
                    <a:lnTo>
                      <a:pt x="443" y="54"/>
                    </a:lnTo>
                    <a:lnTo>
                      <a:pt x="448" y="54"/>
                    </a:lnTo>
                    <a:lnTo>
                      <a:pt x="448" y="54"/>
                    </a:lnTo>
                    <a:lnTo>
                      <a:pt x="452" y="54"/>
                    </a:lnTo>
                    <a:lnTo>
                      <a:pt x="457" y="59"/>
                    </a:lnTo>
                    <a:lnTo>
                      <a:pt x="466" y="64"/>
                    </a:lnTo>
                    <a:lnTo>
                      <a:pt x="466" y="68"/>
                    </a:lnTo>
                    <a:lnTo>
                      <a:pt x="470" y="73"/>
                    </a:lnTo>
                    <a:lnTo>
                      <a:pt x="470" y="73"/>
                    </a:lnTo>
                    <a:lnTo>
                      <a:pt x="470" y="77"/>
                    </a:lnTo>
                    <a:lnTo>
                      <a:pt x="470" y="82"/>
                    </a:lnTo>
                    <a:lnTo>
                      <a:pt x="475" y="82"/>
                    </a:lnTo>
                    <a:lnTo>
                      <a:pt x="480" y="77"/>
                    </a:lnTo>
                    <a:lnTo>
                      <a:pt x="480" y="73"/>
                    </a:lnTo>
                    <a:lnTo>
                      <a:pt x="484" y="73"/>
                    </a:lnTo>
                    <a:lnTo>
                      <a:pt x="489" y="68"/>
                    </a:lnTo>
                    <a:lnTo>
                      <a:pt x="489" y="64"/>
                    </a:lnTo>
                    <a:lnTo>
                      <a:pt x="493" y="64"/>
                    </a:lnTo>
                    <a:lnTo>
                      <a:pt x="498" y="59"/>
                    </a:lnTo>
                    <a:lnTo>
                      <a:pt x="498" y="54"/>
                    </a:lnTo>
                    <a:lnTo>
                      <a:pt x="502" y="54"/>
                    </a:lnTo>
                    <a:lnTo>
                      <a:pt x="507" y="54"/>
                    </a:lnTo>
                    <a:lnTo>
                      <a:pt x="507" y="50"/>
                    </a:lnTo>
                    <a:lnTo>
                      <a:pt x="512" y="50"/>
                    </a:lnTo>
                    <a:lnTo>
                      <a:pt x="516" y="50"/>
                    </a:lnTo>
                    <a:lnTo>
                      <a:pt x="525" y="45"/>
                    </a:lnTo>
                    <a:lnTo>
                      <a:pt x="534" y="41"/>
                    </a:lnTo>
                    <a:lnTo>
                      <a:pt x="534" y="36"/>
                    </a:lnTo>
                    <a:lnTo>
                      <a:pt x="539" y="36"/>
                    </a:lnTo>
                    <a:lnTo>
                      <a:pt x="539" y="32"/>
                    </a:lnTo>
                    <a:lnTo>
                      <a:pt x="548" y="32"/>
                    </a:lnTo>
                    <a:lnTo>
                      <a:pt x="557" y="32"/>
                    </a:lnTo>
                    <a:lnTo>
                      <a:pt x="557" y="27"/>
                    </a:lnTo>
                    <a:lnTo>
                      <a:pt x="562" y="27"/>
                    </a:lnTo>
                    <a:lnTo>
                      <a:pt x="562" y="22"/>
                    </a:lnTo>
                    <a:lnTo>
                      <a:pt x="566" y="22"/>
                    </a:lnTo>
                    <a:lnTo>
                      <a:pt x="576" y="18"/>
                    </a:lnTo>
                    <a:lnTo>
                      <a:pt x="580" y="13"/>
                    </a:lnTo>
                    <a:lnTo>
                      <a:pt x="585" y="13"/>
                    </a:lnTo>
                    <a:lnTo>
                      <a:pt x="589" y="9"/>
                    </a:lnTo>
                    <a:lnTo>
                      <a:pt x="594" y="9"/>
                    </a:lnTo>
                    <a:lnTo>
                      <a:pt x="598" y="4"/>
                    </a:lnTo>
                    <a:lnTo>
                      <a:pt x="603" y="4"/>
                    </a:lnTo>
                    <a:lnTo>
                      <a:pt x="603" y="4"/>
                    </a:lnTo>
                    <a:lnTo>
                      <a:pt x="626" y="4"/>
                    </a:lnTo>
                    <a:lnTo>
                      <a:pt x="626" y="4"/>
                    </a:lnTo>
                    <a:lnTo>
                      <a:pt x="640" y="0"/>
                    </a:lnTo>
                    <a:lnTo>
                      <a:pt x="644" y="9"/>
                    </a:lnTo>
                    <a:lnTo>
                      <a:pt x="644" y="18"/>
                    </a:lnTo>
                    <a:lnTo>
                      <a:pt x="644" y="32"/>
                    </a:lnTo>
                    <a:lnTo>
                      <a:pt x="649" y="45"/>
                    </a:lnTo>
                    <a:lnTo>
                      <a:pt x="653" y="50"/>
                    </a:lnTo>
                    <a:lnTo>
                      <a:pt x="658" y="68"/>
                    </a:lnTo>
                    <a:lnTo>
                      <a:pt x="662" y="82"/>
                    </a:lnTo>
                    <a:lnTo>
                      <a:pt x="662" y="86"/>
                    </a:lnTo>
                    <a:lnTo>
                      <a:pt x="662" y="96"/>
                    </a:lnTo>
                    <a:lnTo>
                      <a:pt x="662" y="100"/>
                    </a:lnTo>
                    <a:lnTo>
                      <a:pt x="667" y="118"/>
                    </a:lnTo>
                    <a:lnTo>
                      <a:pt x="667" y="128"/>
                    </a:lnTo>
                    <a:lnTo>
                      <a:pt x="667" y="141"/>
                    </a:lnTo>
                    <a:lnTo>
                      <a:pt x="667" y="150"/>
                    </a:lnTo>
                    <a:lnTo>
                      <a:pt x="662" y="150"/>
                    </a:lnTo>
                    <a:lnTo>
                      <a:pt x="658" y="160"/>
                    </a:lnTo>
                    <a:lnTo>
                      <a:pt x="658" y="173"/>
                    </a:lnTo>
                    <a:lnTo>
                      <a:pt x="653" y="178"/>
                    </a:lnTo>
                    <a:lnTo>
                      <a:pt x="653" y="187"/>
                    </a:lnTo>
                    <a:lnTo>
                      <a:pt x="649" y="201"/>
                    </a:lnTo>
                    <a:lnTo>
                      <a:pt x="644" y="210"/>
                    </a:lnTo>
                    <a:lnTo>
                      <a:pt x="644" y="224"/>
                    </a:lnTo>
                    <a:lnTo>
                      <a:pt x="640" y="228"/>
                    </a:lnTo>
                    <a:lnTo>
                      <a:pt x="635" y="233"/>
                    </a:lnTo>
                    <a:lnTo>
                      <a:pt x="630" y="237"/>
                    </a:lnTo>
                    <a:lnTo>
                      <a:pt x="630" y="246"/>
                    </a:lnTo>
                    <a:lnTo>
                      <a:pt x="626" y="265"/>
                    </a:lnTo>
                    <a:lnTo>
                      <a:pt x="626" y="274"/>
                    </a:lnTo>
                    <a:lnTo>
                      <a:pt x="626" y="278"/>
                    </a:lnTo>
                    <a:lnTo>
                      <a:pt x="626" y="283"/>
                    </a:lnTo>
                    <a:lnTo>
                      <a:pt x="626" y="283"/>
                    </a:lnTo>
                    <a:lnTo>
                      <a:pt x="617" y="292"/>
                    </a:lnTo>
                    <a:lnTo>
                      <a:pt x="612" y="297"/>
                    </a:lnTo>
                    <a:lnTo>
                      <a:pt x="612" y="310"/>
                    </a:lnTo>
                    <a:lnTo>
                      <a:pt x="612" y="315"/>
                    </a:lnTo>
                    <a:lnTo>
                      <a:pt x="612" y="329"/>
                    </a:lnTo>
                    <a:lnTo>
                      <a:pt x="608" y="338"/>
                    </a:lnTo>
                    <a:lnTo>
                      <a:pt x="603" y="342"/>
                    </a:lnTo>
                    <a:lnTo>
                      <a:pt x="594" y="352"/>
                    </a:lnTo>
                    <a:lnTo>
                      <a:pt x="585" y="361"/>
                    </a:lnTo>
                    <a:lnTo>
                      <a:pt x="585" y="370"/>
                    </a:lnTo>
                    <a:lnTo>
                      <a:pt x="589" y="379"/>
                    </a:lnTo>
                    <a:lnTo>
                      <a:pt x="589" y="393"/>
                    </a:lnTo>
                    <a:lnTo>
                      <a:pt x="585" y="402"/>
                    </a:lnTo>
                    <a:lnTo>
                      <a:pt x="580" y="402"/>
                    </a:lnTo>
                    <a:lnTo>
                      <a:pt x="571" y="411"/>
                    </a:lnTo>
                    <a:lnTo>
                      <a:pt x="571" y="416"/>
                    </a:lnTo>
                    <a:lnTo>
                      <a:pt x="571" y="425"/>
                    </a:lnTo>
                    <a:lnTo>
                      <a:pt x="576" y="425"/>
                    </a:lnTo>
                    <a:lnTo>
                      <a:pt x="576" y="425"/>
                    </a:lnTo>
                    <a:lnTo>
                      <a:pt x="580" y="429"/>
                    </a:lnTo>
                    <a:lnTo>
                      <a:pt x="580" y="438"/>
                    </a:lnTo>
                    <a:lnTo>
                      <a:pt x="576" y="443"/>
                    </a:lnTo>
                    <a:lnTo>
                      <a:pt x="562" y="448"/>
                    </a:lnTo>
                    <a:lnTo>
                      <a:pt x="557" y="448"/>
                    </a:lnTo>
                    <a:lnTo>
                      <a:pt x="557" y="452"/>
                    </a:lnTo>
                    <a:lnTo>
                      <a:pt x="544" y="457"/>
                    </a:lnTo>
                    <a:lnTo>
                      <a:pt x="534" y="457"/>
                    </a:lnTo>
                    <a:lnTo>
                      <a:pt x="530" y="457"/>
                    </a:lnTo>
                    <a:lnTo>
                      <a:pt x="521" y="457"/>
                    </a:lnTo>
                    <a:lnTo>
                      <a:pt x="507" y="457"/>
                    </a:lnTo>
                    <a:lnTo>
                      <a:pt x="498" y="461"/>
                    </a:lnTo>
                    <a:lnTo>
                      <a:pt x="493" y="466"/>
                    </a:lnTo>
                    <a:lnTo>
                      <a:pt x="489" y="475"/>
                    </a:lnTo>
                    <a:lnTo>
                      <a:pt x="484" y="480"/>
                    </a:lnTo>
                    <a:lnTo>
                      <a:pt x="480" y="475"/>
                    </a:lnTo>
                    <a:lnTo>
                      <a:pt x="470" y="475"/>
                    </a:lnTo>
                    <a:lnTo>
                      <a:pt x="466" y="475"/>
                    </a:lnTo>
                    <a:lnTo>
                      <a:pt x="461" y="480"/>
                    </a:lnTo>
                    <a:lnTo>
                      <a:pt x="461" y="489"/>
                    </a:lnTo>
                    <a:lnTo>
                      <a:pt x="461" y="489"/>
                    </a:lnTo>
                    <a:lnTo>
                      <a:pt x="461" y="498"/>
                    </a:lnTo>
                    <a:lnTo>
                      <a:pt x="457" y="507"/>
                    </a:lnTo>
                    <a:lnTo>
                      <a:pt x="448" y="512"/>
                    </a:lnTo>
                    <a:lnTo>
                      <a:pt x="448" y="512"/>
                    </a:lnTo>
                    <a:lnTo>
                      <a:pt x="443" y="512"/>
                    </a:lnTo>
                    <a:lnTo>
                      <a:pt x="438" y="512"/>
                    </a:lnTo>
                    <a:lnTo>
                      <a:pt x="434" y="512"/>
                    </a:lnTo>
                    <a:lnTo>
                      <a:pt x="425" y="512"/>
                    </a:lnTo>
                    <a:lnTo>
                      <a:pt x="425" y="512"/>
                    </a:lnTo>
                    <a:lnTo>
                      <a:pt x="425" y="512"/>
                    </a:lnTo>
                    <a:lnTo>
                      <a:pt x="416" y="512"/>
                    </a:lnTo>
                    <a:lnTo>
                      <a:pt x="411" y="516"/>
                    </a:lnTo>
                    <a:lnTo>
                      <a:pt x="406" y="525"/>
                    </a:lnTo>
                    <a:lnTo>
                      <a:pt x="406" y="525"/>
                    </a:lnTo>
                    <a:lnTo>
                      <a:pt x="402" y="530"/>
                    </a:lnTo>
                    <a:lnTo>
                      <a:pt x="397" y="530"/>
                    </a:lnTo>
                    <a:lnTo>
                      <a:pt x="393" y="530"/>
                    </a:lnTo>
                    <a:lnTo>
                      <a:pt x="384" y="521"/>
                    </a:lnTo>
                    <a:lnTo>
                      <a:pt x="384" y="516"/>
                    </a:lnTo>
                    <a:lnTo>
                      <a:pt x="379" y="512"/>
                    </a:lnTo>
                    <a:lnTo>
                      <a:pt x="374" y="512"/>
                    </a:lnTo>
                    <a:lnTo>
                      <a:pt x="370" y="507"/>
                    </a:lnTo>
                    <a:lnTo>
                      <a:pt x="365" y="507"/>
                    </a:lnTo>
                    <a:lnTo>
                      <a:pt x="361" y="512"/>
                    </a:lnTo>
                    <a:lnTo>
                      <a:pt x="361" y="512"/>
                    </a:lnTo>
                    <a:lnTo>
                      <a:pt x="361" y="512"/>
                    </a:lnTo>
                    <a:lnTo>
                      <a:pt x="356" y="521"/>
                    </a:lnTo>
                    <a:lnTo>
                      <a:pt x="356" y="525"/>
                    </a:lnTo>
                    <a:lnTo>
                      <a:pt x="352" y="525"/>
                    </a:lnTo>
                    <a:lnTo>
                      <a:pt x="352" y="530"/>
                    </a:lnTo>
                    <a:lnTo>
                      <a:pt x="338" y="534"/>
                    </a:lnTo>
                    <a:lnTo>
                      <a:pt x="338" y="534"/>
                    </a:lnTo>
                    <a:lnTo>
                      <a:pt x="338" y="534"/>
                    </a:lnTo>
                    <a:lnTo>
                      <a:pt x="333" y="534"/>
                    </a:lnTo>
                    <a:lnTo>
                      <a:pt x="329" y="539"/>
                    </a:lnTo>
                    <a:lnTo>
                      <a:pt x="324" y="544"/>
                    </a:lnTo>
                    <a:lnTo>
                      <a:pt x="320" y="548"/>
                    </a:lnTo>
                    <a:lnTo>
                      <a:pt x="315" y="548"/>
                    </a:lnTo>
                    <a:lnTo>
                      <a:pt x="310" y="553"/>
                    </a:lnTo>
                    <a:lnTo>
                      <a:pt x="297" y="557"/>
                    </a:lnTo>
                    <a:lnTo>
                      <a:pt x="288" y="557"/>
                    </a:lnTo>
                    <a:lnTo>
                      <a:pt x="283" y="562"/>
                    </a:lnTo>
                    <a:lnTo>
                      <a:pt x="278" y="566"/>
                    </a:lnTo>
                    <a:lnTo>
                      <a:pt x="274" y="566"/>
                    </a:lnTo>
                    <a:lnTo>
                      <a:pt x="274" y="566"/>
                    </a:lnTo>
                    <a:lnTo>
                      <a:pt x="269" y="566"/>
                    </a:lnTo>
                    <a:lnTo>
                      <a:pt x="265" y="562"/>
                    </a:lnTo>
                    <a:lnTo>
                      <a:pt x="260" y="557"/>
                    </a:lnTo>
                    <a:lnTo>
                      <a:pt x="256" y="557"/>
                    </a:lnTo>
                    <a:lnTo>
                      <a:pt x="251" y="553"/>
                    </a:lnTo>
                    <a:lnTo>
                      <a:pt x="242" y="553"/>
                    </a:lnTo>
                    <a:lnTo>
                      <a:pt x="233" y="548"/>
                    </a:lnTo>
                    <a:lnTo>
                      <a:pt x="228" y="548"/>
                    </a:lnTo>
                    <a:lnTo>
                      <a:pt x="224" y="544"/>
                    </a:lnTo>
                    <a:lnTo>
                      <a:pt x="214" y="539"/>
                    </a:lnTo>
                    <a:lnTo>
                      <a:pt x="210" y="539"/>
                    </a:lnTo>
                    <a:lnTo>
                      <a:pt x="205" y="539"/>
                    </a:lnTo>
                    <a:lnTo>
                      <a:pt x="205" y="534"/>
                    </a:lnTo>
                    <a:lnTo>
                      <a:pt x="205" y="534"/>
                    </a:lnTo>
                    <a:lnTo>
                      <a:pt x="187" y="525"/>
                    </a:lnTo>
                    <a:lnTo>
                      <a:pt x="187" y="521"/>
                    </a:lnTo>
                    <a:lnTo>
                      <a:pt x="182" y="516"/>
                    </a:lnTo>
                    <a:lnTo>
                      <a:pt x="178" y="516"/>
                    </a:lnTo>
                    <a:lnTo>
                      <a:pt x="173" y="512"/>
                    </a:lnTo>
                    <a:lnTo>
                      <a:pt x="169" y="512"/>
                    </a:lnTo>
                    <a:lnTo>
                      <a:pt x="164" y="512"/>
                    </a:lnTo>
                    <a:lnTo>
                      <a:pt x="150" y="516"/>
                    </a:lnTo>
                    <a:lnTo>
                      <a:pt x="150" y="512"/>
                    </a:lnTo>
                    <a:lnTo>
                      <a:pt x="150" y="512"/>
                    </a:lnTo>
                    <a:lnTo>
                      <a:pt x="146" y="507"/>
                    </a:lnTo>
                    <a:lnTo>
                      <a:pt x="146" y="502"/>
                    </a:lnTo>
                    <a:lnTo>
                      <a:pt x="146" y="502"/>
                    </a:lnTo>
                    <a:lnTo>
                      <a:pt x="146" y="502"/>
                    </a:lnTo>
                    <a:lnTo>
                      <a:pt x="146" y="498"/>
                    </a:lnTo>
                    <a:lnTo>
                      <a:pt x="146" y="498"/>
                    </a:lnTo>
                    <a:lnTo>
                      <a:pt x="146" y="493"/>
                    </a:lnTo>
                    <a:lnTo>
                      <a:pt x="146" y="489"/>
                    </a:lnTo>
                    <a:lnTo>
                      <a:pt x="141" y="475"/>
                    </a:lnTo>
                    <a:lnTo>
                      <a:pt x="141" y="470"/>
                    </a:lnTo>
                    <a:lnTo>
                      <a:pt x="137" y="448"/>
                    </a:lnTo>
                    <a:lnTo>
                      <a:pt x="137" y="443"/>
                    </a:lnTo>
                    <a:lnTo>
                      <a:pt x="137" y="438"/>
                    </a:lnTo>
                    <a:lnTo>
                      <a:pt x="132" y="434"/>
                    </a:lnTo>
                    <a:lnTo>
                      <a:pt x="132" y="429"/>
                    </a:lnTo>
                    <a:lnTo>
                      <a:pt x="132" y="429"/>
                    </a:lnTo>
                    <a:lnTo>
                      <a:pt x="137" y="429"/>
                    </a:lnTo>
                    <a:lnTo>
                      <a:pt x="137" y="429"/>
                    </a:lnTo>
                    <a:lnTo>
                      <a:pt x="146" y="429"/>
                    </a:lnTo>
                    <a:lnTo>
                      <a:pt x="146" y="429"/>
                    </a:lnTo>
                    <a:lnTo>
                      <a:pt x="155" y="429"/>
                    </a:lnTo>
                    <a:lnTo>
                      <a:pt x="160" y="429"/>
                    </a:lnTo>
                    <a:lnTo>
                      <a:pt x="160" y="425"/>
                    </a:lnTo>
                    <a:lnTo>
                      <a:pt x="160" y="420"/>
                    </a:lnTo>
                    <a:lnTo>
                      <a:pt x="150" y="420"/>
                    </a:lnTo>
                    <a:lnTo>
                      <a:pt x="150" y="416"/>
                    </a:lnTo>
                    <a:lnTo>
                      <a:pt x="141" y="416"/>
                    </a:lnTo>
                    <a:lnTo>
                      <a:pt x="141" y="416"/>
                    </a:lnTo>
                    <a:lnTo>
                      <a:pt x="132" y="411"/>
                    </a:lnTo>
                    <a:lnTo>
                      <a:pt x="123" y="406"/>
                    </a:lnTo>
                    <a:lnTo>
                      <a:pt x="118" y="406"/>
                    </a:lnTo>
                    <a:lnTo>
                      <a:pt x="118" y="406"/>
                    </a:lnTo>
                    <a:lnTo>
                      <a:pt x="109" y="402"/>
                    </a:lnTo>
                    <a:lnTo>
                      <a:pt x="105" y="397"/>
                    </a:lnTo>
                    <a:lnTo>
                      <a:pt x="105" y="397"/>
                    </a:lnTo>
                    <a:lnTo>
                      <a:pt x="100" y="397"/>
                    </a:lnTo>
                    <a:lnTo>
                      <a:pt x="82" y="379"/>
                    </a:lnTo>
                    <a:lnTo>
                      <a:pt x="82" y="374"/>
                    </a:lnTo>
                    <a:lnTo>
                      <a:pt x="77" y="374"/>
                    </a:lnTo>
                    <a:lnTo>
                      <a:pt x="77" y="370"/>
                    </a:lnTo>
                    <a:lnTo>
                      <a:pt x="77" y="361"/>
                    </a:lnTo>
                    <a:lnTo>
                      <a:pt x="77" y="356"/>
                    </a:lnTo>
                    <a:lnTo>
                      <a:pt x="77" y="347"/>
                    </a:lnTo>
                    <a:lnTo>
                      <a:pt x="77" y="347"/>
                    </a:lnTo>
                    <a:lnTo>
                      <a:pt x="64" y="333"/>
                    </a:lnTo>
                    <a:lnTo>
                      <a:pt x="59" y="333"/>
                    </a:lnTo>
                    <a:lnTo>
                      <a:pt x="59" y="324"/>
                    </a:lnTo>
                    <a:lnTo>
                      <a:pt x="54" y="324"/>
                    </a:lnTo>
                    <a:lnTo>
                      <a:pt x="45" y="310"/>
                    </a:lnTo>
                    <a:lnTo>
                      <a:pt x="41" y="301"/>
                    </a:lnTo>
                    <a:lnTo>
                      <a:pt x="41" y="297"/>
                    </a:lnTo>
                    <a:lnTo>
                      <a:pt x="36" y="292"/>
                    </a:lnTo>
                    <a:lnTo>
                      <a:pt x="36" y="288"/>
                    </a:lnTo>
                    <a:lnTo>
                      <a:pt x="41" y="283"/>
                    </a:lnTo>
                    <a:lnTo>
                      <a:pt x="32" y="278"/>
                    </a:lnTo>
                    <a:lnTo>
                      <a:pt x="27" y="274"/>
                    </a:lnTo>
                    <a:lnTo>
                      <a:pt x="22" y="274"/>
                    </a:lnTo>
                    <a:lnTo>
                      <a:pt x="13" y="256"/>
                    </a:lnTo>
                    <a:lnTo>
                      <a:pt x="9" y="246"/>
                    </a:lnTo>
                    <a:lnTo>
                      <a:pt x="9" y="246"/>
                    </a:lnTo>
                    <a:lnTo>
                      <a:pt x="9" y="242"/>
                    </a:lnTo>
                    <a:lnTo>
                      <a:pt x="4" y="233"/>
                    </a:lnTo>
                    <a:lnTo>
                      <a:pt x="0" y="228"/>
                    </a:lnTo>
                    <a:lnTo>
                      <a:pt x="4" y="228"/>
                    </a:lnTo>
                    <a:lnTo>
                      <a:pt x="13" y="214"/>
                    </a:lnTo>
                    <a:lnTo>
                      <a:pt x="18" y="205"/>
                    </a:lnTo>
                    <a:lnTo>
                      <a:pt x="18" y="205"/>
                    </a:lnTo>
                    <a:lnTo>
                      <a:pt x="18" y="196"/>
                    </a:lnTo>
                    <a:lnTo>
                      <a:pt x="27" y="192"/>
                    </a:lnTo>
                    <a:lnTo>
                      <a:pt x="27" y="187"/>
                    </a:lnTo>
                    <a:lnTo>
                      <a:pt x="32" y="182"/>
                    </a:lnTo>
                    <a:lnTo>
                      <a:pt x="32" y="182"/>
                    </a:lnTo>
                    <a:lnTo>
                      <a:pt x="32" y="178"/>
                    </a:lnTo>
                    <a:lnTo>
                      <a:pt x="32" y="178"/>
                    </a:lnTo>
                    <a:lnTo>
                      <a:pt x="32" y="173"/>
                    </a:lnTo>
                    <a:lnTo>
                      <a:pt x="36" y="169"/>
                    </a:lnTo>
                    <a:lnTo>
                      <a:pt x="36" y="160"/>
                    </a:lnTo>
                    <a:lnTo>
                      <a:pt x="41" y="160"/>
                    </a:lnTo>
                    <a:lnTo>
                      <a:pt x="41" y="160"/>
                    </a:lnTo>
                    <a:lnTo>
                      <a:pt x="45" y="150"/>
                    </a:lnTo>
                    <a:lnTo>
                      <a:pt x="45" y="146"/>
                    </a:lnTo>
                    <a:lnTo>
                      <a:pt x="45" y="141"/>
                    </a:lnTo>
                    <a:lnTo>
                      <a:pt x="50" y="141"/>
                    </a:lnTo>
                    <a:lnTo>
                      <a:pt x="50" y="141"/>
                    </a:lnTo>
                    <a:lnTo>
                      <a:pt x="54" y="137"/>
                    </a:lnTo>
                    <a:lnTo>
                      <a:pt x="54" y="132"/>
                    </a:lnTo>
                    <a:lnTo>
                      <a:pt x="59" y="128"/>
                    </a:lnTo>
                    <a:lnTo>
                      <a:pt x="64" y="132"/>
                    </a:lnTo>
                    <a:lnTo>
                      <a:pt x="68" y="132"/>
                    </a:lnTo>
                    <a:lnTo>
                      <a:pt x="73" y="137"/>
                    </a:lnTo>
                    <a:lnTo>
                      <a:pt x="77" y="141"/>
                    </a:lnTo>
                    <a:lnTo>
                      <a:pt x="77" y="141"/>
                    </a:lnTo>
                    <a:lnTo>
                      <a:pt x="82" y="141"/>
                    </a:lnTo>
                    <a:lnTo>
                      <a:pt x="86" y="146"/>
                    </a:lnTo>
                    <a:lnTo>
                      <a:pt x="91" y="150"/>
                    </a:lnTo>
                    <a:lnTo>
                      <a:pt x="96" y="155"/>
                    </a:lnTo>
                    <a:lnTo>
                      <a:pt x="96" y="160"/>
                    </a:lnTo>
                    <a:lnTo>
                      <a:pt x="96" y="160"/>
                    </a:lnTo>
                    <a:lnTo>
                      <a:pt x="96" y="164"/>
                    </a:lnTo>
                    <a:lnTo>
                      <a:pt x="100" y="164"/>
                    </a:lnTo>
                    <a:lnTo>
                      <a:pt x="105" y="164"/>
                    </a:lnTo>
                    <a:lnTo>
                      <a:pt x="105" y="169"/>
                    </a:lnTo>
                    <a:lnTo>
                      <a:pt x="109" y="173"/>
                    </a:lnTo>
                    <a:lnTo>
                      <a:pt x="109" y="178"/>
                    </a:lnTo>
                    <a:lnTo>
                      <a:pt x="109" y="182"/>
                    </a:lnTo>
                    <a:lnTo>
                      <a:pt x="105" y="182"/>
                    </a:lnTo>
                    <a:lnTo>
                      <a:pt x="105" y="187"/>
                    </a:lnTo>
                    <a:lnTo>
                      <a:pt x="100" y="192"/>
                    </a:lnTo>
                    <a:lnTo>
                      <a:pt x="100" y="196"/>
                    </a:lnTo>
                    <a:lnTo>
                      <a:pt x="105" y="201"/>
                    </a:lnTo>
                    <a:lnTo>
                      <a:pt x="105" y="205"/>
                    </a:lnTo>
                    <a:lnTo>
                      <a:pt x="105" y="205"/>
                    </a:lnTo>
                    <a:lnTo>
                      <a:pt x="105" y="210"/>
                    </a:lnTo>
                    <a:lnTo>
                      <a:pt x="109" y="210"/>
                    </a:lnTo>
                    <a:lnTo>
                      <a:pt x="109" y="214"/>
                    </a:lnTo>
                    <a:lnTo>
                      <a:pt x="114" y="219"/>
                    </a:lnTo>
                    <a:lnTo>
                      <a:pt x="114" y="224"/>
                    </a:lnTo>
                    <a:lnTo>
                      <a:pt x="118" y="224"/>
                    </a:lnTo>
                    <a:lnTo>
                      <a:pt x="118" y="224"/>
                    </a:lnTo>
                    <a:lnTo>
                      <a:pt x="123" y="219"/>
                    </a:lnTo>
                    <a:lnTo>
                      <a:pt x="128" y="214"/>
                    </a:lnTo>
                    <a:lnTo>
                      <a:pt x="132" y="210"/>
                    </a:lnTo>
                    <a:lnTo>
                      <a:pt x="137" y="210"/>
                    </a:lnTo>
                    <a:lnTo>
                      <a:pt x="137" y="205"/>
                    </a:lnTo>
                    <a:lnTo>
                      <a:pt x="141" y="205"/>
                    </a:lnTo>
                    <a:lnTo>
                      <a:pt x="141" y="205"/>
                    </a:lnTo>
                    <a:lnTo>
                      <a:pt x="141" y="205"/>
                    </a:lnTo>
                    <a:lnTo>
                      <a:pt x="146" y="205"/>
                    </a:lnTo>
                    <a:lnTo>
                      <a:pt x="146" y="201"/>
                    </a:lnTo>
                    <a:lnTo>
                      <a:pt x="141" y="196"/>
                    </a:lnTo>
                    <a:lnTo>
                      <a:pt x="141" y="192"/>
                    </a:lnTo>
                    <a:lnTo>
                      <a:pt x="141" y="192"/>
                    </a:lnTo>
                    <a:lnTo>
                      <a:pt x="141" y="182"/>
                    </a:lnTo>
                    <a:lnTo>
                      <a:pt x="141" y="182"/>
                    </a:lnTo>
                    <a:lnTo>
                      <a:pt x="141" y="182"/>
                    </a:lnTo>
                    <a:lnTo>
                      <a:pt x="146" y="182"/>
                    </a:lnTo>
                    <a:lnTo>
                      <a:pt x="150" y="182"/>
                    </a:lnTo>
                    <a:lnTo>
                      <a:pt x="155" y="178"/>
                    </a:lnTo>
                    <a:lnTo>
                      <a:pt x="160" y="178"/>
                    </a:lnTo>
                    <a:lnTo>
                      <a:pt x="160" y="182"/>
                    </a:lnTo>
                    <a:lnTo>
                      <a:pt x="164" y="182"/>
                    </a:lnTo>
                    <a:lnTo>
                      <a:pt x="164" y="182"/>
                    </a:lnTo>
                    <a:lnTo>
                      <a:pt x="169" y="182"/>
                    </a:lnTo>
                    <a:lnTo>
                      <a:pt x="173" y="182"/>
                    </a:lnTo>
                    <a:lnTo>
                      <a:pt x="173" y="182"/>
                    </a:lnTo>
                    <a:lnTo>
                      <a:pt x="178" y="182"/>
                    </a:lnTo>
                    <a:lnTo>
                      <a:pt x="182" y="182"/>
                    </a:lnTo>
                    <a:lnTo>
                      <a:pt x="187" y="182"/>
                    </a:lnTo>
                    <a:lnTo>
                      <a:pt x="187" y="182"/>
                    </a:lnTo>
                    <a:lnTo>
                      <a:pt x="187" y="182"/>
                    </a:lnTo>
                    <a:lnTo>
                      <a:pt x="192" y="182"/>
                    </a:lnTo>
                    <a:lnTo>
                      <a:pt x="205" y="182"/>
                    </a:lnTo>
                    <a:lnTo>
                      <a:pt x="205" y="182"/>
                    </a:lnTo>
                    <a:lnTo>
                      <a:pt x="210" y="187"/>
                    </a:lnTo>
                    <a:lnTo>
                      <a:pt x="210" y="192"/>
                    </a:lnTo>
                    <a:lnTo>
                      <a:pt x="214" y="192"/>
                    </a:lnTo>
                    <a:lnTo>
                      <a:pt x="219" y="192"/>
                    </a:lnTo>
                    <a:lnTo>
                      <a:pt x="224" y="192"/>
                    </a:lnTo>
                    <a:lnTo>
                      <a:pt x="228" y="187"/>
                    </a:lnTo>
                    <a:close/>
                  </a:path>
                </a:pathLst>
              </a:custGeom>
              <a:solidFill>
                <a:srgbClr val="006301"/>
              </a:solidFill>
              <a:ln w="9525" cmpd="sng">
                <a:solidFill>
                  <a:sysClr val="window" lastClr="FFFFFF"/>
                </a:solidFill>
                <a:miter lim="800000"/>
                <a:headEnd/>
                <a:tailEnd/>
              </a:ln>
              <a:effectLst/>
            </p:spPr>
            <p:txBody>
              <a:bodyPr tIns="27432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Delta</a:t>
                </a:r>
              </a:p>
            </p:txBody>
          </p:sp>
          <p:sp>
            <p:nvSpPr>
              <p:cNvPr id="196" name="Freeform 16">
                <a:extLst>
                  <a:ext uri="{FF2B5EF4-FFF2-40B4-BE49-F238E27FC236}">
                    <a16:creationId xmlns:a16="http://schemas.microsoft.com/office/drawing/2014/main" id="{47D2BD7C-2363-4F2E-9DC9-CA64F2C87DE6}"/>
                  </a:ext>
                </a:extLst>
              </p:cNvPr>
              <p:cNvSpPr>
                <a:spLocks/>
              </p:cNvSpPr>
              <p:nvPr>
                <p:custDataLst>
                  <p:tags r:id="rId13"/>
                </p:custDataLst>
              </p:nvPr>
            </p:nvSpPr>
            <p:spPr bwMode="auto">
              <a:xfrm>
                <a:off x="2572889" y="5026281"/>
                <a:ext cx="530980" cy="502945"/>
              </a:xfrm>
              <a:custGeom>
                <a:avLst/>
                <a:gdLst/>
                <a:ahLst/>
                <a:cxnLst>
                  <a:cxn ang="0">
                    <a:pos x="28" y="297"/>
                  </a:cxn>
                  <a:cxn ang="0">
                    <a:pos x="55" y="306"/>
                  </a:cxn>
                  <a:cxn ang="0">
                    <a:pos x="83" y="325"/>
                  </a:cxn>
                  <a:cxn ang="0">
                    <a:pos x="87" y="302"/>
                  </a:cxn>
                  <a:cxn ang="0">
                    <a:pos x="83" y="283"/>
                  </a:cxn>
                  <a:cxn ang="0">
                    <a:pos x="101" y="261"/>
                  </a:cxn>
                  <a:cxn ang="0">
                    <a:pos x="106" y="233"/>
                  </a:cxn>
                  <a:cxn ang="0">
                    <a:pos x="74" y="201"/>
                  </a:cxn>
                  <a:cxn ang="0">
                    <a:pos x="87" y="151"/>
                  </a:cxn>
                  <a:cxn ang="0">
                    <a:pos x="83" y="87"/>
                  </a:cxn>
                  <a:cxn ang="0">
                    <a:pos x="74" y="46"/>
                  </a:cxn>
                  <a:cxn ang="0">
                    <a:pos x="142" y="55"/>
                  </a:cxn>
                  <a:cxn ang="0">
                    <a:pos x="151" y="69"/>
                  </a:cxn>
                  <a:cxn ang="0">
                    <a:pos x="165" y="87"/>
                  </a:cxn>
                  <a:cxn ang="0">
                    <a:pos x="179" y="96"/>
                  </a:cxn>
                  <a:cxn ang="0">
                    <a:pos x="197" y="82"/>
                  </a:cxn>
                  <a:cxn ang="0">
                    <a:pos x="202" y="46"/>
                  </a:cxn>
                  <a:cxn ang="0">
                    <a:pos x="215" y="23"/>
                  </a:cxn>
                  <a:cxn ang="0">
                    <a:pos x="247" y="23"/>
                  </a:cxn>
                  <a:cxn ang="0">
                    <a:pos x="284" y="5"/>
                  </a:cxn>
                  <a:cxn ang="0">
                    <a:pos x="302" y="5"/>
                  </a:cxn>
                  <a:cxn ang="0">
                    <a:pos x="311" y="23"/>
                  </a:cxn>
                  <a:cxn ang="0">
                    <a:pos x="325" y="41"/>
                  </a:cxn>
                  <a:cxn ang="0">
                    <a:pos x="339" y="64"/>
                  </a:cxn>
                  <a:cxn ang="0">
                    <a:pos x="362" y="91"/>
                  </a:cxn>
                  <a:cxn ang="0">
                    <a:pos x="371" y="110"/>
                  </a:cxn>
                  <a:cxn ang="0">
                    <a:pos x="380" y="133"/>
                  </a:cxn>
                  <a:cxn ang="0">
                    <a:pos x="394" y="151"/>
                  </a:cxn>
                  <a:cxn ang="0">
                    <a:pos x="398" y="169"/>
                  </a:cxn>
                  <a:cxn ang="0">
                    <a:pos x="375" y="174"/>
                  </a:cxn>
                  <a:cxn ang="0">
                    <a:pos x="352" y="187"/>
                  </a:cxn>
                  <a:cxn ang="0">
                    <a:pos x="348" y="206"/>
                  </a:cxn>
                  <a:cxn ang="0">
                    <a:pos x="330" y="219"/>
                  </a:cxn>
                  <a:cxn ang="0">
                    <a:pos x="311" y="238"/>
                  </a:cxn>
                  <a:cxn ang="0">
                    <a:pos x="311" y="256"/>
                  </a:cxn>
                  <a:cxn ang="0">
                    <a:pos x="311" y="283"/>
                  </a:cxn>
                  <a:cxn ang="0">
                    <a:pos x="298" y="283"/>
                  </a:cxn>
                  <a:cxn ang="0">
                    <a:pos x="270" y="297"/>
                  </a:cxn>
                  <a:cxn ang="0">
                    <a:pos x="256" y="311"/>
                  </a:cxn>
                  <a:cxn ang="0">
                    <a:pos x="229" y="288"/>
                  </a:cxn>
                  <a:cxn ang="0">
                    <a:pos x="211" y="288"/>
                  </a:cxn>
                  <a:cxn ang="0">
                    <a:pos x="179" y="297"/>
                  </a:cxn>
                  <a:cxn ang="0">
                    <a:pos x="170" y="347"/>
                  </a:cxn>
                  <a:cxn ang="0">
                    <a:pos x="160" y="375"/>
                  </a:cxn>
                  <a:cxn ang="0">
                    <a:pos x="142" y="398"/>
                  </a:cxn>
                  <a:cxn ang="0">
                    <a:pos x="110" y="389"/>
                  </a:cxn>
                  <a:cxn ang="0">
                    <a:pos x="92" y="352"/>
                  </a:cxn>
                  <a:cxn ang="0">
                    <a:pos x="69" y="352"/>
                  </a:cxn>
                  <a:cxn ang="0">
                    <a:pos x="46" y="347"/>
                  </a:cxn>
                  <a:cxn ang="0">
                    <a:pos x="14" y="347"/>
                  </a:cxn>
                  <a:cxn ang="0">
                    <a:pos x="0" y="325"/>
                  </a:cxn>
                  <a:cxn ang="0">
                    <a:pos x="14" y="297"/>
                  </a:cxn>
                </a:cxnLst>
                <a:rect l="0" t="0" r="r" b="b"/>
                <a:pathLst>
                  <a:path w="398" h="407">
                    <a:moveTo>
                      <a:pt x="19" y="288"/>
                    </a:moveTo>
                    <a:lnTo>
                      <a:pt x="23" y="288"/>
                    </a:lnTo>
                    <a:lnTo>
                      <a:pt x="23" y="293"/>
                    </a:lnTo>
                    <a:lnTo>
                      <a:pt x="23" y="293"/>
                    </a:lnTo>
                    <a:lnTo>
                      <a:pt x="28" y="297"/>
                    </a:lnTo>
                    <a:lnTo>
                      <a:pt x="32" y="297"/>
                    </a:lnTo>
                    <a:lnTo>
                      <a:pt x="37" y="297"/>
                    </a:lnTo>
                    <a:lnTo>
                      <a:pt x="42" y="297"/>
                    </a:lnTo>
                    <a:lnTo>
                      <a:pt x="46" y="297"/>
                    </a:lnTo>
                    <a:lnTo>
                      <a:pt x="55" y="306"/>
                    </a:lnTo>
                    <a:lnTo>
                      <a:pt x="69" y="311"/>
                    </a:lnTo>
                    <a:lnTo>
                      <a:pt x="74" y="315"/>
                    </a:lnTo>
                    <a:lnTo>
                      <a:pt x="74" y="320"/>
                    </a:lnTo>
                    <a:lnTo>
                      <a:pt x="78" y="320"/>
                    </a:lnTo>
                    <a:lnTo>
                      <a:pt x="83" y="325"/>
                    </a:lnTo>
                    <a:lnTo>
                      <a:pt x="92" y="325"/>
                    </a:lnTo>
                    <a:lnTo>
                      <a:pt x="92" y="315"/>
                    </a:lnTo>
                    <a:lnTo>
                      <a:pt x="92" y="306"/>
                    </a:lnTo>
                    <a:lnTo>
                      <a:pt x="92" y="306"/>
                    </a:lnTo>
                    <a:lnTo>
                      <a:pt x="87" y="302"/>
                    </a:lnTo>
                    <a:lnTo>
                      <a:pt x="87" y="297"/>
                    </a:lnTo>
                    <a:lnTo>
                      <a:pt x="87" y="293"/>
                    </a:lnTo>
                    <a:lnTo>
                      <a:pt x="83" y="288"/>
                    </a:lnTo>
                    <a:lnTo>
                      <a:pt x="83" y="283"/>
                    </a:lnTo>
                    <a:lnTo>
                      <a:pt x="83" y="283"/>
                    </a:lnTo>
                    <a:lnTo>
                      <a:pt x="87" y="279"/>
                    </a:lnTo>
                    <a:lnTo>
                      <a:pt x="92" y="274"/>
                    </a:lnTo>
                    <a:lnTo>
                      <a:pt x="96" y="270"/>
                    </a:lnTo>
                    <a:lnTo>
                      <a:pt x="96" y="270"/>
                    </a:lnTo>
                    <a:lnTo>
                      <a:pt x="101" y="261"/>
                    </a:lnTo>
                    <a:lnTo>
                      <a:pt x="101" y="261"/>
                    </a:lnTo>
                    <a:lnTo>
                      <a:pt x="106" y="256"/>
                    </a:lnTo>
                    <a:lnTo>
                      <a:pt x="106" y="247"/>
                    </a:lnTo>
                    <a:lnTo>
                      <a:pt x="106" y="238"/>
                    </a:lnTo>
                    <a:lnTo>
                      <a:pt x="106" y="233"/>
                    </a:lnTo>
                    <a:lnTo>
                      <a:pt x="101" y="215"/>
                    </a:lnTo>
                    <a:lnTo>
                      <a:pt x="101" y="210"/>
                    </a:lnTo>
                    <a:lnTo>
                      <a:pt x="92" y="210"/>
                    </a:lnTo>
                    <a:lnTo>
                      <a:pt x="83" y="206"/>
                    </a:lnTo>
                    <a:lnTo>
                      <a:pt x="74" y="201"/>
                    </a:lnTo>
                    <a:lnTo>
                      <a:pt x="74" y="192"/>
                    </a:lnTo>
                    <a:lnTo>
                      <a:pt x="69" y="178"/>
                    </a:lnTo>
                    <a:lnTo>
                      <a:pt x="74" y="174"/>
                    </a:lnTo>
                    <a:lnTo>
                      <a:pt x="78" y="160"/>
                    </a:lnTo>
                    <a:lnTo>
                      <a:pt x="87" y="151"/>
                    </a:lnTo>
                    <a:lnTo>
                      <a:pt x="87" y="142"/>
                    </a:lnTo>
                    <a:lnTo>
                      <a:pt x="83" y="128"/>
                    </a:lnTo>
                    <a:lnTo>
                      <a:pt x="83" y="114"/>
                    </a:lnTo>
                    <a:lnTo>
                      <a:pt x="87" y="105"/>
                    </a:lnTo>
                    <a:lnTo>
                      <a:pt x="83" y="87"/>
                    </a:lnTo>
                    <a:lnTo>
                      <a:pt x="78" y="73"/>
                    </a:lnTo>
                    <a:lnTo>
                      <a:pt x="74" y="64"/>
                    </a:lnTo>
                    <a:lnTo>
                      <a:pt x="69" y="59"/>
                    </a:lnTo>
                    <a:lnTo>
                      <a:pt x="69" y="50"/>
                    </a:lnTo>
                    <a:lnTo>
                      <a:pt x="74" y="46"/>
                    </a:lnTo>
                    <a:lnTo>
                      <a:pt x="87" y="50"/>
                    </a:lnTo>
                    <a:lnTo>
                      <a:pt x="101" y="46"/>
                    </a:lnTo>
                    <a:lnTo>
                      <a:pt x="119" y="41"/>
                    </a:lnTo>
                    <a:lnTo>
                      <a:pt x="142" y="46"/>
                    </a:lnTo>
                    <a:lnTo>
                      <a:pt x="142" y="55"/>
                    </a:lnTo>
                    <a:lnTo>
                      <a:pt x="142" y="59"/>
                    </a:lnTo>
                    <a:lnTo>
                      <a:pt x="142" y="64"/>
                    </a:lnTo>
                    <a:lnTo>
                      <a:pt x="147" y="64"/>
                    </a:lnTo>
                    <a:lnTo>
                      <a:pt x="147" y="69"/>
                    </a:lnTo>
                    <a:lnTo>
                      <a:pt x="151" y="69"/>
                    </a:lnTo>
                    <a:lnTo>
                      <a:pt x="151" y="73"/>
                    </a:lnTo>
                    <a:lnTo>
                      <a:pt x="156" y="78"/>
                    </a:lnTo>
                    <a:lnTo>
                      <a:pt x="156" y="82"/>
                    </a:lnTo>
                    <a:lnTo>
                      <a:pt x="160" y="82"/>
                    </a:lnTo>
                    <a:lnTo>
                      <a:pt x="165" y="87"/>
                    </a:lnTo>
                    <a:lnTo>
                      <a:pt x="170" y="87"/>
                    </a:lnTo>
                    <a:lnTo>
                      <a:pt x="174" y="91"/>
                    </a:lnTo>
                    <a:lnTo>
                      <a:pt x="179" y="91"/>
                    </a:lnTo>
                    <a:lnTo>
                      <a:pt x="179" y="96"/>
                    </a:lnTo>
                    <a:lnTo>
                      <a:pt x="179" y="96"/>
                    </a:lnTo>
                    <a:lnTo>
                      <a:pt x="183" y="96"/>
                    </a:lnTo>
                    <a:lnTo>
                      <a:pt x="188" y="96"/>
                    </a:lnTo>
                    <a:lnTo>
                      <a:pt x="192" y="91"/>
                    </a:lnTo>
                    <a:lnTo>
                      <a:pt x="197" y="87"/>
                    </a:lnTo>
                    <a:lnTo>
                      <a:pt x="197" y="82"/>
                    </a:lnTo>
                    <a:lnTo>
                      <a:pt x="197" y="73"/>
                    </a:lnTo>
                    <a:lnTo>
                      <a:pt x="202" y="64"/>
                    </a:lnTo>
                    <a:lnTo>
                      <a:pt x="202" y="59"/>
                    </a:lnTo>
                    <a:lnTo>
                      <a:pt x="202" y="55"/>
                    </a:lnTo>
                    <a:lnTo>
                      <a:pt x="202" y="46"/>
                    </a:lnTo>
                    <a:lnTo>
                      <a:pt x="202" y="41"/>
                    </a:lnTo>
                    <a:lnTo>
                      <a:pt x="202" y="37"/>
                    </a:lnTo>
                    <a:lnTo>
                      <a:pt x="202" y="32"/>
                    </a:lnTo>
                    <a:lnTo>
                      <a:pt x="211" y="27"/>
                    </a:lnTo>
                    <a:lnTo>
                      <a:pt x="215" y="23"/>
                    </a:lnTo>
                    <a:lnTo>
                      <a:pt x="220" y="23"/>
                    </a:lnTo>
                    <a:lnTo>
                      <a:pt x="220" y="23"/>
                    </a:lnTo>
                    <a:lnTo>
                      <a:pt x="224" y="23"/>
                    </a:lnTo>
                    <a:lnTo>
                      <a:pt x="238" y="23"/>
                    </a:lnTo>
                    <a:lnTo>
                      <a:pt x="247" y="23"/>
                    </a:lnTo>
                    <a:lnTo>
                      <a:pt x="256" y="18"/>
                    </a:lnTo>
                    <a:lnTo>
                      <a:pt x="266" y="9"/>
                    </a:lnTo>
                    <a:lnTo>
                      <a:pt x="270" y="5"/>
                    </a:lnTo>
                    <a:lnTo>
                      <a:pt x="275" y="5"/>
                    </a:lnTo>
                    <a:lnTo>
                      <a:pt x="284" y="5"/>
                    </a:lnTo>
                    <a:lnTo>
                      <a:pt x="284" y="0"/>
                    </a:lnTo>
                    <a:lnTo>
                      <a:pt x="288" y="0"/>
                    </a:lnTo>
                    <a:lnTo>
                      <a:pt x="293" y="0"/>
                    </a:lnTo>
                    <a:lnTo>
                      <a:pt x="298" y="0"/>
                    </a:lnTo>
                    <a:lnTo>
                      <a:pt x="302" y="5"/>
                    </a:lnTo>
                    <a:lnTo>
                      <a:pt x="307" y="9"/>
                    </a:lnTo>
                    <a:lnTo>
                      <a:pt x="307" y="14"/>
                    </a:lnTo>
                    <a:lnTo>
                      <a:pt x="311" y="14"/>
                    </a:lnTo>
                    <a:lnTo>
                      <a:pt x="311" y="18"/>
                    </a:lnTo>
                    <a:lnTo>
                      <a:pt x="311" y="23"/>
                    </a:lnTo>
                    <a:lnTo>
                      <a:pt x="316" y="27"/>
                    </a:lnTo>
                    <a:lnTo>
                      <a:pt x="320" y="32"/>
                    </a:lnTo>
                    <a:lnTo>
                      <a:pt x="320" y="37"/>
                    </a:lnTo>
                    <a:lnTo>
                      <a:pt x="320" y="41"/>
                    </a:lnTo>
                    <a:lnTo>
                      <a:pt x="325" y="41"/>
                    </a:lnTo>
                    <a:lnTo>
                      <a:pt x="330" y="46"/>
                    </a:lnTo>
                    <a:lnTo>
                      <a:pt x="330" y="50"/>
                    </a:lnTo>
                    <a:lnTo>
                      <a:pt x="330" y="55"/>
                    </a:lnTo>
                    <a:lnTo>
                      <a:pt x="334" y="64"/>
                    </a:lnTo>
                    <a:lnTo>
                      <a:pt x="339" y="64"/>
                    </a:lnTo>
                    <a:lnTo>
                      <a:pt x="339" y="73"/>
                    </a:lnTo>
                    <a:lnTo>
                      <a:pt x="343" y="73"/>
                    </a:lnTo>
                    <a:lnTo>
                      <a:pt x="357" y="87"/>
                    </a:lnTo>
                    <a:lnTo>
                      <a:pt x="357" y="87"/>
                    </a:lnTo>
                    <a:lnTo>
                      <a:pt x="362" y="91"/>
                    </a:lnTo>
                    <a:lnTo>
                      <a:pt x="366" y="96"/>
                    </a:lnTo>
                    <a:lnTo>
                      <a:pt x="366" y="101"/>
                    </a:lnTo>
                    <a:lnTo>
                      <a:pt x="371" y="105"/>
                    </a:lnTo>
                    <a:lnTo>
                      <a:pt x="371" y="110"/>
                    </a:lnTo>
                    <a:lnTo>
                      <a:pt x="371" y="110"/>
                    </a:lnTo>
                    <a:lnTo>
                      <a:pt x="375" y="119"/>
                    </a:lnTo>
                    <a:lnTo>
                      <a:pt x="375" y="123"/>
                    </a:lnTo>
                    <a:lnTo>
                      <a:pt x="375" y="123"/>
                    </a:lnTo>
                    <a:lnTo>
                      <a:pt x="375" y="128"/>
                    </a:lnTo>
                    <a:lnTo>
                      <a:pt x="380" y="133"/>
                    </a:lnTo>
                    <a:lnTo>
                      <a:pt x="384" y="133"/>
                    </a:lnTo>
                    <a:lnTo>
                      <a:pt x="384" y="142"/>
                    </a:lnTo>
                    <a:lnTo>
                      <a:pt x="384" y="146"/>
                    </a:lnTo>
                    <a:lnTo>
                      <a:pt x="389" y="151"/>
                    </a:lnTo>
                    <a:lnTo>
                      <a:pt x="394" y="151"/>
                    </a:lnTo>
                    <a:lnTo>
                      <a:pt x="398" y="151"/>
                    </a:lnTo>
                    <a:lnTo>
                      <a:pt x="398" y="155"/>
                    </a:lnTo>
                    <a:lnTo>
                      <a:pt x="398" y="155"/>
                    </a:lnTo>
                    <a:lnTo>
                      <a:pt x="398" y="165"/>
                    </a:lnTo>
                    <a:lnTo>
                      <a:pt x="398" y="169"/>
                    </a:lnTo>
                    <a:lnTo>
                      <a:pt x="398" y="174"/>
                    </a:lnTo>
                    <a:lnTo>
                      <a:pt x="394" y="174"/>
                    </a:lnTo>
                    <a:lnTo>
                      <a:pt x="389" y="174"/>
                    </a:lnTo>
                    <a:lnTo>
                      <a:pt x="384" y="174"/>
                    </a:lnTo>
                    <a:lnTo>
                      <a:pt x="375" y="174"/>
                    </a:lnTo>
                    <a:lnTo>
                      <a:pt x="375" y="174"/>
                    </a:lnTo>
                    <a:lnTo>
                      <a:pt x="366" y="178"/>
                    </a:lnTo>
                    <a:lnTo>
                      <a:pt x="357" y="183"/>
                    </a:lnTo>
                    <a:lnTo>
                      <a:pt x="357" y="187"/>
                    </a:lnTo>
                    <a:lnTo>
                      <a:pt x="352" y="187"/>
                    </a:lnTo>
                    <a:lnTo>
                      <a:pt x="352" y="192"/>
                    </a:lnTo>
                    <a:lnTo>
                      <a:pt x="352" y="197"/>
                    </a:lnTo>
                    <a:lnTo>
                      <a:pt x="352" y="197"/>
                    </a:lnTo>
                    <a:lnTo>
                      <a:pt x="348" y="201"/>
                    </a:lnTo>
                    <a:lnTo>
                      <a:pt x="348" y="206"/>
                    </a:lnTo>
                    <a:lnTo>
                      <a:pt x="343" y="206"/>
                    </a:lnTo>
                    <a:lnTo>
                      <a:pt x="339" y="215"/>
                    </a:lnTo>
                    <a:lnTo>
                      <a:pt x="334" y="215"/>
                    </a:lnTo>
                    <a:lnTo>
                      <a:pt x="330" y="219"/>
                    </a:lnTo>
                    <a:lnTo>
                      <a:pt x="330" y="219"/>
                    </a:lnTo>
                    <a:lnTo>
                      <a:pt x="325" y="224"/>
                    </a:lnTo>
                    <a:lnTo>
                      <a:pt x="325" y="229"/>
                    </a:lnTo>
                    <a:lnTo>
                      <a:pt x="320" y="233"/>
                    </a:lnTo>
                    <a:lnTo>
                      <a:pt x="316" y="233"/>
                    </a:lnTo>
                    <a:lnTo>
                      <a:pt x="311" y="238"/>
                    </a:lnTo>
                    <a:lnTo>
                      <a:pt x="311" y="242"/>
                    </a:lnTo>
                    <a:lnTo>
                      <a:pt x="311" y="242"/>
                    </a:lnTo>
                    <a:lnTo>
                      <a:pt x="311" y="247"/>
                    </a:lnTo>
                    <a:lnTo>
                      <a:pt x="311" y="247"/>
                    </a:lnTo>
                    <a:lnTo>
                      <a:pt x="311" y="256"/>
                    </a:lnTo>
                    <a:lnTo>
                      <a:pt x="316" y="261"/>
                    </a:lnTo>
                    <a:lnTo>
                      <a:pt x="316" y="265"/>
                    </a:lnTo>
                    <a:lnTo>
                      <a:pt x="316" y="274"/>
                    </a:lnTo>
                    <a:lnTo>
                      <a:pt x="316" y="279"/>
                    </a:lnTo>
                    <a:lnTo>
                      <a:pt x="311" y="283"/>
                    </a:lnTo>
                    <a:lnTo>
                      <a:pt x="311" y="283"/>
                    </a:lnTo>
                    <a:lnTo>
                      <a:pt x="311" y="288"/>
                    </a:lnTo>
                    <a:lnTo>
                      <a:pt x="311" y="288"/>
                    </a:lnTo>
                    <a:lnTo>
                      <a:pt x="302" y="283"/>
                    </a:lnTo>
                    <a:lnTo>
                      <a:pt x="298" y="283"/>
                    </a:lnTo>
                    <a:lnTo>
                      <a:pt x="293" y="283"/>
                    </a:lnTo>
                    <a:lnTo>
                      <a:pt x="288" y="283"/>
                    </a:lnTo>
                    <a:lnTo>
                      <a:pt x="288" y="283"/>
                    </a:lnTo>
                    <a:lnTo>
                      <a:pt x="284" y="288"/>
                    </a:lnTo>
                    <a:lnTo>
                      <a:pt x="270" y="297"/>
                    </a:lnTo>
                    <a:lnTo>
                      <a:pt x="266" y="302"/>
                    </a:lnTo>
                    <a:lnTo>
                      <a:pt x="266" y="306"/>
                    </a:lnTo>
                    <a:lnTo>
                      <a:pt x="261" y="306"/>
                    </a:lnTo>
                    <a:lnTo>
                      <a:pt x="256" y="306"/>
                    </a:lnTo>
                    <a:lnTo>
                      <a:pt x="256" y="311"/>
                    </a:lnTo>
                    <a:lnTo>
                      <a:pt x="247" y="311"/>
                    </a:lnTo>
                    <a:lnTo>
                      <a:pt x="243" y="306"/>
                    </a:lnTo>
                    <a:lnTo>
                      <a:pt x="238" y="302"/>
                    </a:lnTo>
                    <a:lnTo>
                      <a:pt x="234" y="293"/>
                    </a:lnTo>
                    <a:lnTo>
                      <a:pt x="229" y="288"/>
                    </a:lnTo>
                    <a:lnTo>
                      <a:pt x="224" y="288"/>
                    </a:lnTo>
                    <a:lnTo>
                      <a:pt x="224" y="283"/>
                    </a:lnTo>
                    <a:lnTo>
                      <a:pt x="220" y="283"/>
                    </a:lnTo>
                    <a:lnTo>
                      <a:pt x="215" y="283"/>
                    </a:lnTo>
                    <a:lnTo>
                      <a:pt x="211" y="288"/>
                    </a:lnTo>
                    <a:lnTo>
                      <a:pt x="206" y="283"/>
                    </a:lnTo>
                    <a:lnTo>
                      <a:pt x="188" y="283"/>
                    </a:lnTo>
                    <a:lnTo>
                      <a:pt x="179" y="283"/>
                    </a:lnTo>
                    <a:lnTo>
                      <a:pt x="179" y="288"/>
                    </a:lnTo>
                    <a:lnTo>
                      <a:pt x="179" y="297"/>
                    </a:lnTo>
                    <a:lnTo>
                      <a:pt x="183" y="302"/>
                    </a:lnTo>
                    <a:lnTo>
                      <a:pt x="183" y="311"/>
                    </a:lnTo>
                    <a:lnTo>
                      <a:pt x="179" y="325"/>
                    </a:lnTo>
                    <a:lnTo>
                      <a:pt x="179" y="338"/>
                    </a:lnTo>
                    <a:lnTo>
                      <a:pt x="170" y="347"/>
                    </a:lnTo>
                    <a:lnTo>
                      <a:pt x="160" y="347"/>
                    </a:lnTo>
                    <a:lnTo>
                      <a:pt x="160" y="352"/>
                    </a:lnTo>
                    <a:lnTo>
                      <a:pt x="165" y="357"/>
                    </a:lnTo>
                    <a:lnTo>
                      <a:pt x="170" y="370"/>
                    </a:lnTo>
                    <a:lnTo>
                      <a:pt x="160" y="375"/>
                    </a:lnTo>
                    <a:lnTo>
                      <a:pt x="156" y="375"/>
                    </a:lnTo>
                    <a:lnTo>
                      <a:pt x="156" y="379"/>
                    </a:lnTo>
                    <a:lnTo>
                      <a:pt x="156" y="384"/>
                    </a:lnTo>
                    <a:lnTo>
                      <a:pt x="147" y="393"/>
                    </a:lnTo>
                    <a:lnTo>
                      <a:pt x="142" y="398"/>
                    </a:lnTo>
                    <a:lnTo>
                      <a:pt x="147" y="407"/>
                    </a:lnTo>
                    <a:lnTo>
                      <a:pt x="138" y="402"/>
                    </a:lnTo>
                    <a:lnTo>
                      <a:pt x="128" y="402"/>
                    </a:lnTo>
                    <a:lnTo>
                      <a:pt x="119" y="398"/>
                    </a:lnTo>
                    <a:lnTo>
                      <a:pt x="110" y="389"/>
                    </a:lnTo>
                    <a:lnTo>
                      <a:pt x="101" y="379"/>
                    </a:lnTo>
                    <a:lnTo>
                      <a:pt x="101" y="370"/>
                    </a:lnTo>
                    <a:lnTo>
                      <a:pt x="101" y="366"/>
                    </a:lnTo>
                    <a:lnTo>
                      <a:pt x="96" y="357"/>
                    </a:lnTo>
                    <a:lnTo>
                      <a:pt x="92" y="352"/>
                    </a:lnTo>
                    <a:lnTo>
                      <a:pt x="83" y="352"/>
                    </a:lnTo>
                    <a:lnTo>
                      <a:pt x="78" y="352"/>
                    </a:lnTo>
                    <a:lnTo>
                      <a:pt x="74" y="352"/>
                    </a:lnTo>
                    <a:lnTo>
                      <a:pt x="69" y="352"/>
                    </a:lnTo>
                    <a:lnTo>
                      <a:pt x="69" y="352"/>
                    </a:lnTo>
                    <a:lnTo>
                      <a:pt x="64" y="352"/>
                    </a:lnTo>
                    <a:lnTo>
                      <a:pt x="60" y="352"/>
                    </a:lnTo>
                    <a:lnTo>
                      <a:pt x="60" y="347"/>
                    </a:lnTo>
                    <a:lnTo>
                      <a:pt x="55" y="347"/>
                    </a:lnTo>
                    <a:lnTo>
                      <a:pt x="46" y="347"/>
                    </a:lnTo>
                    <a:lnTo>
                      <a:pt x="42" y="347"/>
                    </a:lnTo>
                    <a:lnTo>
                      <a:pt x="37" y="347"/>
                    </a:lnTo>
                    <a:lnTo>
                      <a:pt x="28" y="347"/>
                    </a:lnTo>
                    <a:lnTo>
                      <a:pt x="19" y="347"/>
                    </a:lnTo>
                    <a:lnTo>
                      <a:pt x="14" y="347"/>
                    </a:lnTo>
                    <a:lnTo>
                      <a:pt x="10" y="347"/>
                    </a:lnTo>
                    <a:lnTo>
                      <a:pt x="0" y="343"/>
                    </a:lnTo>
                    <a:lnTo>
                      <a:pt x="0" y="338"/>
                    </a:lnTo>
                    <a:lnTo>
                      <a:pt x="0" y="329"/>
                    </a:lnTo>
                    <a:lnTo>
                      <a:pt x="0" y="325"/>
                    </a:lnTo>
                    <a:lnTo>
                      <a:pt x="0" y="320"/>
                    </a:lnTo>
                    <a:lnTo>
                      <a:pt x="5" y="311"/>
                    </a:lnTo>
                    <a:lnTo>
                      <a:pt x="5" y="306"/>
                    </a:lnTo>
                    <a:lnTo>
                      <a:pt x="10" y="302"/>
                    </a:lnTo>
                    <a:lnTo>
                      <a:pt x="14" y="297"/>
                    </a:lnTo>
                    <a:lnTo>
                      <a:pt x="14" y="293"/>
                    </a:lnTo>
                    <a:lnTo>
                      <a:pt x="19" y="288"/>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Ebonyi</a:t>
                </a:r>
              </a:p>
            </p:txBody>
          </p:sp>
          <p:sp>
            <p:nvSpPr>
              <p:cNvPr id="197" name="Freeform 17">
                <a:extLst>
                  <a:ext uri="{FF2B5EF4-FFF2-40B4-BE49-F238E27FC236}">
                    <a16:creationId xmlns:a16="http://schemas.microsoft.com/office/drawing/2014/main" id="{0855A3C7-A192-403B-BF12-A3AF8EC3C799}"/>
                  </a:ext>
                </a:extLst>
              </p:cNvPr>
              <p:cNvSpPr>
                <a:spLocks/>
              </p:cNvSpPr>
              <p:nvPr>
                <p:custDataLst>
                  <p:tags r:id="rId14"/>
                </p:custDataLst>
              </p:nvPr>
            </p:nvSpPr>
            <p:spPr bwMode="auto">
              <a:xfrm>
                <a:off x="1349218" y="4641358"/>
                <a:ext cx="863383" cy="866080"/>
              </a:xfrm>
              <a:custGeom>
                <a:avLst/>
                <a:gdLst/>
                <a:ahLst/>
                <a:cxnLst>
                  <a:cxn ang="0">
                    <a:pos x="320" y="192"/>
                  </a:cxn>
                  <a:cxn ang="0">
                    <a:pos x="338" y="142"/>
                  </a:cxn>
                  <a:cxn ang="0">
                    <a:pos x="352" y="101"/>
                  </a:cxn>
                  <a:cxn ang="0">
                    <a:pos x="366" y="73"/>
                  </a:cxn>
                  <a:cxn ang="0">
                    <a:pos x="366" y="46"/>
                  </a:cxn>
                  <a:cxn ang="0">
                    <a:pos x="384" y="23"/>
                  </a:cxn>
                  <a:cxn ang="0">
                    <a:pos x="407" y="0"/>
                  </a:cxn>
                  <a:cxn ang="0">
                    <a:pos x="430" y="18"/>
                  </a:cxn>
                  <a:cxn ang="0">
                    <a:pos x="425" y="50"/>
                  </a:cxn>
                  <a:cxn ang="0">
                    <a:pos x="466" y="46"/>
                  </a:cxn>
                  <a:cxn ang="0">
                    <a:pos x="503" y="64"/>
                  </a:cxn>
                  <a:cxn ang="0">
                    <a:pos x="530" y="73"/>
                  </a:cxn>
                  <a:cxn ang="0">
                    <a:pos x="553" y="87"/>
                  </a:cxn>
                  <a:cxn ang="0">
                    <a:pos x="576" y="119"/>
                  </a:cxn>
                  <a:cxn ang="0">
                    <a:pos x="626" y="114"/>
                  </a:cxn>
                  <a:cxn ang="0">
                    <a:pos x="644" y="142"/>
                  </a:cxn>
                  <a:cxn ang="0">
                    <a:pos x="644" y="192"/>
                  </a:cxn>
                  <a:cxn ang="0">
                    <a:pos x="631" y="247"/>
                  </a:cxn>
                  <a:cxn ang="0">
                    <a:pos x="612" y="293"/>
                  </a:cxn>
                  <a:cxn ang="0">
                    <a:pos x="626" y="366"/>
                  </a:cxn>
                  <a:cxn ang="0">
                    <a:pos x="608" y="416"/>
                  </a:cxn>
                  <a:cxn ang="0">
                    <a:pos x="548" y="434"/>
                  </a:cxn>
                  <a:cxn ang="0">
                    <a:pos x="507" y="457"/>
                  </a:cxn>
                  <a:cxn ang="0">
                    <a:pos x="471" y="480"/>
                  </a:cxn>
                  <a:cxn ang="0">
                    <a:pos x="448" y="476"/>
                  </a:cxn>
                  <a:cxn ang="0">
                    <a:pos x="407" y="476"/>
                  </a:cxn>
                  <a:cxn ang="0">
                    <a:pos x="420" y="517"/>
                  </a:cxn>
                  <a:cxn ang="0">
                    <a:pos x="443" y="572"/>
                  </a:cxn>
                  <a:cxn ang="0">
                    <a:pos x="475" y="594"/>
                  </a:cxn>
                  <a:cxn ang="0">
                    <a:pos x="448" y="640"/>
                  </a:cxn>
                  <a:cxn ang="0">
                    <a:pos x="420" y="658"/>
                  </a:cxn>
                  <a:cxn ang="0">
                    <a:pos x="388" y="686"/>
                  </a:cxn>
                  <a:cxn ang="0">
                    <a:pos x="343" y="695"/>
                  </a:cxn>
                  <a:cxn ang="0">
                    <a:pos x="338" y="663"/>
                  </a:cxn>
                  <a:cxn ang="0">
                    <a:pos x="320" y="631"/>
                  </a:cxn>
                  <a:cxn ang="0">
                    <a:pos x="279" y="599"/>
                  </a:cxn>
                  <a:cxn ang="0">
                    <a:pos x="242" y="585"/>
                  </a:cxn>
                  <a:cxn ang="0">
                    <a:pos x="210" y="599"/>
                  </a:cxn>
                  <a:cxn ang="0">
                    <a:pos x="169" y="594"/>
                  </a:cxn>
                  <a:cxn ang="0">
                    <a:pos x="142" y="594"/>
                  </a:cxn>
                  <a:cxn ang="0">
                    <a:pos x="123" y="608"/>
                  </a:cxn>
                  <a:cxn ang="0">
                    <a:pos x="105" y="631"/>
                  </a:cxn>
                  <a:cxn ang="0">
                    <a:pos x="87" y="613"/>
                  </a:cxn>
                  <a:cxn ang="0">
                    <a:pos x="82" y="576"/>
                  </a:cxn>
                  <a:cxn ang="0">
                    <a:pos x="55" y="549"/>
                  </a:cxn>
                  <a:cxn ang="0">
                    <a:pos x="14" y="521"/>
                  </a:cxn>
                  <a:cxn ang="0">
                    <a:pos x="0" y="485"/>
                  </a:cxn>
                  <a:cxn ang="0">
                    <a:pos x="27" y="457"/>
                  </a:cxn>
                  <a:cxn ang="0">
                    <a:pos x="50" y="412"/>
                  </a:cxn>
                  <a:cxn ang="0">
                    <a:pos x="41" y="380"/>
                  </a:cxn>
                  <a:cxn ang="0">
                    <a:pos x="46" y="325"/>
                  </a:cxn>
                  <a:cxn ang="0">
                    <a:pos x="68" y="306"/>
                  </a:cxn>
                  <a:cxn ang="0">
                    <a:pos x="96" y="265"/>
                  </a:cxn>
                  <a:cxn ang="0">
                    <a:pos x="187" y="270"/>
                  </a:cxn>
                  <a:cxn ang="0">
                    <a:pos x="210" y="288"/>
                  </a:cxn>
                  <a:cxn ang="0">
                    <a:pos x="206" y="316"/>
                  </a:cxn>
                  <a:cxn ang="0">
                    <a:pos x="233" y="316"/>
                  </a:cxn>
                  <a:cxn ang="0">
                    <a:pos x="265" y="320"/>
                  </a:cxn>
                  <a:cxn ang="0">
                    <a:pos x="283" y="279"/>
                  </a:cxn>
                  <a:cxn ang="0">
                    <a:pos x="297" y="233"/>
                  </a:cxn>
                </a:cxnLst>
                <a:rect l="0" t="0" r="r" b="b"/>
                <a:pathLst>
                  <a:path w="649" h="700">
                    <a:moveTo>
                      <a:pt x="302" y="220"/>
                    </a:moveTo>
                    <a:lnTo>
                      <a:pt x="302" y="220"/>
                    </a:lnTo>
                    <a:lnTo>
                      <a:pt x="306" y="210"/>
                    </a:lnTo>
                    <a:lnTo>
                      <a:pt x="306" y="206"/>
                    </a:lnTo>
                    <a:lnTo>
                      <a:pt x="311" y="206"/>
                    </a:lnTo>
                    <a:lnTo>
                      <a:pt x="311" y="201"/>
                    </a:lnTo>
                    <a:lnTo>
                      <a:pt x="315" y="201"/>
                    </a:lnTo>
                    <a:lnTo>
                      <a:pt x="315" y="201"/>
                    </a:lnTo>
                    <a:lnTo>
                      <a:pt x="320" y="197"/>
                    </a:lnTo>
                    <a:lnTo>
                      <a:pt x="320" y="192"/>
                    </a:lnTo>
                    <a:lnTo>
                      <a:pt x="320" y="188"/>
                    </a:lnTo>
                    <a:lnTo>
                      <a:pt x="324" y="183"/>
                    </a:lnTo>
                    <a:lnTo>
                      <a:pt x="324" y="178"/>
                    </a:lnTo>
                    <a:lnTo>
                      <a:pt x="329" y="169"/>
                    </a:lnTo>
                    <a:lnTo>
                      <a:pt x="334" y="165"/>
                    </a:lnTo>
                    <a:lnTo>
                      <a:pt x="334" y="160"/>
                    </a:lnTo>
                    <a:lnTo>
                      <a:pt x="334" y="156"/>
                    </a:lnTo>
                    <a:lnTo>
                      <a:pt x="338" y="151"/>
                    </a:lnTo>
                    <a:lnTo>
                      <a:pt x="338" y="146"/>
                    </a:lnTo>
                    <a:lnTo>
                      <a:pt x="338" y="142"/>
                    </a:lnTo>
                    <a:lnTo>
                      <a:pt x="338" y="137"/>
                    </a:lnTo>
                    <a:lnTo>
                      <a:pt x="343" y="133"/>
                    </a:lnTo>
                    <a:lnTo>
                      <a:pt x="343" y="133"/>
                    </a:lnTo>
                    <a:lnTo>
                      <a:pt x="343" y="128"/>
                    </a:lnTo>
                    <a:lnTo>
                      <a:pt x="343" y="124"/>
                    </a:lnTo>
                    <a:lnTo>
                      <a:pt x="347" y="114"/>
                    </a:lnTo>
                    <a:lnTo>
                      <a:pt x="347" y="114"/>
                    </a:lnTo>
                    <a:lnTo>
                      <a:pt x="347" y="110"/>
                    </a:lnTo>
                    <a:lnTo>
                      <a:pt x="352" y="105"/>
                    </a:lnTo>
                    <a:lnTo>
                      <a:pt x="352" y="101"/>
                    </a:lnTo>
                    <a:lnTo>
                      <a:pt x="356" y="101"/>
                    </a:lnTo>
                    <a:lnTo>
                      <a:pt x="361" y="96"/>
                    </a:lnTo>
                    <a:lnTo>
                      <a:pt x="366" y="96"/>
                    </a:lnTo>
                    <a:lnTo>
                      <a:pt x="370" y="96"/>
                    </a:lnTo>
                    <a:lnTo>
                      <a:pt x="370" y="92"/>
                    </a:lnTo>
                    <a:lnTo>
                      <a:pt x="370" y="92"/>
                    </a:lnTo>
                    <a:lnTo>
                      <a:pt x="370" y="87"/>
                    </a:lnTo>
                    <a:lnTo>
                      <a:pt x="370" y="82"/>
                    </a:lnTo>
                    <a:lnTo>
                      <a:pt x="366" y="78"/>
                    </a:lnTo>
                    <a:lnTo>
                      <a:pt x="366" y="73"/>
                    </a:lnTo>
                    <a:lnTo>
                      <a:pt x="366" y="69"/>
                    </a:lnTo>
                    <a:lnTo>
                      <a:pt x="370" y="69"/>
                    </a:lnTo>
                    <a:lnTo>
                      <a:pt x="370" y="64"/>
                    </a:lnTo>
                    <a:lnTo>
                      <a:pt x="370" y="60"/>
                    </a:lnTo>
                    <a:lnTo>
                      <a:pt x="375" y="60"/>
                    </a:lnTo>
                    <a:lnTo>
                      <a:pt x="375" y="55"/>
                    </a:lnTo>
                    <a:lnTo>
                      <a:pt x="370" y="55"/>
                    </a:lnTo>
                    <a:lnTo>
                      <a:pt x="370" y="50"/>
                    </a:lnTo>
                    <a:lnTo>
                      <a:pt x="366" y="46"/>
                    </a:lnTo>
                    <a:lnTo>
                      <a:pt x="366" y="46"/>
                    </a:lnTo>
                    <a:lnTo>
                      <a:pt x="366" y="46"/>
                    </a:lnTo>
                    <a:lnTo>
                      <a:pt x="361" y="46"/>
                    </a:lnTo>
                    <a:lnTo>
                      <a:pt x="361" y="41"/>
                    </a:lnTo>
                    <a:lnTo>
                      <a:pt x="361" y="37"/>
                    </a:lnTo>
                    <a:lnTo>
                      <a:pt x="361" y="32"/>
                    </a:lnTo>
                    <a:lnTo>
                      <a:pt x="366" y="28"/>
                    </a:lnTo>
                    <a:lnTo>
                      <a:pt x="366" y="28"/>
                    </a:lnTo>
                    <a:lnTo>
                      <a:pt x="370" y="23"/>
                    </a:lnTo>
                    <a:lnTo>
                      <a:pt x="375" y="23"/>
                    </a:lnTo>
                    <a:lnTo>
                      <a:pt x="384" y="23"/>
                    </a:lnTo>
                    <a:lnTo>
                      <a:pt x="384" y="23"/>
                    </a:lnTo>
                    <a:lnTo>
                      <a:pt x="388" y="18"/>
                    </a:lnTo>
                    <a:lnTo>
                      <a:pt x="388" y="14"/>
                    </a:lnTo>
                    <a:lnTo>
                      <a:pt x="393" y="9"/>
                    </a:lnTo>
                    <a:lnTo>
                      <a:pt x="393" y="5"/>
                    </a:lnTo>
                    <a:lnTo>
                      <a:pt x="398" y="5"/>
                    </a:lnTo>
                    <a:lnTo>
                      <a:pt x="402" y="5"/>
                    </a:lnTo>
                    <a:lnTo>
                      <a:pt x="407" y="5"/>
                    </a:lnTo>
                    <a:lnTo>
                      <a:pt x="407" y="0"/>
                    </a:lnTo>
                    <a:lnTo>
                      <a:pt x="407" y="0"/>
                    </a:lnTo>
                    <a:lnTo>
                      <a:pt x="407" y="5"/>
                    </a:lnTo>
                    <a:lnTo>
                      <a:pt x="411" y="5"/>
                    </a:lnTo>
                    <a:lnTo>
                      <a:pt x="411" y="5"/>
                    </a:lnTo>
                    <a:lnTo>
                      <a:pt x="411" y="9"/>
                    </a:lnTo>
                    <a:lnTo>
                      <a:pt x="411" y="14"/>
                    </a:lnTo>
                    <a:lnTo>
                      <a:pt x="416" y="14"/>
                    </a:lnTo>
                    <a:lnTo>
                      <a:pt x="416" y="18"/>
                    </a:lnTo>
                    <a:lnTo>
                      <a:pt x="420" y="18"/>
                    </a:lnTo>
                    <a:lnTo>
                      <a:pt x="430" y="14"/>
                    </a:lnTo>
                    <a:lnTo>
                      <a:pt x="430" y="18"/>
                    </a:lnTo>
                    <a:lnTo>
                      <a:pt x="434" y="18"/>
                    </a:lnTo>
                    <a:lnTo>
                      <a:pt x="430" y="23"/>
                    </a:lnTo>
                    <a:lnTo>
                      <a:pt x="430" y="23"/>
                    </a:lnTo>
                    <a:lnTo>
                      <a:pt x="430" y="28"/>
                    </a:lnTo>
                    <a:lnTo>
                      <a:pt x="430" y="32"/>
                    </a:lnTo>
                    <a:lnTo>
                      <a:pt x="425" y="32"/>
                    </a:lnTo>
                    <a:lnTo>
                      <a:pt x="425" y="41"/>
                    </a:lnTo>
                    <a:lnTo>
                      <a:pt x="425" y="46"/>
                    </a:lnTo>
                    <a:lnTo>
                      <a:pt x="425" y="46"/>
                    </a:lnTo>
                    <a:lnTo>
                      <a:pt x="425" y="50"/>
                    </a:lnTo>
                    <a:lnTo>
                      <a:pt x="430" y="55"/>
                    </a:lnTo>
                    <a:lnTo>
                      <a:pt x="430" y="55"/>
                    </a:lnTo>
                    <a:lnTo>
                      <a:pt x="434" y="55"/>
                    </a:lnTo>
                    <a:lnTo>
                      <a:pt x="439" y="55"/>
                    </a:lnTo>
                    <a:lnTo>
                      <a:pt x="448" y="55"/>
                    </a:lnTo>
                    <a:lnTo>
                      <a:pt x="452" y="55"/>
                    </a:lnTo>
                    <a:lnTo>
                      <a:pt x="452" y="55"/>
                    </a:lnTo>
                    <a:lnTo>
                      <a:pt x="452" y="50"/>
                    </a:lnTo>
                    <a:lnTo>
                      <a:pt x="457" y="50"/>
                    </a:lnTo>
                    <a:lnTo>
                      <a:pt x="466" y="46"/>
                    </a:lnTo>
                    <a:lnTo>
                      <a:pt x="471" y="46"/>
                    </a:lnTo>
                    <a:lnTo>
                      <a:pt x="475" y="46"/>
                    </a:lnTo>
                    <a:lnTo>
                      <a:pt x="480" y="46"/>
                    </a:lnTo>
                    <a:lnTo>
                      <a:pt x="489" y="46"/>
                    </a:lnTo>
                    <a:lnTo>
                      <a:pt x="494" y="50"/>
                    </a:lnTo>
                    <a:lnTo>
                      <a:pt x="498" y="50"/>
                    </a:lnTo>
                    <a:lnTo>
                      <a:pt x="498" y="55"/>
                    </a:lnTo>
                    <a:lnTo>
                      <a:pt x="498" y="55"/>
                    </a:lnTo>
                    <a:lnTo>
                      <a:pt x="498" y="60"/>
                    </a:lnTo>
                    <a:lnTo>
                      <a:pt x="503" y="64"/>
                    </a:lnTo>
                    <a:lnTo>
                      <a:pt x="503" y="69"/>
                    </a:lnTo>
                    <a:lnTo>
                      <a:pt x="507" y="69"/>
                    </a:lnTo>
                    <a:lnTo>
                      <a:pt x="507" y="69"/>
                    </a:lnTo>
                    <a:lnTo>
                      <a:pt x="512" y="69"/>
                    </a:lnTo>
                    <a:lnTo>
                      <a:pt x="516" y="73"/>
                    </a:lnTo>
                    <a:lnTo>
                      <a:pt x="516" y="73"/>
                    </a:lnTo>
                    <a:lnTo>
                      <a:pt x="521" y="73"/>
                    </a:lnTo>
                    <a:lnTo>
                      <a:pt x="526" y="69"/>
                    </a:lnTo>
                    <a:lnTo>
                      <a:pt x="530" y="69"/>
                    </a:lnTo>
                    <a:lnTo>
                      <a:pt x="530" y="73"/>
                    </a:lnTo>
                    <a:lnTo>
                      <a:pt x="535" y="73"/>
                    </a:lnTo>
                    <a:lnTo>
                      <a:pt x="535" y="78"/>
                    </a:lnTo>
                    <a:lnTo>
                      <a:pt x="535" y="82"/>
                    </a:lnTo>
                    <a:lnTo>
                      <a:pt x="535" y="87"/>
                    </a:lnTo>
                    <a:lnTo>
                      <a:pt x="535" y="92"/>
                    </a:lnTo>
                    <a:lnTo>
                      <a:pt x="539" y="92"/>
                    </a:lnTo>
                    <a:lnTo>
                      <a:pt x="539" y="92"/>
                    </a:lnTo>
                    <a:lnTo>
                      <a:pt x="544" y="92"/>
                    </a:lnTo>
                    <a:lnTo>
                      <a:pt x="548" y="92"/>
                    </a:lnTo>
                    <a:lnTo>
                      <a:pt x="553" y="87"/>
                    </a:lnTo>
                    <a:lnTo>
                      <a:pt x="553" y="92"/>
                    </a:lnTo>
                    <a:lnTo>
                      <a:pt x="558" y="92"/>
                    </a:lnTo>
                    <a:lnTo>
                      <a:pt x="558" y="96"/>
                    </a:lnTo>
                    <a:lnTo>
                      <a:pt x="562" y="101"/>
                    </a:lnTo>
                    <a:lnTo>
                      <a:pt x="562" y="110"/>
                    </a:lnTo>
                    <a:lnTo>
                      <a:pt x="562" y="114"/>
                    </a:lnTo>
                    <a:lnTo>
                      <a:pt x="567" y="114"/>
                    </a:lnTo>
                    <a:lnTo>
                      <a:pt x="567" y="119"/>
                    </a:lnTo>
                    <a:lnTo>
                      <a:pt x="571" y="119"/>
                    </a:lnTo>
                    <a:lnTo>
                      <a:pt x="576" y="119"/>
                    </a:lnTo>
                    <a:lnTo>
                      <a:pt x="580" y="119"/>
                    </a:lnTo>
                    <a:lnTo>
                      <a:pt x="585" y="119"/>
                    </a:lnTo>
                    <a:lnTo>
                      <a:pt x="585" y="114"/>
                    </a:lnTo>
                    <a:lnTo>
                      <a:pt x="590" y="114"/>
                    </a:lnTo>
                    <a:lnTo>
                      <a:pt x="603" y="114"/>
                    </a:lnTo>
                    <a:lnTo>
                      <a:pt x="608" y="114"/>
                    </a:lnTo>
                    <a:lnTo>
                      <a:pt x="608" y="114"/>
                    </a:lnTo>
                    <a:lnTo>
                      <a:pt x="617" y="110"/>
                    </a:lnTo>
                    <a:lnTo>
                      <a:pt x="626" y="114"/>
                    </a:lnTo>
                    <a:lnTo>
                      <a:pt x="626" y="114"/>
                    </a:lnTo>
                    <a:lnTo>
                      <a:pt x="631" y="114"/>
                    </a:lnTo>
                    <a:lnTo>
                      <a:pt x="631" y="119"/>
                    </a:lnTo>
                    <a:lnTo>
                      <a:pt x="635" y="119"/>
                    </a:lnTo>
                    <a:lnTo>
                      <a:pt x="635" y="124"/>
                    </a:lnTo>
                    <a:lnTo>
                      <a:pt x="635" y="128"/>
                    </a:lnTo>
                    <a:lnTo>
                      <a:pt x="640" y="133"/>
                    </a:lnTo>
                    <a:lnTo>
                      <a:pt x="640" y="133"/>
                    </a:lnTo>
                    <a:lnTo>
                      <a:pt x="640" y="137"/>
                    </a:lnTo>
                    <a:lnTo>
                      <a:pt x="644" y="137"/>
                    </a:lnTo>
                    <a:lnTo>
                      <a:pt x="644" y="142"/>
                    </a:lnTo>
                    <a:lnTo>
                      <a:pt x="649" y="146"/>
                    </a:lnTo>
                    <a:lnTo>
                      <a:pt x="649" y="151"/>
                    </a:lnTo>
                    <a:lnTo>
                      <a:pt x="649" y="156"/>
                    </a:lnTo>
                    <a:lnTo>
                      <a:pt x="649" y="156"/>
                    </a:lnTo>
                    <a:lnTo>
                      <a:pt x="649" y="160"/>
                    </a:lnTo>
                    <a:lnTo>
                      <a:pt x="649" y="165"/>
                    </a:lnTo>
                    <a:lnTo>
                      <a:pt x="649" y="169"/>
                    </a:lnTo>
                    <a:lnTo>
                      <a:pt x="649" y="178"/>
                    </a:lnTo>
                    <a:lnTo>
                      <a:pt x="649" y="183"/>
                    </a:lnTo>
                    <a:lnTo>
                      <a:pt x="644" y="192"/>
                    </a:lnTo>
                    <a:lnTo>
                      <a:pt x="644" y="197"/>
                    </a:lnTo>
                    <a:lnTo>
                      <a:pt x="644" y="201"/>
                    </a:lnTo>
                    <a:lnTo>
                      <a:pt x="640" y="201"/>
                    </a:lnTo>
                    <a:lnTo>
                      <a:pt x="640" y="201"/>
                    </a:lnTo>
                    <a:lnTo>
                      <a:pt x="640" y="206"/>
                    </a:lnTo>
                    <a:lnTo>
                      <a:pt x="635" y="215"/>
                    </a:lnTo>
                    <a:lnTo>
                      <a:pt x="635" y="224"/>
                    </a:lnTo>
                    <a:lnTo>
                      <a:pt x="635" y="233"/>
                    </a:lnTo>
                    <a:lnTo>
                      <a:pt x="635" y="238"/>
                    </a:lnTo>
                    <a:lnTo>
                      <a:pt x="631" y="247"/>
                    </a:lnTo>
                    <a:lnTo>
                      <a:pt x="626" y="252"/>
                    </a:lnTo>
                    <a:lnTo>
                      <a:pt x="626" y="256"/>
                    </a:lnTo>
                    <a:lnTo>
                      <a:pt x="626" y="261"/>
                    </a:lnTo>
                    <a:lnTo>
                      <a:pt x="626" y="265"/>
                    </a:lnTo>
                    <a:lnTo>
                      <a:pt x="622" y="270"/>
                    </a:lnTo>
                    <a:lnTo>
                      <a:pt x="617" y="279"/>
                    </a:lnTo>
                    <a:lnTo>
                      <a:pt x="617" y="284"/>
                    </a:lnTo>
                    <a:lnTo>
                      <a:pt x="617" y="288"/>
                    </a:lnTo>
                    <a:lnTo>
                      <a:pt x="612" y="288"/>
                    </a:lnTo>
                    <a:lnTo>
                      <a:pt x="612" y="293"/>
                    </a:lnTo>
                    <a:lnTo>
                      <a:pt x="617" y="297"/>
                    </a:lnTo>
                    <a:lnTo>
                      <a:pt x="617" y="302"/>
                    </a:lnTo>
                    <a:lnTo>
                      <a:pt x="617" y="306"/>
                    </a:lnTo>
                    <a:lnTo>
                      <a:pt x="612" y="320"/>
                    </a:lnTo>
                    <a:lnTo>
                      <a:pt x="612" y="325"/>
                    </a:lnTo>
                    <a:lnTo>
                      <a:pt x="617" y="338"/>
                    </a:lnTo>
                    <a:lnTo>
                      <a:pt x="622" y="348"/>
                    </a:lnTo>
                    <a:lnTo>
                      <a:pt x="622" y="352"/>
                    </a:lnTo>
                    <a:lnTo>
                      <a:pt x="626" y="361"/>
                    </a:lnTo>
                    <a:lnTo>
                      <a:pt x="626" y="366"/>
                    </a:lnTo>
                    <a:lnTo>
                      <a:pt x="626" y="370"/>
                    </a:lnTo>
                    <a:lnTo>
                      <a:pt x="626" y="375"/>
                    </a:lnTo>
                    <a:lnTo>
                      <a:pt x="626" y="380"/>
                    </a:lnTo>
                    <a:lnTo>
                      <a:pt x="626" y="393"/>
                    </a:lnTo>
                    <a:lnTo>
                      <a:pt x="626" y="398"/>
                    </a:lnTo>
                    <a:lnTo>
                      <a:pt x="631" y="412"/>
                    </a:lnTo>
                    <a:lnTo>
                      <a:pt x="626" y="412"/>
                    </a:lnTo>
                    <a:lnTo>
                      <a:pt x="626" y="412"/>
                    </a:lnTo>
                    <a:lnTo>
                      <a:pt x="622" y="412"/>
                    </a:lnTo>
                    <a:lnTo>
                      <a:pt x="608" y="416"/>
                    </a:lnTo>
                    <a:lnTo>
                      <a:pt x="608" y="416"/>
                    </a:lnTo>
                    <a:lnTo>
                      <a:pt x="585" y="416"/>
                    </a:lnTo>
                    <a:lnTo>
                      <a:pt x="585" y="416"/>
                    </a:lnTo>
                    <a:lnTo>
                      <a:pt x="580" y="416"/>
                    </a:lnTo>
                    <a:lnTo>
                      <a:pt x="576" y="421"/>
                    </a:lnTo>
                    <a:lnTo>
                      <a:pt x="571" y="421"/>
                    </a:lnTo>
                    <a:lnTo>
                      <a:pt x="567" y="425"/>
                    </a:lnTo>
                    <a:lnTo>
                      <a:pt x="562" y="425"/>
                    </a:lnTo>
                    <a:lnTo>
                      <a:pt x="558" y="430"/>
                    </a:lnTo>
                    <a:lnTo>
                      <a:pt x="548" y="434"/>
                    </a:lnTo>
                    <a:lnTo>
                      <a:pt x="544" y="434"/>
                    </a:lnTo>
                    <a:lnTo>
                      <a:pt x="544" y="439"/>
                    </a:lnTo>
                    <a:lnTo>
                      <a:pt x="539" y="439"/>
                    </a:lnTo>
                    <a:lnTo>
                      <a:pt x="539" y="444"/>
                    </a:lnTo>
                    <a:lnTo>
                      <a:pt x="530" y="444"/>
                    </a:lnTo>
                    <a:lnTo>
                      <a:pt x="521" y="444"/>
                    </a:lnTo>
                    <a:lnTo>
                      <a:pt x="521" y="448"/>
                    </a:lnTo>
                    <a:lnTo>
                      <a:pt x="516" y="448"/>
                    </a:lnTo>
                    <a:lnTo>
                      <a:pt x="516" y="453"/>
                    </a:lnTo>
                    <a:lnTo>
                      <a:pt x="507" y="457"/>
                    </a:lnTo>
                    <a:lnTo>
                      <a:pt x="498" y="462"/>
                    </a:lnTo>
                    <a:lnTo>
                      <a:pt x="494" y="462"/>
                    </a:lnTo>
                    <a:lnTo>
                      <a:pt x="489" y="462"/>
                    </a:lnTo>
                    <a:lnTo>
                      <a:pt x="489" y="466"/>
                    </a:lnTo>
                    <a:lnTo>
                      <a:pt x="484" y="466"/>
                    </a:lnTo>
                    <a:lnTo>
                      <a:pt x="480" y="466"/>
                    </a:lnTo>
                    <a:lnTo>
                      <a:pt x="480" y="471"/>
                    </a:lnTo>
                    <a:lnTo>
                      <a:pt x="475" y="476"/>
                    </a:lnTo>
                    <a:lnTo>
                      <a:pt x="471" y="476"/>
                    </a:lnTo>
                    <a:lnTo>
                      <a:pt x="471" y="480"/>
                    </a:lnTo>
                    <a:lnTo>
                      <a:pt x="466" y="485"/>
                    </a:lnTo>
                    <a:lnTo>
                      <a:pt x="462" y="485"/>
                    </a:lnTo>
                    <a:lnTo>
                      <a:pt x="462" y="489"/>
                    </a:lnTo>
                    <a:lnTo>
                      <a:pt x="457" y="494"/>
                    </a:lnTo>
                    <a:lnTo>
                      <a:pt x="452" y="494"/>
                    </a:lnTo>
                    <a:lnTo>
                      <a:pt x="452" y="489"/>
                    </a:lnTo>
                    <a:lnTo>
                      <a:pt x="452" y="485"/>
                    </a:lnTo>
                    <a:lnTo>
                      <a:pt x="452" y="485"/>
                    </a:lnTo>
                    <a:lnTo>
                      <a:pt x="448" y="480"/>
                    </a:lnTo>
                    <a:lnTo>
                      <a:pt x="448" y="476"/>
                    </a:lnTo>
                    <a:lnTo>
                      <a:pt x="439" y="471"/>
                    </a:lnTo>
                    <a:lnTo>
                      <a:pt x="434" y="466"/>
                    </a:lnTo>
                    <a:lnTo>
                      <a:pt x="430" y="466"/>
                    </a:lnTo>
                    <a:lnTo>
                      <a:pt x="430" y="466"/>
                    </a:lnTo>
                    <a:lnTo>
                      <a:pt x="425" y="466"/>
                    </a:lnTo>
                    <a:lnTo>
                      <a:pt x="420" y="466"/>
                    </a:lnTo>
                    <a:lnTo>
                      <a:pt x="416" y="466"/>
                    </a:lnTo>
                    <a:lnTo>
                      <a:pt x="416" y="471"/>
                    </a:lnTo>
                    <a:lnTo>
                      <a:pt x="411" y="471"/>
                    </a:lnTo>
                    <a:lnTo>
                      <a:pt x="407" y="476"/>
                    </a:lnTo>
                    <a:lnTo>
                      <a:pt x="407" y="480"/>
                    </a:lnTo>
                    <a:lnTo>
                      <a:pt x="407" y="485"/>
                    </a:lnTo>
                    <a:lnTo>
                      <a:pt x="407" y="489"/>
                    </a:lnTo>
                    <a:lnTo>
                      <a:pt x="402" y="494"/>
                    </a:lnTo>
                    <a:lnTo>
                      <a:pt x="402" y="498"/>
                    </a:lnTo>
                    <a:lnTo>
                      <a:pt x="407" y="508"/>
                    </a:lnTo>
                    <a:lnTo>
                      <a:pt x="407" y="508"/>
                    </a:lnTo>
                    <a:lnTo>
                      <a:pt x="416" y="508"/>
                    </a:lnTo>
                    <a:lnTo>
                      <a:pt x="416" y="512"/>
                    </a:lnTo>
                    <a:lnTo>
                      <a:pt x="420" y="517"/>
                    </a:lnTo>
                    <a:lnTo>
                      <a:pt x="420" y="530"/>
                    </a:lnTo>
                    <a:lnTo>
                      <a:pt x="425" y="540"/>
                    </a:lnTo>
                    <a:lnTo>
                      <a:pt x="425" y="549"/>
                    </a:lnTo>
                    <a:lnTo>
                      <a:pt x="430" y="553"/>
                    </a:lnTo>
                    <a:lnTo>
                      <a:pt x="430" y="553"/>
                    </a:lnTo>
                    <a:lnTo>
                      <a:pt x="430" y="558"/>
                    </a:lnTo>
                    <a:lnTo>
                      <a:pt x="434" y="562"/>
                    </a:lnTo>
                    <a:lnTo>
                      <a:pt x="439" y="567"/>
                    </a:lnTo>
                    <a:lnTo>
                      <a:pt x="439" y="572"/>
                    </a:lnTo>
                    <a:lnTo>
                      <a:pt x="443" y="572"/>
                    </a:lnTo>
                    <a:lnTo>
                      <a:pt x="443" y="572"/>
                    </a:lnTo>
                    <a:lnTo>
                      <a:pt x="448" y="572"/>
                    </a:lnTo>
                    <a:lnTo>
                      <a:pt x="448" y="576"/>
                    </a:lnTo>
                    <a:lnTo>
                      <a:pt x="452" y="585"/>
                    </a:lnTo>
                    <a:lnTo>
                      <a:pt x="457" y="585"/>
                    </a:lnTo>
                    <a:lnTo>
                      <a:pt x="462" y="590"/>
                    </a:lnTo>
                    <a:lnTo>
                      <a:pt x="471" y="590"/>
                    </a:lnTo>
                    <a:lnTo>
                      <a:pt x="471" y="594"/>
                    </a:lnTo>
                    <a:lnTo>
                      <a:pt x="475" y="594"/>
                    </a:lnTo>
                    <a:lnTo>
                      <a:pt x="475" y="594"/>
                    </a:lnTo>
                    <a:lnTo>
                      <a:pt x="471" y="599"/>
                    </a:lnTo>
                    <a:lnTo>
                      <a:pt x="471" y="604"/>
                    </a:lnTo>
                    <a:lnTo>
                      <a:pt x="466" y="608"/>
                    </a:lnTo>
                    <a:lnTo>
                      <a:pt x="466" y="613"/>
                    </a:lnTo>
                    <a:lnTo>
                      <a:pt x="457" y="622"/>
                    </a:lnTo>
                    <a:lnTo>
                      <a:pt x="457" y="626"/>
                    </a:lnTo>
                    <a:lnTo>
                      <a:pt x="452" y="631"/>
                    </a:lnTo>
                    <a:lnTo>
                      <a:pt x="452" y="636"/>
                    </a:lnTo>
                    <a:lnTo>
                      <a:pt x="452" y="640"/>
                    </a:lnTo>
                    <a:lnTo>
                      <a:pt x="448" y="640"/>
                    </a:lnTo>
                    <a:lnTo>
                      <a:pt x="443" y="645"/>
                    </a:lnTo>
                    <a:lnTo>
                      <a:pt x="439" y="645"/>
                    </a:lnTo>
                    <a:lnTo>
                      <a:pt x="434" y="649"/>
                    </a:lnTo>
                    <a:lnTo>
                      <a:pt x="430" y="649"/>
                    </a:lnTo>
                    <a:lnTo>
                      <a:pt x="430" y="654"/>
                    </a:lnTo>
                    <a:lnTo>
                      <a:pt x="430" y="654"/>
                    </a:lnTo>
                    <a:lnTo>
                      <a:pt x="430" y="658"/>
                    </a:lnTo>
                    <a:lnTo>
                      <a:pt x="425" y="658"/>
                    </a:lnTo>
                    <a:lnTo>
                      <a:pt x="425" y="658"/>
                    </a:lnTo>
                    <a:lnTo>
                      <a:pt x="420" y="658"/>
                    </a:lnTo>
                    <a:lnTo>
                      <a:pt x="420" y="663"/>
                    </a:lnTo>
                    <a:lnTo>
                      <a:pt x="416" y="663"/>
                    </a:lnTo>
                    <a:lnTo>
                      <a:pt x="416" y="668"/>
                    </a:lnTo>
                    <a:lnTo>
                      <a:pt x="411" y="672"/>
                    </a:lnTo>
                    <a:lnTo>
                      <a:pt x="411" y="677"/>
                    </a:lnTo>
                    <a:lnTo>
                      <a:pt x="407" y="677"/>
                    </a:lnTo>
                    <a:lnTo>
                      <a:pt x="407" y="681"/>
                    </a:lnTo>
                    <a:lnTo>
                      <a:pt x="402" y="681"/>
                    </a:lnTo>
                    <a:lnTo>
                      <a:pt x="393" y="681"/>
                    </a:lnTo>
                    <a:lnTo>
                      <a:pt x="388" y="686"/>
                    </a:lnTo>
                    <a:lnTo>
                      <a:pt x="384" y="686"/>
                    </a:lnTo>
                    <a:lnTo>
                      <a:pt x="379" y="690"/>
                    </a:lnTo>
                    <a:lnTo>
                      <a:pt x="375" y="690"/>
                    </a:lnTo>
                    <a:lnTo>
                      <a:pt x="370" y="690"/>
                    </a:lnTo>
                    <a:lnTo>
                      <a:pt x="370" y="695"/>
                    </a:lnTo>
                    <a:lnTo>
                      <a:pt x="366" y="695"/>
                    </a:lnTo>
                    <a:lnTo>
                      <a:pt x="361" y="695"/>
                    </a:lnTo>
                    <a:lnTo>
                      <a:pt x="356" y="700"/>
                    </a:lnTo>
                    <a:lnTo>
                      <a:pt x="352" y="700"/>
                    </a:lnTo>
                    <a:lnTo>
                      <a:pt x="343" y="695"/>
                    </a:lnTo>
                    <a:lnTo>
                      <a:pt x="343" y="695"/>
                    </a:lnTo>
                    <a:lnTo>
                      <a:pt x="343" y="690"/>
                    </a:lnTo>
                    <a:lnTo>
                      <a:pt x="338" y="690"/>
                    </a:lnTo>
                    <a:lnTo>
                      <a:pt x="338" y="681"/>
                    </a:lnTo>
                    <a:lnTo>
                      <a:pt x="338" y="681"/>
                    </a:lnTo>
                    <a:lnTo>
                      <a:pt x="334" y="681"/>
                    </a:lnTo>
                    <a:lnTo>
                      <a:pt x="329" y="677"/>
                    </a:lnTo>
                    <a:lnTo>
                      <a:pt x="329" y="672"/>
                    </a:lnTo>
                    <a:lnTo>
                      <a:pt x="334" y="668"/>
                    </a:lnTo>
                    <a:lnTo>
                      <a:pt x="338" y="663"/>
                    </a:lnTo>
                    <a:lnTo>
                      <a:pt x="343" y="658"/>
                    </a:lnTo>
                    <a:lnTo>
                      <a:pt x="343" y="654"/>
                    </a:lnTo>
                    <a:lnTo>
                      <a:pt x="343" y="649"/>
                    </a:lnTo>
                    <a:lnTo>
                      <a:pt x="343" y="645"/>
                    </a:lnTo>
                    <a:lnTo>
                      <a:pt x="343" y="645"/>
                    </a:lnTo>
                    <a:lnTo>
                      <a:pt x="343" y="640"/>
                    </a:lnTo>
                    <a:lnTo>
                      <a:pt x="338" y="640"/>
                    </a:lnTo>
                    <a:lnTo>
                      <a:pt x="334" y="640"/>
                    </a:lnTo>
                    <a:lnTo>
                      <a:pt x="324" y="636"/>
                    </a:lnTo>
                    <a:lnTo>
                      <a:pt x="320" y="631"/>
                    </a:lnTo>
                    <a:lnTo>
                      <a:pt x="320" y="631"/>
                    </a:lnTo>
                    <a:lnTo>
                      <a:pt x="315" y="626"/>
                    </a:lnTo>
                    <a:lnTo>
                      <a:pt x="315" y="622"/>
                    </a:lnTo>
                    <a:lnTo>
                      <a:pt x="311" y="622"/>
                    </a:lnTo>
                    <a:lnTo>
                      <a:pt x="306" y="617"/>
                    </a:lnTo>
                    <a:lnTo>
                      <a:pt x="297" y="608"/>
                    </a:lnTo>
                    <a:lnTo>
                      <a:pt x="292" y="604"/>
                    </a:lnTo>
                    <a:lnTo>
                      <a:pt x="288" y="604"/>
                    </a:lnTo>
                    <a:lnTo>
                      <a:pt x="283" y="604"/>
                    </a:lnTo>
                    <a:lnTo>
                      <a:pt x="279" y="599"/>
                    </a:lnTo>
                    <a:lnTo>
                      <a:pt x="279" y="594"/>
                    </a:lnTo>
                    <a:lnTo>
                      <a:pt x="274" y="594"/>
                    </a:lnTo>
                    <a:lnTo>
                      <a:pt x="265" y="594"/>
                    </a:lnTo>
                    <a:lnTo>
                      <a:pt x="260" y="590"/>
                    </a:lnTo>
                    <a:lnTo>
                      <a:pt x="256" y="590"/>
                    </a:lnTo>
                    <a:lnTo>
                      <a:pt x="256" y="585"/>
                    </a:lnTo>
                    <a:lnTo>
                      <a:pt x="251" y="581"/>
                    </a:lnTo>
                    <a:lnTo>
                      <a:pt x="247" y="581"/>
                    </a:lnTo>
                    <a:lnTo>
                      <a:pt x="242" y="581"/>
                    </a:lnTo>
                    <a:lnTo>
                      <a:pt x="242" y="585"/>
                    </a:lnTo>
                    <a:lnTo>
                      <a:pt x="238" y="585"/>
                    </a:lnTo>
                    <a:lnTo>
                      <a:pt x="233" y="585"/>
                    </a:lnTo>
                    <a:lnTo>
                      <a:pt x="233" y="590"/>
                    </a:lnTo>
                    <a:lnTo>
                      <a:pt x="228" y="590"/>
                    </a:lnTo>
                    <a:lnTo>
                      <a:pt x="224" y="594"/>
                    </a:lnTo>
                    <a:lnTo>
                      <a:pt x="219" y="594"/>
                    </a:lnTo>
                    <a:lnTo>
                      <a:pt x="215" y="594"/>
                    </a:lnTo>
                    <a:lnTo>
                      <a:pt x="210" y="594"/>
                    </a:lnTo>
                    <a:lnTo>
                      <a:pt x="210" y="599"/>
                    </a:lnTo>
                    <a:lnTo>
                      <a:pt x="210" y="599"/>
                    </a:lnTo>
                    <a:lnTo>
                      <a:pt x="206" y="604"/>
                    </a:lnTo>
                    <a:lnTo>
                      <a:pt x="201" y="604"/>
                    </a:lnTo>
                    <a:lnTo>
                      <a:pt x="196" y="604"/>
                    </a:lnTo>
                    <a:lnTo>
                      <a:pt x="192" y="604"/>
                    </a:lnTo>
                    <a:lnTo>
                      <a:pt x="192" y="599"/>
                    </a:lnTo>
                    <a:lnTo>
                      <a:pt x="187" y="594"/>
                    </a:lnTo>
                    <a:lnTo>
                      <a:pt x="187" y="594"/>
                    </a:lnTo>
                    <a:lnTo>
                      <a:pt x="183" y="594"/>
                    </a:lnTo>
                    <a:lnTo>
                      <a:pt x="174" y="594"/>
                    </a:lnTo>
                    <a:lnTo>
                      <a:pt x="169" y="594"/>
                    </a:lnTo>
                    <a:lnTo>
                      <a:pt x="169" y="594"/>
                    </a:lnTo>
                    <a:lnTo>
                      <a:pt x="169" y="594"/>
                    </a:lnTo>
                    <a:lnTo>
                      <a:pt x="164" y="594"/>
                    </a:lnTo>
                    <a:lnTo>
                      <a:pt x="160" y="594"/>
                    </a:lnTo>
                    <a:lnTo>
                      <a:pt x="155" y="594"/>
                    </a:lnTo>
                    <a:lnTo>
                      <a:pt x="155" y="594"/>
                    </a:lnTo>
                    <a:lnTo>
                      <a:pt x="151" y="594"/>
                    </a:lnTo>
                    <a:lnTo>
                      <a:pt x="146" y="594"/>
                    </a:lnTo>
                    <a:lnTo>
                      <a:pt x="146" y="594"/>
                    </a:lnTo>
                    <a:lnTo>
                      <a:pt x="142" y="594"/>
                    </a:lnTo>
                    <a:lnTo>
                      <a:pt x="142" y="590"/>
                    </a:lnTo>
                    <a:lnTo>
                      <a:pt x="137" y="590"/>
                    </a:lnTo>
                    <a:lnTo>
                      <a:pt x="132" y="594"/>
                    </a:lnTo>
                    <a:lnTo>
                      <a:pt x="128" y="594"/>
                    </a:lnTo>
                    <a:lnTo>
                      <a:pt x="123" y="594"/>
                    </a:lnTo>
                    <a:lnTo>
                      <a:pt x="123" y="594"/>
                    </a:lnTo>
                    <a:lnTo>
                      <a:pt x="123" y="594"/>
                    </a:lnTo>
                    <a:lnTo>
                      <a:pt x="123" y="604"/>
                    </a:lnTo>
                    <a:lnTo>
                      <a:pt x="123" y="604"/>
                    </a:lnTo>
                    <a:lnTo>
                      <a:pt x="123" y="608"/>
                    </a:lnTo>
                    <a:lnTo>
                      <a:pt x="128" y="613"/>
                    </a:lnTo>
                    <a:lnTo>
                      <a:pt x="128" y="617"/>
                    </a:lnTo>
                    <a:lnTo>
                      <a:pt x="123" y="617"/>
                    </a:lnTo>
                    <a:lnTo>
                      <a:pt x="123" y="617"/>
                    </a:lnTo>
                    <a:lnTo>
                      <a:pt x="123" y="617"/>
                    </a:lnTo>
                    <a:lnTo>
                      <a:pt x="119" y="617"/>
                    </a:lnTo>
                    <a:lnTo>
                      <a:pt x="119" y="622"/>
                    </a:lnTo>
                    <a:lnTo>
                      <a:pt x="114" y="622"/>
                    </a:lnTo>
                    <a:lnTo>
                      <a:pt x="110" y="626"/>
                    </a:lnTo>
                    <a:lnTo>
                      <a:pt x="105" y="631"/>
                    </a:lnTo>
                    <a:lnTo>
                      <a:pt x="100" y="636"/>
                    </a:lnTo>
                    <a:lnTo>
                      <a:pt x="100" y="636"/>
                    </a:lnTo>
                    <a:lnTo>
                      <a:pt x="96" y="636"/>
                    </a:lnTo>
                    <a:lnTo>
                      <a:pt x="96" y="631"/>
                    </a:lnTo>
                    <a:lnTo>
                      <a:pt x="91" y="626"/>
                    </a:lnTo>
                    <a:lnTo>
                      <a:pt x="91" y="622"/>
                    </a:lnTo>
                    <a:lnTo>
                      <a:pt x="87" y="622"/>
                    </a:lnTo>
                    <a:lnTo>
                      <a:pt x="87" y="617"/>
                    </a:lnTo>
                    <a:lnTo>
                      <a:pt x="87" y="617"/>
                    </a:lnTo>
                    <a:lnTo>
                      <a:pt x="87" y="613"/>
                    </a:lnTo>
                    <a:lnTo>
                      <a:pt x="82" y="608"/>
                    </a:lnTo>
                    <a:lnTo>
                      <a:pt x="82" y="604"/>
                    </a:lnTo>
                    <a:lnTo>
                      <a:pt x="87" y="599"/>
                    </a:lnTo>
                    <a:lnTo>
                      <a:pt x="87" y="594"/>
                    </a:lnTo>
                    <a:lnTo>
                      <a:pt x="91" y="594"/>
                    </a:lnTo>
                    <a:lnTo>
                      <a:pt x="91" y="590"/>
                    </a:lnTo>
                    <a:lnTo>
                      <a:pt x="91" y="585"/>
                    </a:lnTo>
                    <a:lnTo>
                      <a:pt x="87" y="581"/>
                    </a:lnTo>
                    <a:lnTo>
                      <a:pt x="87" y="576"/>
                    </a:lnTo>
                    <a:lnTo>
                      <a:pt x="82" y="576"/>
                    </a:lnTo>
                    <a:lnTo>
                      <a:pt x="78" y="576"/>
                    </a:lnTo>
                    <a:lnTo>
                      <a:pt x="78" y="572"/>
                    </a:lnTo>
                    <a:lnTo>
                      <a:pt x="78" y="572"/>
                    </a:lnTo>
                    <a:lnTo>
                      <a:pt x="78" y="567"/>
                    </a:lnTo>
                    <a:lnTo>
                      <a:pt x="73" y="562"/>
                    </a:lnTo>
                    <a:lnTo>
                      <a:pt x="68" y="558"/>
                    </a:lnTo>
                    <a:lnTo>
                      <a:pt x="64" y="553"/>
                    </a:lnTo>
                    <a:lnTo>
                      <a:pt x="59" y="553"/>
                    </a:lnTo>
                    <a:lnTo>
                      <a:pt x="59" y="553"/>
                    </a:lnTo>
                    <a:lnTo>
                      <a:pt x="55" y="549"/>
                    </a:lnTo>
                    <a:lnTo>
                      <a:pt x="50" y="544"/>
                    </a:lnTo>
                    <a:lnTo>
                      <a:pt x="46" y="544"/>
                    </a:lnTo>
                    <a:lnTo>
                      <a:pt x="41" y="540"/>
                    </a:lnTo>
                    <a:lnTo>
                      <a:pt x="41" y="535"/>
                    </a:lnTo>
                    <a:lnTo>
                      <a:pt x="36" y="530"/>
                    </a:lnTo>
                    <a:lnTo>
                      <a:pt x="36" y="530"/>
                    </a:lnTo>
                    <a:lnTo>
                      <a:pt x="32" y="526"/>
                    </a:lnTo>
                    <a:lnTo>
                      <a:pt x="23" y="521"/>
                    </a:lnTo>
                    <a:lnTo>
                      <a:pt x="18" y="521"/>
                    </a:lnTo>
                    <a:lnTo>
                      <a:pt x="14" y="521"/>
                    </a:lnTo>
                    <a:lnTo>
                      <a:pt x="14" y="517"/>
                    </a:lnTo>
                    <a:lnTo>
                      <a:pt x="14" y="517"/>
                    </a:lnTo>
                    <a:lnTo>
                      <a:pt x="14" y="512"/>
                    </a:lnTo>
                    <a:lnTo>
                      <a:pt x="9" y="512"/>
                    </a:lnTo>
                    <a:lnTo>
                      <a:pt x="4" y="508"/>
                    </a:lnTo>
                    <a:lnTo>
                      <a:pt x="0" y="503"/>
                    </a:lnTo>
                    <a:lnTo>
                      <a:pt x="0" y="498"/>
                    </a:lnTo>
                    <a:lnTo>
                      <a:pt x="0" y="494"/>
                    </a:lnTo>
                    <a:lnTo>
                      <a:pt x="0" y="489"/>
                    </a:lnTo>
                    <a:lnTo>
                      <a:pt x="0" y="485"/>
                    </a:lnTo>
                    <a:lnTo>
                      <a:pt x="4" y="480"/>
                    </a:lnTo>
                    <a:lnTo>
                      <a:pt x="4" y="476"/>
                    </a:lnTo>
                    <a:lnTo>
                      <a:pt x="4" y="466"/>
                    </a:lnTo>
                    <a:lnTo>
                      <a:pt x="4" y="462"/>
                    </a:lnTo>
                    <a:lnTo>
                      <a:pt x="9" y="462"/>
                    </a:lnTo>
                    <a:lnTo>
                      <a:pt x="14" y="462"/>
                    </a:lnTo>
                    <a:lnTo>
                      <a:pt x="23" y="462"/>
                    </a:lnTo>
                    <a:lnTo>
                      <a:pt x="23" y="462"/>
                    </a:lnTo>
                    <a:lnTo>
                      <a:pt x="27" y="462"/>
                    </a:lnTo>
                    <a:lnTo>
                      <a:pt x="27" y="457"/>
                    </a:lnTo>
                    <a:lnTo>
                      <a:pt x="32" y="453"/>
                    </a:lnTo>
                    <a:lnTo>
                      <a:pt x="32" y="444"/>
                    </a:lnTo>
                    <a:lnTo>
                      <a:pt x="32" y="439"/>
                    </a:lnTo>
                    <a:lnTo>
                      <a:pt x="36" y="434"/>
                    </a:lnTo>
                    <a:lnTo>
                      <a:pt x="36" y="430"/>
                    </a:lnTo>
                    <a:lnTo>
                      <a:pt x="36" y="425"/>
                    </a:lnTo>
                    <a:lnTo>
                      <a:pt x="41" y="421"/>
                    </a:lnTo>
                    <a:lnTo>
                      <a:pt x="46" y="421"/>
                    </a:lnTo>
                    <a:lnTo>
                      <a:pt x="46" y="416"/>
                    </a:lnTo>
                    <a:lnTo>
                      <a:pt x="50" y="412"/>
                    </a:lnTo>
                    <a:lnTo>
                      <a:pt x="50" y="407"/>
                    </a:lnTo>
                    <a:lnTo>
                      <a:pt x="55" y="402"/>
                    </a:lnTo>
                    <a:lnTo>
                      <a:pt x="55" y="398"/>
                    </a:lnTo>
                    <a:lnTo>
                      <a:pt x="59" y="393"/>
                    </a:lnTo>
                    <a:lnTo>
                      <a:pt x="55" y="389"/>
                    </a:lnTo>
                    <a:lnTo>
                      <a:pt x="55" y="384"/>
                    </a:lnTo>
                    <a:lnTo>
                      <a:pt x="50" y="384"/>
                    </a:lnTo>
                    <a:lnTo>
                      <a:pt x="46" y="384"/>
                    </a:lnTo>
                    <a:lnTo>
                      <a:pt x="46" y="380"/>
                    </a:lnTo>
                    <a:lnTo>
                      <a:pt x="41" y="380"/>
                    </a:lnTo>
                    <a:lnTo>
                      <a:pt x="41" y="375"/>
                    </a:lnTo>
                    <a:lnTo>
                      <a:pt x="36" y="375"/>
                    </a:lnTo>
                    <a:lnTo>
                      <a:pt x="36" y="366"/>
                    </a:lnTo>
                    <a:lnTo>
                      <a:pt x="36" y="352"/>
                    </a:lnTo>
                    <a:lnTo>
                      <a:pt x="41" y="352"/>
                    </a:lnTo>
                    <a:lnTo>
                      <a:pt x="41" y="348"/>
                    </a:lnTo>
                    <a:lnTo>
                      <a:pt x="41" y="338"/>
                    </a:lnTo>
                    <a:lnTo>
                      <a:pt x="46" y="334"/>
                    </a:lnTo>
                    <a:lnTo>
                      <a:pt x="46" y="329"/>
                    </a:lnTo>
                    <a:lnTo>
                      <a:pt x="46" y="325"/>
                    </a:lnTo>
                    <a:lnTo>
                      <a:pt x="50" y="325"/>
                    </a:lnTo>
                    <a:lnTo>
                      <a:pt x="50" y="320"/>
                    </a:lnTo>
                    <a:lnTo>
                      <a:pt x="55" y="320"/>
                    </a:lnTo>
                    <a:lnTo>
                      <a:pt x="55" y="316"/>
                    </a:lnTo>
                    <a:lnTo>
                      <a:pt x="59" y="316"/>
                    </a:lnTo>
                    <a:lnTo>
                      <a:pt x="59" y="316"/>
                    </a:lnTo>
                    <a:lnTo>
                      <a:pt x="59" y="311"/>
                    </a:lnTo>
                    <a:lnTo>
                      <a:pt x="64" y="311"/>
                    </a:lnTo>
                    <a:lnTo>
                      <a:pt x="68" y="311"/>
                    </a:lnTo>
                    <a:lnTo>
                      <a:pt x="68" y="306"/>
                    </a:lnTo>
                    <a:lnTo>
                      <a:pt x="68" y="297"/>
                    </a:lnTo>
                    <a:lnTo>
                      <a:pt x="73" y="297"/>
                    </a:lnTo>
                    <a:lnTo>
                      <a:pt x="73" y="293"/>
                    </a:lnTo>
                    <a:lnTo>
                      <a:pt x="78" y="288"/>
                    </a:lnTo>
                    <a:lnTo>
                      <a:pt x="78" y="288"/>
                    </a:lnTo>
                    <a:lnTo>
                      <a:pt x="78" y="284"/>
                    </a:lnTo>
                    <a:lnTo>
                      <a:pt x="82" y="279"/>
                    </a:lnTo>
                    <a:lnTo>
                      <a:pt x="82" y="274"/>
                    </a:lnTo>
                    <a:lnTo>
                      <a:pt x="91" y="265"/>
                    </a:lnTo>
                    <a:lnTo>
                      <a:pt x="96" y="265"/>
                    </a:lnTo>
                    <a:lnTo>
                      <a:pt x="100" y="265"/>
                    </a:lnTo>
                    <a:lnTo>
                      <a:pt x="100" y="265"/>
                    </a:lnTo>
                    <a:lnTo>
                      <a:pt x="119" y="265"/>
                    </a:lnTo>
                    <a:lnTo>
                      <a:pt x="146" y="270"/>
                    </a:lnTo>
                    <a:lnTo>
                      <a:pt x="146" y="270"/>
                    </a:lnTo>
                    <a:lnTo>
                      <a:pt x="155" y="270"/>
                    </a:lnTo>
                    <a:lnTo>
                      <a:pt x="160" y="270"/>
                    </a:lnTo>
                    <a:lnTo>
                      <a:pt x="169" y="270"/>
                    </a:lnTo>
                    <a:lnTo>
                      <a:pt x="178" y="270"/>
                    </a:lnTo>
                    <a:lnTo>
                      <a:pt x="187" y="270"/>
                    </a:lnTo>
                    <a:lnTo>
                      <a:pt x="196" y="270"/>
                    </a:lnTo>
                    <a:lnTo>
                      <a:pt x="201" y="270"/>
                    </a:lnTo>
                    <a:lnTo>
                      <a:pt x="201" y="274"/>
                    </a:lnTo>
                    <a:lnTo>
                      <a:pt x="206" y="274"/>
                    </a:lnTo>
                    <a:lnTo>
                      <a:pt x="206" y="279"/>
                    </a:lnTo>
                    <a:lnTo>
                      <a:pt x="210" y="279"/>
                    </a:lnTo>
                    <a:lnTo>
                      <a:pt x="210" y="284"/>
                    </a:lnTo>
                    <a:lnTo>
                      <a:pt x="210" y="284"/>
                    </a:lnTo>
                    <a:lnTo>
                      <a:pt x="210" y="288"/>
                    </a:lnTo>
                    <a:lnTo>
                      <a:pt x="210" y="288"/>
                    </a:lnTo>
                    <a:lnTo>
                      <a:pt x="201" y="288"/>
                    </a:lnTo>
                    <a:lnTo>
                      <a:pt x="196" y="288"/>
                    </a:lnTo>
                    <a:lnTo>
                      <a:pt x="192" y="288"/>
                    </a:lnTo>
                    <a:lnTo>
                      <a:pt x="192" y="288"/>
                    </a:lnTo>
                    <a:lnTo>
                      <a:pt x="192" y="293"/>
                    </a:lnTo>
                    <a:lnTo>
                      <a:pt x="196" y="302"/>
                    </a:lnTo>
                    <a:lnTo>
                      <a:pt x="196" y="306"/>
                    </a:lnTo>
                    <a:lnTo>
                      <a:pt x="201" y="311"/>
                    </a:lnTo>
                    <a:lnTo>
                      <a:pt x="206" y="311"/>
                    </a:lnTo>
                    <a:lnTo>
                      <a:pt x="206" y="316"/>
                    </a:lnTo>
                    <a:lnTo>
                      <a:pt x="210" y="329"/>
                    </a:lnTo>
                    <a:lnTo>
                      <a:pt x="210" y="334"/>
                    </a:lnTo>
                    <a:lnTo>
                      <a:pt x="215" y="334"/>
                    </a:lnTo>
                    <a:lnTo>
                      <a:pt x="215" y="329"/>
                    </a:lnTo>
                    <a:lnTo>
                      <a:pt x="219" y="329"/>
                    </a:lnTo>
                    <a:lnTo>
                      <a:pt x="224" y="325"/>
                    </a:lnTo>
                    <a:lnTo>
                      <a:pt x="224" y="320"/>
                    </a:lnTo>
                    <a:lnTo>
                      <a:pt x="228" y="320"/>
                    </a:lnTo>
                    <a:lnTo>
                      <a:pt x="228" y="316"/>
                    </a:lnTo>
                    <a:lnTo>
                      <a:pt x="233" y="316"/>
                    </a:lnTo>
                    <a:lnTo>
                      <a:pt x="233" y="316"/>
                    </a:lnTo>
                    <a:lnTo>
                      <a:pt x="238" y="311"/>
                    </a:lnTo>
                    <a:lnTo>
                      <a:pt x="242" y="311"/>
                    </a:lnTo>
                    <a:lnTo>
                      <a:pt x="247" y="316"/>
                    </a:lnTo>
                    <a:lnTo>
                      <a:pt x="247" y="320"/>
                    </a:lnTo>
                    <a:lnTo>
                      <a:pt x="251" y="320"/>
                    </a:lnTo>
                    <a:lnTo>
                      <a:pt x="256" y="325"/>
                    </a:lnTo>
                    <a:lnTo>
                      <a:pt x="256" y="325"/>
                    </a:lnTo>
                    <a:lnTo>
                      <a:pt x="260" y="325"/>
                    </a:lnTo>
                    <a:lnTo>
                      <a:pt x="265" y="320"/>
                    </a:lnTo>
                    <a:lnTo>
                      <a:pt x="274" y="311"/>
                    </a:lnTo>
                    <a:lnTo>
                      <a:pt x="274" y="311"/>
                    </a:lnTo>
                    <a:lnTo>
                      <a:pt x="279" y="311"/>
                    </a:lnTo>
                    <a:lnTo>
                      <a:pt x="279" y="302"/>
                    </a:lnTo>
                    <a:lnTo>
                      <a:pt x="279" y="297"/>
                    </a:lnTo>
                    <a:lnTo>
                      <a:pt x="279" y="293"/>
                    </a:lnTo>
                    <a:lnTo>
                      <a:pt x="279" y="288"/>
                    </a:lnTo>
                    <a:lnTo>
                      <a:pt x="279" y="284"/>
                    </a:lnTo>
                    <a:lnTo>
                      <a:pt x="279" y="279"/>
                    </a:lnTo>
                    <a:lnTo>
                      <a:pt x="283" y="279"/>
                    </a:lnTo>
                    <a:lnTo>
                      <a:pt x="283" y="274"/>
                    </a:lnTo>
                    <a:lnTo>
                      <a:pt x="288" y="274"/>
                    </a:lnTo>
                    <a:lnTo>
                      <a:pt x="288" y="270"/>
                    </a:lnTo>
                    <a:lnTo>
                      <a:pt x="288" y="265"/>
                    </a:lnTo>
                    <a:lnTo>
                      <a:pt x="292" y="265"/>
                    </a:lnTo>
                    <a:lnTo>
                      <a:pt x="297" y="261"/>
                    </a:lnTo>
                    <a:lnTo>
                      <a:pt x="297" y="256"/>
                    </a:lnTo>
                    <a:lnTo>
                      <a:pt x="302" y="247"/>
                    </a:lnTo>
                    <a:lnTo>
                      <a:pt x="302" y="242"/>
                    </a:lnTo>
                    <a:lnTo>
                      <a:pt x="297" y="233"/>
                    </a:lnTo>
                    <a:lnTo>
                      <a:pt x="297" y="229"/>
                    </a:lnTo>
                    <a:lnTo>
                      <a:pt x="297" y="224"/>
                    </a:lnTo>
                    <a:lnTo>
                      <a:pt x="302" y="220"/>
                    </a:lnTo>
                    <a:close/>
                  </a:path>
                </a:pathLst>
              </a:custGeom>
              <a:grpFill/>
              <a:ln w="9525" cmpd="sng">
                <a:solidFill>
                  <a:sysClr val="window" lastClr="FFFFFF"/>
                </a:solidFill>
                <a:miter lim="800000"/>
                <a:headEnd/>
                <a:tailEnd/>
              </a:ln>
              <a:effectLst/>
            </p:spPr>
            <p:txBody>
              <a:bodyPr lIns="27432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Edo</a:t>
                </a:r>
              </a:p>
            </p:txBody>
          </p:sp>
          <p:sp>
            <p:nvSpPr>
              <p:cNvPr id="198" name="Freeform 18">
                <a:extLst>
                  <a:ext uri="{FF2B5EF4-FFF2-40B4-BE49-F238E27FC236}">
                    <a16:creationId xmlns:a16="http://schemas.microsoft.com/office/drawing/2014/main" id="{FF22D7E7-EC65-4738-A3F6-92DDCCAB4D0E}"/>
                  </a:ext>
                </a:extLst>
              </p:cNvPr>
              <p:cNvSpPr>
                <a:spLocks/>
              </p:cNvSpPr>
              <p:nvPr>
                <p:custDataLst>
                  <p:tags r:id="rId15"/>
                </p:custDataLst>
              </p:nvPr>
            </p:nvSpPr>
            <p:spPr bwMode="auto">
              <a:xfrm>
                <a:off x="1286625" y="4427300"/>
                <a:ext cx="457592" cy="379479"/>
              </a:xfrm>
              <a:custGeom>
                <a:avLst/>
                <a:gdLst/>
                <a:ahLst/>
                <a:cxnLst>
                  <a:cxn ang="0">
                    <a:pos x="5" y="174"/>
                  </a:cxn>
                  <a:cxn ang="0">
                    <a:pos x="9" y="151"/>
                  </a:cxn>
                  <a:cxn ang="0">
                    <a:pos x="9" y="128"/>
                  </a:cxn>
                  <a:cxn ang="0">
                    <a:pos x="0" y="105"/>
                  </a:cxn>
                  <a:cxn ang="0">
                    <a:pos x="9" y="87"/>
                  </a:cxn>
                  <a:cxn ang="0">
                    <a:pos x="14" y="78"/>
                  </a:cxn>
                  <a:cxn ang="0">
                    <a:pos x="28" y="64"/>
                  </a:cxn>
                  <a:cxn ang="0">
                    <a:pos x="41" y="55"/>
                  </a:cxn>
                  <a:cxn ang="0">
                    <a:pos x="50" y="46"/>
                  </a:cxn>
                  <a:cxn ang="0">
                    <a:pos x="60" y="32"/>
                  </a:cxn>
                  <a:cxn ang="0">
                    <a:pos x="73" y="23"/>
                  </a:cxn>
                  <a:cxn ang="0">
                    <a:pos x="87" y="28"/>
                  </a:cxn>
                  <a:cxn ang="0">
                    <a:pos x="101" y="18"/>
                  </a:cxn>
                  <a:cxn ang="0">
                    <a:pos x="114" y="23"/>
                  </a:cxn>
                  <a:cxn ang="0">
                    <a:pos x="124" y="37"/>
                  </a:cxn>
                  <a:cxn ang="0">
                    <a:pos x="137" y="41"/>
                  </a:cxn>
                  <a:cxn ang="0">
                    <a:pos x="156" y="46"/>
                  </a:cxn>
                  <a:cxn ang="0">
                    <a:pos x="174" y="41"/>
                  </a:cxn>
                  <a:cxn ang="0">
                    <a:pos x="188" y="32"/>
                  </a:cxn>
                  <a:cxn ang="0">
                    <a:pos x="188" y="14"/>
                  </a:cxn>
                  <a:cxn ang="0">
                    <a:pos x="206" y="0"/>
                  </a:cxn>
                  <a:cxn ang="0">
                    <a:pos x="224" y="0"/>
                  </a:cxn>
                  <a:cxn ang="0">
                    <a:pos x="238" y="9"/>
                  </a:cxn>
                  <a:cxn ang="0">
                    <a:pos x="242" y="23"/>
                  </a:cxn>
                  <a:cxn ang="0">
                    <a:pos x="242" y="41"/>
                  </a:cxn>
                  <a:cxn ang="0">
                    <a:pos x="256" y="37"/>
                  </a:cxn>
                  <a:cxn ang="0">
                    <a:pos x="261" y="28"/>
                  </a:cxn>
                  <a:cxn ang="0">
                    <a:pos x="279" y="23"/>
                  </a:cxn>
                  <a:cxn ang="0">
                    <a:pos x="293" y="32"/>
                  </a:cxn>
                  <a:cxn ang="0">
                    <a:pos x="284" y="46"/>
                  </a:cxn>
                  <a:cxn ang="0">
                    <a:pos x="274" y="55"/>
                  </a:cxn>
                  <a:cxn ang="0">
                    <a:pos x="270" y="69"/>
                  </a:cxn>
                  <a:cxn ang="0">
                    <a:pos x="274" y="87"/>
                  </a:cxn>
                  <a:cxn ang="0">
                    <a:pos x="284" y="101"/>
                  </a:cxn>
                  <a:cxn ang="0">
                    <a:pos x="302" y="105"/>
                  </a:cxn>
                  <a:cxn ang="0">
                    <a:pos x="325" y="114"/>
                  </a:cxn>
                  <a:cxn ang="0">
                    <a:pos x="334" y="119"/>
                  </a:cxn>
                  <a:cxn ang="0">
                    <a:pos x="343" y="133"/>
                  </a:cxn>
                  <a:cxn ang="0">
                    <a:pos x="302" y="151"/>
                  </a:cxn>
                  <a:cxn ang="0">
                    <a:pos x="265" y="206"/>
                  </a:cxn>
                  <a:cxn ang="0">
                    <a:pos x="261" y="224"/>
                  </a:cxn>
                  <a:cxn ang="0">
                    <a:pos x="252" y="261"/>
                  </a:cxn>
                  <a:cxn ang="0">
                    <a:pos x="233" y="288"/>
                  </a:cxn>
                  <a:cxn ang="0">
                    <a:pos x="210" y="297"/>
                  </a:cxn>
                  <a:cxn ang="0">
                    <a:pos x="188" y="306"/>
                  </a:cxn>
                  <a:cxn ang="0">
                    <a:pos x="169" y="284"/>
                  </a:cxn>
                  <a:cxn ang="0">
                    <a:pos x="160" y="252"/>
                  </a:cxn>
                  <a:cxn ang="0">
                    <a:pos x="128" y="252"/>
                  </a:cxn>
                  <a:cxn ang="0">
                    <a:pos x="92" y="247"/>
                  </a:cxn>
                  <a:cxn ang="0">
                    <a:pos x="73" y="242"/>
                  </a:cxn>
                  <a:cxn ang="0">
                    <a:pos x="46" y="252"/>
                  </a:cxn>
                  <a:cxn ang="0">
                    <a:pos x="28" y="261"/>
                  </a:cxn>
                  <a:cxn ang="0">
                    <a:pos x="14" y="238"/>
                  </a:cxn>
                  <a:cxn ang="0">
                    <a:pos x="9" y="215"/>
                  </a:cxn>
                  <a:cxn ang="0">
                    <a:pos x="5" y="197"/>
                  </a:cxn>
                </a:cxnLst>
                <a:rect l="0" t="0" r="r" b="b"/>
                <a:pathLst>
                  <a:path w="343" h="306">
                    <a:moveTo>
                      <a:pt x="5" y="197"/>
                    </a:moveTo>
                    <a:lnTo>
                      <a:pt x="5" y="183"/>
                    </a:lnTo>
                    <a:lnTo>
                      <a:pt x="5" y="174"/>
                    </a:lnTo>
                    <a:lnTo>
                      <a:pt x="5" y="174"/>
                    </a:lnTo>
                    <a:lnTo>
                      <a:pt x="5" y="169"/>
                    </a:lnTo>
                    <a:lnTo>
                      <a:pt x="5" y="156"/>
                    </a:lnTo>
                    <a:lnTo>
                      <a:pt x="5" y="151"/>
                    </a:lnTo>
                    <a:lnTo>
                      <a:pt x="9" y="151"/>
                    </a:lnTo>
                    <a:lnTo>
                      <a:pt x="9" y="146"/>
                    </a:lnTo>
                    <a:lnTo>
                      <a:pt x="9" y="142"/>
                    </a:lnTo>
                    <a:lnTo>
                      <a:pt x="9" y="128"/>
                    </a:lnTo>
                    <a:lnTo>
                      <a:pt x="9" y="128"/>
                    </a:lnTo>
                    <a:lnTo>
                      <a:pt x="9" y="124"/>
                    </a:lnTo>
                    <a:lnTo>
                      <a:pt x="5" y="114"/>
                    </a:lnTo>
                    <a:lnTo>
                      <a:pt x="5" y="110"/>
                    </a:lnTo>
                    <a:lnTo>
                      <a:pt x="0" y="105"/>
                    </a:lnTo>
                    <a:lnTo>
                      <a:pt x="5" y="101"/>
                    </a:lnTo>
                    <a:lnTo>
                      <a:pt x="5" y="96"/>
                    </a:lnTo>
                    <a:lnTo>
                      <a:pt x="9" y="87"/>
                    </a:lnTo>
                    <a:lnTo>
                      <a:pt x="9" y="87"/>
                    </a:lnTo>
                    <a:lnTo>
                      <a:pt x="14" y="87"/>
                    </a:lnTo>
                    <a:lnTo>
                      <a:pt x="14" y="82"/>
                    </a:lnTo>
                    <a:lnTo>
                      <a:pt x="14" y="78"/>
                    </a:lnTo>
                    <a:lnTo>
                      <a:pt x="14" y="78"/>
                    </a:lnTo>
                    <a:lnTo>
                      <a:pt x="14" y="73"/>
                    </a:lnTo>
                    <a:lnTo>
                      <a:pt x="23" y="69"/>
                    </a:lnTo>
                    <a:lnTo>
                      <a:pt x="23" y="64"/>
                    </a:lnTo>
                    <a:lnTo>
                      <a:pt x="28" y="64"/>
                    </a:lnTo>
                    <a:lnTo>
                      <a:pt x="28" y="64"/>
                    </a:lnTo>
                    <a:lnTo>
                      <a:pt x="32" y="64"/>
                    </a:lnTo>
                    <a:lnTo>
                      <a:pt x="37" y="60"/>
                    </a:lnTo>
                    <a:lnTo>
                      <a:pt x="41" y="55"/>
                    </a:lnTo>
                    <a:lnTo>
                      <a:pt x="46" y="55"/>
                    </a:lnTo>
                    <a:lnTo>
                      <a:pt x="46" y="50"/>
                    </a:lnTo>
                    <a:lnTo>
                      <a:pt x="50" y="50"/>
                    </a:lnTo>
                    <a:lnTo>
                      <a:pt x="50" y="46"/>
                    </a:lnTo>
                    <a:lnTo>
                      <a:pt x="60" y="41"/>
                    </a:lnTo>
                    <a:lnTo>
                      <a:pt x="60" y="37"/>
                    </a:lnTo>
                    <a:lnTo>
                      <a:pt x="60" y="32"/>
                    </a:lnTo>
                    <a:lnTo>
                      <a:pt x="60" y="32"/>
                    </a:lnTo>
                    <a:lnTo>
                      <a:pt x="60" y="18"/>
                    </a:lnTo>
                    <a:lnTo>
                      <a:pt x="64" y="18"/>
                    </a:lnTo>
                    <a:lnTo>
                      <a:pt x="69" y="23"/>
                    </a:lnTo>
                    <a:lnTo>
                      <a:pt x="73" y="23"/>
                    </a:lnTo>
                    <a:lnTo>
                      <a:pt x="78" y="28"/>
                    </a:lnTo>
                    <a:lnTo>
                      <a:pt x="82" y="28"/>
                    </a:lnTo>
                    <a:lnTo>
                      <a:pt x="82" y="28"/>
                    </a:lnTo>
                    <a:lnTo>
                      <a:pt x="87" y="28"/>
                    </a:lnTo>
                    <a:lnTo>
                      <a:pt x="87" y="23"/>
                    </a:lnTo>
                    <a:lnTo>
                      <a:pt x="92" y="23"/>
                    </a:lnTo>
                    <a:lnTo>
                      <a:pt x="92" y="18"/>
                    </a:lnTo>
                    <a:lnTo>
                      <a:pt x="101" y="18"/>
                    </a:lnTo>
                    <a:lnTo>
                      <a:pt x="105" y="18"/>
                    </a:lnTo>
                    <a:lnTo>
                      <a:pt x="110" y="18"/>
                    </a:lnTo>
                    <a:lnTo>
                      <a:pt x="114" y="23"/>
                    </a:lnTo>
                    <a:lnTo>
                      <a:pt x="114" y="23"/>
                    </a:lnTo>
                    <a:lnTo>
                      <a:pt x="119" y="28"/>
                    </a:lnTo>
                    <a:lnTo>
                      <a:pt x="119" y="32"/>
                    </a:lnTo>
                    <a:lnTo>
                      <a:pt x="124" y="32"/>
                    </a:lnTo>
                    <a:lnTo>
                      <a:pt x="124" y="37"/>
                    </a:lnTo>
                    <a:lnTo>
                      <a:pt x="128" y="41"/>
                    </a:lnTo>
                    <a:lnTo>
                      <a:pt x="133" y="41"/>
                    </a:lnTo>
                    <a:lnTo>
                      <a:pt x="137" y="41"/>
                    </a:lnTo>
                    <a:lnTo>
                      <a:pt x="137" y="41"/>
                    </a:lnTo>
                    <a:lnTo>
                      <a:pt x="142" y="41"/>
                    </a:lnTo>
                    <a:lnTo>
                      <a:pt x="146" y="41"/>
                    </a:lnTo>
                    <a:lnTo>
                      <a:pt x="146" y="46"/>
                    </a:lnTo>
                    <a:lnTo>
                      <a:pt x="156" y="46"/>
                    </a:lnTo>
                    <a:lnTo>
                      <a:pt x="165" y="46"/>
                    </a:lnTo>
                    <a:lnTo>
                      <a:pt x="169" y="46"/>
                    </a:lnTo>
                    <a:lnTo>
                      <a:pt x="169" y="41"/>
                    </a:lnTo>
                    <a:lnTo>
                      <a:pt x="174" y="41"/>
                    </a:lnTo>
                    <a:lnTo>
                      <a:pt x="178" y="41"/>
                    </a:lnTo>
                    <a:lnTo>
                      <a:pt x="183" y="37"/>
                    </a:lnTo>
                    <a:lnTo>
                      <a:pt x="183" y="32"/>
                    </a:lnTo>
                    <a:lnTo>
                      <a:pt x="188" y="32"/>
                    </a:lnTo>
                    <a:lnTo>
                      <a:pt x="188" y="28"/>
                    </a:lnTo>
                    <a:lnTo>
                      <a:pt x="188" y="23"/>
                    </a:lnTo>
                    <a:lnTo>
                      <a:pt x="188" y="18"/>
                    </a:lnTo>
                    <a:lnTo>
                      <a:pt x="188" y="14"/>
                    </a:lnTo>
                    <a:lnTo>
                      <a:pt x="192" y="9"/>
                    </a:lnTo>
                    <a:lnTo>
                      <a:pt x="192" y="5"/>
                    </a:lnTo>
                    <a:lnTo>
                      <a:pt x="192" y="5"/>
                    </a:lnTo>
                    <a:lnTo>
                      <a:pt x="206" y="0"/>
                    </a:lnTo>
                    <a:lnTo>
                      <a:pt x="210" y="0"/>
                    </a:lnTo>
                    <a:lnTo>
                      <a:pt x="215" y="0"/>
                    </a:lnTo>
                    <a:lnTo>
                      <a:pt x="220" y="0"/>
                    </a:lnTo>
                    <a:lnTo>
                      <a:pt x="224" y="0"/>
                    </a:lnTo>
                    <a:lnTo>
                      <a:pt x="229" y="5"/>
                    </a:lnTo>
                    <a:lnTo>
                      <a:pt x="233" y="5"/>
                    </a:lnTo>
                    <a:lnTo>
                      <a:pt x="233" y="5"/>
                    </a:lnTo>
                    <a:lnTo>
                      <a:pt x="238" y="9"/>
                    </a:lnTo>
                    <a:lnTo>
                      <a:pt x="238" y="14"/>
                    </a:lnTo>
                    <a:lnTo>
                      <a:pt x="242" y="18"/>
                    </a:lnTo>
                    <a:lnTo>
                      <a:pt x="242" y="18"/>
                    </a:lnTo>
                    <a:lnTo>
                      <a:pt x="242" y="23"/>
                    </a:lnTo>
                    <a:lnTo>
                      <a:pt x="238" y="28"/>
                    </a:lnTo>
                    <a:lnTo>
                      <a:pt x="238" y="32"/>
                    </a:lnTo>
                    <a:lnTo>
                      <a:pt x="238" y="41"/>
                    </a:lnTo>
                    <a:lnTo>
                      <a:pt x="242" y="41"/>
                    </a:lnTo>
                    <a:lnTo>
                      <a:pt x="247" y="41"/>
                    </a:lnTo>
                    <a:lnTo>
                      <a:pt x="247" y="37"/>
                    </a:lnTo>
                    <a:lnTo>
                      <a:pt x="252" y="37"/>
                    </a:lnTo>
                    <a:lnTo>
                      <a:pt x="256" y="37"/>
                    </a:lnTo>
                    <a:lnTo>
                      <a:pt x="256" y="32"/>
                    </a:lnTo>
                    <a:lnTo>
                      <a:pt x="256" y="32"/>
                    </a:lnTo>
                    <a:lnTo>
                      <a:pt x="261" y="32"/>
                    </a:lnTo>
                    <a:lnTo>
                      <a:pt x="261" y="28"/>
                    </a:lnTo>
                    <a:lnTo>
                      <a:pt x="270" y="28"/>
                    </a:lnTo>
                    <a:lnTo>
                      <a:pt x="274" y="28"/>
                    </a:lnTo>
                    <a:lnTo>
                      <a:pt x="279" y="23"/>
                    </a:lnTo>
                    <a:lnTo>
                      <a:pt x="279" y="23"/>
                    </a:lnTo>
                    <a:lnTo>
                      <a:pt x="284" y="23"/>
                    </a:lnTo>
                    <a:lnTo>
                      <a:pt x="288" y="28"/>
                    </a:lnTo>
                    <a:lnTo>
                      <a:pt x="293" y="28"/>
                    </a:lnTo>
                    <a:lnTo>
                      <a:pt x="293" y="32"/>
                    </a:lnTo>
                    <a:lnTo>
                      <a:pt x="297" y="32"/>
                    </a:lnTo>
                    <a:lnTo>
                      <a:pt x="293" y="41"/>
                    </a:lnTo>
                    <a:lnTo>
                      <a:pt x="293" y="41"/>
                    </a:lnTo>
                    <a:lnTo>
                      <a:pt x="284" y="46"/>
                    </a:lnTo>
                    <a:lnTo>
                      <a:pt x="279" y="46"/>
                    </a:lnTo>
                    <a:lnTo>
                      <a:pt x="279" y="50"/>
                    </a:lnTo>
                    <a:lnTo>
                      <a:pt x="279" y="50"/>
                    </a:lnTo>
                    <a:lnTo>
                      <a:pt x="274" y="55"/>
                    </a:lnTo>
                    <a:lnTo>
                      <a:pt x="274" y="60"/>
                    </a:lnTo>
                    <a:lnTo>
                      <a:pt x="270" y="60"/>
                    </a:lnTo>
                    <a:lnTo>
                      <a:pt x="270" y="64"/>
                    </a:lnTo>
                    <a:lnTo>
                      <a:pt x="270" y="69"/>
                    </a:lnTo>
                    <a:lnTo>
                      <a:pt x="270" y="73"/>
                    </a:lnTo>
                    <a:lnTo>
                      <a:pt x="270" y="78"/>
                    </a:lnTo>
                    <a:lnTo>
                      <a:pt x="270" y="82"/>
                    </a:lnTo>
                    <a:lnTo>
                      <a:pt x="274" y="87"/>
                    </a:lnTo>
                    <a:lnTo>
                      <a:pt x="279" y="92"/>
                    </a:lnTo>
                    <a:lnTo>
                      <a:pt x="279" y="96"/>
                    </a:lnTo>
                    <a:lnTo>
                      <a:pt x="279" y="96"/>
                    </a:lnTo>
                    <a:lnTo>
                      <a:pt x="284" y="101"/>
                    </a:lnTo>
                    <a:lnTo>
                      <a:pt x="297" y="105"/>
                    </a:lnTo>
                    <a:lnTo>
                      <a:pt x="302" y="105"/>
                    </a:lnTo>
                    <a:lnTo>
                      <a:pt x="302" y="105"/>
                    </a:lnTo>
                    <a:lnTo>
                      <a:pt x="302" y="105"/>
                    </a:lnTo>
                    <a:lnTo>
                      <a:pt x="306" y="110"/>
                    </a:lnTo>
                    <a:lnTo>
                      <a:pt x="311" y="110"/>
                    </a:lnTo>
                    <a:lnTo>
                      <a:pt x="320" y="114"/>
                    </a:lnTo>
                    <a:lnTo>
                      <a:pt x="325" y="114"/>
                    </a:lnTo>
                    <a:lnTo>
                      <a:pt x="325" y="114"/>
                    </a:lnTo>
                    <a:lnTo>
                      <a:pt x="329" y="114"/>
                    </a:lnTo>
                    <a:lnTo>
                      <a:pt x="329" y="119"/>
                    </a:lnTo>
                    <a:lnTo>
                      <a:pt x="334" y="119"/>
                    </a:lnTo>
                    <a:lnTo>
                      <a:pt x="338" y="124"/>
                    </a:lnTo>
                    <a:lnTo>
                      <a:pt x="343" y="124"/>
                    </a:lnTo>
                    <a:lnTo>
                      <a:pt x="343" y="128"/>
                    </a:lnTo>
                    <a:lnTo>
                      <a:pt x="343" y="133"/>
                    </a:lnTo>
                    <a:lnTo>
                      <a:pt x="338" y="142"/>
                    </a:lnTo>
                    <a:lnTo>
                      <a:pt x="325" y="146"/>
                    </a:lnTo>
                    <a:lnTo>
                      <a:pt x="311" y="151"/>
                    </a:lnTo>
                    <a:lnTo>
                      <a:pt x="302" y="151"/>
                    </a:lnTo>
                    <a:lnTo>
                      <a:pt x="293" y="156"/>
                    </a:lnTo>
                    <a:lnTo>
                      <a:pt x="270" y="178"/>
                    </a:lnTo>
                    <a:lnTo>
                      <a:pt x="270" y="197"/>
                    </a:lnTo>
                    <a:lnTo>
                      <a:pt x="265" y="206"/>
                    </a:lnTo>
                    <a:lnTo>
                      <a:pt x="261" y="215"/>
                    </a:lnTo>
                    <a:lnTo>
                      <a:pt x="265" y="215"/>
                    </a:lnTo>
                    <a:lnTo>
                      <a:pt x="265" y="215"/>
                    </a:lnTo>
                    <a:lnTo>
                      <a:pt x="261" y="224"/>
                    </a:lnTo>
                    <a:lnTo>
                      <a:pt x="261" y="229"/>
                    </a:lnTo>
                    <a:lnTo>
                      <a:pt x="261" y="238"/>
                    </a:lnTo>
                    <a:lnTo>
                      <a:pt x="256" y="252"/>
                    </a:lnTo>
                    <a:lnTo>
                      <a:pt x="252" y="261"/>
                    </a:lnTo>
                    <a:lnTo>
                      <a:pt x="247" y="274"/>
                    </a:lnTo>
                    <a:lnTo>
                      <a:pt x="242" y="284"/>
                    </a:lnTo>
                    <a:lnTo>
                      <a:pt x="238" y="284"/>
                    </a:lnTo>
                    <a:lnTo>
                      <a:pt x="233" y="288"/>
                    </a:lnTo>
                    <a:lnTo>
                      <a:pt x="233" y="293"/>
                    </a:lnTo>
                    <a:lnTo>
                      <a:pt x="229" y="293"/>
                    </a:lnTo>
                    <a:lnTo>
                      <a:pt x="220" y="297"/>
                    </a:lnTo>
                    <a:lnTo>
                      <a:pt x="210" y="297"/>
                    </a:lnTo>
                    <a:lnTo>
                      <a:pt x="197" y="302"/>
                    </a:lnTo>
                    <a:lnTo>
                      <a:pt x="197" y="302"/>
                    </a:lnTo>
                    <a:lnTo>
                      <a:pt x="192" y="302"/>
                    </a:lnTo>
                    <a:lnTo>
                      <a:pt x="188" y="306"/>
                    </a:lnTo>
                    <a:lnTo>
                      <a:pt x="183" y="306"/>
                    </a:lnTo>
                    <a:lnTo>
                      <a:pt x="174" y="302"/>
                    </a:lnTo>
                    <a:lnTo>
                      <a:pt x="169" y="293"/>
                    </a:lnTo>
                    <a:lnTo>
                      <a:pt x="169" y="284"/>
                    </a:lnTo>
                    <a:lnTo>
                      <a:pt x="169" y="274"/>
                    </a:lnTo>
                    <a:lnTo>
                      <a:pt x="169" y="265"/>
                    </a:lnTo>
                    <a:lnTo>
                      <a:pt x="169" y="261"/>
                    </a:lnTo>
                    <a:lnTo>
                      <a:pt x="160" y="252"/>
                    </a:lnTo>
                    <a:lnTo>
                      <a:pt x="156" y="247"/>
                    </a:lnTo>
                    <a:lnTo>
                      <a:pt x="156" y="242"/>
                    </a:lnTo>
                    <a:lnTo>
                      <a:pt x="151" y="242"/>
                    </a:lnTo>
                    <a:lnTo>
                      <a:pt x="128" y="252"/>
                    </a:lnTo>
                    <a:lnTo>
                      <a:pt x="110" y="252"/>
                    </a:lnTo>
                    <a:lnTo>
                      <a:pt x="110" y="247"/>
                    </a:lnTo>
                    <a:lnTo>
                      <a:pt x="105" y="247"/>
                    </a:lnTo>
                    <a:lnTo>
                      <a:pt x="92" y="247"/>
                    </a:lnTo>
                    <a:lnTo>
                      <a:pt x="87" y="247"/>
                    </a:lnTo>
                    <a:lnTo>
                      <a:pt x="82" y="242"/>
                    </a:lnTo>
                    <a:lnTo>
                      <a:pt x="78" y="242"/>
                    </a:lnTo>
                    <a:lnTo>
                      <a:pt x="73" y="242"/>
                    </a:lnTo>
                    <a:lnTo>
                      <a:pt x="64" y="242"/>
                    </a:lnTo>
                    <a:lnTo>
                      <a:pt x="60" y="242"/>
                    </a:lnTo>
                    <a:lnTo>
                      <a:pt x="55" y="247"/>
                    </a:lnTo>
                    <a:lnTo>
                      <a:pt x="46" y="252"/>
                    </a:lnTo>
                    <a:lnTo>
                      <a:pt x="41" y="256"/>
                    </a:lnTo>
                    <a:lnTo>
                      <a:pt x="37" y="256"/>
                    </a:lnTo>
                    <a:lnTo>
                      <a:pt x="32" y="261"/>
                    </a:lnTo>
                    <a:lnTo>
                      <a:pt x="28" y="261"/>
                    </a:lnTo>
                    <a:lnTo>
                      <a:pt x="18" y="256"/>
                    </a:lnTo>
                    <a:lnTo>
                      <a:pt x="14" y="256"/>
                    </a:lnTo>
                    <a:lnTo>
                      <a:pt x="14" y="242"/>
                    </a:lnTo>
                    <a:lnTo>
                      <a:pt x="14" y="238"/>
                    </a:lnTo>
                    <a:lnTo>
                      <a:pt x="14" y="238"/>
                    </a:lnTo>
                    <a:lnTo>
                      <a:pt x="9" y="224"/>
                    </a:lnTo>
                    <a:lnTo>
                      <a:pt x="9" y="215"/>
                    </a:lnTo>
                    <a:lnTo>
                      <a:pt x="9" y="215"/>
                    </a:lnTo>
                    <a:lnTo>
                      <a:pt x="9" y="210"/>
                    </a:lnTo>
                    <a:lnTo>
                      <a:pt x="9" y="201"/>
                    </a:lnTo>
                    <a:lnTo>
                      <a:pt x="5" y="197"/>
                    </a:lnTo>
                    <a:lnTo>
                      <a:pt x="5" y="197"/>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Ekiti</a:t>
                </a:r>
              </a:p>
            </p:txBody>
          </p:sp>
          <p:sp>
            <p:nvSpPr>
              <p:cNvPr id="199" name="Freeform 19">
                <a:extLst>
                  <a:ext uri="{FF2B5EF4-FFF2-40B4-BE49-F238E27FC236}">
                    <a16:creationId xmlns:a16="http://schemas.microsoft.com/office/drawing/2014/main" id="{C95DDE19-33E3-46AE-ABE3-5D93B14F5438}"/>
                  </a:ext>
                </a:extLst>
              </p:cNvPr>
              <p:cNvSpPr>
                <a:spLocks/>
              </p:cNvSpPr>
              <p:nvPr>
                <p:custDataLst>
                  <p:tags r:id="rId16"/>
                </p:custDataLst>
              </p:nvPr>
            </p:nvSpPr>
            <p:spPr bwMode="auto">
              <a:xfrm>
                <a:off x="2292293" y="4877039"/>
                <a:ext cx="487812" cy="559230"/>
              </a:xfrm>
              <a:custGeom>
                <a:avLst/>
                <a:gdLst/>
                <a:ahLst/>
                <a:cxnLst>
                  <a:cxn ang="0">
                    <a:pos x="124" y="59"/>
                  </a:cxn>
                  <a:cxn ang="0">
                    <a:pos x="146" y="37"/>
                  </a:cxn>
                  <a:cxn ang="0">
                    <a:pos x="160" y="23"/>
                  </a:cxn>
                  <a:cxn ang="0">
                    <a:pos x="169" y="14"/>
                  </a:cxn>
                  <a:cxn ang="0">
                    <a:pos x="188" y="0"/>
                  </a:cxn>
                  <a:cxn ang="0">
                    <a:pos x="210" y="5"/>
                  </a:cxn>
                  <a:cxn ang="0">
                    <a:pos x="233" y="32"/>
                  </a:cxn>
                  <a:cxn ang="0">
                    <a:pos x="247" y="59"/>
                  </a:cxn>
                  <a:cxn ang="0">
                    <a:pos x="261" y="73"/>
                  </a:cxn>
                  <a:cxn ang="0">
                    <a:pos x="274" y="87"/>
                  </a:cxn>
                  <a:cxn ang="0">
                    <a:pos x="293" y="101"/>
                  </a:cxn>
                  <a:cxn ang="0">
                    <a:pos x="316" y="96"/>
                  </a:cxn>
                  <a:cxn ang="0">
                    <a:pos x="343" y="87"/>
                  </a:cxn>
                  <a:cxn ang="0">
                    <a:pos x="357" y="101"/>
                  </a:cxn>
                  <a:cxn ang="0">
                    <a:pos x="366" y="123"/>
                  </a:cxn>
                  <a:cxn ang="0">
                    <a:pos x="366" y="142"/>
                  </a:cxn>
                  <a:cxn ang="0">
                    <a:pos x="361" y="160"/>
                  </a:cxn>
                  <a:cxn ang="0">
                    <a:pos x="329" y="169"/>
                  </a:cxn>
                  <a:cxn ang="0">
                    <a:pos x="279" y="178"/>
                  </a:cxn>
                  <a:cxn ang="0">
                    <a:pos x="297" y="233"/>
                  </a:cxn>
                  <a:cxn ang="0">
                    <a:pos x="288" y="288"/>
                  </a:cxn>
                  <a:cxn ang="0">
                    <a:pos x="293" y="334"/>
                  </a:cxn>
                  <a:cxn ang="0">
                    <a:pos x="316" y="366"/>
                  </a:cxn>
                  <a:cxn ang="0">
                    <a:pos x="306" y="398"/>
                  </a:cxn>
                  <a:cxn ang="0">
                    <a:pos x="293" y="416"/>
                  </a:cxn>
                  <a:cxn ang="0">
                    <a:pos x="302" y="434"/>
                  </a:cxn>
                  <a:cxn ang="0">
                    <a:pos x="284" y="448"/>
                  </a:cxn>
                  <a:cxn ang="0">
                    <a:pos x="252" y="425"/>
                  </a:cxn>
                  <a:cxn ang="0">
                    <a:pos x="233" y="421"/>
                  </a:cxn>
                  <a:cxn ang="0">
                    <a:pos x="224" y="411"/>
                  </a:cxn>
                  <a:cxn ang="0">
                    <a:pos x="197" y="411"/>
                  </a:cxn>
                  <a:cxn ang="0">
                    <a:pos x="178" y="407"/>
                  </a:cxn>
                  <a:cxn ang="0">
                    <a:pos x="165" y="402"/>
                  </a:cxn>
                  <a:cxn ang="0">
                    <a:pos x="142" y="402"/>
                  </a:cxn>
                  <a:cxn ang="0">
                    <a:pos x="124" y="379"/>
                  </a:cxn>
                  <a:cxn ang="0">
                    <a:pos x="114" y="347"/>
                  </a:cxn>
                  <a:cxn ang="0">
                    <a:pos x="105" y="334"/>
                  </a:cxn>
                  <a:cxn ang="0">
                    <a:pos x="87" y="329"/>
                  </a:cxn>
                  <a:cxn ang="0">
                    <a:pos x="82" y="311"/>
                  </a:cxn>
                  <a:cxn ang="0">
                    <a:pos x="87" y="297"/>
                  </a:cxn>
                  <a:cxn ang="0">
                    <a:pos x="78" y="274"/>
                  </a:cxn>
                  <a:cxn ang="0">
                    <a:pos x="64" y="261"/>
                  </a:cxn>
                  <a:cxn ang="0">
                    <a:pos x="41" y="251"/>
                  </a:cxn>
                  <a:cxn ang="0">
                    <a:pos x="50" y="238"/>
                  </a:cxn>
                  <a:cxn ang="0">
                    <a:pos x="55" y="210"/>
                  </a:cxn>
                  <a:cxn ang="0">
                    <a:pos x="73" y="192"/>
                  </a:cxn>
                  <a:cxn ang="0">
                    <a:pos x="82" y="174"/>
                  </a:cxn>
                  <a:cxn ang="0">
                    <a:pos x="60" y="160"/>
                  </a:cxn>
                  <a:cxn ang="0">
                    <a:pos x="37" y="151"/>
                  </a:cxn>
                  <a:cxn ang="0">
                    <a:pos x="14" y="151"/>
                  </a:cxn>
                  <a:cxn ang="0">
                    <a:pos x="0" y="137"/>
                  </a:cxn>
                  <a:cxn ang="0">
                    <a:pos x="9" y="119"/>
                  </a:cxn>
                  <a:cxn ang="0">
                    <a:pos x="18" y="96"/>
                  </a:cxn>
                  <a:cxn ang="0">
                    <a:pos x="32" y="114"/>
                  </a:cxn>
                  <a:cxn ang="0">
                    <a:pos x="50" y="123"/>
                  </a:cxn>
                  <a:cxn ang="0">
                    <a:pos x="69" y="105"/>
                  </a:cxn>
                  <a:cxn ang="0">
                    <a:pos x="87" y="91"/>
                  </a:cxn>
                </a:cxnLst>
                <a:rect l="0" t="0" r="r" b="b"/>
                <a:pathLst>
                  <a:path w="366" h="453">
                    <a:moveTo>
                      <a:pt x="105" y="73"/>
                    </a:moveTo>
                    <a:lnTo>
                      <a:pt x="110" y="69"/>
                    </a:lnTo>
                    <a:lnTo>
                      <a:pt x="119" y="64"/>
                    </a:lnTo>
                    <a:lnTo>
                      <a:pt x="124" y="59"/>
                    </a:lnTo>
                    <a:lnTo>
                      <a:pt x="124" y="59"/>
                    </a:lnTo>
                    <a:lnTo>
                      <a:pt x="133" y="50"/>
                    </a:lnTo>
                    <a:lnTo>
                      <a:pt x="137" y="46"/>
                    </a:lnTo>
                    <a:lnTo>
                      <a:pt x="137" y="41"/>
                    </a:lnTo>
                    <a:lnTo>
                      <a:pt x="142" y="41"/>
                    </a:lnTo>
                    <a:lnTo>
                      <a:pt x="146" y="37"/>
                    </a:lnTo>
                    <a:lnTo>
                      <a:pt x="146" y="32"/>
                    </a:lnTo>
                    <a:lnTo>
                      <a:pt x="151" y="32"/>
                    </a:lnTo>
                    <a:lnTo>
                      <a:pt x="151" y="27"/>
                    </a:lnTo>
                    <a:lnTo>
                      <a:pt x="156" y="27"/>
                    </a:lnTo>
                    <a:lnTo>
                      <a:pt x="160" y="23"/>
                    </a:lnTo>
                    <a:lnTo>
                      <a:pt x="165" y="18"/>
                    </a:lnTo>
                    <a:lnTo>
                      <a:pt x="169" y="18"/>
                    </a:lnTo>
                    <a:lnTo>
                      <a:pt x="169" y="18"/>
                    </a:lnTo>
                    <a:lnTo>
                      <a:pt x="169" y="18"/>
                    </a:lnTo>
                    <a:lnTo>
                      <a:pt x="169" y="14"/>
                    </a:lnTo>
                    <a:lnTo>
                      <a:pt x="174" y="9"/>
                    </a:lnTo>
                    <a:lnTo>
                      <a:pt x="178" y="5"/>
                    </a:lnTo>
                    <a:lnTo>
                      <a:pt x="183" y="5"/>
                    </a:lnTo>
                    <a:lnTo>
                      <a:pt x="183" y="0"/>
                    </a:lnTo>
                    <a:lnTo>
                      <a:pt x="188" y="0"/>
                    </a:lnTo>
                    <a:lnTo>
                      <a:pt x="197" y="0"/>
                    </a:lnTo>
                    <a:lnTo>
                      <a:pt x="201" y="0"/>
                    </a:lnTo>
                    <a:lnTo>
                      <a:pt x="206" y="0"/>
                    </a:lnTo>
                    <a:lnTo>
                      <a:pt x="210" y="0"/>
                    </a:lnTo>
                    <a:lnTo>
                      <a:pt x="210" y="5"/>
                    </a:lnTo>
                    <a:lnTo>
                      <a:pt x="215" y="9"/>
                    </a:lnTo>
                    <a:lnTo>
                      <a:pt x="220" y="14"/>
                    </a:lnTo>
                    <a:lnTo>
                      <a:pt x="224" y="18"/>
                    </a:lnTo>
                    <a:lnTo>
                      <a:pt x="233" y="27"/>
                    </a:lnTo>
                    <a:lnTo>
                      <a:pt x="233" y="32"/>
                    </a:lnTo>
                    <a:lnTo>
                      <a:pt x="238" y="41"/>
                    </a:lnTo>
                    <a:lnTo>
                      <a:pt x="238" y="46"/>
                    </a:lnTo>
                    <a:lnTo>
                      <a:pt x="238" y="50"/>
                    </a:lnTo>
                    <a:lnTo>
                      <a:pt x="242" y="55"/>
                    </a:lnTo>
                    <a:lnTo>
                      <a:pt x="247" y="59"/>
                    </a:lnTo>
                    <a:lnTo>
                      <a:pt x="252" y="64"/>
                    </a:lnTo>
                    <a:lnTo>
                      <a:pt x="256" y="64"/>
                    </a:lnTo>
                    <a:lnTo>
                      <a:pt x="256" y="69"/>
                    </a:lnTo>
                    <a:lnTo>
                      <a:pt x="256" y="73"/>
                    </a:lnTo>
                    <a:lnTo>
                      <a:pt x="261" y="73"/>
                    </a:lnTo>
                    <a:lnTo>
                      <a:pt x="265" y="78"/>
                    </a:lnTo>
                    <a:lnTo>
                      <a:pt x="265" y="82"/>
                    </a:lnTo>
                    <a:lnTo>
                      <a:pt x="270" y="82"/>
                    </a:lnTo>
                    <a:lnTo>
                      <a:pt x="270" y="82"/>
                    </a:lnTo>
                    <a:lnTo>
                      <a:pt x="274" y="87"/>
                    </a:lnTo>
                    <a:lnTo>
                      <a:pt x="279" y="91"/>
                    </a:lnTo>
                    <a:lnTo>
                      <a:pt x="279" y="96"/>
                    </a:lnTo>
                    <a:lnTo>
                      <a:pt x="284" y="101"/>
                    </a:lnTo>
                    <a:lnTo>
                      <a:pt x="288" y="101"/>
                    </a:lnTo>
                    <a:lnTo>
                      <a:pt x="293" y="101"/>
                    </a:lnTo>
                    <a:lnTo>
                      <a:pt x="302" y="101"/>
                    </a:lnTo>
                    <a:lnTo>
                      <a:pt x="306" y="101"/>
                    </a:lnTo>
                    <a:lnTo>
                      <a:pt x="306" y="96"/>
                    </a:lnTo>
                    <a:lnTo>
                      <a:pt x="311" y="96"/>
                    </a:lnTo>
                    <a:lnTo>
                      <a:pt x="316" y="96"/>
                    </a:lnTo>
                    <a:lnTo>
                      <a:pt x="320" y="91"/>
                    </a:lnTo>
                    <a:lnTo>
                      <a:pt x="325" y="87"/>
                    </a:lnTo>
                    <a:lnTo>
                      <a:pt x="334" y="87"/>
                    </a:lnTo>
                    <a:lnTo>
                      <a:pt x="338" y="87"/>
                    </a:lnTo>
                    <a:lnTo>
                      <a:pt x="343" y="87"/>
                    </a:lnTo>
                    <a:lnTo>
                      <a:pt x="343" y="87"/>
                    </a:lnTo>
                    <a:lnTo>
                      <a:pt x="343" y="91"/>
                    </a:lnTo>
                    <a:lnTo>
                      <a:pt x="348" y="91"/>
                    </a:lnTo>
                    <a:lnTo>
                      <a:pt x="352" y="101"/>
                    </a:lnTo>
                    <a:lnTo>
                      <a:pt x="357" y="101"/>
                    </a:lnTo>
                    <a:lnTo>
                      <a:pt x="357" y="105"/>
                    </a:lnTo>
                    <a:lnTo>
                      <a:pt x="361" y="105"/>
                    </a:lnTo>
                    <a:lnTo>
                      <a:pt x="366" y="110"/>
                    </a:lnTo>
                    <a:lnTo>
                      <a:pt x="366" y="114"/>
                    </a:lnTo>
                    <a:lnTo>
                      <a:pt x="366" y="123"/>
                    </a:lnTo>
                    <a:lnTo>
                      <a:pt x="366" y="128"/>
                    </a:lnTo>
                    <a:lnTo>
                      <a:pt x="366" y="128"/>
                    </a:lnTo>
                    <a:lnTo>
                      <a:pt x="366" y="133"/>
                    </a:lnTo>
                    <a:lnTo>
                      <a:pt x="366" y="137"/>
                    </a:lnTo>
                    <a:lnTo>
                      <a:pt x="366" y="142"/>
                    </a:lnTo>
                    <a:lnTo>
                      <a:pt x="366" y="146"/>
                    </a:lnTo>
                    <a:lnTo>
                      <a:pt x="366" y="151"/>
                    </a:lnTo>
                    <a:lnTo>
                      <a:pt x="366" y="151"/>
                    </a:lnTo>
                    <a:lnTo>
                      <a:pt x="366" y="155"/>
                    </a:lnTo>
                    <a:lnTo>
                      <a:pt x="361" y="160"/>
                    </a:lnTo>
                    <a:lnTo>
                      <a:pt x="361" y="165"/>
                    </a:lnTo>
                    <a:lnTo>
                      <a:pt x="357" y="169"/>
                    </a:lnTo>
                    <a:lnTo>
                      <a:pt x="357" y="169"/>
                    </a:lnTo>
                    <a:lnTo>
                      <a:pt x="352" y="174"/>
                    </a:lnTo>
                    <a:lnTo>
                      <a:pt x="329" y="169"/>
                    </a:lnTo>
                    <a:lnTo>
                      <a:pt x="311" y="174"/>
                    </a:lnTo>
                    <a:lnTo>
                      <a:pt x="297" y="178"/>
                    </a:lnTo>
                    <a:lnTo>
                      <a:pt x="284" y="174"/>
                    </a:lnTo>
                    <a:lnTo>
                      <a:pt x="284" y="174"/>
                    </a:lnTo>
                    <a:lnTo>
                      <a:pt x="279" y="178"/>
                    </a:lnTo>
                    <a:lnTo>
                      <a:pt x="279" y="187"/>
                    </a:lnTo>
                    <a:lnTo>
                      <a:pt x="284" y="192"/>
                    </a:lnTo>
                    <a:lnTo>
                      <a:pt x="288" y="201"/>
                    </a:lnTo>
                    <a:lnTo>
                      <a:pt x="293" y="215"/>
                    </a:lnTo>
                    <a:lnTo>
                      <a:pt x="297" y="233"/>
                    </a:lnTo>
                    <a:lnTo>
                      <a:pt x="293" y="242"/>
                    </a:lnTo>
                    <a:lnTo>
                      <a:pt x="293" y="256"/>
                    </a:lnTo>
                    <a:lnTo>
                      <a:pt x="297" y="270"/>
                    </a:lnTo>
                    <a:lnTo>
                      <a:pt x="297" y="279"/>
                    </a:lnTo>
                    <a:lnTo>
                      <a:pt x="288" y="288"/>
                    </a:lnTo>
                    <a:lnTo>
                      <a:pt x="284" y="302"/>
                    </a:lnTo>
                    <a:lnTo>
                      <a:pt x="279" y="306"/>
                    </a:lnTo>
                    <a:lnTo>
                      <a:pt x="284" y="320"/>
                    </a:lnTo>
                    <a:lnTo>
                      <a:pt x="284" y="329"/>
                    </a:lnTo>
                    <a:lnTo>
                      <a:pt x="293" y="334"/>
                    </a:lnTo>
                    <a:lnTo>
                      <a:pt x="302" y="338"/>
                    </a:lnTo>
                    <a:lnTo>
                      <a:pt x="311" y="338"/>
                    </a:lnTo>
                    <a:lnTo>
                      <a:pt x="311" y="343"/>
                    </a:lnTo>
                    <a:lnTo>
                      <a:pt x="316" y="361"/>
                    </a:lnTo>
                    <a:lnTo>
                      <a:pt x="316" y="366"/>
                    </a:lnTo>
                    <a:lnTo>
                      <a:pt x="316" y="375"/>
                    </a:lnTo>
                    <a:lnTo>
                      <a:pt x="316" y="384"/>
                    </a:lnTo>
                    <a:lnTo>
                      <a:pt x="311" y="389"/>
                    </a:lnTo>
                    <a:lnTo>
                      <a:pt x="311" y="389"/>
                    </a:lnTo>
                    <a:lnTo>
                      <a:pt x="306" y="398"/>
                    </a:lnTo>
                    <a:lnTo>
                      <a:pt x="302" y="402"/>
                    </a:lnTo>
                    <a:lnTo>
                      <a:pt x="297" y="407"/>
                    </a:lnTo>
                    <a:lnTo>
                      <a:pt x="293" y="411"/>
                    </a:lnTo>
                    <a:lnTo>
                      <a:pt x="293" y="411"/>
                    </a:lnTo>
                    <a:lnTo>
                      <a:pt x="293" y="416"/>
                    </a:lnTo>
                    <a:lnTo>
                      <a:pt x="297" y="421"/>
                    </a:lnTo>
                    <a:lnTo>
                      <a:pt x="297" y="425"/>
                    </a:lnTo>
                    <a:lnTo>
                      <a:pt x="297" y="430"/>
                    </a:lnTo>
                    <a:lnTo>
                      <a:pt x="302" y="434"/>
                    </a:lnTo>
                    <a:lnTo>
                      <a:pt x="302" y="434"/>
                    </a:lnTo>
                    <a:lnTo>
                      <a:pt x="302" y="443"/>
                    </a:lnTo>
                    <a:lnTo>
                      <a:pt x="302" y="453"/>
                    </a:lnTo>
                    <a:lnTo>
                      <a:pt x="293" y="453"/>
                    </a:lnTo>
                    <a:lnTo>
                      <a:pt x="288" y="448"/>
                    </a:lnTo>
                    <a:lnTo>
                      <a:pt x="284" y="448"/>
                    </a:lnTo>
                    <a:lnTo>
                      <a:pt x="284" y="443"/>
                    </a:lnTo>
                    <a:lnTo>
                      <a:pt x="279" y="439"/>
                    </a:lnTo>
                    <a:lnTo>
                      <a:pt x="265" y="434"/>
                    </a:lnTo>
                    <a:lnTo>
                      <a:pt x="256" y="425"/>
                    </a:lnTo>
                    <a:lnTo>
                      <a:pt x="252" y="425"/>
                    </a:lnTo>
                    <a:lnTo>
                      <a:pt x="252" y="425"/>
                    </a:lnTo>
                    <a:lnTo>
                      <a:pt x="247" y="425"/>
                    </a:lnTo>
                    <a:lnTo>
                      <a:pt x="242" y="425"/>
                    </a:lnTo>
                    <a:lnTo>
                      <a:pt x="238" y="425"/>
                    </a:lnTo>
                    <a:lnTo>
                      <a:pt x="233" y="421"/>
                    </a:lnTo>
                    <a:lnTo>
                      <a:pt x="233" y="421"/>
                    </a:lnTo>
                    <a:lnTo>
                      <a:pt x="233" y="416"/>
                    </a:lnTo>
                    <a:lnTo>
                      <a:pt x="229" y="416"/>
                    </a:lnTo>
                    <a:lnTo>
                      <a:pt x="224" y="416"/>
                    </a:lnTo>
                    <a:lnTo>
                      <a:pt x="224" y="411"/>
                    </a:lnTo>
                    <a:lnTo>
                      <a:pt x="215" y="411"/>
                    </a:lnTo>
                    <a:lnTo>
                      <a:pt x="210" y="411"/>
                    </a:lnTo>
                    <a:lnTo>
                      <a:pt x="206" y="411"/>
                    </a:lnTo>
                    <a:lnTo>
                      <a:pt x="201" y="411"/>
                    </a:lnTo>
                    <a:lnTo>
                      <a:pt x="197" y="411"/>
                    </a:lnTo>
                    <a:lnTo>
                      <a:pt x="192" y="416"/>
                    </a:lnTo>
                    <a:lnTo>
                      <a:pt x="188" y="416"/>
                    </a:lnTo>
                    <a:lnTo>
                      <a:pt x="183" y="411"/>
                    </a:lnTo>
                    <a:lnTo>
                      <a:pt x="178" y="411"/>
                    </a:lnTo>
                    <a:lnTo>
                      <a:pt x="178" y="407"/>
                    </a:lnTo>
                    <a:lnTo>
                      <a:pt x="174" y="407"/>
                    </a:lnTo>
                    <a:lnTo>
                      <a:pt x="174" y="402"/>
                    </a:lnTo>
                    <a:lnTo>
                      <a:pt x="169" y="402"/>
                    </a:lnTo>
                    <a:lnTo>
                      <a:pt x="169" y="402"/>
                    </a:lnTo>
                    <a:lnTo>
                      <a:pt x="165" y="402"/>
                    </a:lnTo>
                    <a:lnTo>
                      <a:pt x="160" y="402"/>
                    </a:lnTo>
                    <a:lnTo>
                      <a:pt x="156" y="402"/>
                    </a:lnTo>
                    <a:lnTo>
                      <a:pt x="151" y="402"/>
                    </a:lnTo>
                    <a:lnTo>
                      <a:pt x="146" y="402"/>
                    </a:lnTo>
                    <a:lnTo>
                      <a:pt x="142" y="402"/>
                    </a:lnTo>
                    <a:lnTo>
                      <a:pt x="137" y="402"/>
                    </a:lnTo>
                    <a:lnTo>
                      <a:pt x="133" y="398"/>
                    </a:lnTo>
                    <a:lnTo>
                      <a:pt x="128" y="393"/>
                    </a:lnTo>
                    <a:lnTo>
                      <a:pt x="124" y="389"/>
                    </a:lnTo>
                    <a:lnTo>
                      <a:pt x="124" y="379"/>
                    </a:lnTo>
                    <a:lnTo>
                      <a:pt x="124" y="379"/>
                    </a:lnTo>
                    <a:lnTo>
                      <a:pt x="119" y="370"/>
                    </a:lnTo>
                    <a:lnTo>
                      <a:pt x="114" y="366"/>
                    </a:lnTo>
                    <a:lnTo>
                      <a:pt x="114" y="352"/>
                    </a:lnTo>
                    <a:lnTo>
                      <a:pt x="114" y="347"/>
                    </a:lnTo>
                    <a:lnTo>
                      <a:pt x="110" y="347"/>
                    </a:lnTo>
                    <a:lnTo>
                      <a:pt x="105" y="347"/>
                    </a:lnTo>
                    <a:lnTo>
                      <a:pt x="105" y="343"/>
                    </a:lnTo>
                    <a:lnTo>
                      <a:pt x="105" y="338"/>
                    </a:lnTo>
                    <a:lnTo>
                      <a:pt x="105" y="334"/>
                    </a:lnTo>
                    <a:lnTo>
                      <a:pt x="105" y="329"/>
                    </a:lnTo>
                    <a:lnTo>
                      <a:pt x="105" y="329"/>
                    </a:lnTo>
                    <a:lnTo>
                      <a:pt x="101" y="329"/>
                    </a:lnTo>
                    <a:lnTo>
                      <a:pt x="92" y="329"/>
                    </a:lnTo>
                    <a:lnTo>
                      <a:pt x="87" y="329"/>
                    </a:lnTo>
                    <a:lnTo>
                      <a:pt x="87" y="325"/>
                    </a:lnTo>
                    <a:lnTo>
                      <a:pt x="87" y="325"/>
                    </a:lnTo>
                    <a:lnTo>
                      <a:pt x="82" y="320"/>
                    </a:lnTo>
                    <a:lnTo>
                      <a:pt x="82" y="315"/>
                    </a:lnTo>
                    <a:lnTo>
                      <a:pt x="82" y="311"/>
                    </a:lnTo>
                    <a:lnTo>
                      <a:pt x="87" y="311"/>
                    </a:lnTo>
                    <a:lnTo>
                      <a:pt x="92" y="306"/>
                    </a:lnTo>
                    <a:lnTo>
                      <a:pt x="92" y="302"/>
                    </a:lnTo>
                    <a:lnTo>
                      <a:pt x="92" y="302"/>
                    </a:lnTo>
                    <a:lnTo>
                      <a:pt x="87" y="297"/>
                    </a:lnTo>
                    <a:lnTo>
                      <a:pt x="87" y="288"/>
                    </a:lnTo>
                    <a:lnTo>
                      <a:pt x="82" y="288"/>
                    </a:lnTo>
                    <a:lnTo>
                      <a:pt x="82" y="279"/>
                    </a:lnTo>
                    <a:lnTo>
                      <a:pt x="82" y="279"/>
                    </a:lnTo>
                    <a:lnTo>
                      <a:pt x="78" y="274"/>
                    </a:lnTo>
                    <a:lnTo>
                      <a:pt x="78" y="270"/>
                    </a:lnTo>
                    <a:lnTo>
                      <a:pt x="73" y="270"/>
                    </a:lnTo>
                    <a:lnTo>
                      <a:pt x="73" y="265"/>
                    </a:lnTo>
                    <a:lnTo>
                      <a:pt x="69" y="265"/>
                    </a:lnTo>
                    <a:lnTo>
                      <a:pt x="64" y="261"/>
                    </a:lnTo>
                    <a:lnTo>
                      <a:pt x="60" y="261"/>
                    </a:lnTo>
                    <a:lnTo>
                      <a:pt x="60" y="256"/>
                    </a:lnTo>
                    <a:lnTo>
                      <a:pt x="50" y="256"/>
                    </a:lnTo>
                    <a:lnTo>
                      <a:pt x="41" y="256"/>
                    </a:lnTo>
                    <a:lnTo>
                      <a:pt x="41" y="251"/>
                    </a:lnTo>
                    <a:lnTo>
                      <a:pt x="41" y="247"/>
                    </a:lnTo>
                    <a:lnTo>
                      <a:pt x="41" y="242"/>
                    </a:lnTo>
                    <a:lnTo>
                      <a:pt x="46" y="242"/>
                    </a:lnTo>
                    <a:lnTo>
                      <a:pt x="46" y="238"/>
                    </a:lnTo>
                    <a:lnTo>
                      <a:pt x="50" y="238"/>
                    </a:lnTo>
                    <a:lnTo>
                      <a:pt x="46" y="233"/>
                    </a:lnTo>
                    <a:lnTo>
                      <a:pt x="46" y="224"/>
                    </a:lnTo>
                    <a:lnTo>
                      <a:pt x="50" y="219"/>
                    </a:lnTo>
                    <a:lnTo>
                      <a:pt x="50" y="215"/>
                    </a:lnTo>
                    <a:lnTo>
                      <a:pt x="55" y="210"/>
                    </a:lnTo>
                    <a:lnTo>
                      <a:pt x="64" y="206"/>
                    </a:lnTo>
                    <a:lnTo>
                      <a:pt x="69" y="201"/>
                    </a:lnTo>
                    <a:lnTo>
                      <a:pt x="69" y="197"/>
                    </a:lnTo>
                    <a:lnTo>
                      <a:pt x="73" y="197"/>
                    </a:lnTo>
                    <a:lnTo>
                      <a:pt x="73" y="192"/>
                    </a:lnTo>
                    <a:lnTo>
                      <a:pt x="73" y="187"/>
                    </a:lnTo>
                    <a:lnTo>
                      <a:pt x="78" y="187"/>
                    </a:lnTo>
                    <a:lnTo>
                      <a:pt x="78" y="183"/>
                    </a:lnTo>
                    <a:lnTo>
                      <a:pt x="82" y="178"/>
                    </a:lnTo>
                    <a:lnTo>
                      <a:pt x="82" y="174"/>
                    </a:lnTo>
                    <a:lnTo>
                      <a:pt x="82" y="169"/>
                    </a:lnTo>
                    <a:lnTo>
                      <a:pt x="78" y="169"/>
                    </a:lnTo>
                    <a:lnTo>
                      <a:pt x="69" y="165"/>
                    </a:lnTo>
                    <a:lnTo>
                      <a:pt x="64" y="160"/>
                    </a:lnTo>
                    <a:lnTo>
                      <a:pt x="60" y="160"/>
                    </a:lnTo>
                    <a:lnTo>
                      <a:pt x="55" y="160"/>
                    </a:lnTo>
                    <a:lnTo>
                      <a:pt x="50" y="160"/>
                    </a:lnTo>
                    <a:lnTo>
                      <a:pt x="46" y="155"/>
                    </a:lnTo>
                    <a:lnTo>
                      <a:pt x="41" y="155"/>
                    </a:lnTo>
                    <a:lnTo>
                      <a:pt x="37" y="151"/>
                    </a:lnTo>
                    <a:lnTo>
                      <a:pt x="32" y="151"/>
                    </a:lnTo>
                    <a:lnTo>
                      <a:pt x="28" y="151"/>
                    </a:lnTo>
                    <a:lnTo>
                      <a:pt x="18" y="151"/>
                    </a:lnTo>
                    <a:lnTo>
                      <a:pt x="14" y="151"/>
                    </a:lnTo>
                    <a:lnTo>
                      <a:pt x="14" y="151"/>
                    </a:lnTo>
                    <a:lnTo>
                      <a:pt x="9" y="151"/>
                    </a:lnTo>
                    <a:lnTo>
                      <a:pt x="5" y="151"/>
                    </a:lnTo>
                    <a:lnTo>
                      <a:pt x="0" y="151"/>
                    </a:lnTo>
                    <a:lnTo>
                      <a:pt x="0" y="146"/>
                    </a:lnTo>
                    <a:lnTo>
                      <a:pt x="0" y="137"/>
                    </a:lnTo>
                    <a:lnTo>
                      <a:pt x="0" y="133"/>
                    </a:lnTo>
                    <a:lnTo>
                      <a:pt x="5" y="128"/>
                    </a:lnTo>
                    <a:lnTo>
                      <a:pt x="5" y="128"/>
                    </a:lnTo>
                    <a:lnTo>
                      <a:pt x="9" y="123"/>
                    </a:lnTo>
                    <a:lnTo>
                      <a:pt x="9" y="119"/>
                    </a:lnTo>
                    <a:lnTo>
                      <a:pt x="14" y="114"/>
                    </a:lnTo>
                    <a:lnTo>
                      <a:pt x="14" y="105"/>
                    </a:lnTo>
                    <a:lnTo>
                      <a:pt x="14" y="101"/>
                    </a:lnTo>
                    <a:lnTo>
                      <a:pt x="14" y="96"/>
                    </a:lnTo>
                    <a:lnTo>
                      <a:pt x="18" y="96"/>
                    </a:lnTo>
                    <a:lnTo>
                      <a:pt x="23" y="101"/>
                    </a:lnTo>
                    <a:lnTo>
                      <a:pt x="28" y="105"/>
                    </a:lnTo>
                    <a:lnTo>
                      <a:pt x="28" y="110"/>
                    </a:lnTo>
                    <a:lnTo>
                      <a:pt x="32" y="110"/>
                    </a:lnTo>
                    <a:lnTo>
                      <a:pt x="32" y="114"/>
                    </a:lnTo>
                    <a:lnTo>
                      <a:pt x="32" y="119"/>
                    </a:lnTo>
                    <a:lnTo>
                      <a:pt x="37" y="123"/>
                    </a:lnTo>
                    <a:lnTo>
                      <a:pt x="37" y="123"/>
                    </a:lnTo>
                    <a:lnTo>
                      <a:pt x="41" y="123"/>
                    </a:lnTo>
                    <a:lnTo>
                      <a:pt x="50" y="123"/>
                    </a:lnTo>
                    <a:lnTo>
                      <a:pt x="60" y="119"/>
                    </a:lnTo>
                    <a:lnTo>
                      <a:pt x="64" y="114"/>
                    </a:lnTo>
                    <a:lnTo>
                      <a:pt x="64" y="110"/>
                    </a:lnTo>
                    <a:lnTo>
                      <a:pt x="69" y="105"/>
                    </a:lnTo>
                    <a:lnTo>
                      <a:pt x="69" y="105"/>
                    </a:lnTo>
                    <a:lnTo>
                      <a:pt x="73" y="105"/>
                    </a:lnTo>
                    <a:lnTo>
                      <a:pt x="73" y="101"/>
                    </a:lnTo>
                    <a:lnTo>
                      <a:pt x="78" y="101"/>
                    </a:lnTo>
                    <a:lnTo>
                      <a:pt x="82" y="91"/>
                    </a:lnTo>
                    <a:lnTo>
                      <a:pt x="87" y="91"/>
                    </a:lnTo>
                    <a:lnTo>
                      <a:pt x="92" y="87"/>
                    </a:lnTo>
                    <a:lnTo>
                      <a:pt x="101" y="82"/>
                    </a:lnTo>
                    <a:lnTo>
                      <a:pt x="105" y="82"/>
                    </a:lnTo>
                    <a:lnTo>
                      <a:pt x="105" y="73"/>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Enugu</a:t>
                </a:r>
              </a:p>
            </p:txBody>
          </p:sp>
          <p:sp>
            <p:nvSpPr>
              <p:cNvPr id="200" name="Freeform 20">
                <a:extLst>
                  <a:ext uri="{FF2B5EF4-FFF2-40B4-BE49-F238E27FC236}">
                    <a16:creationId xmlns:a16="http://schemas.microsoft.com/office/drawing/2014/main" id="{59242B82-C296-46B8-A1E4-987C24DC792C}"/>
                  </a:ext>
                </a:extLst>
              </p:cNvPr>
              <p:cNvSpPr>
                <a:spLocks/>
              </p:cNvSpPr>
              <p:nvPr>
                <p:custDataLst>
                  <p:tags r:id="rId17"/>
                </p:custDataLst>
              </p:nvPr>
            </p:nvSpPr>
            <p:spPr bwMode="auto">
              <a:xfrm>
                <a:off x="2242819" y="3865372"/>
                <a:ext cx="446800" cy="452106"/>
              </a:xfrm>
              <a:custGeom>
                <a:avLst/>
                <a:gdLst/>
                <a:ahLst/>
                <a:cxnLst>
                  <a:cxn ang="0">
                    <a:pos x="260" y="298"/>
                  </a:cxn>
                  <a:cxn ang="0">
                    <a:pos x="260" y="302"/>
                  </a:cxn>
                  <a:cxn ang="0">
                    <a:pos x="256" y="307"/>
                  </a:cxn>
                  <a:cxn ang="0">
                    <a:pos x="247" y="311"/>
                  </a:cxn>
                  <a:cxn ang="0">
                    <a:pos x="242" y="321"/>
                  </a:cxn>
                  <a:cxn ang="0">
                    <a:pos x="233" y="325"/>
                  </a:cxn>
                  <a:cxn ang="0">
                    <a:pos x="228" y="330"/>
                  </a:cxn>
                  <a:cxn ang="0">
                    <a:pos x="219" y="330"/>
                  </a:cxn>
                  <a:cxn ang="0">
                    <a:pos x="219" y="334"/>
                  </a:cxn>
                  <a:cxn ang="0">
                    <a:pos x="215" y="339"/>
                  </a:cxn>
                  <a:cxn ang="0">
                    <a:pos x="201" y="343"/>
                  </a:cxn>
                  <a:cxn ang="0">
                    <a:pos x="183" y="353"/>
                  </a:cxn>
                  <a:cxn ang="0">
                    <a:pos x="155" y="357"/>
                  </a:cxn>
                  <a:cxn ang="0">
                    <a:pos x="146" y="362"/>
                  </a:cxn>
                  <a:cxn ang="0">
                    <a:pos x="119" y="366"/>
                  </a:cxn>
                  <a:cxn ang="0">
                    <a:pos x="110" y="366"/>
                  </a:cxn>
                  <a:cxn ang="0">
                    <a:pos x="87" y="366"/>
                  </a:cxn>
                  <a:cxn ang="0">
                    <a:pos x="64" y="366"/>
                  </a:cxn>
                  <a:cxn ang="0">
                    <a:pos x="46" y="366"/>
                  </a:cxn>
                  <a:cxn ang="0">
                    <a:pos x="41" y="366"/>
                  </a:cxn>
                  <a:cxn ang="0">
                    <a:pos x="32" y="366"/>
                  </a:cxn>
                  <a:cxn ang="0">
                    <a:pos x="23" y="366"/>
                  </a:cxn>
                  <a:cxn ang="0">
                    <a:pos x="0" y="193"/>
                  </a:cxn>
                  <a:cxn ang="0">
                    <a:pos x="9" y="64"/>
                  </a:cxn>
                  <a:cxn ang="0">
                    <a:pos x="68" y="64"/>
                  </a:cxn>
                  <a:cxn ang="0">
                    <a:pos x="91" y="64"/>
                  </a:cxn>
                  <a:cxn ang="0">
                    <a:pos x="155" y="110"/>
                  </a:cxn>
                  <a:cxn ang="0">
                    <a:pos x="169" y="106"/>
                  </a:cxn>
                  <a:cxn ang="0">
                    <a:pos x="233" y="23"/>
                  </a:cxn>
                  <a:cxn ang="0">
                    <a:pos x="256" y="19"/>
                  </a:cxn>
                  <a:cxn ang="0">
                    <a:pos x="279" y="19"/>
                  </a:cxn>
                  <a:cxn ang="0">
                    <a:pos x="324" y="23"/>
                  </a:cxn>
                  <a:cxn ang="0">
                    <a:pos x="329" y="32"/>
                  </a:cxn>
                  <a:cxn ang="0">
                    <a:pos x="315" y="42"/>
                  </a:cxn>
                  <a:cxn ang="0">
                    <a:pos x="306" y="46"/>
                  </a:cxn>
                  <a:cxn ang="0">
                    <a:pos x="306" y="55"/>
                  </a:cxn>
                  <a:cxn ang="0">
                    <a:pos x="306" y="64"/>
                  </a:cxn>
                  <a:cxn ang="0">
                    <a:pos x="306" y="115"/>
                  </a:cxn>
                  <a:cxn ang="0">
                    <a:pos x="306" y="133"/>
                  </a:cxn>
                  <a:cxn ang="0">
                    <a:pos x="306" y="151"/>
                  </a:cxn>
                  <a:cxn ang="0">
                    <a:pos x="306" y="174"/>
                  </a:cxn>
                  <a:cxn ang="0">
                    <a:pos x="306" y="197"/>
                  </a:cxn>
                  <a:cxn ang="0">
                    <a:pos x="302" y="215"/>
                  </a:cxn>
                  <a:cxn ang="0">
                    <a:pos x="302" y="229"/>
                  </a:cxn>
                  <a:cxn ang="0">
                    <a:pos x="288" y="261"/>
                  </a:cxn>
                  <a:cxn ang="0">
                    <a:pos x="283" y="270"/>
                  </a:cxn>
                  <a:cxn ang="0">
                    <a:pos x="279" y="275"/>
                  </a:cxn>
                  <a:cxn ang="0">
                    <a:pos x="274" y="284"/>
                  </a:cxn>
                  <a:cxn ang="0">
                    <a:pos x="270" y="289"/>
                  </a:cxn>
                  <a:cxn ang="0">
                    <a:pos x="265" y="293"/>
                  </a:cxn>
                </a:cxnLst>
                <a:rect l="0" t="0" r="r" b="b"/>
                <a:pathLst>
                  <a:path w="334" h="366">
                    <a:moveTo>
                      <a:pt x="260" y="293"/>
                    </a:moveTo>
                    <a:lnTo>
                      <a:pt x="260" y="298"/>
                    </a:lnTo>
                    <a:lnTo>
                      <a:pt x="260" y="298"/>
                    </a:lnTo>
                    <a:lnTo>
                      <a:pt x="260" y="302"/>
                    </a:lnTo>
                    <a:lnTo>
                      <a:pt x="256" y="307"/>
                    </a:lnTo>
                    <a:lnTo>
                      <a:pt x="256" y="307"/>
                    </a:lnTo>
                    <a:lnTo>
                      <a:pt x="251" y="311"/>
                    </a:lnTo>
                    <a:lnTo>
                      <a:pt x="247" y="311"/>
                    </a:lnTo>
                    <a:lnTo>
                      <a:pt x="242" y="316"/>
                    </a:lnTo>
                    <a:lnTo>
                      <a:pt x="242" y="321"/>
                    </a:lnTo>
                    <a:lnTo>
                      <a:pt x="238" y="325"/>
                    </a:lnTo>
                    <a:lnTo>
                      <a:pt x="233" y="325"/>
                    </a:lnTo>
                    <a:lnTo>
                      <a:pt x="233" y="330"/>
                    </a:lnTo>
                    <a:lnTo>
                      <a:pt x="228" y="330"/>
                    </a:lnTo>
                    <a:lnTo>
                      <a:pt x="224" y="330"/>
                    </a:lnTo>
                    <a:lnTo>
                      <a:pt x="219" y="330"/>
                    </a:lnTo>
                    <a:lnTo>
                      <a:pt x="219" y="334"/>
                    </a:lnTo>
                    <a:lnTo>
                      <a:pt x="219" y="334"/>
                    </a:lnTo>
                    <a:lnTo>
                      <a:pt x="215" y="334"/>
                    </a:lnTo>
                    <a:lnTo>
                      <a:pt x="215" y="339"/>
                    </a:lnTo>
                    <a:lnTo>
                      <a:pt x="206" y="339"/>
                    </a:lnTo>
                    <a:lnTo>
                      <a:pt x="201" y="343"/>
                    </a:lnTo>
                    <a:lnTo>
                      <a:pt x="196" y="348"/>
                    </a:lnTo>
                    <a:lnTo>
                      <a:pt x="183" y="353"/>
                    </a:lnTo>
                    <a:lnTo>
                      <a:pt x="178" y="353"/>
                    </a:lnTo>
                    <a:lnTo>
                      <a:pt x="155" y="357"/>
                    </a:lnTo>
                    <a:lnTo>
                      <a:pt x="151" y="362"/>
                    </a:lnTo>
                    <a:lnTo>
                      <a:pt x="146" y="362"/>
                    </a:lnTo>
                    <a:lnTo>
                      <a:pt x="132" y="362"/>
                    </a:lnTo>
                    <a:lnTo>
                      <a:pt x="119" y="366"/>
                    </a:lnTo>
                    <a:lnTo>
                      <a:pt x="110" y="366"/>
                    </a:lnTo>
                    <a:lnTo>
                      <a:pt x="110" y="366"/>
                    </a:lnTo>
                    <a:lnTo>
                      <a:pt x="91" y="366"/>
                    </a:lnTo>
                    <a:lnTo>
                      <a:pt x="87" y="366"/>
                    </a:lnTo>
                    <a:lnTo>
                      <a:pt x="68" y="366"/>
                    </a:lnTo>
                    <a:lnTo>
                      <a:pt x="64" y="366"/>
                    </a:lnTo>
                    <a:lnTo>
                      <a:pt x="59" y="366"/>
                    </a:lnTo>
                    <a:lnTo>
                      <a:pt x="46" y="366"/>
                    </a:lnTo>
                    <a:lnTo>
                      <a:pt x="46" y="366"/>
                    </a:lnTo>
                    <a:lnTo>
                      <a:pt x="41" y="366"/>
                    </a:lnTo>
                    <a:lnTo>
                      <a:pt x="36" y="366"/>
                    </a:lnTo>
                    <a:lnTo>
                      <a:pt x="32" y="366"/>
                    </a:lnTo>
                    <a:lnTo>
                      <a:pt x="27" y="366"/>
                    </a:lnTo>
                    <a:lnTo>
                      <a:pt x="23" y="366"/>
                    </a:lnTo>
                    <a:lnTo>
                      <a:pt x="0" y="366"/>
                    </a:lnTo>
                    <a:lnTo>
                      <a:pt x="0" y="193"/>
                    </a:lnTo>
                    <a:lnTo>
                      <a:pt x="9" y="87"/>
                    </a:lnTo>
                    <a:lnTo>
                      <a:pt x="9" y="64"/>
                    </a:lnTo>
                    <a:lnTo>
                      <a:pt x="36" y="60"/>
                    </a:lnTo>
                    <a:lnTo>
                      <a:pt x="68" y="64"/>
                    </a:lnTo>
                    <a:lnTo>
                      <a:pt x="87" y="64"/>
                    </a:lnTo>
                    <a:lnTo>
                      <a:pt x="91" y="64"/>
                    </a:lnTo>
                    <a:lnTo>
                      <a:pt x="137" y="96"/>
                    </a:lnTo>
                    <a:lnTo>
                      <a:pt x="155" y="110"/>
                    </a:lnTo>
                    <a:lnTo>
                      <a:pt x="160" y="115"/>
                    </a:lnTo>
                    <a:lnTo>
                      <a:pt x="169" y="106"/>
                    </a:lnTo>
                    <a:lnTo>
                      <a:pt x="224" y="32"/>
                    </a:lnTo>
                    <a:lnTo>
                      <a:pt x="233" y="23"/>
                    </a:lnTo>
                    <a:lnTo>
                      <a:pt x="238" y="23"/>
                    </a:lnTo>
                    <a:lnTo>
                      <a:pt x="256" y="19"/>
                    </a:lnTo>
                    <a:lnTo>
                      <a:pt x="265" y="23"/>
                    </a:lnTo>
                    <a:lnTo>
                      <a:pt x="279" y="19"/>
                    </a:lnTo>
                    <a:lnTo>
                      <a:pt x="302" y="0"/>
                    </a:lnTo>
                    <a:lnTo>
                      <a:pt x="324" y="23"/>
                    </a:lnTo>
                    <a:lnTo>
                      <a:pt x="334" y="28"/>
                    </a:lnTo>
                    <a:lnTo>
                      <a:pt x="329" y="32"/>
                    </a:lnTo>
                    <a:lnTo>
                      <a:pt x="320" y="37"/>
                    </a:lnTo>
                    <a:lnTo>
                      <a:pt x="315" y="42"/>
                    </a:lnTo>
                    <a:lnTo>
                      <a:pt x="311" y="42"/>
                    </a:lnTo>
                    <a:lnTo>
                      <a:pt x="306" y="46"/>
                    </a:lnTo>
                    <a:lnTo>
                      <a:pt x="306" y="51"/>
                    </a:lnTo>
                    <a:lnTo>
                      <a:pt x="306" y="55"/>
                    </a:lnTo>
                    <a:lnTo>
                      <a:pt x="306" y="64"/>
                    </a:lnTo>
                    <a:lnTo>
                      <a:pt x="306" y="64"/>
                    </a:lnTo>
                    <a:lnTo>
                      <a:pt x="306" y="78"/>
                    </a:lnTo>
                    <a:lnTo>
                      <a:pt x="306" y="115"/>
                    </a:lnTo>
                    <a:lnTo>
                      <a:pt x="306" y="124"/>
                    </a:lnTo>
                    <a:lnTo>
                      <a:pt x="306" y="133"/>
                    </a:lnTo>
                    <a:lnTo>
                      <a:pt x="306" y="147"/>
                    </a:lnTo>
                    <a:lnTo>
                      <a:pt x="306" y="151"/>
                    </a:lnTo>
                    <a:lnTo>
                      <a:pt x="306" y="165"/>
                    </a:lnTo>
                    <a:lnTo>
                      <a:pt x="306" y="174"/>
                    </a:lnTo>
                    <a:lnTo>
                      <a:pt x="306" y="188"/>
                    </a:lnTo>
                    <a:lnTo>
                      <a:pt x="306" y="197"/>
                    </a:lnTo>
                    <a:lnTo>
                      <a:pt x="302" y="211"/>
                    </a:lnTo>
                    <a:lnTo>
                      <a:pt x="302" y="215"/>
                    </a:lnTo>
                    <a:lnTo>
                      <a:pt x="302" y="220"/>
                    </a:lnTo>
                    <a:lnTo>
                      <a:pt x="302" y="229"/>
                    </a:lnTo>
                    <a:lnTo>
                      <a:pt x="302" y="238"/>
                    </a:lnTo>
                    <a:lnTo>
                      <a:pt x="288" y="261"/>
                    </a:lnTo>
                    <a:lnTo>
                      <a:pt x="283" y="266"/>
                    </a:lnTo>
                    <a:lnTo>
                      <a:pt x="283" y="270"/>
                    </a:lnTo>
                    <a:lnTo>
                      <a:pt x="283" y="275"/>
                    </a:lnTo>
                    <a:lnTo>
                      <a:pt x="279" y="275"/>
                    </a:lnTo>
                    <a:lnTo>
                      <a:pt x="279" y="279"/>
                    </a:lnTo>
                    <a:lnTo>
                      <a:pt x="274" y="284"/>
                    </a:lnTo>
                    <a:lnTo>
                      <a:pt x="270" y="284"/>
                    </a:lnTo>
                    <a:lnTo>
                      <a:pt x="270" y="289"/>
                    </a:lnTo>
                    <a:lnTo>
                      <a:pt x="265" y="289"/>
                    </a:lnTo>
                    <a:lnTo>
                      <a:pt x="265" y="293"/>
                    </a:lnTo>
                    <a:lnTo>
                      <a:pt x="260" y="293"/>
                    </a:lnTo>
                    <a:close/>
                  </a:path>
                </a:pathLst>
              </a:custGeom>
              <a:solidFill>
                <a:srgbClr val="006301"/>
              </a:solid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FCT</a:t>
                </a:r>
              </a:p>
            </p:txBody>
          </p:sp>
          <p:sp>
            <p:nvSpPr>
              <p:cNvPr id="201" name="Freeform 21">
                <a:extLst>
                  <a:ext uri="{FF2B5EF4-FFF2-40B4-BE49-F238E27FC236}">
                    <a16:creationId xmlns:a16="http://schemas.microsoft.com/office/drawing/2014/main" id="{94BAF836-E56F-4A2E-92E7-8941B33382D5}"/>
                  </a:ext>
                </a:extLst>
              </p:cNvPr>
              <p:cNvSpPr>
                <a:spLocks/>
              </p:cNvSpPr>
              <p:nvPr>
                <p:custDataLst>
                  <p:tags r:id="rId18"/>
                </p:custDataLst>
              </p:nvPr>
            </p:nvSpPr>
            <p:spPr bwMode="auto">
              <a:xfrm>
                <a:off x="4107723" y="2979321"/>
                <a:ext cx="688547" cy="831582"/>
              </a:xfrm>
              <a:custGeom>
                <a:avLst/>
                <a:gdLst/>
                <a:ahLst/>
                <a:cxnLst>
                  <a:cxn ang="0">
                    <a:pos x="27" y="169"/>
                  </a:cxn>
                  <a:cxn ang="0">
                    <a:pos x="45" y="160"/>
                  </a:cxn>
                  <a:cxn ang="0">
                    <a:pos x="50" y="146"/>
                  </a:cxn>
                  <a:cxn ang="0">
                    <a:pos x="64" y="105"/>
                  </a:cxn>
                  <a:cxn ang="0">
                    <a:pos x="96" y="73"/>
                  </a:cxn>
                  <a:cxn ang="0">
                    <a:pos x="137" y="82"/>
                  </a:cxn>
                  <a:cxn ang="0">
                    <a:pos x="178" y="41"/>
                  </a:cxn>
                  <a:cxn ang="0">
                    <a:pos x="201" y="4"/>
                  </a:cxn>
                  <a:cxn ang="0">
                    <a:pos x="242" y="0"/>
                  </a:cxn>
                  <a:cxn ang="0">
                    <a:pos x="269" y="13"/>
                  </a:cxn>
                  <a:cxn ang="0">
                    <a:pos x="311" y="27"/>
                  </a:cxn>
                  <a:cxn ang="0">
                    <a:pos x="320" y="41"/>
                  </a:cxn>
                  <a:cxn ang="0">
                    <a:pos x="333" y="77"/>
                  </a:cxn>
                  <a:cxn ang="0">
                    <a:pos x="356" y="96"/>
                  </a:cxn>
                  <a:cxn ang="0">
                    <a:pos x="379" y="114"/>
                  </a:cxn>
                  <a:cxn ang="0">
                    <a:pos x="384" y="128"/>
                  </a:cxn>
                  <a:cxn ang="0">
                    <a:pos x="397" y="146"/>
                  </a:cxn>
                  <a:cxn ang="0">
                    <a:pos x="402" y="173"/>
                  </a:cxn>
                  <a:cxn ang="0">
                    <a:pos x="397" y="237"/>
                  </a:cxn>
                  <a:cxn ang="0">
                    <a:pos x="402" y="269"/>
                  </a:cxn>
                  <a:cxn ang="0">
                    <a:pos x="411" y="283"/>
                  </a:cxn>
                  <a:cxn ang="0">
                    <a:pos x="448" y="301"/>
                  </a:cxn>
                  <a:cxn ang="0">
                    <a:pos x="466" y="311"/>
                  </a:cxn>
                  <a:cxn ang="0">
                    <a:pos x="457" y="324"/>
                  </a:cxn>
                  <a:cxn ang="0">
                    <a:pos x="443" y="333"/>
                  </a:cxn>
                  <a:cxn ang="0">
                    <a:pos x="420" y="343"/>
                  </a:cxn>
                  <a:cxn ang="0">
                    <a:pos x="407" y="361"/>
                  </a:cxn>
                  <a:cxn ang="0">
                    <a:pos x="397" y="375"/>
                  </a:cxn>
                  <a:cxn ang="0">
                    <a:pos x="416" y="388"/>
                  </a:cxn>
                  <a:cxn ang="0">
                    <a:pos x="425" y="402"/>
                  </a:cxn>
                  <a:cxn ang="0">
                    <a:pos x="439" y="420"/>
                  </a:cxn>
                  <a:cxn ang="0">
                    <a:pos x="466" y="434"/>
                  </a:cxn>
                  <a:cxn ang="0">
                    <a:pos x="484" y="443"/>
                  </a:cxn>
                  <a:cxn ang="0">
                    <a:pos x="489" y="452"/>
                  </a:cxn>
                  <a:cxn ang="0">
                    <a:pos x="498" y="471"/>
                  </a:cxn>
                  <a:cxn ang="0">
                    <a:pos x="507" y="489"/>
                  </a:cxn>
                  <a:cxn ang="0">
                    <a:pos x="512" y="516"/>
                  </a:cxn>
                  <a:cxn ang="0">
                    <a:pos x="516" y="557"/>
                  </a:cxn>
                  <a:cxn ang="0">
                    <a:pos x="507" y="589"/>
                  </a:cxn>
                  <a:cxn ang="0">
                    <a:pos x="493" y="603"/>
                  </a:cxn>
                  <a:cxn ang="0">
                    <a:pos x="480" y="617"/>
                  </a:cxn>
                  <a:cxn ang="0">
                    <a:pos x="466" y="626"/>
                  </a:cxn>
                  <a:cxn ang="0">
                    <a:pos x="448" y="635"/>
                  </a:cxn>
                  <a:cxn ang="0">
                    <a:pos x="429" y="640"/>
                  </a:cxn>
                  <a:cxn ang="0">
                    <a:pos x="411" y="649"/>
                  </a:cxn>
                  <a:cxn ang="0">
                    <a:pos x="370" y="653"/>
                  </a:cxn>
                  <a:cxn ang="0">
                    <a:pos x="343" y="667"/>
                  </a:cxn>
                  <a:cxn ang="0">
                    <a:pos x="324" y="672"/>
                  </a:cxn>
                  <a:cxn ang="0">
                    <a:pos x="297" y="663"/>
                  </a:cxn>
                  <a:cxn ang="0">
                    <a:pos x="260" y="658"/>
                  </a:cxn>
                  <a:cxn ang="0">
                    <a:pos x="201" y="649"/>
                  </a:cxn>
                  <a:cxn ang="0">
                    <a:pos x="178" y="571"/>
                  </a:cxn>
                  <a:cxn ang="0">
                    <a:pos x="146" y="516"/>
                  </a:cxn>
                  <a:cxn ang="0">
                    <a:pos x="68" y="461"/>
                  </a:cxn>
                  <a:cxn ang="0">
                    <a:pos x="119" y="439"/>
                  </a:cxn>
                  <a:cxn ang="0">
                    <a:pos x="128" y="393"/>
                  </a:cxn>
                  <a:cxn ang="0">
                    <a:pos x="123" y="343"/>
                  </a:cxn>
                  <a:cxn ang="0">
                    <a:pos x="68" y="306"/>
                  </a:cxn>
                  <a:cxn ang="0">
                    <a:pos x="27" y="292"/>
                  </a:cxn>
                  <a:cxn ang="0">
                    <a:pos x="0" y="256"/>
                  </a:cxn>
                  <a:cxn ang="0">
                    <a:pos x="4" y="228"/>
                  </a:cxn>
                </a:cxnLst>
                <a:rect l="0" t="0" r="r" b="b"/>
                <a:pathLst>
                  <a:path w="516" h="672">
                    <a:moveTo>
                      <a:pt x="18" y="205"/>
                    </a:moveTo>
                    <a:lnTo>
                      <a:pt x="23" y="201"/>
                    </a:lnTo>
                    <a:lnTo>
                      <a:pt x="27" y="192"/>
                    </a:lnTo>
                    <a:lnTo>
                      <a:pt x="27" y="178"/>
                    </a:lnTo>
                    <a:lnTo>
                      <a:pt x="27" y="169"/>
                    </a:lnTo>
                    <a:lnTo>
                      <a:pt x="27" y="164"/>
                    </a:lnTo>
                    <a:lnTo>
                      <a:pt x="27" y="155"/>
                    </a:lnTo>
                    <a:lnTo>
                      <a:pt x="32" y="155"/>
                    </a:lnTo>
                    <a:lnTo>
                      <a:pt x="41" y="155"/>
                    </a:lnTo>
                    <a:lnTo>
                      <a:pt x="45" y="160"/>
                    </a:lnTo>
                    <a:lnTo>
                      <a:pt x="50" y="169"/>
                    </a:lnTo>
                    <a:lnTo>
                      <a:pt x="59" y="169"/>
                    </a:lnTo>
                    <a:lnTo>
                      <a:pt x="59" y="160"/>
                    </a:lnTo>
                    <a:lnTo>
                      <a:pt x="55" y="151"/>
                    </a:lnTo>
                    <a:lnTo>
                      <a:pt x="50" y="146"/>
                    </a:lnTo>
                    <a:lnTo>
                      <a:pt x="45" y="141"/>
                    </a:lnTo>
                    <a:lnTo>
                      <a:pt x="45" y="128"/>
                    </a:lnTo>
                    <a:lnTo>
                      <a:pt x="41" y="123"/>
                    </a:lnTo>
                    <a:lnTo>
                      <a:pt x="50" y="114"/>
                    </a:lnTo>
                    <a:lnTo>
                      <a:pt x="64" y="105"/>
                    </a:lnTo>
                    <a:lnTo>
                      <a:pt x="68" y="100"/>
                    </a:lnTo>
                    <a:lnTo>
                      <a:pt x="77" y="91"/>
                    </a:lnTo>
                    <a:lnTo>
                      <a:pt x="82" y="82"/>
                    </a:lnTo>
                    <a:lnTo>
                      <a:pt x="87" y="77"/>
                    </a:lnTo>
                    <a:lnTo>
                      <a:pt x="96" y="73"/>
                    </a:lnTo>
                    <a:lnTo>
                      <a:pt x="109" y="68"/>
                    </a:lnTo>
                    <a:lnTo>
                      <a:pt x="114" y="77"/>
                    </a:lnTo>
                    <a:lnTo>
                      <a:pt x="123" y="82"/>
                    </a:lnTo>
                    <a:lnTo>
                      <a:pt x="132" y="82"/>
                    </a:lnTo>
                    <a:lnTo>
                      <a:pt x="137" y="82"/>
                    </a:lnTo>
                    <a:lnTo>
                      <a:pt x="146" y="73"/>
                    </a:lnTo>
                    <a:lnTo>
                      <a:pt x="151" y="64"/>
                    </a:lnTo>
                    <a:lnTo>
                      <a:pt x="160" y="59"/>
                    </a:lnTo>
                    <a:lnTo>
                      <a:pt x="169" y="50"/>
                    </a:lnTo>
                    <a:lnTo>
                      <a:pt x="178" y="41"/>
                    </a:lnTo>
                    <a:lnTo>
                      <a:pt x="183" y="36"/>
                    </a:lnTo>
                    <a:lnTo>
                      <a:pt x="187" y="23"/>
                    </a:lnTo>
                    <a:lnTo>
                      <a:pt x="196" y="13"/>
                    </a:lnTo>
                    <a:lnTo>
                      <a:pt x="196" y="9"/>
                    </a:lnTo>
                    <a:lnTo>
                      <a:pt x="201" y="4"/>
                    </a:lnTo>
                    <a:lnTo>
                      <a:pt x="201" y="0"/>
                    </a:lnTo>
                    <a:lnTo>
                      <a:pt x="205" y="0"/>
                    </a:lnTo>
                    <a:lnTo>
                      <a:pt x="219" y="0"/>
                    </a:lnTo>
                    <a:lnTo>
                      <a:pt x="233" y="0"/>
                    </a:lnTo>
                    <a:lnTo>
                      <a:pt x="242" y="0"/>
                    </a:lnTo>
                    <a:lnTo>
                      <a:pt x="247" y="4"/>
                    </a:lnTo>
                    <a:lnTo>
                      <a:pt x="251" y="4"/>
                    </a:lnTo>
                    <a:lnTo>
                      <a:pt x="256" y="9"/>
                    </a:lnTo>
                    <a:lnTo>
                      <a:pt x="260" y="13"/>
                    </a:lnTo>
                    <a:lnTo>
                      <a:pt x="269" y="13"/>
                    </a:lnTo>
                    <a:lnTo>
                      <a:pt x="283" y="18"/>
                    </a:lnTo>
                    <a:lnTo>
                      <a:pt x="292" y="23"/>
                    </a:lnTo>
                    <a:lnTo>
                      <a:pt x="301" y="23"/>
                    </a:lnTo>
                    <a:lnTo>
                      <a:pt x="306" y="27"/>
                    </a:lnTo>
                    <a:lnTo>
                      <a:pt x="311" y="27"/>
                    </a:lnTo>
                    <a:lnTo>
                      <a:pt x="311" y="32"/>
                    </a:lnTo>
                    <a:lnTo>
                      <a:pt x="311" y="32"/>
                    </a:lnTo>
                    <a:lnTo>
                      <a:pt x="315" y="36"/>
                    </a:lnTo>
                    <a:lnTo>
                      <a:pt x="320" y="36"/>
                    </a:lnTo>
                    <a:lnTo>
                      <a:pt x="320" y="41"/>
                    </a:lnTo>
                    <a:lnTo>
                      <a:pt x="324" y="55"/>
                    </a:lnTo>
                    <a:lnTo>
                      <a:pt x="324" y="59"/>
                    </a:lnTo>
                    <a:lnTo>
                      <a:pt x="329" y="68"/>
                    </a:lnTo>
                    <a:lnTo>
                      <a:pt x="329" y="73"/>
                    </a:lnTo>
                    <a:lnTo>
                      <a:pt x="333" y="77"/>
                    </a:lnTo>
                    <a:lnTo>
                      <a:pt x="333" y="82"/>
                    </a:lnTo>
                    <a:lnTo>
                      <a:pt x="343" y="87"/>
                    </a:lnTo>
                    <a:lnTo>
                      <a:pt x="347" y="91"/>
                    </a:lnTo>
                    <a:lnTo>
                      <a:pt x="352" y="96"/>
                    </a:lnTo>
                    <a:lnTo>
                      <a:pt x="356" y="96"/>
                    </a:lnTo>
                    <a:lnTo>
                      <a:pt x="356" y="100"/>
                    </a:lnTo>
                    <a:lnTo>
                      <a:pt x="356" y="100"/>
                    </a:lnTo>
                    <a:lnTo>
                      <a:pt x="365" y="105"/>
                    </a:lnTo>
                    <a:lnTo>
                      <a:pt x="375" y="109"/>
                    </a:lnTo>
                    <a:lnTo>
                      <a:pt x="379" y="114"/>
                    </a:lnTo>
                    <a:lnTo>
                      <a:pt x="379" y="119"/>
                    </a:lnTo>
                    <a:lnTo>
                      <a:pt x="379" y="119"/>
                    </a:lnTo>
                    <a:lnTo>
                      <a:pt x="379" y="123"/>
                    </a:lnTo>
                    <a:lnTo>
                      <a:pt x="384" y="123"/>
                    </a:lnTo>
                    <a:lnTo>
                      <a:pt x="384" y="128"/>
                    </a:lnTo>
                    <a:lnTo>
                      <a:pt x="388" y="137"/>
                    </a:lnTo>
                    <a:lnTo>
                      <a:pt x="393" y="137"/>
                    </a:lnTo>
                    <a:lnTo>
                      <a:pt x="393" y="141"/>
                    </a:lnTo>
                    <a:lnTo>
                      <a:pt x="393" y="146"/>
                    </a:lnTo>
                    <a:lnTo>
                      <a:pt x="397" y="146"/>
                    </a:lnTo>
                    <a:lnTo>
                      <a:pt x="397" y="146"/>
                    </a:lnTo>
                    <a:lnTo>
                      <a:pt x="397" y="151"/>
                    </a:lnTo>
                    <a:lnTo>
                      <a:pt x="397" y="160"/>
                    </a:lnTo>
                    <a:lnTo>
                      <a:pt x="397" y="164"/>
                    </a:lnTo>
                    <a:lnTo>
                      <a:pt x="402" y="173"/>
                    </a:lnTo>
                    <a:lnTo>
                      <a:pt x="402" y="183"/>
                    </a:lnTo>
                    <a:lnTo>
                      <a:pt x="402" y="192"/>
                    </a:lnTo>
                    <a:lnTo>
                      <a:pt x="397" y="205"/>
                    </a:lnTo>
                    <a:lnTo>
                      <a:pt x="397" y="228"/>
                    </a:lnTo>
                    <a:lnTo>
                      <a:pt x="397" y="237"/>
                    </a:lnTo>
                    <a:lnTo>
                      <a:pt x="397" y="242"/>
                    </a:lnTo>
                    <a:lnTo>
                      <a:pt x="397" y="251"/>
                    </a:lnTo>
                    <a:lnTo>
                      <a:pt x="397" y="260"/>
                    </a:lnTo>
                    <a:lnTo>
                      <a:pt x="397" y="265"/>
                    </a:lnTo>
                    <a:lnTo>
                      <a:pt x="402" y="269"/>
                    </a:lnTo>
                    <a:lnTo>
                      <a:pt x="402" y="274"/>
                    </a:lnTo>
                    <a:lnTo>
                      <a:pt x="402" y="279"/>
                    </a:lnTo>
                    <a:lnTo>
                      <a:pt x="407" y="279"/>
                    </a:lnTo>
                    <a:lnTo>
                      <a:pt x="407" y="283"/>
                    </a:lnTo>
                    <a:lnTo>
                      <a:pt x="411" y="283"/>
                    </a:lnTo>
                    <a:lnTo>
                      <a:pt x="420" y="283"/>
                    </a:lnTo>
                    <a:lnTo>
                      <a:pt x="420" y="288"/>
                    </a:lnTo>
                    <a:lnTo>
                      <a:pt x="434" y="292"/>
                    </a:lnTo>
                    <a:lnTo>
                      <a:pt x="443" y="297"/>
                    </a:lnTo>
                    <a:lnTo>
                      <a:pt x="448" y="301"/>
                    </a:lnTo>
                    <a:lnTo>
                      <a:pt x="452" y="301"/>
                    </a:lnTo>
                    <a:lnTo>
                      <a:pt x="457" y="301"/>
                    </a:lnTo>
                    <a:lnTo>
                      <a:pt x="461" y="301"/>
                    </a:lnTo>
                    <a:lnTo>
                      <a:pt x="461" y="306"/>
                    </a:lnTo>
                    <a:lnTo>
                      <a:pt x="466" y="311"/>
                    </a:lnTo>
                    <a:lnTo>
                      <a:pt x="466" y="315"/>
                    </a:lnTo>
                    <a:lnTo>
                      <a:pt x="466" y="320"/>
                    </a:lnTo>
                    <a:lnTo>
                      <a:pt x="461" y="320"/>
                    </a:lnTo>
                    <a:lnTo>
                      <a:pt x="457" y="320"/>
                    </a:lnTo>
                    <a:lnTo>
                      <a:pt x="457" y="324"/>
                    </a:lnTo>
                    <a:lnTo>
                      <a:pt x="452" y="324"/>
                    </a:lnTo>
                    <a:lnTo>
                      <a:pt x="448" y="329"/>
                    </a:lnTo>
                    <a:lnTo>
                      <a:pt x="443" y="329"/>
                    </a:lnTo>
                    <a:lnTo>
                      <a:pt x="443" y="329"/>
                    </a:lnTo>
                    <a:lnTo>
                      <a:pt x="443" y="333"/>
                    </a:lnTo>
                    <a:lnTo>
                      <a:pt x="434" y="333"/>
                    </a:lnTo>
                    <a:lnTo>
                      <a:pt x="429" y="338"/>
                    </a:lnTo>
                    <a:lnTo>
                      <a:pt x="425" y="343"/>
                    </a:lnTo>
                    <a:lnTo>
                      <a:pt x="420" y="343"/>
                    </a:lnTo>
                    <a:lnTo>
                      <a:pt x="420" y="343"/>
                    </a:lnTo>
                    <a:lnTo>
                      <a:pt x="420" y="343"/>
                    </a:lnTo>
                    <a:lnTo>
                      <a:pt x="416" y="347"/>
                    </a:lnTo>
                    <a:lnTo>
                      <a:pt x="411" y="352"/>
                    </a:lnTo>
                    <a:lnTo>
                      <a:pt x="407" y="356"/>
                    </a:lnTo>
                    <a:lnTo>
                      <a:pt x="407" y="361"/>
                    </a:lnTo>
                    <a:lnTo>
                      <a:pt x="402" y="365"/>
                    </a:lnTo>
                    <a:lnTo>
                      <a:pt x="402" y="365"/>
                    </a:lnTo>
                    <a:lnTo>
                      <a:pt x="397" y="365"/>
                    </a:lnTo>
                    <a:lnTo>
                      <a:pt x="397" y="370"/>
                    </a:lnTo>
                    <a:lnTo>
                      <a:pt x="397" y="375"/>
                    </a:lnTo>
                    <a:lnTo>
                      <a:pt x="397" y="379"/>
                    </a:lnTo>
                    <a:lnTo>
                      <a:pt x="402" y="379"/>
                    </a:lnTo>
                    <a:lnTo>
                      <a:pt x="407" y="384"/>
                    </a:lnTo>
                    <a:lnTo>
                      <a:pt x="411" y="384"/>
                    </a:lnTo>
                    <a:lnTo>
                      <a:pt x="416" y="388"/>
                    </a:lnTo>
                    <a:lnTo>
                      <a:pt x="420" y="388"/>
                    </a:lnTo>
                    <a:lnTo>
                      <a:pt x="420" y="393"/>
                    </a:lnTo>
                    <a:lnTo>
                      <a:pt x="420" y="397"/>
                    </a:lnTo>
                    <a:lnTo>
                      <a:pt x="425" y="397"/>
                    </a:lnTo>
                    <a:lnTo>
                      <a:pt x="425" y="402"/>
                    </a:lnTo>
                    <a:lnTo>
                      <a:pt x="429" y="411"/>
                    </a:lnTo>
                    <a:lnTo>
                      <a:pt x="429" y="411"/>
                    </a:lnTo>
                    <a:lnTo>
                      <a:pt x="434" y="416"/>
                    </a:lnTo>
                    <a:lnTo>
                      <a:pt x="439" y="416"/>
                    </a:lnTo>
                    <a:lnTo>
                      <a:pt x="439" y="420"/>
                    </a:lnTo>
                    <a:lnTo>
                      <a:pt x="443" y="420"/>
                    </a:lnTo>
                    <a:lnTo>
                      <a:pt x="443" y="425"/>
                    </a:lnTo>
                    <a:lnTo>
                      <a:pt x="448" y="425"/>
                    </a:lnTo>
                    <a:lnTo>
                      <a:pt x="457" y="429"/>
                    </a:lnTo>
                    <a:lnTo>
                      <a:pt x="466" y="434"/>
                    </a:lnTo>
                    <a:lnTo>
                      <a:pt x="466" y="434"/>
                    </a:lnTo>
                    <a:lnTo>
                      <a:pt x="471" y="434"/>
                    </a:lnTo>
                    <a:lnTo>
                      <a:pt x="475" y="439"/>
                    </a:lnTo>
                    <a:lnTo>
                      <a:pt x="480" y="443"/>
                    </a:lnTo>
                    <a:lnTo>
                      <a:pt x="484" y="443"/>
                    </a:lnTo>
                    <a:lnTo>
                      <a:pt x="484" y="448"/>
                    </a:lnTo>
                    <a:lnTo>
                      <a:pt x="489" y="448"/>
                    </a:lnTo>
                    <a:lnTo>
                      <a:pt x="489" y="452"/>
                    </a:lnTo>
                    <a:lnTo>
                      <a:pt x="489" y="452"/>
                    </a:lnTo>
                    <a:lnTo>
                      <a:pt x="489" y="452"/>
                    </a:lnTo>
                    <a:lnTo>
                      <a:pt x="493" y="452"/>
                    </a:lnTo>
                    <a:lnTo>
                      <a:pt x="493" y="457"/>
                    </a:lnTo>
                    <a:lnTo>
                      <a:pt x="498" y="461"/>
                    </a:lnTo>
                    <a:lnTo>
                      <a:pt x="498" y="466"/>
                    </a:lnTo>
                    <a:lnTo>
                      <a:pt x="498" y="471"/>
                    </a:lnTo>
                    <a:lnTo>
                      <a:pt x="503" y="471"/>
                    </a:lnTo>
                    <a:lnTo>
                      <a:pt x="503" y="475"/>
                    </a:lnTo>
                    <a:lnTo>
                      <a:pt x="503" y="475"/>
                    </a:lnTo>
                    <a:lnTo>
                      <a:pt x="503" y="480"/>
                    </a:lnTo>
                    <a:lnTo>
                      <a:pt x="507" y="489"/>
                    </a:lnTo>
                    <a:lnTo>
                      <a:pt x="507" y="493"/>
                    </a:lnTo>
                    <a:lnTo>
                      <a:pt x="507" y="498"/>
                    </a:lnTo>
                    <a:lnTo>
                      <a:pt x="507" y="498"/>
                    </a:lnTo>
                    <a:lnTo>
                      <a:pt x="507" y="507"/>
                    </a:lnTo>
                    <a:lnTo>
                      <a:pt x="512" y="516"/>
                    </a:lnTo>
                    <a:lnTo>
                      <a:pt x="512" y="521"/>
                    </a:lnTo>
                    <a:lnTo>
                      <a:pt x="512" y="525"/>
                    </a:lnTo>
                    <a:lnTo>
                      <a:pt x="512" y="535"/>
                    </a:lnTo>
                    <a:lnTo>
                      <a:pt x="512" y="539"/>
                    </a:lnTo>
                    <a:lnTo>
                      <a:pt x="516" y="557"/>
                    </a:lnTo>
                    <a:lnTo>
                      <a:pt x="516" y="562"/>
                    </a:lnTo>
                    <a:lnTo>
                      <a:pt x="516" y="567"/>
                    </a:lnTo>
                    <a:lnTo>
                      <a:pt x="512" y="580"/>
                    </a:lnTo>
                    <a:lnTo>
                      <a:pt x="507" y="585"/>
                    </a:lnTo>
                    <a:lnTo>
                      <a:pt x="507" y="589"/>
                    </a:lnTo>
                    <a:lnTo>
                      <a:pt x="503" y="589"/>
                    </a:lnTo>
                    <a:lnTo>
                      <a:pt x="503" y="594"/>
                    </a:lnTo>
                    <a:lnTo>
                      <a:pt x="498" y="594"/>
                    </a:lnTo>
                    <a:lnTo>
                      <a:pt x="493" y="599"/>
                    </a:lnTo>
                    <a:lnTo>
                      <a:pt x="493" y="603"/>
                    </a:lnTo>
                    <a:lnTo>
                      <a:pt x="489" y="608"/>
                    </a:lnTo>
                    <a:lnTo>
                      <a:pt x="489" y="608"/>
                    </a:lnTo>
                    <a:lnTo>
                      <a:pt x="484" y="612"/>
                    </a:lnTo>
                    <a:lnTo>
                      <a:pt x="480" y="612"/>
                    </a:lnTo>
                    <a:lnTo>
                      <a:pt x="480" y="617"/>
                    </a:lnTo>
                    <a:lnTo>
                      <a:pt x="475" y="617"/>
                    </a:lnTo>
                    <a:lnTo>
                      <a:pt x="475" y="621"/>
                    </a:lnTo>
                    <a:lnTo>
                      <a:pt x="471" y="621"/>
                    </a:lnTo>
                    <a:lnTo>
                      <a:pt x="471" y="626"/>
                    </a:lnTo>
                    <a:lnTo>
                      <a:pt x="466" y="626"/>
                    </a:lnTo>
                    <a:lnTo>
                      <a:pt x="461" y="631"/>
                    </a:lnTo>
                    <a:lnTo>
                      <a:pt x="457" y="631"/>
                    </a:lnTo>
                    <a:lnTo>
                      <a:pt x="452" y="631"/>
                    </a:lnTo>
                    <a:lnTo>
                      <a:pt x="448" y="631"/>
                    </a:lnTo>
                    <a:lnTo>
                      <a:pt x="448" y="635"/>
                    </a:lnTo>
                    <a:lnTo>
                      <a:pt x="443" y="635"/>
                    </a:lnTo>
                    <a:lnTo>
                      <a:pt x="443" y="635"/>
                    </a:lnTo>
                    <a:lnTo>
                      <a:pt x="443" y="640"/>
                    </a:lnTo>
                    <a:lnTo>
                      <a:pt x="434" y="640"/>
                    </a:lnTo>
                    <a:lnTo>
                      <a:pt x="429" y="640"/>
                    </a:lnTo>
                    <a:lnTo>
                      <a:pt x="429" y="644"/>
                    </a:lnTo>
                    <a:lnTo>
                      <a:pt x="425" y="644"/>
                    </a:lnTo>
                    <a:lnTo>
                      <a:pt x="420" y="644"/>
                    </a:lnTo>
                    <a:lnTo>
                      <a:pt x="420" y="644"/>
                    </a:lnTo>
                    <a:lnTo>
                      <a:pt x="411" y="649"/>
                    </a:lnTo>
                    <a:lnTo>
                      <a:pt x="407" y="649"/>
                    </a:lnTo>
                    <a:lnTo>
                      <a:pt x="402" y="649"/>
                    </a:lnTo>
                    <a:lnTo>
                      <a:pt x="397" y="649"/>
                    </a:lnTo>
                    <a:lnTo>
                      <a:pt x="379" y="653"/>
                    </a:lnTo>
                    <a:lnTo>
                      <a:pt x="370" y="653"/>
                    </a:lnTo>
                    <a:lnTo>
                      <a:pt x="361" y="658"/>
                    </a:lnTo>
                    <a:lnTo>
                      <a:pt x="356" y="658"/>
                    </a:lnTo>
                    <a:lnTo>
                      <a:pt x="352" y="663"/>
                    </a:lnTo>
                    <a:lnTo>
                      <a:pt x="347" y="667"/>
                    </a:lnTo>
                    <a:lnTo>
                      <a:pt x="343" y="667"/>
                    </a:lnTo>
                    <a:lnTo>
                      <a:pt x="338" y="667"/>
                    </a:lnTo>
                    <a:lnTo>
                      <a:pt x="333" y="667"/>
                    </a:lnTo>
                    <a:lnTo>
                      <a:pt x="333" y="672"/>
                    </a:lnTo>
                    <a:lnTo>
                      <a:pt x="329" y="672"/>
                    </a:lnTo>
                    <a:lnTo>
                      <a:pt x="324" y="672"/>
                    </a:lnTo>
                    <a:lnTo>
                      <a:pt x="324" y="667"/>
                    </a:lnTo>
                    <a:lnTo>
                      <a:pt x="320" y="672"/>
                    </a:lnTo>
                    <a:lnTo>
                      <a:pt x="311" y="667"/>
                    </a:lnTo>
                    <a:lnTo>
                      <a:pt x="301" y="663"/>
                    </a:lnTo>
                    <a:lnTo>
                      <a:pt x="297" y="663"/>
                    </a:lnTo>
                    <a:lnTo>
                      <a:pt x="292" y="658"/>
                    </a:lnTo>
                    <a:lnTo>
                      <a:pt x="288" y="658"/>
                    </a:lnTo>
                    <a:lnTo>
                      <a:pt x="283" y="658"/>
                    </a:lnTo>
                    <a:lnTo>
                      <a:pt x="279" y="658"/>
                    </a:lnTo>
                    <a:lnTo>
                      <a:pt x="260" y="658"/>
                    </a:lnTo>
                    <a:lnTo>
                      <a:pt x="247" y="658"/>
                    </a:lnTo>
                    <a:lnTo>
                      <a:pt x="228" y="653"/>
                    </a:lnTo>
                    <a:lnTo>
                      <a:pt x="224" y="653"/>
                    </a:lnTo>
                    <a:lnTo>
                      <a:pt x="210" y="649"/>
                    </a:lnTo>
                    <a:lnTo>
                      <a:pt x="201" y="649"/>
                    </a:lnTo>
                    <a:lnTo>
                      <a:pt x="187" y="649"/>
                    </a:lnTo>
                    <a:lnTo>
                      <a:pt x="183" y="612"/>
                    </a:lnTo>
                    <a:lnTo>
                      <a:pt x="178" y="608"/>
                    </a:lnTo>
                    <a:lnTo>
                      <a:pt x="178" y="585"/>
                    </a:lnTo>
                    <a:lnTo>
                      <a:pt x="178" y="571"/>
                    </a:lnTo>
                    <a:lnTo>
                      <a:pt x="178" y="562"/>
                    </a:lnTo>
                    <a:lnTo>
                      <a:pt x="183" y="553"/>
                    </a:lnTo>
                    <a:lnTo>
                      <a:pt x="178" y="544"/>
                    </a:lnTo>
                    <a:lnTo>
                      <a:pt x="164" y="530"/>
                    </a:lnTo>
                    <a:lnTo>
                      <a:pt x="146" y="516"/>
                    </a:lnTo>
                    <a:lnTo>
                      <a:pt x="123" y="503"/>
                    </a:lnTo>
                    <a:lnTo>
                      <a:pt x="109" y="493"/>
                    </a:lnTo>
                    <a:lnTo>
                      <a:pt x="91" y="480"/>
                    </a:lnTo>
                    <a:lnTo>
                      <a:pt x="73" y="475"/>
                    </a:lnTo>
                    <a:lnTo>
                      <a:pt x="68" y="461"/>
                    </a:lnTo>
                    <a:lnTo>
                      <a:pt x="77" y="452"/>
                    </a:lnTo>
                    <a:lnTo>
                      <a:pt x="91" y="452"/>
                    </a:lnTo>
                    <a:lnTo>
                      <a:pt x="100" y="448"/>
                    </a:lnTo>
                    <a:lnTo>
                      <a:pt x="114" y="443"/>
                    </a:lnTo>
                    <a:lnTo>
                      <a:pt x="119" y="439"/>
                    </a:lnTo>
                    <a:lnTo>
                      <a:pt x="119" y="429"/>
                    </a:lnTo>
                    <a:lnTo>
                      <a:pt x="123" y="420"/>
                    </a:lnTo>
                    <a:lnTo>
                      <a:pt x="128" y="411"/>
                    </a:lnTo>
                    <a:lnTo>
                      <a:pt x="137" y="402"/>
                    </a:lnTo>
                    <a:lnTo>
                      <a:pt x="128" y="393"/>
                    </a:lnTo>
                    <a:lnTo>
                      <a:pt x="123" y="384"/>
                    </a:lnTo>
                    <a:lnTo>
                      <a:pt x="123" y="370"/>
                    </a:lnTo>
                    <a:lnTo>
                      <a:pt x="123" y="361"/>
                    </a:lnTo>
                    <a:lnTo>
                      <a:pt x="123" y="343"/>
                    </a:lnTo>
                    <a:lnTo>
                      <a:pt x="123" y="343"/>
                    </a:lnTo>
                    <a:lnTo>
                      <a:pt x="123" y="333"/>
                    </a:lnTo>
                    <a:lnTo>
                      <a:pt x="114" y="324"/>
                    </a:lnTo>
                    <a:lnTo>
                      <a:pt x="100" y="320"/>
                    </a:lnTo>
                    <a:lnTo>
                      <a:pt x="77" y="315"/>
                    </a:lnTo>
                    <a:lnTo>
                      <a:pt x="68" y="306"/>
                    </a:lnTo>
                    <a:lnTo>
                      <a:pt x="55" y="306"/>
                    </a:lnTo>
                    <a:lnTo>
                      <a:pt x="41" y="306"/>
                    </a:lnTo>
                    <a:lnTo>
                      <a:pt x="32" y="301"/>
                    </a:lnTo>
                    <a:lnTo>
                      <a:pt x="27" y="301"/>
                    </a:lnTo>
                    <a:lnTo>
                      <a:pt x="27" y="292"/>
                    </a:lnTo>
                    <a:lnTo>
                      <a:pt x="27" y="288"/>
                    </a:lnTo>
                    <a:lnTo>
                      <a:pt x="18" y="279"/>
                    </a:lnTo>
                    <a:lnTo>
                      <a:pt x="18" y="269"/>
                    </a:lnTo>
                    <a:lnTo>
                      <a:pt x="4" y="256"/>
                    </a:lnTo>
                    <a:lnTo>
                      <a:pt x="0" y="256"/>
                    </a:lnTo>
                    <a:lnTo>
                      <a:pt x="0" y="251"/>
                    </a:lnTo>
                    <a:lnTo>
                      <a:pt x="0" y="247"/>
                    </a:lnTo>
                    <a:lnTo>
                      <a:pt x="0" y="237"/>
                    </a:lnTo>
                    <a:lnTo>
                      <a:pt x="4" y="233"/>
                    </a:lnTo>
                    <a:lnTo>
                      <a:pt x="4" y="228"/>
                    </a:lnTo>
                    <a:lnTo>
                      <a:pt x="4" y="219"/>
                    </a:lnTo>
                    <a:lnTo>
                      <a:pt x="13" y="210"/>
                    </a:lnTo>
                    <a:lnTo>
                      <a:pt x="18" y="210"/>
                    </a:lnTo>
                    <a:lnTo>
                      <a:pt x="18" y="205"/>
                    </a:lnTo>
                    <a:close/>
                  </a:path>
                </a:pathLst>
              </a:custGeom>
              <a:solidFill>
                <a:srgbClr val="006301"/>
              </a:solid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Gombe</a:t>
                </a:r>
              </a:p>
            </p:txBody>
          </p:sp>
          <p:sp>
            <p:nvSpPr>
              <p:cNvPr id="202" name="Freeform 22">
                <a:extLst>
                  <a:ext uri="{FF2B5EF4-FFF2-40B4-BE49-F238E27FC236}">
                    <a16:creationId xmlns:a16="http://schemas.microsoft.com/office/drawing/2014/main" id="{3B8BBA03-4602-4D56-A710-C8FF914F5404}"/>
                  </a:ext>
                </a:extLst>
              </p:cNvPr>
              <p:cNvSpPr>
                <a:spLocks/>
              </p:cNvSpPr>
              <p:nvPr>
                <p:custDataLst>
                  <p:tags r:id="rId19"/>
                </p:custDataLst>
              </p:nvPr>
            </p:nvSpPr>
            <p:spPr bwMode="auto">
              <a:xfrm>
                <a:off x="2141199" y="5395223"/>
                <a:ext cx="407946" cy="366768"/>
              </a:xfrm>
              <a:custGeom>
                <a:avLst/>
                <a:gdLst/>
                <a:ahLst/>
                <a:cxnLst>
                  <a:cxn ang="0">
                    <a:pos x="292" y="105"/>
                  </a:cxn>
                  <a:cxn ang="0">
                    <a:pos x="306" y="119"/>
                  </a:cxn>
                  <a:cxn ang="0">
                    <a:pos x="306" y="133"/>
                  </a:cxn>
                  <a:cxn ang="0">
                    <a:pos x="306" y="151"/>
                  </a:cxn>
                  <a:cxn ang="0">
                    <a:pos x="297" y="160"/>
                  </a:cxn>
                  <a:cxn ang="0">
                    <a:pos x="288" y="174"/>
                  </a:cxn>
                  <a:cxn ang="0">
                    <a:pos x="283" y="188"/>
                  </a:cxn>
                  <a:cxn ang="0">
                    <a:pos x="274" y="197"/>
                  </a:cxn>
                  <a:cxn ang="0">
                    <a:pos x="260" y="220"/>
                  </a:cxn>
                  <a:cxn ang="0">
                    <a:pos x="260" y="229"/>
                  </a:cxn>
                  <a:cxn ang="0">
                    <a:pos x="256" y="243"/>
                  </a:cxn>
                  <a:cxn ang="0">
                    <a:pos x="247" y="252"/>
                  </a:cxn>
                  <a:cxn ang="0">
                    <a:pos x="238" y="270"/>
                  </a:cxn>
                  <a:cxn ang="0">
                    <a:pos x="238" y="288"/>
                  </a:cxn>
                  <a:cxn ang="0">
                    <a:pos x="224" y="297"/>
                  </a:cxn>
                  <a:cxn ang="0">
                    <a:pos x="206" y="288"/>
                  </a:cxn>
                  <a:cxn ang="0">
                    <a:pos x="196" y="293"/>
                  </a:cxn>
                  <a:cxn ang="0">
                    <a:pos x="183" y="293"/>
                  </a:cxn>
                  <a:cxn ang="0">
                    <a:pos x="164" y="288"/>
                  </a:cxn>
                  <a:cxn ang="0">
                    <a:pos x="146" y="288"/>
                  </a:cxn>
                  <a:cxn ang="0">
                    <a:pos x="128" y="288"/>
                  </a:cxn>
                  <a:cxn ang="0">
                    <a:pos x="110" y="288"/>
                  </a:cxn>
                  <a:cxn ang="0">
                    <a:pos x="87" y="284"/>
                  </a:cxn>
                  <a:cxn ang="0">
                    <a:pos x="73" y="284"/>
                  </a:cxn>
                  <a:cxn ang="0">
                    <a:pos x="64" y="270"/>
                  </a:cxn>
                  <a:cxn ang="0">
                    <a:pos x="59" y="261"/>
                  </a:cxn>
                  <a:cxn ang="0">
                    <a:pos x="46" y="252"/>
                  </a:cxn>
                  <a:cxn ang="0">
                    <a:pos x="41" y="243"/>
                  </a:cxn>
                  <a:cxn ang="0">
                    <a:pos x="41" y="233"/>
                  </a:cxn>
                  <a:cxn ang="0">
                    <a:pos x="46" y="220"/>
                  </a:cxn>
                  <a:cxn ang="0">
                    <a:pos x="50" y="197"/>
                  </a:cxn>
                  <a:cxn ang="0">
                    <a:pos x="50" y="188"/>
                  </a:cxn>
                  <a:cxn ang="0">
                    <a:pos x="36" y="192"/>
                  </a:cxn>
                  <a:cxn ang="0">
                    <a:pos x="14" y="188"/>
                  </a:cxn>
                  <a:cxn ang="0">
                    <a:pos x="0" y="179"/>
                  </a:cxn>
                  <a:cxn ang="0">
                    <a:pos x="9" y="160"/>
                  </a:cxn>
                  <a:cxn ang="0">
                    <a:pos x="18" y="137"/>
                  </a:cxn>
                  <a:cxn ang="0">
                    <a:pos x="18" y="128"/>
                  </a:cxn>
                  <a:cxn ang="0">
                    <a:pos x="23" y="115"/>
                  </a:cxn>
                  <a:cxn ang="0">
                    <a:pos x="18" y="83"/>
                  </a:cxn>
                  <a:cxn ang="0">
                    <a:pos x="36" y="64"/>
                  </a:cxn>
                  <a:cxn ang="0">
                    <a:pos x="55" y="64"/>
                  </a:cxn>
                  <a:cxn ang="0">
                    <a:pos x="87" y="73"/>
                  </a:cxn>
                  <a:cxn ang="0">
                    <a:pos x="100" y="64"/>
                  </a:cxn>
                  <a:cxn ang="0">
                    <a:pos x="119" y="51"/>
                  </a:cxn>
                  <a:cxn ang="0">
                    <a:pos x="119" y="28"/>
                  </a:cxn>
                  <a:cxn ang="0">
                    <a:pos x="123" y="19"/>
                  </a:cxn>
                  <a:cxn ang="0">
                    <a:pos x="137" y="14"/>
                  </a:cxn>
                  <a:cxn ang="0">
                    <a:pos x="174" y="9"/>
                  </a:cxn>
                  <a:cxn ang="0">
                    <a:pos x="210" y="14"/>
                  </a:cxn>
                  <a:cxn ang="0">
                    <a:pos x="233" y="9"/>
                  </a:cxn>
                  <a:cxn ang="0">
                    <a:pos x="247" y="5"/>
                  </a:cxn>
                  <a:cxn ang="0">
                    <a:pos x="260" y="14"/>
                  </a:cxn>
                  <a:cxn ang="0">
                    <a:pos x="279" y="19"/>
                  </a:cxn>
                  <a:cxn ang="0">
                    <a:pos x="292" y="23"/>
                  </a:cxn>
                  <a:cxn ang="0">
                    <a:pos x="297" y="37"/>
                  </a:cxn>
                  <a:cxn ang="0">
                    <a:pos x="302" y="51"/>
                  </a:cxn>
                  <a:cxn ang="0">
                    <a:pos x="302" y="73"/>
                  </a:cxn>
                  <a:cxn ang="0">
                    <a:pos x="302" y="92"/>
                  </a:cxn>
                  <a:cxn ang="0">
                    <a:pos x="297" y="101"/>
                  </a:cxn>
                </a:cxnLst>
                <a:rect l="0" t="0" r="r" b="b"/>
                <a:pathLst>
                  <a:path w="306" h="297">
                    <a:moveTo>
                      <a:pt x="288" y="96"/>
                    </a:moveTo>
                    <a:lnTo>
                      <a:pt x="288" y="101"/>
                    </a:lnTo>
                    <a:lnTo>
                      <a:pt x="292" y="105"/>
                    </a:lnTo>
                    <a:lnTo>
                      <a:pt x="297" y="110"/>
                    </a:lnTo>
                    <a:lnTo>
                      <a:pt x="297" y="110"/>
                    </a:lnTo>
                    <a:lnTo>
                      <a:pt x="306" y="119"/>
                    </a:lnTo>
                    <a:lnTo>
                      <a:pt x="306" y="124"/>
                    </a:lnTo>
                    <a:lnTo>
                      <a:pt x="306" y="128"/>
                    </a:lnTo>
                    <a:lnTo>
                      <a:pt x="306" y="133"/>
                    </a:lnTo>
                    <a:lnTo>
                      <a:pt x="306" y="133"/>
                    </a:lnTo>
                    <a:lnTo>
                      <a:pt x="306" y="147"/>
                    </a:lnTo>
                    <a:lnTo>
                      <a:pt x="306" y="151"/>
                    </a:lnTo>
                    <a:lnTo>
                      <a:pt x="302" y="151"/>
                    </a:lnTo>
                    <a:lnTo>
                      <a:pt x="297" y="156"/>
                    </a:lnTo>
                    <a:lnTo>
                      <a:pt x="297" y="160"/>
                    </a:lnTo>
                    <a:lnTo>
                      <a:pt x="292" y="169"/>
                    </a:lnTo>
                    <a:lnTo>
                      <a:pt x="288" y="174"/>
                    </a:lnTo>
                    <a:lnTo>
                      <a:pt x="288" y="174"/>
                    </a:lnTo>
                    <a:lnTo>
                      <a:pt x="283" y="179"/>
                    </a:lnTo>
                    <a:lnTo>
                      <a:pt x="283" y="183"/>
                    </a:lnTo>
                    <a:lnTo>
                      <a:pt x="283" y="188"/>
                    </a:lnTo>
                    <a:lnTo>
                      <a:pt x="283" y="192"/>
                    </a:lnTo>
                    <a:lnTo>
                      <a:pt x="279" y="197"/>
                    </a:lnTo>
                    <a:lnTo>
                      <a:pt x="274" y="197"/>
                    </a:lnTo>
                    <a:lnTo>
                      <a:pt x="270" y="201"/>
                    </a:lnTo>
                    <a:lnTo>
                      <a:pt x="265" y="215"/>
                    </a:lnTo>
                    <a:lnTo>
                      <a:pt x="260" y="220"/>
                    </a:lnTo>
                    <a:lnTo>
                      <a:pt x="260" y="220"/>
                    </a:lnTo>
                    <a:lnTo>
                      <a:pt x="260" y="224"/>
                    </a:lnTo>
                    <a:lnTo>
                      <a:pt x="260" y="229"/>
                    </a:lnTo>
                    <a:lnTo>
                      <a:pt x="260" y="233"/>
                    </a:lnTo>
                    <a:lnTo>
                      <a:pt x="256" y="238"/>
                    </a:lnTo>
                    <a:lnTo>
                      <a:pt x="256" y="243"/>
                    </a:lnTo>
                    <a:lnTo>
                      <a:pt x="251" y="243"/>
                    </a:lnTo>
                    <a:lnTo>
                      <a:pt x="247" y="247"/>
                    </a:lnTo>
                    <a:lnTo>
                      <a:pt x="247" y="252"/>
                    </a:lnTo>
                    <a:lnTo>
                      <a:pt x="242" y="261"/>
                    </a:lnTo>
                    <a:lnTo>
                      <a:pt x="242" y="265"/>
                    </a:lnTo>
                    <a:lnTo>
                      <a:pt x="238" y="270"/>
                    </a:lnTo>
                    <a:lnTo>
                      <a:pt x="238" y="279"/>
                    </a:lnTo>
                    <a:lnTo>
                      <a:pt x="238" y="284"/>
                    </a:lnTo>
                    <a:lnTo>
                      <a:pt x="238" y="288"/>
                    </a:lnTo>
                    <a:lnTo>
                      <a:pt x="238" y="293"/>
                    </a:lnTo>
                    <a:lnTo>
                      <a:pt x="228" y="297"/>
                    </a:lnTo>
                    <a:lnTo>
                      <a:pt x="224" y="297"/>
                    </a:lnTo>
                    <a:lnTo>
                      <a:pt x="215" y="293"/>
                    </a:lnTo>
                    <a:lnTo>
                      <a:pt x="210" y="293"/>
                    </a:lnTo>
                    <a:lnTo>
                      <a:pt x="206" y="288"/>
                    </a:lnTo>
                    <a:lnTo>
                      <a:pt x="201" y="288"/>
                    </a:lnTo>
                    <a:lnTo>
                      <a:pt x="196" y="293"/>
                    </a:lnTo>
                    <a:lnTo>
                      <a:pt x="196" y="293"/>
                    </a:lnTo>
                    <a:lnTo>
                      <a:pt x="187" y="288"/>
                    </a:lnTo>
                    <a:lnTo>
                      <a:pt x="187" y="293"/>
                    </a:lnTo>
                    <a:lnTo>
                      <a:pt x="183" y="293"/>
                    </a:lnTo>
                    <a:lnTo>
                      <a:pt x="178" y="288"/>
                    </a:lnTo>
                    <a:lnTo>
                      <a:pt x="169" y="288"/>
                    </a:lnTo>
                    <a:lnTo>
                      <a:pt x="164" y="288"/>
                    </a:lnTo>
                    <a:lnTo>
                      <a:pt x="160" y="288"/>
                    </a:lnTo>
                    <a:lnTo>
                      <a:pt x="155" y="288"/>
                    </a:lnTo>
                    <a:lnTo>
                      <a:pt x="146" y="288"/>
                    </a:lnTo>
                    <a:lnTo>
                      <a:pt x="137" y="288"/>
                    </a:lnTo>
                    <a:lnTo>
                      <a:pt x="132" y="288"/>
                    </a:lnTo>
                    <a:lnTo>
                      <a:pt x="128" y="288"/>
                    </a:lnTo>
                    <a:lnTo>
                      <a:pt x="123" y="288"/>
                    </a:lnTo>
                    <a:lnTo>
                      <a:pt x="110" y="288"/>
                    </a:lnTo>
                    <a:lnTo>
                      <a:pt x="110" y="288"/>
                    </a:lnTo>
                    <a:lnTo>
                      <a:pt x="105" y="288"/>
                    </a:lnTo>
                    <a:lnTo>
                      <a:pt x="91" y="288"/>
                    </a:lnTo>
                    <a:lnTo>
                      <a:pt x="87" y="284"/>
                    </a:lnTo>
                    <a:lnTo>
                      <a:pt x="82" y="284"/>
                    </a:lnTo>
                    <a:lnTo>
                      <a:pt x="78" y="284"/>
                    </a:lnTo>
                    <a:lnTo>
                      <a:pt x="73" y="284"/>
                    </a:lnTo>
                    <a:lnTo>
                      <a:pt x="68" y="279"/>
                    </a:lnTo>
                    <a:lnTo>
                      <a:pt x="64" y="270"/>
                    </a:lnTo>
                    <a:lnTo>
                      <a:pt x="64" y="270"/>
                    </a:lnTo>
                    <a:lnTo>
                      <a:pt x="64" y="265"/>
                    </a:lnTo>
                    <a:lnTo>
                      <a:pt x="59" y="265"/>
                    </a:lnTo>
                    <a:lnTo>
                      <a:pt x="59" y="261"/>
                    </a:lnTo>
                    <a:lnTo>
                      <a:pt x="55" y="261"/>
                    </a:lnTo>
                    <a:lnTo>
                      <a:pt x="50" y="256"/>
                    </a:lnTo>
                    <a:lnTo>
                      <a:pt x="46" y="252"/>
                    </a:lnTo>
                    <a:lnTo>
                      <a:pt x="41" y="247"/>
                    </a:lnTo>
                    <a:lnTo>
                      <a:pt x="41" y="247"/>
                    </a:lnTo>
                    <a:lnTo>
                      <a:pt x="41" y="243"/>
                    </a:lnTo>
                    <a:lnTo>
                      <a:pt x="41" y="243"/>
                    </a:lnTo>
                    <a:lnTo>
                      <a:pt x="41" y="238"/>
                    </a:lnTo>
                    <a:lnTo>
                      <a:pt x="41" y="233"/>
                    </a:lnTo>
                    <a:lnTo>
                      <a:pt x="41" y="229"/>
                    </a:lnTo>
                    <a:lnTo>
                      <a:pt x="46" y="229"/>
                    </a:lnTo>
                    <a:lnTo>
                      <a:pt x="46" y="220"/>
                    </a:lnTo>
                    <a:lnTo>
                      <a:pt x="46" y="220"/>
                    </a:lnTo>
                    <a:lnTo>
                      <a:pt x="46" y="211"/>
                    </a:lnTo>
                    <a:lnTo>
                      <a:pt x="50" y="197"/>
                    </a:lnTo>
                    <a:lnTo>
                      <a:pt x="55" y="197"/>
                    </a:lnTo>
                    <a:lnTo>
                      <a:pt x="55" y="192"/>
                    </a:lnTo>
                    <a:lnTo>
                      <a:pt x="50" y="188"/>
                    </a:lnTo>
                    <a:lnTo>
                      <a:pt x="46" y="188"/>
                    </a:lnTo>
                    <a:lnTo>
                      <a:pt x="41" y="188"/>
                    </a:lnTo>
                    <a:lnTo>
                      <a:pt x="36" y="192"/>
                    </a:lnTo>
                    <a:lnTo>
                      <a:pt x="27" y="188"/>
                    </a:lnTo>
                    <a:lnTo>
                      <a:pt x="18" y="188"/>
                    </a:lnTo>
                    <a:lnTo>
                      <a:pt x="14" y="188"/>
                    </a:lnTo>
                    <a:lnTo>
                      <a:pt x="0" y="188"/>
                    </a:lnTo>
                    <a:lnTo>
                      <a:pt x="0" y="183"/>
                    </a:lnTo>
                    <a:lnTo>
                      <a:pt x="0" y="179"/>
                    </a:lnTo>
                    <a:lnTo>
                      <a:pt x="4" y="174"/>
                    </a:lnTo>
                    <a:lnTo>
                      <a:pt x="9" y="165"/>
                    </a:lnTo>
                    <a:lnTo>
                      <a:pt x="9" y="160"/>
                    </a:lnTo>
                    <a:lnTo>
                      <a:pt x="14" y="151"/>
                    </a:lnTo>
                    <a:lnTo>
                      <a:pt x="18" y="142"/>
                    </a:lnTo>
                    <a:lnTo>
                      <a:pt x="18" y="137"/>
                    </a:lnTo>
                    <a:lnTo>
                      <a:pt x="18" y="133"/>
                    </a:lnTo>
                    <a:lnTo>
                      <a:pt x="18" y="133"/>
                    </a:lnTo>
                    <a:lnTo>
                      <a:pt x="18" y="128"/>
                    </a:lnTo>
                    <a:lnTo>
                      <a:pt x="18" y="124"/>
                    </a:lnTo>
                    <a:lnTo>
                      <a:pt x="18" y="119"/>
                    </a:lnTo>
                    <a:lnTo>
                      <a:pt x="23" y="115"/>
                    </a:lnTo>
                    <a:lnTo>
                      <a:pt x="23" y="105"/>
                    </a:lnTo>
                    <a:lnTo>
                      <a:pt x="23" y="101"/>
                    </a:lnTo>
                    <a:lnTo>
                      <a:pt x="18" y="83"/>
                    </a:lnTo>
                    <a:lnTo>
                      <a:pt x="18" y="78"/>
                    </a:lnTo>
                    <a:lnTo>
                      <a:pt x="23" y="69"/>
                    </a:lnTo>
                    <a:lnTo>
                      <a:pt x="36" y="64"/>
                    </a:lnTo>
                    <a:lnTo>
                      <a:pt x="46" y="64"/>
                    </a:lnTo>
                    <a:lnTo>
                      <a:pt x="55" y="64"/>
                    </a:lnTo>
                    <a:lnTo>
                      <a:pt x="55" y="64"/>
                    </a:lnTo>
                    <a:lnTo>
                      <a:pt x="64" y="64"/>
                    </a:lnTo>
                    <a:lnTo>
                      <a:pt x="78" y="69"/>
                    </a:lnTo>
                    <a:lnTo>
                      <a:pt x="87" y="73"/>
                    </a:lnTo>
                    <a:lnTo>
                      <a:pt x="96" y="73"/>
                    </a:lnTo>
                    <a:lnTo>
                      <a:pt x="96" y="73"/>
                    </a:lnTo>
                    <a:lnTo>
                      <a:pt x="100" y="64"/>
                    </a:lnTo>
                    <a:lnTo>
                      <a:pt x="110" y="60"/>
                    </a:lnTo>
                    <a:lnTo>
                      <a:pt x="110" y="55"/>
                    </a:lnTo>
                    <a:lnTo>
                      <a:pt x="119" y="51"/>
                    </a:lnTo>
                    <a:lnTo>
                      <a:pt x="123" y="41"/>
                    </a:lnTo>
                    <a:lnTo>
                      <a:pt x="123" y="37"/>
                    </a:lnTo>
                    <a:lnTo>
                      <a:pt x="119" y="28"/>
                    </a:lnTo>
                    <a:lnTo>
                      <a:pt x="119" y="23"/>
                    </a:lnTo>
                    <a:lnTo>
                      <a:pt x="114" y="23"/>
                    </a:lnTo>
                    <a:lnTo>
                      <a:pt x="123" y="19"/>
                    </a:lnTo>
                    <a:lnTo>
                      <a:pt x="128" y="19"/>
                    </a:lnTo>
                    <a:lnTo>
                      <a:pt x="132" y="19"/>
                    </a:lnTo>
                    <a:lnTo>
                      <a:pt x="137" y="14"/>
                    </a:lnTo>
                    <a:lnTo>
                      <a:pt x="151" y="14"/>
                    </a:lnTo>
                    <a:lnTo>
                      <a:pt x="169" y="9"/>
                    </a:lnTo>
                    <a:lnTo>
                      <a:pt x="174" y="9"/>
                    </a:lnTo>
                    <a:lnTo>
                      <a:pt x="187" y="14"/>
                    </a:lnTo>
                    <a:lnTo>
                      <a:pt x="196" y="14"/>
                    </a:lnTo>
                    <a:lnTo>
                      <a:pt x="210" y="14"/>
                    </a:lnTo>
                    <a:lnTo>
                      <a:pt x="219" y="14"/>
                    </a:lnTo>
                    <a:lnTo>
                      <a:pt x="219" y="14"/>
                    </a:lnTo>
                    <a:lnTo>
                      <a:pt x="233" y="9"/>
                    </a:lnTo>
                    <a:lnTo>
                      <a:pt x="238" y="5"/>
                    </a:lnTo>
                    <a:lnTo>
                      <a:pt x="242" y="0"/>
                    </a:lnTo>
                    <a:lnTo>
                      <a:pt x="247" y="5"/>
                    </a:lnTo>
                    <a:lnTo>
                      <a:pt x="251" y="5"/>
                    </a:lnTo>
                    <a:lnTo>
                      <a:pt x="256" y="9"/>
                    </a:lnTo>
                    <a:lnTo>
                      <a:pt x="260" y="14"/>
                    </a:lnTo>
                    <a:lnTo>
                      <a:pt x="265" y="19"/>
                    </a:lnTo>
                    <a:lnTo>
                      <a:pt x="270" y="19"/>
                    </a:lnTo>
                    <a:lnTo>
                      <a:pt x="279" y="19"/>
                    </a:lnTo>
                    <a:lnTo>
                      <a:pt x="283" y="23"/>
                    </a:lnTo>
                    <a:lnTo>
                      <a:pt x="288" y="23"/>
                    </a:lnTo>
                    <a:lnTo>
                      <a:pt x="292" y="23"/>
                    </a:lnTo>
                    <a:lnTo>
                      <a:pt x="292" y="28"/>
                    </a:lnTo>
                    <a:lnTo>
                      <a:pt x="297" y="28"/>
                    </a:lnTo>
                    <a:lnTo>
                      <a:pt x="297" y="37"/>
                    </a:lnTo>
                    <a:lnTo>
                      <a:pt x="302" y="41"/>
                    </a:lnTo>
                    <a:lnTo>
                      <a:pt x="302" y="41"/>
                    </a:lnTo>
                    <a:lnTo>
                      <a:pt x="302" y="51"/>
                    </a:lnTo>
                    <a:lnTo>
                      <a:pt x="302" y="64"/>
                    </a:lnTo>
                    <a:lnTo>
                      <a:pt x="302" y="64"/>
                    </a:lnTo>
                    <a:lnTo>
                      <a:pt x="302" y="73"/>
                    </a:lnTo>
                    <a:lnTo>
                      <a:pt x="302" y="83"/>
                    </a:lnTo>
                    <a:lnTo>
                      <a:pt x="302" y="87"/>
                    </a:lnTo>
                    <a:lnTo>
                      <a:pt x="302" y="92"/>
                    </a:lnTo>
                    <a:lnTo>
                      <a:pt x="302" y="96"/>
                    </a:lnTo>
                    <a:lnTo>
                      <a:pt x="302" y="101"/>
                    </a:lnTo>
                    <a:lnTo>
                      <a:pt x="297" y="101"/>
                    </a:lnTo>
                    <a:lnTo>
                      <a:pt x="292" y="96"/>
                    </a:lnTo>
                    <a:lnTo>
                      <a:pt x="288" y="96"/>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203" name="Freeform 23">
                <a:extLst>
                  <a:ext uri="{FF2B5EF4-FFF2-40B4-BE49-F238E27FC236}">
                    <a16:creationId xmlns:a16="http://schemas.microsoft.com/office/drawing/2014/main" id="{77D607BC-0977-472B-BB95-B0D805C7107D}"/>
                  </a:ext>
                </a:extLst>
              </p:cNvPr>
              <p:cNvSpPr>
                <a:spLocks/>
              </p:cNvSpPr>
              <p:nvPr>
                <p:custDataLst>
                  <p:tags r:id="rId20"/>
                </p:custDataLst>
              </p:nvPr>
            </p:nvSpPr>
            <p:spPr bwMode="auto">
              <a:xfrm>
                <a:off x="2931366" y="2160448"/>
                <a:ext cx="1230319" cy="982283"/>
              </a:xfrm>
              <a:custGeom>
                <a:avLst/>
                <a:gdLst/>
                <a:ahLst/>
                <a:cxnLst>
                  <a:cxn ang="0">
                    <a:pos x="755" y="375"/>
                  </a:cxn>
                  <a:cxn ang="0">
                    <a:pos x="704" y="407"/>
                  </a:cxn>
                  <a:cxn ang="0">
                    <a:pos x="645" y="434"/>
                  </a:cxn>
                  <a:cxn ang="0">
                    <a:pos x="590" y="457"/>
                  </a:cxn>
                  <a:cxn ang="0">
                    <a:pos x="558" y="489"/>
                  </a:cxn>
                  <a:cxn ang="0">
                    <a:pos x="604" y="494"/>
                  </a:cxn>
                  <a:cxn ang="0">
                    <a:pos x="631" y="526"/>
                  </a:cxn>
                  <a:cxn ang="0">
                    <a:pos x="622" y="576"/>
                  </a:cxn>
                  <a:cxn ang="0">
                    <a:pos x="645" y="603"/>
                  </a:cxn>
                  <a:cxn ang="0">
                    <a:pos x="668" y="649"/>
                  </a:cxn>
                  <a:cxn ang="0">
                    <a:pos x="732" y="676"/>
                  </a:cxn>
                  <a:cxn ang="0">
                    <a:pos x="823" y="699"/>
                  </a:cxn>
                  <a:cxn ang="0">
                    <a:pos x="819" y="727"/>
                  </a:cxn>
                  <a:cxn ang="0">
                    <a:pos x="755" y="754"/>
                  </a:cxn>
                  <a:cxn ang="0">
                    <a:pos x="759" y="795"/>
                  </a:cxn>
                  <a:cxn ang="0">
                    <a:pos x="677" y="786"/>
                  </a:cxn>
                  <a:cxn ang="0">
                    <a:pos x="654" y="718"/>
                  </a:cxn>
                  <a:cxn ang="0">
                    <a:pos x="618" y="676"/>
                  </a:cxn>
                  <a:cxn ang="0">
                    <a:pos x="554" y="681"/>
                  </a:cxn>
                  <a:cxn ang="0">
                    <a:pos x="522" y="654"/>
                  </a:cxn>
                  <a:cxn ang="0">
                    <a:pos x="467" y="649"/>
                  </a:cxn>
                  <a:cxn ang="0">
                    <a:pos x="426" y="631"/>
                  </a:cxn>
                  <a:cxn ang="0">
                    <a:pos x="448" y="590"/>
                  </a:cxn>
                  <a:cxn ang="0">
                    <a:pos x="453" y="558"/>
                  </a:cxn>
                  <a:cxn ang="0">
                    <a:pos x="416" y="516"/>
                  </a:cxn>
                  <a:cxn ang="0">
                    <a:pos x="394" y="503"/>
                  </a:cxn>
                  <a:cxn ang="0">
                    <a:pos x="394" y="457"/>
                  </a:cxn>
                  <a:cxn ang="0">
                    <a:pos x="407" y="393"/>
                  </a:cxn>
                  <a:cxn ang="0">
                    <a:pos x="384" y="370"/>
                  </a:cxn>
                  <a:cxn ang="0">
                    <a:pos x="362" y="370"/>
                  </a:cxn>
                  <a:cxn ang="0">
                    <a:pos x="298" y="356"/>
                  </a:cxn>
                  <a:cxn ang="0">
                    <a:pos x="316" y="324"/>
                  </a:cxn>
                  <a:cxn ang="0">
                    <a:pos x="288" y="283"/>
                  </a:cxn>
                  <a:cxn ang="0">
                    <a:pos x="238" y="260"/>
                  </a:cxn>
                  <a:cxn ang="0">
                    <a:pos x="229" y="228"/>
                  </a:cxn>
                  <a:cxn ang="0">
                    <a:pos x="215" y="187"/>
                  </a:cxn>
                  <a:cxn ang="0">
                    <a:pos x="165" y="174"/>
                  </a:cxn>
                  <a:cxn ang="0">
                    <a:pos x="119" y="174"/>
                  </a:cxn>
                  <a:cxn ang="0">
                    <a:pos x="87" y="224"/>
                  </a:cxn>
                  <a:cxn ang="0">
                    <a:pos x="74" y="206"/>
                  </a:cxn>
                  <a:cxn ang="0">
                    <a:pos x="37" y="174"/>
                  </a:cxn>
                  <a:cxn ang="0">
                    <a:pos x="0" y="119"/>
                  </a:cxn>
                  <a:cxn ang="0">
                    <a:pos x="32" y="73"/>
                  </a:cxn>
                  <a:cxn ang="0">
                    <a:pos x="92" y="82"/>
                  </a:cxn>
                  <a:cxn ang="0">
                    <a:pos x="160" y="96"/>
                  </a:cxn>
                  <a:cxn ang="0">
                    <a:pos x="192" y="132"/>
                  </a:cxn>
                  <a:cxn ang="0">
                    <a:pos x="279" y="128"/>
                  </a:cxn>
                  <a:cxn ang="0">
                    <a:pos x="302" y="100"/>
                  </a:cxn>
                  <a:cxn ang="0">
                    <a:pos x="348" y="68"/>
                  </a:cxn>
                  <a:cxn ang="0">
                    <a:pos x="403" y="73"/>
                  </a:cxn>
                  <a:cxn ang="0">
                    <a:pos x="448" y="78"/>
                  </a:cxn>
                  <a:cxn ang="0">
                    <a:pos x="526" y="82"/>
                  </a:cxn>
                  <a:cxn ang="0">
                    <a:pos x="604" y="87"/>
                  </a:cxn>
                  <a:cxn ang="0">
                    <a:pos x="659" y="68"/>
                  </a:cxn>
                  <a:cxn ang="0">
                    <a:pos x="695" y="23"/>
                  </a:cxn>
                  <a:cxn ang="0">
                    <a:pos x="759" y="0"/>
                  </a:cxn>
                  <a:cxn ang="0">
                    <a:pos x="796" y="64"/>
                  </a:cxn>
                  <a:cxn ang="0">
                    <a:pos x="828" y="82"/>
                  </a:cxn>
                  <a:cxn ang="0">
                    <a:pos x="901" y="87"/>
                  </a:cxn>
                  <a:cxn ang="0">
                    <a:pos x="910" y="201"/>
                  </a:cxn>
                  <a:cxn ang="0">
                    <a:pos x="874" y="233"/>
                  </a:cxn>
                  <a:cxn ang="0">
                    <a:pos x="810" y="233"/>
                  </a:cxn>
                  <a:cxn ang="0">
                    <a:pos x="778" y="260"/>
                  </a:cxn>
                </a:cxnLst>
                <a:rect l="0" t="0" r="r" b="b"/>
                <a:pathLst>
                  <a:path w="924" h="795">
                    <a:moveTo>
                      <a:pt x="773" y="265"/>
                    </a:moveTo>
                    <a:lnTo>
                      <a:pt x="773" y="270"/>
                    </a:lnTo>
                    <a:lnTo>
                      <a:pt x="768" y="279"/>
                    </a:lnTo>
                    <a:lnTo>
                      <a:pt x="764" y="288"/>
                    </a:lnTo>
                    <a:lnTo>
                      <a:pt x="764" y="302"/>
                    </a:lnTo>
                    <a:lnTo>
                      <a:pt x="759" y="306"/>
                    </a:lnTo>
                    <a:lnTo>
                      <a:pt x="759" y="334"/>
                    </a:lnTo>
                    <a:lnTo>
                      <a:pt x="759" y="356"/>
                    </a:lnTo>
                    <a:lnTo>
                      <a:pt x="755" y="366"/>
                    </a:lnTo>
                    <a:lnTo>
                      <a:pt x="755" y="370"/>
                    </a:lnTo>
                    <a:lnTo>
                      <a:pt x="755" y="370"/>
                    </a:lnTo>
                    <a:lnTo>
                      <a:pt x="755" y="375"/>
                    </a:lnTo>
                    <a:lnTo>
                      <a:pt x="750" y="384"/>
                    </a:lnTo>
                    <a:lnTo>
                      <a:pt x="746" y="388"/>
                    </a:lnTo>
                    <a:lnTo>
                      <a:pt x="741" y="393"/>
                    </a:lnTo>
                    <a:lnTo>
                      <a:pt x="736" y="393"/>
                    </a:lnTo>
                    <a:lnTo>
                      <a:pt x="736" y="398"/>
                    </a:lnTo>
                    <a:lnTo>
                      <a:pt x="732" y="398"/>
                    </a:lnTo>
                    <a:lnTo>
                      <a:pt x="732" y="398"/>
                    </a:lnTo>
                    <a:lnTo>
                      <a:pt x="727" y="402"/>
                    </a:lnTo>
                    <a:lnTo>
                      <a:pt x="718" y="402"/>
                    </a:lnTo>
                    <a:lnTo>
                      <a:pt x="714" y="407"/>
                    </a:lnTo>
                    <a:lnTo>
                      <a:pt x="709" y="407"/>
                    </a:lnTo>
                    <a:lnTo>
                      <a:pt x="704" y="407"/>
                    </a:lnTo>
                    <a:lnTo>
                      <a:pt x="700" y="411"/>
                    </a:lnTo>
                    <a:lnTo>
                      <a:pt x="695" y="411"/>
                    </a:lnTo>
                    <a:lnTo>
                      <a:pt x="691" y="416"/>
                    </a:lnTo>
                    <a:lnTo>
                      <a:pt x="691" y="416"/>
                    </a:lnTo>
                    <a:lnTo>
                      <a:pt x="686" y="416"/>
                    </a:lnTo>
                    <a:lnTo>
                      <a:pt x="682" y="416"/>
                    </a:lnTo>
                    <a:lnTo>
                      <a:pt x="677" y="420"/>
                    </a:lnTo>
                    <a:lnTo>
                      <a:pt x="672" y="420"/>
                    </a:lnTo>
                    <a:lnTo>
                      <a:pt x="668" y="425"/>
                    </a:lnTo>
                    <a:lnTo>
                      <a:pt x="668" y="425"/>
                    </a:lnTo>
                    <a:lnTo>
                      <a:pt x="659" y="430"/>
                    </a:lnTo>
                    <a:lnTo>
                      <a:pt x="645" y="434"/>
                    </a:lnTo>
                    <a:lnTo>
                      <a:pt x="640" y="434"/>
                    </a:lnTo>
                    <a:lnTo>
                      <a:pt x="636" y="439"/>
                    </a:lnTo>
                    <a:lnTo>
                      <a:pt x="631" y="439"/>
                    </a:lnTo>
                    <a:lnTo>
                      <a:pt x="627" y="443"/>
                    </a:lnTo>
                    <a:lnTo>
                      <a:pt x="622" y="443"/>
                    </a:lnTo>
                    <a:lnTo>
                      <a:pt x="618" y="443"/>
                    </a:lnTo>
                    <a:lnTo>
                      <a:pt x="613" y="443"/>
                    </a:lnTo>
                    <a:lnTo>
                      <a:pt x="604" y="448"/>
                    </a:lnTo>
                    <a:lnTo>
                      <a:pt x="604" y="448"/>
                    </a:lnTo>
                    <a:lnTo>
                      <a:pt x="599" y="448"/>
                    </a:lnTo>
                    <a:lnTo>
                      <a:pt x="595" y="452"/>
                    </a:lnTo>
                    <a:lnTo>
                      <a:pt x="590" y="457"/>
                    </a:lnTo>
                    <a:lnTo>
                      <a:pt x="586" y="457"/>
                    </a:lnTo>
                    <a:lnTo>
                      <a:pt x="581" y="457"/>
                    </a:lnTo>
                    <a:lnTo>
                      <a:pt x="581" y="462"/>
                    </a:lnTo>
                    <a:lnTo>
                      <a:pt x="581" y="466"/>
                    </a:lnTo>
                    <a:lnTo>
                      <a:pt x="581" y="471"/>
                    </a:lnTo>
                    <a:lnTo>
                      <a:pt x="576" y="471"/>
                    </a:lnTo>
                    <a:lnTo>
                      <a:pt x="572" y="475"/>
                    </a:lnTo>
                    <a:lnTo>
                      <a:pt x="567" y="480"/>
                    </a:lnTo>
                    <a:lnTo>
                      <a:pt x="563" y="480"/>
                    </a:lnTo>
                    <a:lnTo>
                      <a:pt x="563" y="480"/>
                    </a:lnTo>
                    <a:lnTo>
                      <a:pt x="558" y="480"/>
                    </a:lnTo>
                    <a:lnTo>
                      <a:pt x="558" y="489"/>
                    </a:lnTo>
                    <a:lnTo>
                      <a:pt x="558" y="494"/>
                    </a:lnTo>
                    <a:lnTo>
                      <a:pt x="563" y="498"/>
                    </a:lnTo>
                    <a:lnTo>
                      <a:pt x="563" y="503"/>
                    </a:lnTo>
                    <a:lnTo>
                      <a:pt x="567" y="503"/>
                    </a:lnTo>
                    <a:lnTo>
                      <a:pt x="572" y="503"/>
                    </a:lnTo>
                    <a:lnTo>
                      <a:pt x="576" y="503"/>
                    </a:lnTo>
                    <a:lnTo>
                      <a:pt x="581" y="503"/>
                    </a:lnTo>
                    <a:lnTo>
                      <a:pt x="586" y="498"/>
                    </a:lnTo>
                    <a:lnTo>
                      <a:pt x="590" y="498"/>
                    </a:lnTo>
                    <a:lnTo>
                      <a:pt x="595" y="498"/>
                    </a:lnTo>
                    <a:lnTo>
                      <a:pt x="599" y="498"/>
                    </a:lnTo>
                    <a:lnTo>
                      <a:pt x="604" y="494"/>
                    </a:lnTo>
                    <a:lnTo>
                      <a:pt x="604" y="494"/>
                    </a:lnTo>
                    <a:lnTo>
                      <a:pt x="608" y="494"/>
                    </a:lnTo>
                    <a:lnTo>
                      <a:pt x="613" y="494"/>
                    </a:lnTo>
                    <a:lnTo>
                      <a:pt x="618" y="498"/>
                    </a:lnTo>
                    <a:lnTo>
                      <a:pt x="622" y="503"/>
                    </a:lnTo>
                    <a:lnTo>
                      <a:pt x="622" y="503"/>
                    </a:lnTo>
                    <a:lnTo>
                      <a:pt x="622" y="507"/>
                    </a:lnTo>
                    <a:lnTo>
                      <a:pt x="627" y="512"/>
                    </a:lnTo>
                    <a:lnTo>
                      <a:pt x="627" y="516"/>
                    </a:lnTo>
                    <a:lnTo>
                      <a:pt x="631" y="521"/>
                    </a:lnTo>
                    <a:lnTo>
                      <a:pt x="631" y="526"/>
                    </a:lnTo>
                    <a:lnTo>
                      <a:pt x="631" y="526"/>
                    </a:lnTo>
                    <a:lnTo>
                      <a:pt x="631" y="530"/>
                    </a:lnTo>
                    <a:lnTo>
                      <a:pt x="636" y="535"/>
                    </a:lnTo>
                    <a:lnTo>
                      <a:pt x="631" y="544"/>
                    </a:lnTo>
                    <a:lnTo>
                      <a:pt x="631" y="548"/>
                    </a:lnTo>
                    <a:lnTo>
                      <a:pt x="631" y="558"/>
                    </a:lnTo>
                    <a:lnTo>
                      <a:pt x="627" y="562"/>
                    </a:lnTo>
                    <a:lnTo>
                      <a:pt x="627" y="567"/>
                    </a:lnTo>
                    <a:lnTo>
                      <a:pt x="627" y="567"/>
                    </a:lnTo>
                    <a:lnTo>
                      <a:pt x="622" y="567"/>
                    </a:lnTo>
                    <a:lnTo>
                      <a:pt x="622" y="571"/>
                    </a:lnTo>
                    <a:lnTo>
                      <a:pt x="622" y="576"/>
                    </a:lnTo>
                    <a:lnTo>
                      <a:pt x="622" y="576"/>
                    </a:lnTo>
                    <a:lnTo>
                      <a:pt x="622" y="580"/>
                    </a:lnTo>
                    <a:lnTo>
                      <a:pt x="622" y="585"/>
                    </a:lnTo>
                    <a:lnTo>
                      <a:pt x="622" y="590"/>
                    </a:lnTo>
                    <a:lnTo>
                      <a:pt x="622" y="590"/>
                    </a:lnTo>
                    <a:lnTo>
                      <a:pt x="622" y="594"/>
                    </a:lnTo>
                    <a:lnTo>
                      <a:pt x="622" y="594"/>
                    </a:lnTo>
                    <a:lnTo>
                      <a:pt x="622" y="599"/>
                    </a:lnTo>
                    <a:lnTo>
                      <a:pt x="627" y="599"/>
                    </a:lnTo>
                    <a:lnTo>
                      <a:pt x="627" y="603"/>
                    </a:lnTo>
                    <a:lnTo>
                      <a:pt x="636" y="603"/>
                    </a:lnTo>
                    <a:lnTo>
                      <a:pt x="640" y="603"/>
                    </a:lnTo>
                    <a:lnTo>
                      <a:pt x="645" y="603"/>
                    </a:lnTo>
                    <a:lnTo>
                      <a:pt x="645" y="608"/>
                    </a:lnTo>
                    <a:lnTo>
                      <a:pt x="645" y="612"/>
                    </a:lnTo>
                    <a:lnTo>
                      <a:pt x="645" y="612"/>
                    </a:lnTo>
                    <a:lnTo>
                      <a:pt x="650" y="612"/>
                    </a:lnTo>
                    <a:lnTo>
                      <a:pt x="659" y="631"/>
                    </a:lnTo>
                    <a:lnTo>
                      <a:pt x="659" y="635"/>
                    </a:lnTo>
                    <a:lnTo>
                      <a:pt x="663" y="635"/>
                    </a:lnTo>
                    <a:lnTo>
                      <a:pt x="663" y="635"/>
                    </a:lnTo>
                    <a:lnTo>
                      <a:pt x="663" y="640"/>
                    </a:lnTo>
                    <a:lnTo>
                      <a:pt x="668" y="640"/>
                    </a:lnTo>
                    <a:lnTo>
                      <a:pt x="668" y="644"/>
                    </a:lnTo>
                    <a:lnTo>
                      <a:pt x="668" y="649"/>
                    </a:lnTo>
                    <a:lnTo>
                      <a:pt x="668" y="654"/>
                    </a:lnTo>
                    <a:lnTo>
                      <a:pt x="672" y="654"/>
                    </a:lnTo>
                    <a:lnTo>
                      <a:pt x="677" y="658"/>
                    </a:lnTo>
                    <a:lnTo>
                      <a:pt x="677" y="663"/>
                    </a:lnTo>
                    <a:lnTo>
                      <a:pt x="682" y="667"/>
                    </a:lnTo>
                    <a:lnTo>
                      <a:pt x="686" y="672"/>
                    </a:lnTo>
                    <a:lnTo>
                      <a:pt x="695" y="676"/>
                    </a:lnTo>
                    <a:lnTo>
                      <a:pt x="700" y="676"/>
                    </a:lnTo>
                    <a:lnTo>
                      <a:pt x="714" y="676"/>
                    </a:lnTo>
                    <a:lnTo>
                      <a:pt x="714" y="676"/>
                    </a:lnTo>
                    <a:lnTo>
                      <a:pt x="723" y="676"/>
                    </a:lnTo>
                    <a:lnTo>
                      <a:pt x="732" y="676"/>
                    </a:lnTo>
                    <a:lnTo>
                      <a:pt x="736" y="676"/>
                    </a:lnTo>
                    <a:lnTo>
                      <a:pt x="750" y="681"/>
                    </a:lnTo>
                    <a:lnTo>
                      <a:pt x="759" y="686"/>
                    </a:lnTo>
                    <a:lnTo>
                      <a:pt x="768" y="686"/>
                    </a:lnTo>
                    <a:lnTo>
                      <a:pt x="778" y="690"/>
                    </a:lnTo>
                    <a:lnTo>
                      <a:pt x="782" y="690"/>
                    </a:lnTo>
                    <a:lnTo>
                      <a:pt x="796" y="695"/>
                    </a:lnTo>
                    <a:lnTo>
                      <a:pt x="800" y="695"/>
                    </a:lnTo>
                    <a:lnTo>
                      <a:pt x="805" y="695"/>
                    </a:lnTo>
                    <a:lnTo>
                      <a:pt x="810" y="699"/>
                    </a:lnTo>
                    <a:lnTo>
                      <a:pt x="814" y="699"/>
                    </a:lnTo>
                    <a:lnTo>
                      <a:pt x="823" y="699"/>
                    </a:lnTo>
                    <a:lnTo>
                      <a:pt x="823" y="699"/>
                    </a:lnTo>
                    <a:lnTo>
                      <a:pt x="828" y="699"/>
                    </a:lnTo>
                    <a:lnTo>
                      <a:pt x="832" y="704"/>
                    </a:lnTo>
                    <a:lnTo>
                      <a:pt x="832" y="708"/>
                    </a:lnTo>
                    <a:lnTo>
                      <a:pt x="828" y="708"/>
                    </a:lnTo>
                    <a:lnTo>
                      <a:pt x="828" y="713"/>
                    </a:lnTo>
                    <a:lnTo>
                      <a:pt x="828" y="718"/>
                    </a:lnTo>
                    <a:lnTo>
                      <a:pt x="823" y="718"/>
                    </a:lnTo>
                    <a:lnTo>
                      <a:pt x="823" y="722"/>
                    </a:lnTo>
                    <a:lnTo>
                      <a:pt x="823" y="722"/>
                    </a:lnTo>
                    <a:lnTo>
                      <a:pt x="823" y="722"/>
                    </a:lnTo>
                    <a:lnTo>
                      <a:pt x="819" y="727"/>
                    </a:lnTo>
                    <a:lnTo>
                      <a:pt x="814" y="731"/>
                    </a:lnTo>
                    <a:lnTo>
                      <a:pt x="810" y="736"/>
                    </a:lnTo>
                    <a:lnTo>
                      <a:pt x="805" y="736"/>
                    </a:lnTo>
                    <a:lnTo>
                      <a:pt x="800" y="740"/>
                    </a:lnTo>
                    <a:lnTo>
                      <a:pt x="796" y="740"/>
                    </a:lnTo>
                    <a:lnTo>
                      <a:pt x="782" y="740"/>
                    </a:lnTo>
                    <a:lnTo>
                      <a:pt x="778" y="740"/>
                    </a:lnTo>
                    <a:lnTo>
                      <a:pt x="778" y="745"/>
                    </a:lnTo>
                    <a:lnTo>
                      <a:pt x="768" y="745"/>
                    </a:lnTo>
                    <a:lnTo>
                      <a:pt x="764" y="745"/>
                    </a:lnTo>
                    <a:lnTo>
                      <a:pt x="755" y="750"/>
                    </a:lnTo>
                    <a:lnTo>
                      <a:pt x="755" y="754"/>
                    </a:lnTo>
                    <a:lnTo>
                      <a:pt x="755" y="759"/>
                    </a:lnTo>
                    <a:lnTo>
                      <a:pt x="755" y="763"/>
                    </a:lnTo>
                    <a:lnTo>
                      <a:pt x="755" y="772"/>
                    </a:lnTo>
                    <a:lnTo>
                      <a:pt x="755" y="777"/>
                    </a:lnTo>
                    <a:lnTo>
                      <a:pt x="755" y="777"/>
                    </a:lnTo>
                    <a:lnTo>
                      <a:pt x="755" y="782"/>
                    </a:lnTo>
                    <a:lnTo>
                      <a:pt x="759" y="786"/>
                    </a:lnTo>
                    <a:lnTo>
                      <a:pt x="764" y="786"/>
                    </a:lnTo>
                    <a:lnTo>
                      <a:pt x="768" y="791"/>
                    </a:lnTo>
                    <a:lnTo>
                      <a:pt x="768" y="795"/>
                    </a:lnTo>
                    <a:lnTo>
                      <a:pt x="764" y="795"/>
                    </a:lnTo>
                    <a:lnTo>
                      <a:pt x="759" y="795"/>
                    </a:lnTo>
                    <a:lnTo>
                      <a:pt x="755" y="795"/>
                    </a:lnTo>
                    <a:lnTo>
                      <a:pt x="755" y="791"/>
                    </a:lnTo>
                    <a:lnTo>
                      <a:pt x="750" y="791"/>
                    </a:lnTo>
                    <a:lnTo>
                      <a:pt x="746" y="791"/>
                    </a:lnTo>
                    <a:lnTo>
                      <a:pt x="746" y="786"/>
                    </a:lnTo>
                    <a:lnTo>
                      <a:pt x="736" y="786"/>
                    </a:lnTo>
                    <a:lnTo>
                      <a:pt x="732" y="786"/>
                    </a:lnTo>
                    <a:lnTo>
                      <a:pt x="714" y="786"/>
                    </a:lnTo>
                    <a:lnTo>
                      <a:pt x="691" y="782"/>
                    </a:lnTo>
                    <a:lnTo>
                      <a:pt x="686" y="782"/>
                    </a:lnTo>
                    <a:lnTo>
                      <a:pt x="682" y="786"/>
                    </a:lnTo>
                    <a:lnTo>
                      <a:pt x="677" y="786"/>
                    </a:lnTo>
                    <a:lnTo>
                      <a:pt x="672" y="782"/>
                    </a:lnTo>
                    <a:lnTo>
                      <a:pt x="668" y="782"/>
                    </a:lnTo>
                    <a:lnTo>
                      <a:pt x="668" y="777"/>
                    </a:lnTo>
                    <a:lnTo>
                      <a:pt x="668" y="772"/>
                    </a:lnTo>
                    <a:lnTo>
                      <a:pt x="668" y="768"/>
                    </a:lnTo>
                    <a:lnTo>
                      <a:pt x="668" y="763"/>
                    </a:lnTo>
                    <a:lnTo>
                      <a:pt x="663" y="759"/>
                    </a:lnTo>
                    <a:lnTo>
                      <a:pt x="663" y="754"/>
                    </a:lnTo>
                    <a:lnTo>
                      <a:pt x="659" y="736"/>
                    </a:lnTo>
                    <a:lnTo>
                      <a:pt x="654" y="722"/>
                    </a:lnTo>
                    <a:lnTo>
                      <a:pt x="654" y="722"/>
                    </a:lnTo>
                    <a:lnTo>
                      <a:pt x="654" y="718"/>
                    </a:lnTo>
                    <a:lnTo>
                      <a:pt x="650" y="708"/>
                    </a:lnTo>
                    <a:lnTo>
                      <a:pt x="645" y="699"/>
                    </a:lnTo>
                    <a:lnTo>
                      <a:pt x="645" y="695"/>
                    </a:lnTo>
                    <a:lnTo>
                      <a:pt x="645" y="690"/>
                    </a:lnTo>
                    <a:lnTo>
                      <a:pt x="640" y="690"/>
                    </a:lnTo>
                    <a:lnTo>
                      <a:pt x="636" y="681"/>
                    </a:lnTo>
                    <a:lnTo>
                      <a:pt x="631" y="681"/>
                    </a:lnTo>
                    <a:lnTo>
                      <a:pt x="631" y="676"/>
                    </a:lnTo>
                    <a:lnTo>
                      <a:pt x="627" y="676"/>
                    </a:lnTo>
                    <a:lnTo>
                      <a:pt x="622" y="676"/>
                    </a:lnTo>
                    <a:lnTo>
                      <a:pt x="622" y="676"/>
                    </a:lnTo>
                    <a:lnTo>
                      <a:pt x="618" y="676"/>
                    </a:lnTo>
                    <a:lnTo>
                      <a:pt x="613" y="676"/>
                    </a:lnTo>
                    <a:lnTo>
                      <a:pt x="604" y="676"/>
                    </a:lnTo>
                    <a:lnTo>
                      <a:pt x="599" y="676"/>
                    </a:lnTo>
                    <a:lnTo>
                      <a:pt x="595" y="681"/>
                    </a:lnTo>
                    <a:lnTo>
                      <a:pt x="586" y="681"/>
                    </a:lnTo>
                    <a:lnTo>
                      <a:pt x="581" y="686"/>
                    </a:lnTo>
                    <a:lnTo>
                      <a:pt x="576" y="686"/>
                    </a:lnTo>
                    <a:lnTo>
                      <a:pt x="572" y="686"/>
                    </a:lnTo>
                    <a:lnTo>
                      <a:pt x="567" y="686"/>
                    </a:lnTo>
                    <a:lnTo>
                      <a:pt x="558" y="686"/>
                    </a:lnTo>
                    <a:lnTo>
                      <a:pt x="558" y="686"/>
                    </a:lnTo>
                    <a:lnTo>
                      <a:pt x="554" y="681"/>
                    </a:lnTo>
                    <a:lnTo>
                      <a:pt x="549" y="681"/>
                    </a:lnTo>
                    <a:lnTo>
                      <a:pt x="549" y="676"/>
                    </a:lnTo>
                    <a:lnTo>
                      <a:pt x="544" y="676"/>
                    </a:lnTo>
                    <a:lnTo>
                      <a:pt x="544" y="676"/>
                    </a:lnTo>
                    <a:lnTo>
                      <a:pt x="540" y="672"/>
                    </a:lnTo>
                    <a:lnTo>
                      <a:pt x="540" y="667"/>
                    </a:lnTo>
                    <a:lnTo>
                      <a:pt x="540" y="663"/>
                    </a:lnTo>
                    <a:lnTo>
                      <a:pt x="535" y="658"/>
                    </a:lnTo>
                    <a:lnTo>
                      <a:pt x="535" y="654"/>
                    </a:lnTo>
                    <a:lnTo>
                      <a:pt x="531" y="654"/>
                    </a:lnTo>
                    <a:lnTo>
                      <a:pt x="526" y="654"/>
                    </a:lnTo>
                    <a:lnTo>
                      <a:pt x="522" y="654"/>
                    </a:lnTo>
                    <a:lnTo>
                      <a:pt x="512" y="654"/>
                    </a:lnTo>
                    <a:lnTo>
                      <a:pt x="512" y="658"/>
                    </a:lnTo>
                    <a:lnTo>
                      <a:pt x="499" y="663"/>
                    </a:lnTo>
                    <a:lnTo>
                      <a:pt x="494" y="663"/>
                    </a:lnTo>
                    <a:lnTo>
                      <a:pt x="490" y="658"/>
                    </a:lnTo>
                    <a:lnTo>
                      <a:pt x="485" y="658"/>
                    </a:lnTo>
                    <a:lnTo>
                      <a:pt x="480" y="658"/>
                    </a:lnTo>
                    <a:lnTo>
                      <a:pt x="480" y="654"/>
                    </a:lnTo>
                    <a:lnTo>
                      <a:pt x="476" y="654"/>
                    </a:lnTo>
                    <a:lnTo>
                      <a:pt x="471" y="654"/>
                    </a:lnTo>
                    <a:lnTo>
                      <a:pt x="471" y="654"/>
                    </a:lnTo>
                    <a:lnTo>
                      <a:pt x="467" y="649"/>
                    </a:lnTo>
                    <a:lnTo>
                      <a:pt x="462" y="649"/>
                    </a:lnTo>
                    <a:lnTo>
                      <a:pt x="458" y="644"/>
                    </a:lnTo>
                    <a:lnTo>
                      <a:pt x="448" y="644"/>
                    </a:lnTo>
                    <a:lnTo>
                      <a:pt x="448" y="640"/>
                    </a:lnTo>
                    <a:lnTo>
                      <a:pt x="439" y="640"/>
                    </a:lnTo>
                    <a:lnTo>
                      <a:pt x="435" y="640"/>
                    </a:lnTo>
                    <a:lnTo>
                      <a:pt x="430" y="640"/>
                    </a:lnTo>
                    <a:lnTo>
                      <a:pt x="426" y="644"/>
                    </a:lnTo>
                    <a:lnTo>
                      <a:pt x="426" y="644"/>
                    </a:lnTo>
                    <a:lnTo>
                      <a:pt x="421" y="640"/>
                    </a:lnTo>
                    <a:lnTo>
                      <a:pt x="426" y="635"/>
                    </a:lnTo>
                    <a:lnTo>
                      <a:pt x="426" y="631"/>
                    </a:lnTo>
                    <a:lnTo>
                      <a:pt x="426" y="626"/>
                    </a:lnTo>
                    <a:lnTo>
                      <a:pt x="421" y="617"/>
                    </a:lnTo>
                    <a:lnTo>
                      <a:pt x="426" y="612"/>
                    </a:lnTo>
                    <a:lnTo>
                      <a:pt x="426" y="608"/>
                    </a:lnTo>
                    <a:lnTo>
                      <a:pt x="426" y="603"/>
                    </a:lnTo>
                    <a:lnTo>
                      <a:pt x="426" y="603"/>
                    </a:lnTo>
                    <a:lnTo>
                      <a:pt x="430" y="594"/>
                    </a:lnTo>
                    <a:lnTo>
                      <a:pt x="430" y="590"/>
                    </a:lnTo>
                    <a:lnTo>
                      <a:pt x="435" y="590"/>
                    </a:lnTo>
                    <a:lnTo>
                      <a:pt x="439" y="590"/>
                    </a:lnTo>
                    <a:lnTo>
                      <a:pt x="444" y="590"/>
                    </a:lnTo>
                    <a:lnTo>
                      <a:pt x="448" y="590"/>
                    </a:lnTo>
                    <a:lnTo>
                      <a:pt x="453" y="590"/>
                    </a:lnTo>
                    <a:lnTo>
                      <a:pt x="458" y="585"/>
                    </a:lnTo>
                    <a:lnTo>
                      <a:pt x="458" y="580"/>
                    </a:lnTo>
                    <a:lnTo>
                      <a:pt x="462" y="576"/>
                    </a:lnTo>
                    <a:lnTo>
                      <a:pt x="462" y="571"/>
                    </a:lnTo>
                    <a:lnTo>
                      <a:pt x="467" y="567"/>
                    </a:lnTo>
                    <a:lnTo>
                      <a:pt x="471" y="567"/>
                    </a:lnTo>
                    <a:lnTo>
                      <a:pt x="471" y="562"/>
                    </a:lnTo>
                    <a:lnTo>
                      <a:pt x="471" y="558"/>
                    </a:lnTo>
                    <a:lnTo>
                      <a:pt x="467" y="558"/>
                    </a:lnTo>
                    <a:lnTo>
                      <a:pt x="462" y="558"/>
                    </a:lnTo>
                    <a:lnTo>
                      <a:pt x="453" y="558"/>
                    </a:lnTo>
                    <a:lnTo>
                      <a:pt x="448" y="558"/>
                    </a:lnTo>
                    <a:lnTo>
                      <a:pt x="448" y="553"/>
                    </a:lnTo>
                    <a:lnTo>
                      <a:pt x="448" y="548"/>
                    </a:lnTo>
                    <a:lnTo>
                      <a:pt x="448" y="544"/>
                    </a:lnTo>
                    <a:lnTo>
                      <a:pt x="444" y="544"/>
                    </a:lnTo>
                    <a:lnTo>
                      <a:pt x="435" y="539"/>
                    </a:lnTo>
                    <a:lnTo>
                      <a:pt x="430" y="535"/>
                    </a:lnTo>
                    <a:lnTo>
                      <a:pt x="426" y="535"/>
                    </a:lnTo>
                    <a:lnTo>
                      <a:pt x="426" y="530"/>
                    </a:lnTo>
                    <a:lnTo>
                      <a:pt x="421" y="526"/>
                    </a:lnTo>
                    <a:lnTo>
                      <a:pt x="421" y="526"/>
                    </a:lnTo>
                    <a:lnTo>
                      <a:pt x="416" y="516"/>
                    </a:lnTo>
                    <a:lnTo>
                      <a:pt x="421" y="516"/>
                    </a:lnTo>
                    <a:lnTo>
                      <a:pt x="421" y="512"/>
                    </a:lnTo>
                    <a:lnTo>
                      <a:pt x="421" y="507"/>
                    </a:lnTo>
                    <a:lnTo>
                      <a:pt x="426" y="507"/>
                    </a:lnTo>
                    <a:lnTo>
                      <a:pt x="426" y="503"/>
                    </a:lnTo>
                    <a:lnTo>
                      <a:pt x="426" y="498"/>
                    </a:lnTo>
                    <a:lnTo>
                      <a:pt x="421" y="498"/>
                    </a:lnTo>
                    <a:lnTo>
                      <a:pt x="416" y="498"/>
                    </a:lnTo>
                    <a:lnTo>
                      <a:pt x="407" y="503"/>
                    </a:lnTo>
                    <a:lnTo>
                      <a:pt x="403" y="503"/>
                    </a:lnTo>
                    <a:lnTo>
                      <a:pt x="398" y="503"/>
                    </a:lnTo>
                    <a:lnTo>
                      <a:pt x="394" y="503"/>
                    </a:lnTo>
                    <a:lnTo>
                      <a:pt x="389" y="503"/>
                    </a:lnTo>
                    <a:lnTo>
                      <a:pt x="384" y="498"/>
                    </a:lnTo>
                    <a:lnTo>
                      <a:pt x="384" y="494"/>
                    </a:lnTo>
                    <a:lnTo>
                      <a:pt x="384" y="489"/>
                    </a:lnTo>
                    <a:lnTo>
                      <a:pt x="384" y="484"/>
                    </a:lnTo>
                    <a:lnTo>
                      <a:pt x="384" y="480"/>
                    </a:lnTo>
                    <a:lnTo>
                      <a:pt x="384" y="475"/>
                    </a:lnTo>
                    <a:lnTo>
                      <a:pt x="384" y="471"/>
                    </a:lnTo>
                    <a:lnTo>
                      <a:pt x="389" y="471"/>
                    </a:lnTo>
                    <a:lnTo>
                      <a:pt x="389" y="466"/>
                    </a:lnTo>
                    <a:lnTo>
                      <a:pt x="389" y="462"/>
                    </a:lnTo>
                    <a:lnTo>
                      <a:pt x="394" y="457"/>
                    </a:lnTo>
                    <a:lnTo>
                      <a:pt x="398" y="457"/>
                    </a:lnTo>
                    <a:lnTo>
                      <a:pt x="403" y="457"/>
                    </a:lnTo>
                    <a:lnTo>
                      <a:pt x="403" y="452"/>
                    </a:lnTo>
                    <a:lnTo>
                      <a:pt x="407" y="452"/>
                    </a:lnTo>
                    <a:lnTo>
                      <a:pt x="407" y="448"/>
                    </a:lnTo>
                    <a:lnTo>
                      <a:pt x="412" y="443"/>
                    </a:lnTo>
                    <a:lnTo>
                      <a:pt x="412" y="425"/>
                    </a:lnTo>
                    <a:lnTo>
                      <a:pt x="412" y="416"/>
                    </a:lnTo>
                    <a:lnTo>
                      <a:pt x="412" y="407"/>
                    </a:lnTo>
                    <a:lnTo>
                      <a:pt x="412" y="402"/>
                    </a:lnTo>
                    <a:lnTo>
                      <a:pt x="412" y="398"/>
                    </a:lnTo>
                    <a:lnTo>
                      <a:pt x="407" y="393"/>
                    </a:lnTo>
                    <a:lnTo>
                      <a:pt x="407" y="393"/>
                    </a:lnTo>
                    <a:lnTo>
                      <a:pt x="407" y="379"/>
                    </a:lnTo>
                    <a:lnTo>
                      <a:pt x="403" y="370"/>
                    </a:lnTo>
                    <a:lnTo>
                      <a:pt x="403" y="370"/>
                    </a:lnTo>
                    <a:lnTo>
                      <a:pt x="403" y="366"/>
                    </a:lnTo>
                    <a:lnTo>
                      <a:pt x="398" y="366"/>
                    </a:lnTo>
                    <a:lnTo>
                      <a:pt x="394" y="361"/>
                    </a:lnTo>
                    <a:lnTo>
                      <a:pt x="394" y="361"/>
                    </a:lnTo>
                    <a:lnTo>
                      <a:pt x="389" y="366"/>
                    </a:lnTo>
                    <a:lnTo>
                      <a:pt x="384" y="366"/>
                    </a:lnTo>
                    <a:lnTo>
                      <a:pt x="384" y="370"/>
                    </a:lnTo>
                    <a:lnTo>
                      <a:pt x="384" y="370"/>
                    </a:lnTo>
                    <a:lnTo>
                      <a:pt x="384" y="375"/>
                    </a:lnTo>
                    <a:lnTo>
                      <a:pt x="384" y="384"/>
                    </a:lnTo>
                    <a:lnTo>
                      <a:pt x="384" y="388"/>
                    </a:lnTo>
                    <a:lnTo>
                      <a:pt x="380" y="388"/>
                    </a:lnTo>
                    <a:lnTo>
                      <a:pt x="371" y="388"/>
                    </a:lnTo>
                    <a:lnTo>
                      <a:pt x="366" y="384"/>
                    </a:lnTo>
                    <a:lnTo>
                      <a:pt x="362" y="384"/>
                    </a:lnTo>
                    <a:lnTo>
                      <a:pt x="357" y="384"/>
                    </a:lnTo>
                    <a:lnTo>
                      <a:pt x="357" y="379"/>
                    </a:lnTo>
                    <a:lnTo>
                      <a:pt x="357" y="375"/>
                    </a:lnTo>
                    <a:lnTo>
                      <a:pt x="362" y="375"/>
                    </a:lnTo>
                    <a:lnTo>
                      <a:pt x="362" y="370"/>
                    </a:lnTo>
                    <a:lnTo>
                      <a:pt x="362" y="366"/>
                    </a:lnTo>
                    <a:lnTo>
                      <a:pt x="357" y="366"/>
                    </a:lnTo>
                    <a:lnTo>
                      <a:pt x="352" y="361"/>
                    </a:lnTo>
                    <a:lnTo>
                      <a:pt x="339" y="366"/>
                    </a:lnTo>
                    <a:lnTo>
                      <a:pt x="339" y="366"/>
                    </a:lnTo>
                    <a:lnTo>
                      <a:pt x="334" y="366"/>
                    </a:lnTo>
                    <a:lnTo>
                      <a:pt x="325" y="370"/>
                    </a:lnTo>
                    <a:lnTo>
                      <a:pt x="320" y="370"/>
                    </a:lnTo>
                    <a:lnTo>
                      <a:pt x="311" y="366"/>
                    </a:lnTo>
                    <a:lnTo>
                      <a:pt x="307" y="366"/>
                    </a:lnTo>
                    <a:lnTo>
                      <a:pt x="302" y="361"/>
                    </a:lnTo>
                    <a:lnTo>
                      <a:pt x="298" y="356"/>
                    </a:lnTo>
                    <a:lnTo>
                      <a:pt x="298" y="352"/>
                    </a:lnTo>
                    <a:lnTo>
                      <a:pt x="298" y="347"/>
                    </a:lnTo>
                    <a:lnTo>
                      <a:pt x="302" y="347"/>
                    </a:lnTo>
                    <a:lnTo>
                      <a:pt x="302" y="347"/>
                    </a:lnTo>
                    <a:lnTo>
                      <a:pt x="307" y="347"/>
                    </a:lnTo>
                    <a:lnTo>
                      <a:pt x="307" y="343"/>
                    </a:lnTo>
                    <a:lnTo>
                      <a:pt x="311" y="343"/>
                    </a:lnTo>
                    <a:lnTo>
                      <a:pt x="311" y="338"/>
                    </a:lnTo>
                    <a:lnTo>
                      <a:pt x="311" y="334"/>
                    </a:lnTo>
                    <a:lnTo>
                      <a:pt x="311" y="329"/>
                    </a:lnTo>
                    <a:lnTo>
                      <a:pt x="316" y="324"/>
                    </a:lnTo>
                    <a:lnTo>
                      <a:pt x="316" y="324"/>
                    </a:lnTo>
                    <a:lnTo>
                      <a:pt x="311" y="320"/>
                    </a:lnTo>
                    <a:lnTo>
                      <a:pt x="311" y="315"/>
                    </a:lnTo>
                    <a:lnTo>
                      <a:pt x="307" y="315"/>
                    </a:lnTo>
                    <a:lnTo>
                      <a:pt x="307" y="311"/>
                    </a:lnTo>
                    <a:lnTo>
                      <a:pt x="302" y="302"/>
                    </a:lnTo>
                    <a:lnTo>
                      <a:pt x="298" y="297"/>
                    </a:lnTo>
                    <a:lnTo>
                      <a:pt x="298" y="292"/>
                    </a:lnTo>
                    <a:lnTo>
                      <a:pt x="293" y="288"/>
                    </a:lnTo>
                    <a:lnTo>
                      <a:pt x="293" y="283"/>
                    </a:lnTo>
                    <a:lnTo>
                      <a:pt x="293" y="283"/>
                    </a:lnTo>
                    <a:lnTo>
                      <a:pt x="293" y="283"/>
                    </a:lnTo>
                    <a:lnTo>
                      <a:pt x="288" y="283"/>
                    </a:lnTo>
                    <a:lnTo>
                      <a:pt x="284" y="283"/>
                    </a:lnTo>
                    <a:lnTo>
                      <a:pt x="275" y="283"/>
                    </a:lnTo>
                    <a:lnTo>
                      <a:pt x="270" y="283"/>
                    </a:lnTo>
                    <a:lnTo>
                      <a:pt x="256" y="283"/>
                    </a:lnTo>
                    <a:lnTo>
                      <a:pt x="252" y="283"/>
                    </a:lnTo>
                    <a:lnTo>
                      <a:pt x="252" y="283"/>
                    </a:lnTo>
                    <a:lnTo>
                      <a:pt x="243" y="283"/>
                    </a:lnTo>
                    <a:lnTo>
                      <a:pt x="238" y="279"/>
                    </a:lnTo>
                    <a:lnTo>
                      <a:pt x="234" y="270"/>
                    </a:lnTo>
                    <a:lnTo>
                      <a:pt x="234" y="265"/>
                    </a:lnTo>
                    <a:lnTo>
                      <a:pt x="238" y="265"/>
                    </a:lnTo>
                    <a:lnTo>
                      <a:pt x="238" y="260"/>
                    </a:lnTo>
                    <a:lnTo>
                      <a:pt x="238" y="260"/>
                    </a:lnTo>
                    <a:lnTo>
                      <a:pt x="243" y="256"/>
                    </a:lnTo>
                    <a:lnTo>
                      <a:pt x="247" y="256"/>
                    </a:lnTo>
                    <a:lnTo>
                      <a:pt x="247" y="251"/>
                    </a:lnTo>
                    <a:lnTo>
                      <a:pt x="247" y="247"/>
                    </a:lnTo>
                    <a:lnTo>
                      <a:pt x="247" y="242"/>
                    </a:lnTo>
                    <a:lnTo>
                      <a:pt x="243" y="238"/>
                    </a:lnTo>
                    <a:lnTo>
                      <a:pt x="243" y="238"/>
                    </a:lnTo>
                    <a:lnTo>
                      <a:pt x="238" y="238"/>
                    </a:lnTo>
                    <a:lnTo>
                      <a:pt x="238" y="233"/>
                    </a:lnTo>
                    <a:lnTo>
                      <a:pt x="229" y="233"/>
                    </a:lnTo>
                    <a:lnTo>
                      <a:pt x="229" y="228"/>
                    </a:lnTo>
                    <a:lnTo>
                      <a:pt x="215" y="228"/>
                    </a:lnTo>
                    <a:lnTo>
                      <a:pt x="211" y="228"/>
                    </a:lnTo>
                    <a:lnTo>
                      <a:pt x="206" y="224"/>
                    </a:lnTo>
                    <a:lnTo>
                      <a:pt x="206" y="219"/>
                    </a:lnTo>
                    <a:lnTo>
                      <a:pt x="206" y="219"/>
                    </a:lnTo>
                    <a:lnTo>
                      <a:pt x="206" y="219"/>
                    </a:lnTo>
                    <a:lnTo>
                      <a:pt x="206" y="215"/>
                    </a:lnTo>
                    <a:lnTo>
                      <a:pt x="206" y="210"/>
                    </a:lnTo>
                    <a:lnTo>
                      <a:pt x="206" y="201"/>
                    </a:lnTo>
                    <a:lnTo>
                      <a:pt x="211" y="196"/>
                    </a:lnTo>
                    <a:lnTo>
                      <a:pt x="211" y="187"/>
                    </a:lnTo>
                    <a:lnTo>
                      <a:pt x="215" y="187"/>
                    </a:lnTo>
                    <a:lnTo>
                      <a:pt x="211" y="183"/>
                    </a:lnTo>
                    <a:lnTo>
                      <a:pt x="211" y="178"/>
                    </a:lnTo>
                    <a:lnTo>
                      <a:pt x="206" y="174"/>
                    </a:lnTo>
                    <a:lnTo>
                      <a:pt x="206" y="174"/>
                    </a:lnTo>
                    <a:lnTo>
                      <a:pt x="197" y="178"/>
                    </a:lnTo>
                    <a:lnTo>
                      <a:pt x="188" y="178"/>
                    </a:lnTo>
                    <a:lnTo>
                      <a:pt x="183" y="178"/>
                    </a:lnTo>
                    <a:lnTo>
                      <a:pt x="183" y="178"/>
                    </a:lnTo>
                    <a:lnTo>
                      <a:pt x="179" y="174"/>
                    </a:lnTo>
                    <a:lnTo>
                      <a:pt x="174" y="174"/>
                    </a:lnTo>
                    <a:lnTo>
                      <a:pt x="170" y="174"/>
                    </a:lnTo>
                    <a:lnTo>
                      <a:pt x="165" y="174"/>
                    </a:lnTo>
                    <a:lnTo>
                      <a:pt x="165" y="174"/>
                    </a:lnTo>
                    <a:lnTo>
                      <a:pt x="165" y="169"/>
                    </a:lnTo>
                    <a:lnTo>
                      <a:pt x="160" y="169"/>
                    </a:lnTo>
                    <a:lnTo>
                      <a:pt x="156" y="169"/>
                    </a:lnTo>
                    <a:lnTo>
                      <a:pt x="151" y="174"/>
                    </a:lnTo>
                    <a:lnTo>
                      <a:pt x="147" y="174"/>
                    </a:lnTo>
                    <a:lnTo>
                      <a:pt x="142" y="174"/>
                    </a:lnTo>
                    <a:lnTo>
                      <a:pt x="142" y="174"/>
                    </a:lnTo>
                    <a:lnTo>
                      <a:pt x="142" y="174"/>
                    </a:lnTo>
                    <a:lnTo>
                      <a:pt x="128" y="174"/>
                    </a:lnTo>
                    <a:lnTo>
                      <a:pt x="119" y="174"/>
                    </a:lnTo>
                    <a:lnTo>
                      <a:pt x="119" y="174"/>
                    </a:lnTo>
                    <a:lnTo>
                      <a:pt x="115" y="178"/>
                    </a:lnTo>
                    <a:lnTo>
                      <a:pt x="106" y="183"/>
                    </a:lnTo>
                    <a:lnTo>
                      <a:pt x="101" y="187"/>
                    </a:lnTo>
                    <a:lnTo>
                      <a:pt x="96" y="192"/>
                    </a:lnTo>
                    <a:lnTo>
                      <a:pt x="96" y="196"/>
                    </a:lnTo>
                    <a:lnTo>
                      <a:pt x="96" y="196"/>
                    </a:lnTo>
                    <a:lnTo>
                      <a:pt x="96" y="196"/>
                    </a:lnTo>
                    <a:lnTo>
                      <a:pt x="92" y="206"/>
                    </a:lnTo>
                    <a:lnTo>
                      <a:pt x="92" y="215"/>
                    </a:lnTo>
                    <a:lnTo>
                      <a:pt x="87" y="215"/>
                    </a:lnTo>
                    <a:lnTo>
                      <a:pt x="87" y="219"/>
                    </a:lnTo>
                    <a:lnTo>
                      <a:pt x="87" y="224"/>
                    </a:lnTo>
                    <a:lnTo>
                      <a:pt x="87" y="228"/>
                    </a:lnTo>
                    <a:lnTo>
                      <a:pt x="83" y="228"/>
                    </a:lnTo>
                    <a:lnTo>
                      <a:pt x="83" y="233"/>
                    </a:lnTo>
                    <a:lnTo>
                      <a:pt x="78" y="238"/>
                    </a:lnTo>
                    <a:lnTo>
                      <a:pt x="78" y="233"/>
                    </a:lnTo>
                    <a:lnTo>
                      <a:pt x="74" y="233"/>
                    </a:lnTo>
                    <a:lnTo>
                      <a:pt x="74" y="228"/>
                    </a:lnTo>
                    <a:lnTo>
                      <a:pt x="74" y="219"/>
                    </a:lnTo>
                    <a:lnTo>
                      <a:pt x="74" y="219"/>
                    </a:lnTo>
                    <a:lnTo>
                      <a:pt x="74" y="215"/>
                    </a:lnTo>
                    <a:lnTo>
                      <a:pt x="74" y="210"/>
                    </a:lnTo>
                    <a:lnTo>
                      <a:pt x="74" y="206"/>
                    </a:lnTo>
                    <a:lnTo>
                      <a:pt x="74" y="201"/>
                    </a:lnTo>
                    <a:lnTo>
                      <a:pt x="69" y="201"/>
                    </a:lnTo>
                    <a:lnTo>
                      <a:pt x="69" y="196"/>
                    </a:lnTo>
                    <a:lnTo>
                      <a:pt x="64" y="196"/>
                    </a:lnTo>
                    <a:lnTo>
                      <a:pt x="60" y="192"/>
                    </a:lnTo>
                    <a:lnTo>
                      <a:pt x="55" y="187"/>
                    </a:lnTo>
                    <a:lnTo>
                      <a:pt x="55" y="183"/>
                    </a:lnTo>
                    <a:lnTo>
                      <a:pt x="51" y="174"/>
                    </a:lnTo>
                    <a:lnTo>
                      <a:pt x="46" y="174"/>
                    </a:lnTo>
                    <a:lnTo>
                      <a:pt x="42" y="174"/>
                    </a:lnTo>
                    <a:lnTo>
                      <a:pt x="42" y="174"/>
                    </a:lnTo>
                    <a:lnTo>
                      <a:pt x="37" y="174"/>
                    </a:lnTo>
                    <a:lnTo>
                      <a:pt x="32" y="174"/>
                    </a:lnTo>
                    <a:lnTo>
                      <a:pt x="32" y="169"/>
                    </a:lnTo>
                    <a:lnTo>
                      <a:pt x="19" y="169"/>
                    </a:lnTo>
                    <a:lnTo>
                      <a:pt x="14" y="164"/>
                    </a:lnTo>
                    <a:lnTo>
                      <a:pt x="10" y="160"/>
                    </a:lnTo>
                    <a:lnTo>
                      <a:pt x="5" y="151"/>
                    </a:lnTo>
                    <a:lnTo>
                      <a:pt x="5" y="146"/>
                    </a:lnTo>
                    <a:lnTo>
                      <a:pt x="0" y="142"/>
                    </a:lnTo>
                    <a:lnTo>
                      <a:pt x="0" y="142"/>
                    </a:lnTo>
                    <a:lnTo>
                      <a:pt x="0" y="132"/>
                    </a:lnTo>
                    <a:lnTo>
                      <a:pt x="0" y="128"/>
                    </a:lnTo>
                    <a:lnTo>
                      <a:pt x="0" y="119"/>
                    </a:lnTo>
                    <a:lnTo>
                      <a:pt x="0" y="114"/>
                    </a:lnTo>
                    <a:lnTo>
                      <a:pt x="0" y="100"/>
                    </a:lnTo>
                    <a:lnTo>
                      <a:pt x="0" y="96"/>
                    </a:lnTo>
                    <a:lnTo>
                      <a:pt x="0" y="91"/>
                    </a:lnTo>
                    <a:lnTo>
                      <a:pt x="0" y="87"/>
                    </a:lnTo>
                    <a:lnTo>
                      <a:pt x="5" y="87"/>
                    </a:lnTo>
                    <a:lnTo>
                      <a:pt x="5" y="87"/>
                    </a:lnTo>
                    <a:lnTo>
                      <a:pt x="10" y="82"/>
                    </a:lnTo>
                    <a:lnTo>
                      <a:pt x="14" y="78"/>
                    </a:lnTo>
                    <a:lnTo>
                      <a:pt x="28" y="73"/>
                    </a:lnTo>
                    <a:lnTo>
                      <a:pt x="32" y="73"/>
                    </a:lnTo>
                    <a:lnTo>
                      <a:pt x="32" y="73"/>
                    </a:lnTo>
                    <a:lnTo>
                      <a:pt x="37" y="73"/>
                    </a:lnTo>
                    <a:lnTo>
                      <a:pt x="42" y="73"/>
                    </a:lnTo>
                    <a:lnTo>
                      <a:pt x="42" y="78"/>
                    </a:lnTo>
                    <a:lnTo>
                      <a:pt x="46" y="78"/>
                    </a:lnTo>
                    <a:lnTo>
                      <a:pt x="55" y="78"/>
                    </a:lnTo>
                    <a:lnTo>
                      <a:pt x="55" y="82"/>
                    </a:lnTo>
                    <a:lnTo>
                      <a:pt x="64" y="82"/>
                    </a:lnTo>
                    <a:lnTo>
                      <a:pt x="69" y="82"/>
                    </a:lnTo>
                    <a:lnTo>
                      <a:pt x="74" y="87"/>
                    </a:lnTo>
                    <a:lnTo>
                      <a:pt x="83" y="87"/>
                    </a:lnTo>
                    <a:lnTo>
                      <a:pt x="87" y="82"/>
                    </a:lnTo>
                    <a:lnTo>
                      <a:pt x="92" y="82"/>
                    </a:lnTo>
                    <a:lnTo>
                      <a:pt x="96" y="82"/>
                    </a:lnTo>
                    <a:lnTo>
                      <a:pt x="96" y="82"/>
                    </a:lnTo>
                    <a:lnTo>
                      <a:pt x="106" y="82"/>
                    </a:lnTo>
                    <a:lnTo>
                      <a:pt x="110" y="78"/>
                    </a:lnTo>
                    <a:lnTo>
                      <a:pt x="124" y="73"/>
                    </a:lnTo>
                    <a:lnTo>
                      <a:pt x="133" y="73"/>
                    </a:lnTo>
                    <a:lnTo>
                      <a:pt x="142" y="78"/>
                    </a:lnTo>
                    <a:lnTo>
                      <a:pt x="142" y="82"/>
                    </a:lnTo>
                    <a:lnTo>
                      <a:pt x="151" y="87"/>
                    </a:lnTo>
                    <a:lnTo>
                      <a:pt x="156" y="87"/>
                    </a:lnTo>
                    <a:lnTo>
                      <a:pt x="156" y="96"/>
                    </a:lnTo>
                    <a:lnTo>
                      <a:pt x="160" y="96"/>
                    </a:lnTo>
                    <a:lnTo>
                      <a:pt x="160" y="100"/>
                    </a:lnTo>
                    <a:lnTo>
                      <a:pt x="165" y="105"/>
                    </a:lnTo>
                    <a:lnTo>
                      <a:pt x="165" y="110"/>
                    </a:lnTo>
                    <a:lnTo>
                      <a:pt x="165" y="110"/>
                    </a:lnTo>
                    <a:lnTo>
                      <a:pt x="170" y="110"/>
                    </a:lnTo>
                    <a:lnTo>
                      <a:pt x="174" y="114"/>
                    </a:lnTo>
                    <a:lnTo>
                      <a:pt x="174" y="114"/>
                    </a:lnTo>
                    <a:lnTo>
                      <a:pt x="179" y="123"/>
                    </a:lnTo>
                    <a:lnTo>
                      <a:pt x="183" y="123"/>
                    </a:lnTo>
                    <a:lnTo>
                      <a:pt x="183" y="128"/>
                    </a:lnTo>
                    <a:lnTo>
                      <a:pt x="188" y="128"/>
                    </a:lnTo>
                    <a:lnTo>
                      <a:pt x="192" y="132"/>
                    </a:lnTo>
                    <a:lnTo>
                      <a:pt x="197" y="132"/>
                    </a:lnTo>
                    <a:lnTo>
                      <a:pt x="202" y="137"/>
                    </a:lnTo>
                    <a:lnTo>
                      <a:pt x="211" y="142"/>
                    </a:lnTo>
                    <a:lnTo>
                      <a:pt x="224" y="142"/>
                    </a:lnTo>
                    <a:lnTo>
                      <a:pt x="229" y="146"/>
                    </a:lnTo>
                    <a:lnTo>
                      <a:pt x="234" y="142"/>
                    </a:lnTo>
                    <a:lnTo>
                      <a:pt x="252" y="142"/>
                    </a:lnTo>
                    <a:lnTo>
                      <a:pt x="252" y="142"/>
                    </a:lnTo>
                    <a:lnTo>
                      <a:pt x="261" y="142"/>
                    </a:lnTo>
                    <a:lnTo>
                      <a:pt x="270" y="137"/>
                    </a:lnTo>
                    <a:lnTo>
                      <a:pt x="275" y="132"/>
                    </a:lnTo>
                    <a:lnTo>
                      <a:pt x="279" y="128"/>
                    </a:lnTo>
                    <a:lnTo>
                      <a:pt x="284" y="128"/>
                    </a:lnTo>
                    <a:lnTo>
                      <a:pt x="288" y="128"/>
                    </a:lnTo>
                    <a:lnTo>
                      <a:pt x="288" y="123"/>
                    </a:lnTo>
                    <a:lnTo>
                      <a:pt x="293" y="123"/>
                    </a:lnTo>
                    <a:lnTo>
                      <a:pt x="293" y="119"/>
                    </a:lnTo>
                    <a:lnTo>
                      <a:pt x="293" y="114"/>
                    </a:lnTo>
                    <a:lnTo>
                      <a:pt x="293" y="114"/>
                    </a:lnTo>
                    <a:lnTo>
                      <a:pt x="293" y="110"/>
                    </a:lnTo>
                    <a:lnTo>
                      <a:pt x="298" y="110"/>
                    </a:lnTo>
                    <a:lnTo>
                      <a:pt x="298" y="110"/>
                    </a:lnTo>
                    <a:lnTo>
                      <a:pt x="302" y="105"/>
                    </a:lnTo>
                    <a:lnTo>
                      <a:pt x="302" y="100"/>
                    </a:lnTo>
                    <a:lnTo>
                      <a:pt x="307" y="100"/>
                    </a:lnTo>
                    <a:lnTo>
                      <a:pt x="311" y="91"/>
                    </a:lnTo>
                    <a:lnTo>
                      <a:pt x="298" y="68"/>
                    </a:lnTo>
                    <a:lnTo>
                      <a:pt x="302" y="68"/>
                    </a:lnTo>
                    <a:lnTo>
                      <a:pt x="307" y="73"/>
                    </a:lnTo>
                    <a:lnTo>
                      <a:pt x="307" y="73"/>
                    </a:lnTo>
                    <a:lnTo>
                      <a:pt x="311" y="68"/>
                    </a:lnTo>
                    <a:lnTo>
                      <a:pt x="316" y="68"/>
                    </a:lnTo>
                    <a:lnTo>
                      <a:pt x="325" y="68"/>
                    </a:lnTo>
                    <a:lnTo>
                      <a:pt x="339" y="68"/>
                    </a:lnTo>
                    <a:lnTo>
                      <a:pt x="339" y="68"/>
                    </a:lnTo>
                    <a:lnTo>
                      <a:pt x="348" y="68"/>
                    </a:lnTo>
                    <a:lnTo>
                      <a:pt x="348" y="73"/>
                    </a:lnTo>
                    <a:lnTo>
                      <a:pt x="352" y="73"/>
                    </a:lnTo>
                    <a:lnTo>
                      <a:pt x="357" y="73"/>
                    </a:lnTo>
                    <a:lnTo>
                      <a:pt x="357" y="73"/>
                    </a:lnTo>
                    <a:lnTo>
                      <a:pt x="371" y="73"/>
                    </a:lnTo>
                    <a:lnTo>
                      <a:pt x="371" y="73"/>
                    </a:lnTo>
                    <a:lnTo>
                      <a:pt x="375" y="73"/>
                    </a:lnTo>
                    <a:lnTo>
                      <a:pt x="380" y="73"/>
                    </a:lnTo>
                    <a:lnTo>
                      <a:pt x="380" y="73"/>
                    </a:lnTo>
                    <a:lnTo>
                      <a:pt x="380" y="73"/>
                    </a:lnTo>
                    <a:lnTo>
                      <a:pt x="384" y="73"/>
                    </a:lnTo>
                    <a:lnTo>
                      <a:pt x="403" y="73"/>
                    </a:lnTo>
                    <a:lnTo>
                      <a:pt x="403" y="73"/>
                    </a:lnTo>
                    <a:lnTo>
                      <a:pt x="403" y="78"/>
                    </a:lnTo>
                    <a:lnTo>
                      <a:pt x="412" y="73"/>
                    </a:lnTo>
                    <a:lnTo>
                      <a:pt x="412" y="78"/>
                    </a:lnTo>
                    <a:lnTo>
                      <a:pt x="416" y="78"/>
                    </a:lnTo>
                    <a:lnTo>
                      <a:pt x="426" y="78"/>
                    </a:lnTo>
                    <a:lnTo>
                      <a:pt x="426" y="82"/>
                    </a:lnTo>
                    <a:lnTo>
                      <a:pt x="430" y="78"/>
                    </a:lnTo>
                    <a:lnTo>
                      <a:pt x="435" y="82"/>
                    </a:lnTo>
                    <a:lnTo>
                      <a:pt x="439" y="82"/>
                    </a:lnTo>
                    <a:lnTo>
                      <a:pt x="444" y="82"/>
                    </a:lnTo>
                    <a:lnTo>
                      <a:pt x="448" y="78"/>
                    </a:lnTo>
                    <a:lnTo>
                      <a:pt x="453" y="78"/>
                    </a:lnTo>
                    <a:lnTo>
                      <a:pt x="458" y="78"/>
                    </a:lnTo>
                    <a:lnTo>
                      <a:pt x="462" y="78"/>
                    </a:lnTo>
                    <a:lnTo>
                      <a:pt x="467" y="78"/>
                    </a:lnTo>
                    <a:lnTo>
                      <a:pt x="467" y="78"/>
                    </a:lnTo>
                    <a:lnTo>
                      <a:pt x="476" y="78"/>
                    </a:lnTo>
                    <a:lnTo>
                      <a:pt x="480" y="78"/>
                    </a:lnTo>
                    <a:lnTo>
                      <a:pt x="480" y="78"/>
                    </a:lnTo>
                    <a:lnTo>
                      <a:pt x="503" y="82"/>
                    </a:lnTo>
                    <a:lnTo>
                      <a:pt x="512" y="82"/>
                    </a:lnTo>
                    <a:lnTo>
                      <a:pt x="517" y="82"/>
                    </a:lnTo>
                    <a:lnTo>
                      <a:pt x="526" y="82"/>
                    </a:lnTo>
                    <a:lnTo>
                      <a:pt x="526" y="82"/>
                    </a:lnTo>
                    <a:lnTo>
                      <a:pt x="535" y="82"/>
                    </a:lnTo>
                    <a:lnTo>
                      <a:pt x="540" y="82"/>
                    </a:lnTo>
                    <a:lnTo>
                      <a:pt x="540" y="82"/>
                    </a:lnTo>
                    <a:lnTo>
                      <a:pt x="540" y="91"/>
                    </a:lnTo>
                    <a:lnTo>
                      <a:pt x="567" y="87"/>
                    </a:lnTo>
                    <a:lnTo>
                      <a:pt x="576" y="87"/>
                    </a:lnTo>
                    <a:lnTo>
                      <a:pt x="581" y="87"/>
                    </a:lnTo>
                    <a:lnTo>
                      <a:pt x="581" y="87"/>
                    </a:lnTo>
                    <a:lnTo>
                      <a:pt x="590" y="87"/>
                    </a:lnTo>
                    <a:lnTo>
                      <a:pt x="599" y="87"/>
                    </a:lnTo>
                    <a:lnTo>
                      <a:pt x="604" y="87"/>
                    </a:lnTo>
                    <a:lnTo>
                      <a:pt x="604" y="87"/>
                    </a:lnTo>
                    <a:lnTo>
                      <a:pt x="613" y="87"/>
                    </a:lnTo>
                    <a:lnTo>
                      <a:pt x="618" y="87"/>
                    </a:lnTo>
                    <a:lnTo>
                      <a:pt x="622" y="87"/>
                    </a:lnTo>
                    <a:lnTo>
                      <a:pt x="636" y="87"/>
                    </a:lnTo>
                    <a:lnTo>
                      <a:pt x="645" y="87"/>
                    </a:lnTo>
                    <a:lnTo>
                      <a:pt x="645" y="82"/>
                    </a:lnTo>
                    <a:lnTo>
                      <a:pt x="645" y="82"/>
                    </a:lnTo>
                    <a:lnTo>
                      <a:pt x="650" y="78"/>
                    </a:lnTo>
                    <a:lnTo>
                      <a:pt x="654" y="73"/>
                    </a:lnTo>
                    <a:lnTo>
                      <a:pt x="654" y="68"/>
                    </a:lnTo>
                    <a:lnTo>
                      <a:pt x="659" y="68"/>
                    </a:lnTo>
                    <a:lnTo>
                      <a:pt x="663" y="59"/>
                    </a:lnTo>
                    <a:lnTo>
                      <a:pt x="668" y="50"/>
                    </a:lnTo>
                    <a:lnTo>
                      <a:pt x="668" y="46"/>
                    </a:lnTo>
                    <a:lnTo>
                      <a:pt x="668" y="41"/>
                    </a:lnTo>
                    <a:lnTo>
                      <a:pt x="668" y="41"/>
                    </a:lnTo>
                    <a:lnTo>
                      <a:pt x="672" y="41"/>
                    </a:lnTo>
                    <a:lnTo>
                      <a:pt x="677" y="36"/>
                    </a:lnTo>
                    <a:lnTo>
                      <a:pt x="682" y="32"/>
                    </a:lnTo>
                    <a:lnTo>
                      <a:pt x="686" y="32"/>
                    </a:lnTo>
                    <a:lnTo>
                      <a:pt x="691" y="27"/>
                    </a:lnTo>
                    <a:lnTo>
                      <a:pt x="691" y="27"/>
                    </a:lnTo>
                    <a:lnTo>
                      <a:pt x="695" y="23"/>
                    </a:lnTo>
                    <a:lnTo>
                      <a:pt x="700" y="23"/>
                    </a:lnTo>
                    <a:lnTo>
                      <a:pt x="704" y="23"/>
                    </a:lnTo>
                    <a:lnTo>
                      <a:pt x="714" y="18"/>
                    </a:lnTo>
                    <a:lnTo>
                      <a:pt x="723" y="18"/>
                    </a:lnTo>
                    <a:lnTo>
                      <a:pt x="727" y="18"/>
                    </a:lnTo>
                    <a:lnTo>
                      <a:pt x="736" y="18"/>
                    </a:lnTo>
                    <a:lnTo>
                      <a:pt x="736" y="14"/>
                    </a:lnTo>
                    <a:lnTo>
                      <a:pt x="741" y="14"/>
                    </a:lnTo>
                    <a:lnTo>
                      <a:pt x="746" y="9"/>
                    </a:lnTo>
                    <a:lnTo>
                      <a:pt x="750" y="9"/>
                    </a:lnTo>
                    <a:lnTo>
                      <a:pt x="755" y="0"/>
                    </a:lnTo>
                    <a:lnTo>
                      <a:pt x="759" y="0"/>
                    </a:lnTo>
                    <a:lnTo>
                      <a:pt x="768" y="0"/>
                    </a:lnTo>
                    <a:lnTo>
                      <a:pt x="773" y="0"/>
                    </a:lnTo>
                    <a:lnTo>
                      <a:pt x="778" y="0"/>
                    </a:lnTo>
                    <a:lnTo>
                      <a:pt x="778" y="0"/>
                    </a:lnTo>
                    <a:lnTo>
                      <a:pt x="782" y="4"/>
                    </a:lnTo>
                    <a:lnTo>
                      <a:pt x="782" y="9"/>
                    </a:lnTo>
                    <a:lnTo>
                      <a:pt x="787" y="14"/>
                    </a:lnTo>
                    <a:lnTo>
                      <a:pt x="787" y="18"/>
                    </a:lnTo>
                    <a:lnTo>
                      <a:pt x="791" y="32"/>
                    </a:lnTo>
                    <a:lnTo>
                      <a:pt x="796" y="41"/>
                    </a:lnTo>
                    <a:lnTo>
                      <a:pt x="800" y="55"/>
                    </a:lnTo>
                    <a:lnTo>
                      <a:pt x="796" y="64"/>
                    </a:lnTo>
                    <a:lnTo>
                      <a:pt x="800" y="68"/>
                    </a:lnTo>
                    <a:lnTo>
                      <a:pt x="800" y="73"/>
                    </a:lnTo>
                    <a:lnTo>
                      <a:pt x="800" y="78"/>
                    </a:lnTo>
                    <a:lnTo>
                      <a:pt x="800" y="82"/>
                    </a:lnTo>
                    <a:lnTo>
                      <a:pt x="805" y="87"/>
                    </a:lnTo>
                    <a:lnTo>
                      <a:pt x="810" y="87"/>
                    </a:lnTo>
                    <a:lnTo>
                      <a:pt x="814" y="87"/>
                    </a:lnTo>
                    <a:lnTo>
                      <a:pt x="819" y="87"/>
                    </a:lnTo>
                    <a:lnTo>
                      <a:pt x="823" y="87"/>
                    </a:lnTo>
                    <a:lnTo>
                      <a:pt x="823" y="82"/>
                    </a:lnTo>
                    <a:lnTo>
                      <a:pt x="823" y="82"/>
                    </a:lnTo>
                    <a:lnTo>
                      <a:pt x="828" y="82"/>
                    </a:lnTo>
                    <a:lnTo>
                      <a:pt x="832" y="78"/>
                    </a:lnTo>
                    <a:lnTo>
                      <a:pt x="837" y="78"/>
                    </a:lnTo>
                    <a:lnTo>
                      <a:pt x="842" y="82"/>
                    </a:lnTo>
                    <a:lnTo>
                      <a:pt x="846" y="82"/>
                    </a:lnTo>
                    <a:lnTo>
                      <a:pt x="846" y="87"/>
                    </a:lnTo>
                    <a:lnTo>
                      <a:pt x="855" y="87"/>
                    </a:lnTo>
                    <a:lnTo>
                      <a:pt x="864" y="87"/>
                    </a:lnTo>
                    <a:lnTo>
                      <a:pt x="869" y="87"/>
                    </a:lnTo>
                    <a:lnTo>
                      <a:pt x="878" y="87"/>
                    </a:lnTo>
                    <a:lnTo>
                      <a:pt x="892" y="87"/>
                    </a:lnTo>
                    <a:lnTo>
                      <a:pt x="896" y="87"/>
                    </a:lnTo>
                    <a:lnTo>
                      <a:pt x="901" y="87"/>
                    </a:lnTo>
                    <a:lnTo>
                      <a:pt x="906" y="91"/>
                    </a:lnTo>
                    <a:lnTo>
                      <a:pt x="910" y="96"/>
                    </a:lnTo>
                    <a:lnTo>
                      <a:pt x="910" y="110"/>
                    </a:lnTo>
                    <a:lnTo>
                      <a:pt x="910" y="123"/>
                    </a:lnTo>
                    <a:lnTo>
                      <a:pt x="915" y="137"/>
                    </a:lnTo>
                    <a:lnTo>
                      <a:pt x="915" y="151"/>
                    </a:lnTo>
                    <a:lnTo>
                      <a:pt x="919" y="174"/>
                    </a:lnTo>
                    <a:lnTo>
                      <a:pt x="924" y="187"/>
                    </a:lnTo>
                    <a:lnTo>
                      <a:pt x="919" y="196"/>
                    </a:lnTo>
                    <a:lnTo>
                      <a:pt x="919" y="196"/>
                    </a:lnTo>
                    <a:lnTo>
                      <a:pt x="915" y="201"/>
                    </a:lnTo>
                    <a:lnTo>
                      <a:pt x="910" y="201"/>
                    </a:lnTo>
                    <a:lnTo>
                      <a:pt x="910" y="206"/>
                    </a:lnTo>
                    <a:lnTo>
                      <a:pt x="910" y="206"/>
                    </a:lnTo>
                    <a:lnTo>
                      <a:pt x="906" y="210"/>
                    </a:lnTo>
                    <a:lnTo>
                      <a:pt x="896" y="215"/>
                    </a:lnTo>
                    <a:lnTo>
                      <a:pt x="887" y="219"/>
                    </a:lnTo>
                    <a:lnTo>
                      <a:pt x="887" y="219"/>
                    </a:lnTo>
                    <a:lnTo>
                      <a:pt x="883" y="219"/>
                    </a:lnTo>
                    <a:lnTo>
                      <a:pt x="883" y="224"/>
                    </a:lnTo>
                    <a:lnTo>
                      <a:pt x="878" y="224"/>
                    </a:lnTo>
                    <a:lnTo>
                      <a:pt x="878" y="228"/>
                    </a:lnTo>
                    <a:lnTo>
                      <a:pt x="874" y="228"/>
                    </a:lnTo>
                    <a:lnTo>
                      <a:pt x="874" y="233"/>
                    </a:lnTo>
                    <a:lnTo>
                      <a:pt x="869" y="233"/>
                    </a:lnTo>
                    <a:lnTo>
                      <a:pt x="864" y="233"/>
                    </a:lnTo>
                    <a:lnTo>
                      <a:pt x="864" y="233"/>
                    </a:lnTo>
                    <a:lnTo>
                      <a:pt x="860" y="228"/>
                    </a:lnTo>
                    <a:lnTo>
                      <a:pt x="855" y="224"/>
                    </a:lnTo>
                    <a:lnTo>
                      <a:pt x="851" y="224"/>
                    </a:lnTo>
                    <a:lnTo>
                      <a:pt x="846" y="224"/>
                    </a:lnTo>
                    <a:lnTo>
                      <a:pt x="837" y="228"/>
                    </a:lnTo>
                    <a:lnTo>
                      <a:pt x="832" y="228"/>
                    </a:lnTo>
                    <a:lnTo>
                      <a:pt x="823" y="228"/>
                    </a:lnTo>
                    <a:lnTo>
                      <a:pt x="814" y="233"/>
                    </a:lnTo>
                    <a:lnTo>
                      <a:pt x="810" y="233"/>
                    </a:lnTo>
                    <a:lnTo>
                      <a:pt x="805" y="233"/>
                    </a:lnTo>
                    <a:lnTo>
                      <a:pt x="800" y="238"/>
                    </a:lnTo>
                    <a:lnTo>
                      <a:pt x="796" y="238"/>
                    </a:lnTo>
                    <a:lnTo>
                      <a:pt x="796" y="238"/>
                    </a:lnTo>
                    <a:lnTo>
                      <a:pt x="791" y="242"/>
                    </a:lnTo>
                    <a:lnTo>
                      <a:pt x="787" y="242"/>
                    </a:lnTo>
                    <a:lnTo>
                      <a:pt x="787" y="247"/>
                    </a:lnTo>
                    <a:lnTo>
                      <a:pt x="782" y="247"/>
                    </a:lnTo>
                    <a:lnTo>
                      <a:pt x="778" y="251"/>
                    </a:lnTo>
                    <a:lnTo>
                      <a:pt x="778" y="256"/>
                    </a:lnTo>
                    <a:lnTo>
                      <a:pt x="778" y="260"/>
                    </a:lnTo>
                    <a:lnTo>
                      <a:pt x="778" y="260"/>
                    </a:lnTo>
                    <a:lnTo>
                      <a:pt x="773" y="265"/>
                    </a:lnTo>
                    <a:close/>
                  </a:path>
                </a:pathLst>
              </a:custGeom>
              <a:grp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204" name="Freeform 24">
                <a:extLst>
                  <a:ext uri="{FF2B5EF4-FFF2-40B4-BE49-F238E27FC236}">
                    <a16:creationId xmlns:a16="http://schemas.microsoft.com/office/drawing/2014/main" id="{4CF73666-0D0F-4386-AB1A-730A12515B0B}"/>
                  </a:ext>
                </a:extLst>
              </p:cNvPr>
              <p:cNvSpPr>
                <a:spLocks/>
              </p:cNvSpPr>
              <p:nvPr>
                <p:custDataLst>
                  <p:tags r:id="rId21"/>
                </p:custDataLst>
              </p:nvPr>
            </p:nvSpPr>
            <p:spPr bwMode="auto">
              <a:xfrm>
                <a:off x="1895309" y="2877643"/>
                <a:ext cx="1364143" cy="1174747"/>
              </a:xfrm>
              <a:custGeom>
                <a:avLst/>
                <a:gdLst/>
                <a:ahLst/>
                <a:cxnLst>
                  <a:cxn ang="0">
                    <a:pos x="686" y="819"/>
                  </a:cxn>
                  <a:cxn ang="0">
                    <a:pos x="627" y="823"/>
                  </a:cxn>
                  <a:cxn ang="0">
                    <a:pos x="563" y="800"/>
                  </a:cxn>
                  <a:cxn ang="0">
                    <a:pos x="453" y="828"/>
                  </a:cxn>
                  <a:cxn ang="0">
                    <a:pos x="430" y="791"/>
                  </a:cxn>
                  <a:cxn ang="0">
                    <a:pos x="457" y="741"/>
                  </a:cxn>
                  <a:cxn ang="0">
                    <a:pos x="462" y="704"/>
                  </a:cxn>
                  <a:cxn ang="0">
                    <a:pos x="444" y="672"/>
                  </a:cxn>
                  <a:cxn ang="0">
                    <a:pos x="457" y="645"/>
                  </a:cxn>
                  <a:cxn ang="0">
                    <a:pos x="453" y="567"/>
                  </a:cxn>
                  <a:cxn ang="0">
                    <a:pos x="371" y="558"/>
                  </a:cxn>
                  <a:cxn ang="0">
                    <a:pos x="307" y="535"/>
                  </a:cxn>
                  <a:cxn ang="0">
                    <a:pos x="334" y="494"/>
                  </a:cxn>
                  <a:cxn ang="0">
                    <a:pos x="357" y="444"/>
                  </a:cxn>
                  <a:cxn ang="0">
                    <a:pos x="325" y="403"/>
                  </a:cxn>
                  <a:cxn ang="0">
                    <a:pos x="284" y="362"/>
                  </a:cxn>
                  <a:cxn ang="0">
                    <a:pos x="247" y="325"/>
                  </a:cxn>
                  <a:cxn ang="0">
                    <a:pos x="197" y="362"/>
                  </a:cxn>
                  <a:cxn ang="0">
                    <a:pos x="147" y="339"/>
                  </a:cxn>
                  <a:cxn ang="0">
                    <a:pos x="96" y="380"/>
                  </a:cxn>
                  <a:cxn ang="0">
                    <a:pos x="64" y="412"/>
                  </a:cxn>
                  <a:cxn ang="0">
                    <a:pos x="19" y="412"/>
                  </a:cxn>
                  <a:cxn ang="0">
                    <a:pos x="5" y="371"/>
                  </a:cxn>
                  <a:cxn ang="0">
                    <a:pos x="5" y="302"/>
                  </a:cxn>
                  <a:cxn ang="0">
                    <a:pos x="32" y="243"/>
                  </a:cxn>
                  <a:cxn ang="0">
                    <a:pos x="78" y="202"/>
                  </a:cxn>
                  <a:cxn ang="0">
                    <a:pos x="160" y="183"/>
                  </a:cxn>
                  <a:cxn ang="0">
                    <a:pos x="238" y="151"/>
                  </a:cxn>
                  <a:cxn ang="0">
                    <a:pos x="270" y="87"/>
                  </a:cxn>
                  <a:cxn ang="0">
                    <a:pos x="316" y="55"/>
                  </a:cxn>
                  <a:cxn ang="0">
                    <a:pos x="334" y="106"/>
                  </a:cxn>
                  <a:cxn ang="0">
                    <a:pos x="384" y="133"/>
                  </a:cxn>
                  <a:cxn ang="0">
                    <a:pos x="416" y="96"/>
                  </a:cxn>
                  <a:cxn ang="0">
                    <a:pos x="480" y="69"/>
                  </a:cxn>
                  <a:cxn ang="0">
                    <a:pos x="540" y="55"/>
                  </a:cxn>
                  <a:cxn ang="0">
                    <a:pos x="572" y="119"/>
                  </a:cxn>
                  <a:cxn ang="0">
                    <a:pos x="622" y="87"/>
                  </a:cxn>
                  <a:cxn ang="0">
                    <a:pos x="677" y="51"/>
                  </a:cxn>
                  <a:cxn ang="0">
                    <a:pos x="755" y="10"/>
                  </a:cxn>
                  <a:cxn ang="0">
                    <a:pos x="777" y="55"/>
                  </a:cxn>
                  <a:cxn ang="0">
                    <a:pos x="828" y="83"/>
                  </a:cxn>
                  <a:cxn ang="0">
                    <a:pos x="896" y="124"/>
                  </a:cxn>
                  <a:cxn ang="0">
                    <a:pos x="933" y="165"/>
                  </a:cxn>
                  <a:cxn ang="0">
                    <a:pos x="942" y="206"/>
                  </a:cxn>
                  <a:cxn ang="0">
                    <a:pos x="942" y="307"/>
                  </a:cxn>
                  <a:cxn ang="0">
                    <a:pos x="965" y="343"/>
                  </a:cxn>
                  <a:cxn ang="0">
                    <a:pos x="1006" y="371"/>
                  </a:cxn>
                  <a:cxn ang="0">
                    <a:pos x="1024" y="462"/>
                  </a:cxn>
                  <a:cxn ang="0">
                    <a:pos x="983" y="517"/>
                  </a:cxn>
                  <a:cxn ang="0">
                    <a:pos x="974" y="604"/>
                  </a:cxn>
                  <a:cxn ang="0">
                    <a:pos x="960" y="695"/>
                  </a:cxn>
                  <a:cxn ang="0">
                    <a:pos x="947" y="782"/>
                  </a:cxn>
                  <a:cxn ang="0">
                    <a:pos x="992" y="823"/>
                  </a:cxn>
                  <a:cxn ang="0">
                    <a:pos x="974" y="883"/>
                  </a:cxn>
                  <a:cxn ang="0">
                    <a:pos x="947" y="942"/>
                  </a:cxn>
                  <a:cxn ang="0">
                    <a:pos x="887" y="933"/>
                  </a:cxn>
                  <a:cxn ang="0">
                    <a:pos x="823" y="906"/>
                  </a:cxn>
                  <a:cxn ang="0">
                    <a:pos x="787" y="947"/>
                  </a:cxn>
                  <a:cxn ang="0">
                    <a:pos x="764" y="883"/>
                  </a:cxn>
                  <a:cxn ang="0">
                    <a:pos x="736" y="823"/>
                  </a:cxn>
                </a:cxnLst>
                <a:rect l="0" t="0" r="r" b="b"/>
                <a:pathLst>
                  <a:path w="1024" h="951">
                    <a:moveTo>
                      <a:pt x="732" y="819"/>
                    </a:moveTo>
                    <a:lnTo>
                      <a:pt x="727" y="819"/>
                    </a:lnTo>
                    <a:lnTo>
                      <a:pt x="727" y="814"/>
                    </a:lnTo>
                    <a:lnTo>
                      <a:pt x="723" y="810"/>
                    </a:lnTo>
                    <a:lnTo>
                      <a:pt x="723" y="810"/>
                    </a:lnTo>
                    <a:lnTo>
                      <a:pt x="723" y="805"/>
                    </a:lnTo>
                    <a:lnTo>
                      <a:pt x="718" y="805"/>
                    </a:lnTo>
                    <a:lnTo>
                      <a:pt x="709" y="805"/>
                    </a:lnTo>
                    <a:lnTo>
                      <a:pt x="704" y="805"/>
                    </a:lnTo>
                    <a:lnTo>
                      <a:pt x="700" y="810"/>
                    </a:lnTo>
                    <a:lnTo>
                      <a:pt x="700" y="810"/>
                    </a:lnTo>
                    <a:lnTo>
                      <a:pt x="691" y="810"/>
                    </a:lnTo>
                    <a:lnTo>
                      <a:pt x="691" y="814"/>
                    </a:lnTo>
                    <a:lnTo>
                      <a:pt x="686" y="814"/>
                    </a:lnTo>
                    <a:lnTo>
                      <a:pt x="686" y="819"/>
                    </a:lnTo>
                    <a:lnTo>
                      <a:pt x="681" y="819"/>
                    </a:lnTo>
                    <a:lnTo>
                      <a:pt x="681" y="823"/>
                    </a:lnTo>
                    <a:lnTo>
                      <a:pt x="677" y="823"/>
                    </a:lnTo>
                    <a:lnTo>
                      <a:pt x="677" y="828"/>
                    </a:lnTo>
                    <a:lnTo>
                      <a:pt x="668" y="832"/>
                    </a:lnTo>
                    <a:lnTo>
                      <a:pt x="659" y="837"/>
                    </a:lnTo>
                    <a:lnTo>
                      <a:pt x="654" y="837"/>
                    </a:lnTo>
                    <a:lnTo>
                      <a:pt x="654" y="832"/>
                    </a:lnTo>
                    <a:lnTo>
                      <a:pt x="645" y="832"/>
                    </a:lnTo>
                    <a:lnTo>
                      <a:pt x="645" y="828"/>
                    </a:lnTo>
                    <a:lnTo>
                      <a:pt x="640" y="828"/>
                    </a:lnTo>
                    <a:lnTo>
                      <a:pt x="636" y="823"/>
                    </a:lnTo>
                    <a:lnTo>
                      <a:pt x="631" y="823"/>
                    </a:lnTo>
                    <a:lnTo>
                      <a:pt x="631" y="823"/>
                    </a:lnTo>
                    <a:lnTo>
                      <a:pt x="627" y="823"/>
                    </a:lnTo>
                    <a:lnTo>
                      <a:pt x="622" y="828"/>
                    </a:lnTo>
                    <a:lnTo>
                      <a:pt x="617" y="823"/>
                    </a:lnTo>
                    <a:lnTo>
                      <a:pt x="617" y="823"/>
                    </a:lnTo>
                    <a:lnTo>
                      <a:pt x="617" y="819"/>
                    </a:lnTo>
                    <a:lnTo>
                      <a:pt x="613" y="814"/>
                    </a:lnTo>
                    <a:lnTo>
                      <a:pt x="613" y="814"/>
                    </a:lnTo>
                    <a:lnTo>
                      <a:pt x="608" y="814"/>
                    </a:lnTo>
                    <a:lnTo>
                      <a:pt x="604" y="814"/>
                    </a:lnTo>
                    <a:lnTo>
                      <a:pt x="599" y="814"/>
                    </a:lnTo>
                    <a:lnTo>
                      <a:pt x="599" y="819"/>
                    </a:lnTo>
                    <a:lnTo>
                      <a:pt x="595" y="819"/>
                    </a:lnTo>
                    <a:lnTo>
                      <a:pt x="590" y="819"/>
                    </a:lnTo>
                    <a:lnTo>
                      <a:pt x="590" y="819"/>
                    </a:lnTo>
                    <a:lnTo>
                      <a:pt x="585" y="823"/>
                    </a:lnTo>
                    <a:lnTo>
                      <a:pt x="563" y="800"/>
                    </a:lnTo>
                    <a:lnTo>
                      <a:pt x="540" y="819"/>
                    </a:lnTo>
                    <a:lnTo>
                      <a:pt x="526" y="823"/>
                    </a:lnTo>
                    <a:lnTo>
                      <a:pt x="517" y="819"/>
                    </a:lnTo>
                    <a:lnTo>
                      <a:pt x="499" y="823"/>
                    </a:lnTo>
                    <a:lnTo>
                      <a:pt x="499" y="819"/>
                    </a:lnTo>
                    <a:lnTo>
                      <a:pt x="489" y="819"/>
                    </a:lnTo>
                    <a:lnTo>
                      <a:pt x="485" y="819"/>
                    </a:lnTo>
                    <a:lnTo>
                      <a:pt x="480" y="819"/>
                    </a:lnTo>
                    <a:lnTo>
                      <a:pt x="480" y="823"/>
                    </a:lnTo>
                    <a:lnTo>
                      <a:pt x="480" y="823"/>
                    </a:lnTo>
                    <a:lnTo>
                      <a:pt x="476" y="823"/>
                    </a:lnTo>
                    <a:lnTo>
                      <a:pt x="471" y="823"/>
                    </a:lnTo>
                    <a:lnTo>
                      <a:pt x="462" y="823"/>
                    </a:lnTo>
                    <a:lnTo>
                      <a:pt x="457" y="828"/>
                    </a:lnTo>
                    <a:lnTo>
                      <a:pt x="453" y="828"/>
                    </a:lnTo>
                    <a:lnTo>
                      <a:pt x="448" y="828"/>
                    </a:lnTo>
                    <a:lnTo>
                      <a:pt x="444" y="823"/>
                    </a:lnTo>
                    <a:lnTo>
                      <a:pt x="439" y="823"/>
                    </a:lnTo>
                    <a:lnTo>
                      <a:pt x="439" y="819"/>
                    </a:lnTo>
                    <a:lnTo>
                      <a:pt x="444" y="819"/>
                    </a:lnTo>
                    <a:lnTo>
                      <a:pt x="444" y="814"/>
                    </a:lnTo>
                    <a:lnTo>
                      <a:pt x="453" y="805"/>
                    </a:lnTo>
                    <a:lnTo>
                      <a:pt x="453" y="800"/>
                    </a:lnTo>
                    <a:lnTo>
                      <a:pt x="453" y="800"/>
                    </a:lnTo>
                    <a:lnTo>
                      <a:pt x="448" y="796"/>
                    </a:lnTo>
                    <a:lnTo>
                      <a:pt x="444" y="796"/>
                    </a:lnTo>
                    <a:lnTo>
                      <a:pt x="435" y="800"/>
                    </a:lnTo>
                    <a:lnTo>
                      <a:pt x="435" y="800"/>
                    </a:lnTo>
                    <a:lnTo>
                      <a:pt x="430" y="796"/>
                    </a:lnTo>
                    <a:lnTo>
                      <a:pt x="430" y="791"/>
                    </a:lnTo>
                    <a:lnTo>
                      <a:pt x="425" y="787"/>
                    </a:lnTo>
                    <a:lnTo>
                      <a:pt x="425" y="782"/>
                    </a:lnTo>
                    <a:lnTo>
                      <a:pt x="425" y="778"/>
                    </a:lnTo>
                    <a:lnTo>
                      <a:pt x="425" y="773"/>
                    </a:lnTo>
                    <a:lnTo>
                      <a:pt x="430" y="768"/>
                    </a:lnTo>
                    <a:lnTo>
                      <a:pt x="430" y="764"/>
                    </a:lnTo>
                    <a:lnTo>
                      <a:pt x="435" y="764"/>
                    </a:lnTo>
                    <a:lnTo>
                      <a:pt x="435" y="759"/>
                    </a:lnTo>
                    <a:lnTo>
                      <a:pt x="435" y="759"/>
                    </a:lnTo>
                    <a:lnTo>
                      <a:pt x="439" y="755"/>
                    </a:lnTo>
                    <a:lnTo>
                      <a:pt x="444" y="755"/>
                    </a:lnTo>
                    <a:lnTo>
                      <a:pt x="448" y="755"/>
                    </a:lnTo>
                    <a:lnTo>
                      <a:pt x="448" y="750"/>
                    </a:lnTo>
                    <a:lnTo>
                      <a:pt x="453" y="746"/>
                    </a:lnTo>
                    <a:lnTo>
                      <a:pt x="457" y="741"/>
                    </a:lnTo>
                    <a:lnTo>
                      <a:pt x="457" y="736"/>
                    </a:lnTo>
                    <a:lnTo>
                      <a:pt x="457" y="732"/>
                    </a:lnTo>
                    <a:lnTo>
                      <a:pt x="457" y="732"/>
                    </a:lnTo>
                    <a:lnTo>
                      <a:pt x="462" y="727"/>
                    </a:lnTo>
                    <a:lnTo>
                      <a:pt x="462" y="723"/>
                    </a:lnTo>
                    <a:lnTo>
                      <a:pt x="467" y="723"/>
                    </a:lnTo>
                    <a:lnTo>
                      <a:pt x="467" y="718"/>
                    </a:lnTo>
                    <a:lnTo>
                      <a:pt x="471" y="718"/>
                    </a:lnTo>
                    <a:lnTo>
                      <a:pt x="476" y="714"/>
                    </a:lnTo>
                    <a:lnTo>
                      <a:pt x="476" y="714"/>
                    </a:lnTo>
                    <a:lnTo>
                      <a:pt x="471" y="714"/>
                    </a:lnTo>
                    <a:lnTo>
                      <a:pt x="471" y="709"/>
                    </a:lnTo>
                    <a:lnTo>
                      <a:pt x="467" y="709"/>
                    </a:lnTo>
                    <a:lnTo>
                      <a:pt x="462" y="709"/>
                    </a:lnTo>
                    <a:lnTo>
                      <a:pt x="462" y="704"/>
                    </a:lnTo>
                    <a:lnTo>
                      <a:pt x="457" y="704"/>
                    </a:lnTo>
                    <a:lnTo>
                      <a:pt x="457" y="700"/>
                    </a:lnTo>
                    <a:lnTo>
                      <a:pt x="457" y="700"/>
                    </a:lnTo>
                    <a:lnTo>
                      <a:pt x="453" y="700"/>
                    </a:lnTo>
                    <a:lnTo>
                      <a:pt x="448" y="695"/>
                    </a:lnTo>
                    <a:lnTo>
                      <a:pt x="448" y="691"/>
                    </a:lnTo>
                    <a:lnTo>
                      <a:pt x="448" y="691"/>
                    </a:lnTo>
                    <a:lnTo>
                      <a:pt x="453" y="686"/>
                    </a:lnTo>
                    <a:lnTo>
                      <a:pt x="453" y="682"/>
                    </a:lnTo>
                    <a:lnTo>
                      <a:pt x="457" y="682"/>
                    </a:lnTo>
                    <a:lnTo>
                      <a:pt x="457" y="677"/>
                    </a:lnTo>
                    <a:lnTo>
                      <a:pt x="453" y="677"/>
                    </a:lnTo>
                    <a:lnTo>
                      <a:pt x="453" y="672"/>
                    </a:lnTo>
                    <a:lnTo>
                      <a:pt x="448" y="672"/>
                    </a:lnTo>
                    <a:lnTo>
                      <a:pt x="444" y="672"/>
                    </a:lnTo>
                    <a:lnTo>
                      <a:pt x="439" y="672"/>
                    </a:lnTo>
                    <a:lnTo>
                      <a:pt x="435" y="672"/>
                    </a:lnTo>
                    <a:lnTo>
                      <a:pt x="435" y="672"/>
                    </a:lnTo>
                    <a:lnTo>
                      <a:pt x="430" y="668"/>
                    </a:lnTo>
                    <a:lnTo>
                      <a:pt x="425" y="668"/>
                    </a:lnTo>
                    <a:lnTo>
                      <a:pt x="425" y="663"/>
                    </a:lnTo>
                    <a:lnTo>
                      <a:pt x="430" y="663"/>
                    </a:lnTo>
                    <a:lnTo>
                      <a:pt x="430" y="659"/>
                    </a:lnTo>
                    <a:lnTo>
                      <a:pt x="435" y="659"/>
                    </a:lnTo>
                    <a:lnTo>
                      <a:pt x="435" y="654"/>
                    </a:lnTo>
                    <a:lnTo>
                      <a:pt x="439" y="654"/>
                    </a:lnTo>
                    <a:lnTo>
                      <a:pt x="444" y="650"/>
                    </a:lnTo>
                    <a:lnTo>
                      <a:pt x="448" y="650"/>
                    </a:lnTo>
                    <a:lnTo>
                      <a:pt x="453" y="645"/>
                    </a:lnTo>
                    <a:lnTo>
                      <a:pt x="457" y="645"/>
                    </a:lnTo>
                    <a:lnTo>
                      <a:pt x="457" y="640"/>
                    </a:lnTo>
                    <a:lnTo>
                      <a:pt x="457" y="636"/>
                    </a:lnTo>
                    <a:lnTo>
                      <a:pt x="457" y="627"/>
                    </a:lnTo>
                    <a:lnTo>
                      <a:pt x="457" y="618"/>
                    </a:lnTo>
                    <a:lnTo>
                      <a:pt x="457" y="618"/>
                    </a:lnTo>
                    <a:lnTo>
                      <a:pt x="457" y="613"/>
                    </a:lnTo>
                    <a:lnTo>
                      <a:pt x="457" y="604"/>
                    </a:lnTo>
                    <a:lnTo>
                      <a:pt x="453" y="599"/>
                    </a:lnTo>
                    <a:lnTo>
                      <a:pt x="453" y="595"/>
                    </a:lnTo>
                    <a:lnTo>
                      <a:pt x="453" y="590"/>
                    </a:lnTo>
                    <a:lnTo>
                      <a:pt x="457" y="581"/>
                    </a:lnTo>
                    <a:lnTo>
                      <a:pt x="457" y="576"/>
                    </a:lnTo>
                    <a:lnTo>
                      <a:pt x="457" y="572"/>
                    </a:lnTo>
                    <a:lnTo>
                      <a:pt x="457" y="567"/>
                    </a:lnTo>
                    <a:lnTo>
                      <a:pt x="453" y="567"/>
                    </a:lnTo>
                    <a:lnTo>
                      <a:pt x="453" y="563"/>
                    </a:lnTo>
                    <a:lnTo>
                      <a:pt x="448" y="558"/>
                    </a:lnTo>
                    <a:lnTo>
                      <a:pt x="444" y="558"/>
                    </a:lnTo>
                    <a:lnTo>
                      <a:pt x="439" y="558"/>
                    </a:lnTo>
                    <a:lnTo>
                      <a:pt x="435" y="558"/>
                    </a:lnTo>
                    <a:lnTo>
                      <a:pt x="425" y="558"/>
                    </a:lnTo>
                    <a:lnTo>
                      <a:pt x="416" y="558"/>
                    </a:lnTo>
                    <a:lnTo>
                      <a:pt x="416" y="558"/>
                    </a:lnTo>
                    <a:lnTo>
                      <a:pt x="412" y="558"/>
                    </a:lnTo>
                    <a:lnTo>
                      <a:pt x="403" y="563"/>
                    </a:lnTo>
                    <a:lnTo>
                      <a:pt x="393" y="563"/>
                    </a:lnTo>
                    <a:lnTo>
                      <a:pt x="389" y="563"/>
                    </a:lnTo>
                    <a:lnTo>
                      <a:pt x="384" y="558"/>
                    </a:lnTo>
                    <a:lnTo>
                      <a:pt x="375" y="558"/>
                    </a:lnTo>
                    <a:lnTo>
                      <a:pt x="371" y="558"/>
                    </a:lnTo>
                    <a:lnTo>
                      <a:pt x="371" y="558"/>
                    </a:lnTo>
                    <a:lnTo>
                      <a:pt x="366" y="558"/>
                    </a:lnTo>
                    <a:lnTo>
                      <a:pt x="357" y="554"/>
                    </a:lnTo>
                    <a:lnTo>
                      <a:pt x="352" y="554"/>
                    </a:lnTo>
                    <a:lnTo>
                      <a:pt x="348" y="554"/>
                    </a:lnTo>
                    <a:lnTo>
                      <a:pt x="348" y="554"/>
                    </a:lnTo>
                    <a:lnTo>
                      <a:pt x="343" y="554"/>
                    </a:lnTo>
                    <a:lnTo>
                      <a:pt x="339" y="554"/>
                    </a:lnTo>
                    <a:lnTo>
                      <a:pt x="334" y="554"/>
                    </a:lnTo>
                    <a:lnTo>
                      <a:pt x="329" y="549"/>
                    </a:lnTo>
                    <a:lnTo>
                      <a:pt x="325" y="544"/>
                    </a:lnTo>
                    <a:lnTo>
                      <a:pt x="316" y="535"/>
                    </a:lnTo>
                    <a:lnTo>
                      <a:pt x="311" y="535"/>
                    </a:lnTo>
                    <a:lnTo>
                      <a:pt x="311" y="535"/>
                    </a:lnTo>
                    <a:lnTo>
                      <a:pt x="307" y="535"/>
                    </a:lnTo>
                    <a:lnTo>
                      <a:pt x="307" y="526"/>
                    </a:lnTo>
                    <a:lnTo>
                      <a:pt x="307" y="522"/>
                    </a:lnTo>
                    <a:lnTo>
                      <a:pt x="307" y="517"/>
                    </a:lnTo>
                    <a:lnTo>
                      <a:pt x="307" y="512"/>
                    </a:lnTo>
                    <a:lnTo>
                      <a:pt x="311" y="512"/>
                    </a:lnTo>
                    <a:lnTo>
                      <a:pt x="311" y="512"/>
                    </a:lnTo>
                    <a:lnTo>
                      <a:pt x="316" y="512"/>
                    </a:lnTo>
                    <a:lnTo>
                      <a:pt x="320" y="508"/>
                    </a:lnTo>
                    <a:lnTo>
                      <a:pt x="320" y="503"/>
                    </a:lnTo>
                    <a:lnTo>
                      <a:pt x="325" y="503"/>
                    </a:lnTo>
                    <a:lnTo>
                      <a:pt x="325" y="499"/>
                    </a:lnTo>
                    <a:lnTo>
                      <a:pt x="325" y="499"/>
                    </a:lnTo>
                    <a:lnTo>
                      <a:pt x="325" y="494"/>
                    </a:lnTo>
                    <a:lnTo>
                      <a:pt x="329" y="494"/>
                    </a:lnTo>
                    <a:lnTo>
                      <a:pt x="334" y="494"/>
                    </a:lnTo>
                    <a:lnTo>
                      <a:pt x="334" y="490"/>
                    </a:lnTo>
                    <a:lnTo>
                      <a:pt x="343" y="480"/>
                    </a:lnTo>
                    <a:lnTo>
                      <a:pt x="348" y="480"/>
                    </a:lnTo>
                    <a:lnTo>
                      <a:pt x="348" y="476"/>
                    </a:lnTo>
                    <a:lnTo>
                      <a:pt x="352" y="476"/>
                    </a:lnTo>
                    <a:lnTo>
                      <a:pt x="352" y="471"/>
                    </a:lnTo>
                    <a:lnTo>
                      <a:pt x="361" y="471"/>
                    </a:lnTo>
                    <a:lnTo>
                      <a:pt x="361" y="467"/>
                    </a:lnTo>
                    <a:lnTo>
                      <a:pt x="361" y="462"/>
                    </a:lnTo>
                    <a:lnTo>
                      <a:pt x="366" y="458"/>
                    </a:lnTo>
                    <a:lnTo>
                      <a:pt x="366" y="453"/>
                    </a:lnTo>
                    <a:lnTo>
                      <a:pt x="366" y="448"/>
                    </a:lnTo>
                    <a:lnTo>
                      <a:pt x="361" y="448"/>
                    </a:lnTo>
                    <a:lnTo>
                      <a:pt x="361" y="448"/>
                    </a:lnTo>
                    <a:lnTo>
                      <a:pt x="357" y="444"/>
                    </a:lnTo>
                    <a:lnTo>
                      <a:pt x="352" y="439"/>
                    </a:lnTo>
                    <a:lnTo>
                      <a:pt x="348" y="435"/>
                    </a:lnTo>
                    <a:lnTo>
                      <a:pt x="348" y="435"/>
                    </a:lnTo>
                    <a:lnTo>
                      <a:pt x="343" y="435"/>
                    </a:lnTo>
                    <a:lnTo>
                      <a:pt x="334" y="435"/>
                    </a:lnTo>
                    <a:lnTo>
                      <a:pt x="329" y="435"/>
                    </a:lnTo>
                    <a:lnTo>
                      <a:pt x="325" y="435"/>
                    </a:lnTo>
                    <a:lnTo>
                      <a:pt x="320" y="430"/>
                    </a:lnTo>
                    <a:lnTo>
                      <a:pt x="316" y="426"/>
                    </a:lnTo>
                    <a:lnTo>
                      <a:pt x="316" y="426"/>
                    </a:lnTo>
                    <a:lnTo>
                      <a:pt x="320" y="416"/>
                    </a:lnTo>
                    <a:lnTo>
                      <a:pt x="320" y="412"/>
                    </a:lnTo>
                    <a:lnTo>
                      <a:pt x="320" y="407"/>
                    </a:lnTo>
                    <a:lnTo>
                      <a:pt x="325" y="403"/>
                    </a:lnTo>
                    <a:lnTo>
                      <a:pt x="325" y="403"/>
                    </a:lnTo>
                    <a:lnTo>
                      <a:pt x="325" y="398"/>
                    </a:lnTo>
                    <a:lnTo>
                      <a:pt x="325" y="394"/>
                    </a:lnTo>
                    <a:lnTo>
                      <a:pt x="325" y="384"/>
                    </a:lnTo>
                    <a:lnTo>
                      <a:pt x="320" y="380"/>
                    </a:lnTo>
                    <a:lnTo>
                      <a:pt x="316" y="375"/>
                    </a:lnTo>
                    <a:lnTo>
                      <a:pt x="316" y="371"/>
                    </a:lnTo>
                    <a:lnTo>
                      <a:pt x="311" y="371"/>
                    </a:lnTo>
                    <a:lnTo>
                      <a:pt x="307" y="371"/>
                    </a:lnTo>
                    <a:lnTo>
                      <a:pt x="307" y="371"/>
                    </a:lnTo>
                    <a:lnTo>
                      <a:pt x="293" y="371"/>
                    </a:lnTo>
                    <a:lnTo>
                      <a:pt x="288" y="371"/>
                    </a:lnTo>
                    <a:lnTo>
                      <a:pt x="284" y="371"/>
                    </a:lnTo>
                    <a:lnTo>
                      <a:pt x="284" y="366"/>
                    </a:lnTo>
                    <a:lnTo>
                      <a:pt x="284" y="362"/>
                    </a:lnTo>
                    <a:lnTo>
                      <a:pt x="284" y="362"/>
                    </a:lnTo>
                    <a:lnTo>
                      <a:pt x="284" y="362"/>
                    </a:lnTo>
                    <a:lnTo>
                      <a:pt x="284" y="357"/>
                    </a:lnTo>
                    <a:lnTo>
                      <a:pt x="284" y="352"/>
                    </a:lnTo>
                    <a:lnTo>
                      <a:pt x="288" y="348"/>
                    </a:lnTo>
                    <a:lnTo>
                      <a:pt x="288" y="343"/>
                    </a:lnTo>
                    <a:lnTo>
                      <a:pt x="284" y="339"/>
                    </a:lnTo>
                    <a:lnTo>
                      <a:pt x="284" y="339"/>
                    </a:lnTo>
                    <a:lnTo>
                      <a:pt x="284" y="339"/>
                    </a:lnTo>
                    <a:lnTo>
                      <a:pt x="284" y="334"/>
                    </a:lnTo>
                    <a:lnTo>
                      <a:pt x="279" y="330"/>
                    </a:lnTo>
                    <a:lnTo>
                      <a:pt x="270" y="330"/>
                    </a:lnTo>
                    <a:lnTo>
                      <a:pt x="261" y="325"/>
                    </a:lnTo>
                    <a:lnTo>
                      <a:pt x="256" y="325"/>
                    </a:lnTo>
                    <a:lnTo>
                      <a:pt x="252" y="325"/>
                    </a:lnTo>
                    <a:lnTo>
                      <a:pt x="247" y="325"/>
                    </a:lnTo>
                    <a:lnTo>
                      <a:pt x="243" y="330"/>
                    </a:lnTo>
                    <a:lnTo>
                      <a:pt x="238" y="330"/>
                    </a:lnTo>
                    <a:lnTo>
                      <a:pt x="238" y="334"/>
                    </a:lnTo>
                    <a:lnTo>
                      <a:pt x="238" y="339"/>
                    </a:lnTo>
                    <a:lnTo>
                      <a:pt x="238" y="339"/>
                    </a:lnTo>
                    <a:lnTo>
                      <a:pt x="243" y="343"/>
                    </a:lnTo>
                    <a:lnTo>
                      <a:pt x="243" y="348"/>
                    </a:lnTo>
                    <a:lnTo>
                      <a:pt x="243" y="352"/>
                    </a:lnTo>
                    <a:lnTo>
                      <a:pt x="229" y="352"/>
                    </a:lnTo>
                    <a:lnTo>
                      <a:pt x="215" y="352"/>
                    </a:lnTo>
                    <a:lnTo>
                      <a:pt x="215" y="357"/>
                    </a:lnTo>
                    <a:lnTo>
                      <a:pt x="206" y="357"/>
                    </a:lnTo>
                    <a:lnTo>
                      <a:pt x="197" y="357"/>
                    </a:lnTo>
                    <a:lnTo>
                      <a:pt x="197" y="362"/>
                    </a:lnTo>
                    <a:lnTo>
                      <a:pt x="197" y="362"/>
                    </a:lnTo>
                    <a:lnTo>
                      <a:pt x="188" y="362"/>
                    </a:lnTo>
                    <a:lnTo>
                      <a:pt x="183" y="362"/>
                    </a:lnTo>
                    <a:lnTo>
                      <a:pt x="179" y="362"/>
                    </a:lnTo>
                    <a:lnTo>
                      <a:pt x="174" y="366"/>
                    </a:lnTo>
                    <a:lnTo>
                      <a:pt x="174" y="366"/>
                    </a:lnTo>
                    <a:lnTo>
                      <a:pt x="169" y="362"/>
                    </a:lnTo>
                    <a:lnTo>
                      <a:pt x="169" y="362"/>
                    </a:lnTo>
                    <a:lnTo>
                      <a:pt x="165" y="357"/>
                    </a:lnTo>
                    <a:lnTo>
                      <a:pt x="165" y="348"/>
                    </a:lnTo>
                    <a:lnTo>
                      <a:pt x="160" y="348"/>
                    </a:lnTo>
                    <a:lnTo>
                      <a:pt x="160" y="343"/>
                    </a:lnTo>
                    <a:lnTo>
                      <a:pt x="156" y="343"/>
                    </a:lnTo>
                    <a:lnTo>
                      <a:pt x="151" y="339"/>
                    </a:lnTo>
                    <a:lnTo>
                      <a:pt x="151" y="339"/>
                    </a:lnTo>
                    <a:lnTo>
                      <a:pt x="147" y="339"/>
                    </a:lnTo>
                    <a:lnTo>
                      <a:pt x="147" y="343"/>
                    </a:lnTo>
                    <a:lnTo>
                      <a:pt x="142" y="343"/>
                    </a:lnTo>
                    <a:lnTo>
                      <a:pt x="137" y="343"/>
                    </a:lnTo>
                    <a:lnTo>
                      <a:pt x="137" y="348"/>
                    </a:lnTo>
                    <a:lnTo>
                      <a:pt x="128" y="348"/>
                    </a:lnTo>
                    <a:lnTo>
                      <a:pt x="128" y="352"/>
                    </a:lnTo>
                    <a:lnTo>
                      <a:pt x="128" y="352"/>
                    </a:lnTo>
                    <a:lnTo>
                      <a:pt x="124" y="357"/>
                    </a:lnTo>
                    <a:lnTo>
                      <a:pt x="119" y="357"/>
                    </a:lnTo>
                    <a:lnTo>
                      <a:pt x="119" y="362"/>
                    </a:lnTo>
                    <a:lnTo>
                      <a:pt x="105" y="371"/>
                    </a:lnTo>
                    <a:lnTo>
                      <a:pt x="105" y="371"/>
                    </a:lnTo>
                    <a:lnTo>
                      <a:pt x="101" y="375"/>
                    </a:lnTo>
                    <a:lnTo>
                      <a:pt x="101" y="380"/>
                    </a:lnTo>
                    <a:lnTo>
                      <a:pt x="96" y="380"/>
                    </a:lnTo>
                    <a:lnTo>
                      <a:pt x="92" y="380"/>
                    </a:lnTo>
                    <a:lnTo>
                      <a:pt x="92" y="384"/>
                    </a:lnTo>
                    <a:lnTo>
                      <a:pt x="87" y="384"/>
                    </a:lnTo>
                    <a:lnTo>
                      <a:pt x="87" y="384"/>
                    </a:lnTo>
                    <a:lnTo>
                      <a:pt x="87" y="384"/>
                    </a:lnTo>
                    <a:lnTo>
                      <a:pt x="87" y="389"/>
                    </a:lnTo>
                    <a:lnTo>
                      <a:pt x="83" y="389"/>
                    </a:lnTo>
                    <a:lnTo>
                      <a:pt x="78" y="394"/>
                    </a:lnTo>
                    <a:lnTo>
                      <a:pt x="73" y="394"/>
                    </a:lnTo>
                    <a:lnTo>
                      <a:pt x="73" y="398"/>
                    </a:lnTo>
                    <a:lnTo>
                      <a:pt x="69" y="403"/>
                    </a:lnTo>
                    <a:lnTo>
                      <a:pt x="69" y="403"/>
                    </a:lnTo>
                    <a:lnTo>
                      <a:pt x="64" y="403"/>
                    </a:lnTo>
                    <a:lnTo>
                      <a:pt x="64" y="407"/>
                    </a:lnTo>
                    <a:lnTo>
                      <a:pt x="64" y="412"/>
                    </a:lnTo>
                    <a:lnTo>
                      <a:pt x="64" y="412"/>
                    </a:lnTo>
                    <a:lnTo>
                      <a:pt x="60" y="421"/>
                    </a:lnTo>
                    <a:lnTo>
                      <a:pt x="55" y="421"/>
                    </a:lnTo>
                    <a:lnTo>
                      <a:pt x="55" y="426"/>
                    </a:lnTo>
                    <a:lnTo>
                      <a:pt x="51" y="426"/>
                    </a:lnTo>
                    <a:lnTo>
                      <a:pt x="46" y="426"/>
                    </a:lnTo>
                    <a:lnTo>
                      <a:pt x="46" y="430"/>
                    </a:lnTo>
                    <a:lnTo>
                      <a:pt x="41" y="430"/>
                    </a:lnTo>
                    <a:lnTo>
                      <a:pt x="37" y="430"/>
                    </a:lnTo>
                    <a:lnTo>
                      <a:pt x="32" y="426"/>
                    </a:lnTo>
                    <a:lnTo>
                      <a:pt x="28" y="426"/>
                    </a:lnTo>
                    <a:lnTo>
                      <a:pt x="23" y="426"/>
                    </a:lnTo>
                    <a:lnTo>
                      <a:pt x="23" y="426"/>
                    </a:lnTo>
                    <a:lnTo>
                      <a:pt x="19" y="416"/>
                    </a:lnTo>
                    <a:lnTo>
                      <a:pt x="19" y="412"/>
                    </a:lnTo>
                    <a:lnTo>
                      <a:pt x="19" y="407"/>
                    </a:lnTo>
                    <a:lnTo>
                      <a:pt x="19" y="403"/>
                    </a:lnTo>
                    <a:lnTo>
                      <a:pt x="19" y="403"/>
                    </a:lnTo>
                    <a:lnTo>
                      <a:pt x="19" y="403"/>
                    </a:lnTo>
                    <a:lnTo>
                      <a:pt x="14" y="403"/>
                    </a:lnTo>
                    <a:lnTo>
                      <a:pt x="9" y="403"/>
                    </a:lnTo>
                    <a:lnTo>
                      <a:pt x="5" y="398"/>
                    </a:lnTo>
                    <a:lnTo>
                      <a:pt x="0" y="398"/>
                    </a:lnTo>
                    <a:lnTo>
                      <a:pt x="0" y="394"/>
                    </a:lnTo>
                    <a:lnTo>
                      <a:pt x="0" y="389"/>
                    </a:lnTo>
                    <a:lnTo>
                      <a:pt x="0" y="384"/>
                    </a:lnTo>
                    <a:lnTo>
                      <a:pt x="0" y="384"/>
                    </a:lnTo>
                    <a:lnTo>
                      <a:pt x="0" y="380"/>
                    </a:lnTo>
                    <a:lnTo>
                      <a:pt x="5" y="375"/>
                    </a:lnTo>
                    <a:lnTo>
                      <a:pt x="5" y="371"/>
                    </a:lnTo>
                    <a:lnTo>
                      <a:pt x="14" y="362"/>
                    </a:lnTo>
                    <a:lnTo>
                      <a:pt x="14" y="357"/>
                    </a:lnTo>
                    <a:lnTo>
                      <a:pt x="19" y="357"/>
                    </a:lnTo>
                    <a:lnTo>
                      <a:pt x="19" y="348"/>
                    </a:lnTo>
                    <a:lnTo>
                      <a:pt x="14" y="339"/>
                    </a:lnTo>
                    <a:lnTo>
                      <a:pt x="14" y="334"/>
                    </a:lnTo>
                    <a:lnTo>
                      <a:pt x="19" y="330"/>
                    </a:lnTo>
                    <a:lnTo>
                      <a:pt x="19" y="320"/>
                    </a:lnTo>
                    <a:lnTo>
                      <a:pt x="19" y="316"/>
                    </a:lnTo>
                    <a:lnTo>
                      <a:pt x="14" y="316"/>
                    </a:lnTo>
                    <a:lnTo>
                      <a:pt x="14" y="316"/>
                    </a:lnTo>
                    <a:lnTo>
                      <a:pt x="9" y="311"/>
                    </a:lnTo>
                    <a:lnTo>
                      <a:pt x="9" y="307"/>
                    </a:lnTo>
                    <a:lnTo>
                      <a:pt x="5" y="307"/>
                    </a:lnTo>
                    <a:lnTo>
                      <a:pt x="5" y="302"/>
                    </a:lnTo>
                    <a:lnTo>
                      <a:pt x="5" y="298"/>
                    </a:lnTo>
                    <a:lnTo>
                      <a:pt x="5" y="293"/>
                    </a:lnTo>
                    <a:lnTo>
                      <a:pt x="9" y="293"/>
                    </a:lnTo>
                    <a:lnTo>
                      <a:pt x="9" y="288"/>
                    </a:lnTo>
                    <a:lnTo>
                      <a:pt x="9" y="284"/>
                    </a:lnTo>
                    <a:lnTo>
                      <a:pt x="9" y="279"/>
                    </a:lnTo>
                    <a:lnTo>
                      <a:pt x="9" y="275"/>
                    </a:lnTo>
                    <a:lnTo>
                      <a:pt x="14" y="275"/>
                    </a:lnTo>
                    <a:lnTo>
                      <a:pt x="14" y="275"/>
                    </a:lnTo>
                    <a:lnTo>
                      <a:pt x="14" y="270"/>
                    </a:lnTo>
                    <a:lnTo>
                      <a:pt x="19" y="256"/>
                    </a:lnTo>
                    <a:lnTo>
                      <a:pt x="19" y="252"/>
                    </a:lnTo>
                    <a:lnTo>
                      <a:pt x="19" y="252"/>
                    </a:lnTo>
                    <a:lnTo>
                      <a:pt x="28" y="243"/>
                    </a:lnTo>
                    <a:lnTo>
                      <a:pt x="32" y="243"/>
                    </a:lnTo>
                    <a:lnTo>
                      <a:pt x="41" y="243"/>
                    </a:lnTo>
                    <a:lnTo>
                      <a:pt x="46" y="243"/>
                    </a:lnTo>
                    <a:lnTo>
                      <a:pt x="51" y="243"/>
                    </a:lnTo>
                    <a:lnTo>
                      <a:pt x="51" y="238"/>
                    </a:lnTo>
                    <a:lnTo>
                      <a:pt x="55" y="238"/>
                    </a:lnTo>
                    <a:lnTo>
                      <a:pt x="55" y="234"/>
                    </a:lnTo>
                    <a:lnTo>
                      <a:pt x="55" y="229"/>
                    </a:lnTo>
                    <a:lnTo>
                      <a:pt x="60" y="229"/>
                    </a:lnTo>
                    <a:lnTo>
                      <a:pt x="60" y="220"/>
                    </a:lnTo>
                    <a:lnTo>
                      <a:pt x="64" y="215"/>
                    </a:lnTo>
                    <a:lnTo>
                      <a:pt x="64" y="211"/>
                    </a:lnTo>
                    <a:lnTo>
                      <a:pt x="64" y="211"/>
                    </a:lnTo>
                    <a:lnTo>
                      <a:pt x="73" y="206"/>
                    </a:lnTo>
                    <a:lnTo>
                      <a:pt x="78" y="206"/>
                    </a:lnTo>
                    <a:lnTo>
                      <a:pt x="78" y="202"/>
                    </a:lnTo>
                    <a:lnTo>
                      <a:pt x="83" y="197"/>
                    </a:lnTo>
                    <a:lnTo>
                      <a:pt x="87" y="192"/>
                    </a:lnTo>
                    <a:lnTo>
                      <a:pt x="87" y="192"/>
                    </a:lnTo>
                    <a:lnTo>
                      <a:pt x="101" y="183"/>
                    </a:lnTo>
                    <a:lnTo>
                      <a:pt x="105" y="183"/>
                    </a:lnTo>
                    <a:lnTo>
                      <a:pt x="110" y="183"/>
                    </a:lnTo>
                    <a:lnTo>
                      <a:pt x="110" y="179"/>
                    </a:lnTo>
                    <a:lnTo>
                      <a:pt x="119" y="179"/>
                    </a:lnTo>
                    <a:lnTo>
                      <a:pt x="128" y="183"/>
                    </a:lnTo>
                    <a:lnTo>
                      <a:pt x="128" y="183"/>
                    </a:lnTo>
                    <a:lnTo>
                      <a:pt x="137" y="183"/>
                    </a:lnTo>
                    <a:lnTo>
                      <a:pt x="147" y="183"/>
                    </a:lnTo>
                    <a:lnTo>
                      <a:pt x="151" y="183"/>
                    </a:lnTo>
                    <a:lnTo>
                      <a:pt x="156" y="183"/>
                    </a:lnTo>
                    <a:lnTo>
                      <a:pt x="160" y="183"/>
                    </a:lnTo>
                    <a:lnTo>
                      <a:pt x="169" y="183"/>
                    </a:lnTo>
                    <a:lnTo>
                      <a:pt x="174" y="183"/>
                    </a:lnTo>
                    <a:lnTo>
                      <a:pt x="192" y="183"/>
                    </a:lnTo>
                    <a:lnTo>
                      <a:pt x="197" y="183"/>
                    </a:lnTo>
                    <a:lnTo>
                      <a:pt x="201" y="179"/>
                    </a:lnTo>
                    <a:lnTo>
                      <a:pt x="211" y="174"/>
                    </a:lnTo>
                    <a:lnTo>
                      <a:pt x="215" y="174"/>
                    </a:lnTo>
                    <a:lnTo>
                      <a:pt x="215" y="170"/>
                    </a:lnTo>
                    <a:lnTo>
                      <a:pt x="215" y="170"/>
                    </a:lnTo>
                    <a:lnTo>
                      <a:pt x="220" y="165"/>
                    </a:lnTo>
                    <a:lnTo>
                      <a:pt x="224" y="165"/>
                    </a:lnTo>
                    <a:lnTo>
                      <a:pt x="229" y="165"/>
                    </a:lnTo>
                    <a:lnTo>
                      <a:pt x="233" y="160"/>
                    </a:lnTo>
                    <a:lnTo>
                      <a:pt x="238" y="156"/>
                    </a:lnTo>
                    <a:lnTo>
                      <a:pt x="238" y="151"/>
                    </a:lnTo>
                    <a:lnTo>
                      <a:pt x="238" y="151"/>
                    </a:lnTo>
                    <a:lnTo>
                      <a:pt x="238" y="142"/>
                    </a:lnTo>
                    <a:lnTo>
                      <a:pt x="243" y="138"/>
                    </a:lnTo>
                    <a:lnTo>
                      <a:pt x="243" y="133"/>
                    </a:lnTo>
                    <a:lnTo>
                      <a:pt x="247" y="133"/>
                    </a:lnTo>
                    <a:lnTo>
                      <a:pt x="247" y="128"/>
                    </a:lnTo>
                    <a:lnTo>
                      <a:pt x="247" y="124"/>
                    </a:lnTo>
                    <a:lnTo>
                      <a:pt x="247" y="119"/>
                    </a:lnTo>
                    <a:lnTo>
                      <a:pt x="247" y="115"/>
                    </a:lnTo>
                    <a:lnTo>
                      <a:pt x="252" y="101"/>
                    </a:lnTo>
                    <a:lnTo>
                      <a:pt x="256" y="96"/>
                    </a:lnTo>
                    <a:lnTo>
                      <a:pt x="261" y="92"/>
                    </a:lnTo>
                    <a:lnTo>
                      <a:pt x="261" y="92"/>
                    </a:lnTo>
                    <a:lnTo>
                      <a:pt x="265" y="87"/>
                    </a:lnTo>
                    <a:lnTo>
                      <a:pt x="270" y="87"/>
                    </a:lnTo>
                    <a:lnTo>
                      <a:pt x="275" y="83"/>
                    </a:lnTo>
                    <a:lnTo>
                      <a:pt x="279" y="83"/>
                    </a:lnTo>
                    <a:lnTo>
                      <a:pt x="279" y="78"/>
                    </a:lnTo>
                    <a:lnTo>
                      <a:pt x="284" y="78"/>
                    </a:lnTo>
                    <a:lnTo>
                      <a:pt x="284" y="74"/>
                    </a:lnTo>
                    <a:lnTo>
                      <a:pt x="284" y="74"/>
                    </a:lnTo>
                    <a:lnTo>
                      <a:pt x="288" y="74"/>
                    </a:lnTo>
                    <a:lnTo>
                      <a:pt x="293" y="64"/>
                    </a:lnTo>
                    <a:lnTo>
                      <a:pt x="297" y="64"/>
                    </a:lnTo>
                    <a:lnTo>
                      <a:pt x="302" y="60"/>
                    </a:lnTo>
                    <a:lnTo>
                      <a:pt x="307" y="55"/>
                    </a:lnTo>
                    <a:lnTo>
                      <a:pt x="307" y="55"/>
                    </a:lnTo>
                    <a:lnTo>
                      <a:pt x="302" y="51"/>
                    </a:lnTo>
                    <a:lnTo>
                      <a:pt x="307" y="55"/>
                    </a:lnTo>
                    <a:lnTo>
                      <a:pt x="316" y="55"/>
                    </a:lnTo>
                    <a:lnTo>
                      <a:pt x="320" y="55"/>
                    </a:lnTo>
                    <a:lnTo>
                      <a:pt x="329" y="55"/>
                    </a:lnTo>
                    <a:lnTo>
                      <a:pt x="339" y="60"/>
                    </a:lnTo>
                    <a:lnTo>
                      <a:pt x="343" y="60"/>
                    </a:lnTo>
                    <a:lnTo>
                      <a:pt x="343" y="64"/>
                    </a:lnTo>
                    <a:lnTo>
                      <a:pt x="348" y="69"/>
                    </a:lnTo>
                    <a:lnTo>
                      <a:pt x="348" y="74"/>
                    </a:lnTo>
                    <a:lnTo>
                      <a:pt x="348" y="74"/>
                    </a:lnTo>
                    <a:lnTo>
                      <a:pt x="343" y="83"/>
                    </a:lnTo>
                    <a:lnTo>
                      <a:pt x="339" y="83"/>
                    </a:lnTo>
                    <a:lnTo>
                      <a:pt x="339" y="87"/>
                    </a:lnTo>
                    <a:lnTo>
                      <a:pt x="334" y="92"/>
                    </a:lnTo>
                    <a:lnTo>
                      <a:pt x="334" y="96"/>
                    </a:lnTo>
                    <a:lnTo>
                      <a:pt x="334" y="96"/>
                    </a:lnTo>
                    <a:lnTo>
                      <a:pt x="334" y="106"/>
                    </a:lnTo>
                    <a:lnTo>
                      <a:pt x="339" y="106"/>
                    </a:lnTo>
                    <a:lnTo>
                      <a:pt x="343" y="106"/>
                    </a:lnTo>
                    <a:lnTo>
                      <a:pt x="343" y="110"/>
                    </a:lnTo>
                    <a:lnTo>
                      <a:pt x="348" y="110"/>
                    </a:lnTo>
                    <a:lnTo>
                      <a:pt x="348" y="110"/>
                    </a:lnTo>
                    <a:lnTo>
                      <a:pt x="352" y="115"/>
                    </a:lnTo>
                    <a:lnTo>
                      <a:pt x="357" y="115"/>
                    </a:lnTo>
                    <a:lnTo>
                      <a:pt x="361" y="115"/>
                    </a:lnTo>
                    <a:lnTo>
                      <a:pt x="366" y="119"/>
                    </a:lnTo>
                    <a:lnTo>
                      <a:pt x="371" y="119"/>
                    </a:lnTo>
                    <a:lnTo>
                      <a:pt x="371" y="119"/>
                    </a:lnTo>
                    <a:lnTo>
                      <a:pt x="371" y="119"/>
                    </a:lnTo>
                    <a:lnTo>
                      <a:pt x="375" y="124"/>
                    </a:lnTo>
                    <a:lnTo>
                      <a:pt x="380" y="128"/>
                    </a:lnTo>
                    <a:lnTo>
                      <a:pt x="384" y="133"/>
                    </a:lnTo>
                    <a:lnTo>
                      <a:pt x="389" y="133"/>
                    </a:lnTo>
                    <a:lnTo>
                      <a:pt x="389" y="138"/>
                    </a:lnTo>
                    <a:lnTo>
                      <a:pt x="393" y="142"/>
                    </a:lnTo>
                    <a:lnTo>
                      <a:pt x="398" y="142"/>
                    </a:lnTo>
                    <a:lnTo>
                      <a:pt x="403" y="142"/>
                    </a:lnTo>
                    <a:lnTo>
                      <a:pt x="412" y="142"/>
                    </a:lnTo>
                    <a:lnTo>
                      <a:pt x="412" y="138"/>
                    </a:lnTo>
                    <a:lnTo>
                      <a:pt x="416" y="138"/>
                    </a:lnTo>
                    <a:lnTo>
                      <a:pt x="416" y="133"/>
                    </a:lnTo>
                    <a:lnTo>
                      <a:pt x="416" y="128"/>
                    </a:lnTo>
                    <a:lnTo>
                      <a:pt x="416" y="119"/>
                    </a:lnTo>
                    <a:lnTo>
                      <a:pt x="416" y="119"/>
                    </a:lnTo>
                    <a:lnTo>
                      <a:pt x="416" y="106"/>
                    </a:lnTo>
                    <a:lnTo>
                      <a:pt x="416" y="96"/>
                    </a:lnTo>
                    <a:lnTo>
                      <a:pt x="416" y="96"/>
                    </a:lnTo>
                    <a:lnTo>
                      <a:pt x="416" y="92"/>
                    </a:lnTo>
                    <a:lnTo>
                      <a:pt x="416" y="92"/>
                    </a:lnTo>
                    <a:lnTo>
                      <a:pt x="425" y="87"/>
                    </a:lnTo>
                    <a:lnTo>
                      <a:pt x="430" y="87"/>
                    </a:lnTo>
                    <a:lnTo>
                      <a:pt x="435" y="87"/>
                    </a:lnTo>
                    <a:lnTo>
                      <a:pt x="448" y="87"/>
                    </a:lnTo>
                    <a:lnTo>
                      <a:pt x="453" y="92"/>
                    </a:lnTo>
                    <a:lnTo>
                      <a:pt x="457" y="92"/>
                    </a:lnTo>
                    <a:lnTo>
                      <a:pt x="457" y="92"/>
                    </a:lnTo>
                    <a:lnTo>
                      <a:pt x="462" y="92"/>
                    </a:lnTo>
                    <a:lnTo>
                      <a:pt x="471" y="92"/>
                    </a:lnTo>
                    <a:lnTo>
                      <a:pt x="471" y="87"/>
                    </a:lnTo>
                    <a:lnTo>
                      <a:pt x="476" y="87"/>
                    </a:lnTo>
                    <a:lnTo>
                      <a:pt x="476" y="83"/>
                    </a:lnTo>
                    <a:lnTo>
                      <a:pt x="480" y="69"/>
                    </a:lnTo>
                    <a:lnTo>
                      <a:pt x="480" y="60"/>
                    </a:lnTo>
                    <a:lnTo>
                      <a:pt x="480" y="55"/>
                    </a:lnTo>
                    <a:lnTo>
                      <a:pt x="485" y="55"/>
                    </a:lnTo>
                    <a:lnTo>
                      <a:pt x="489" y="55"/>
                    </a:lnTo>
                    <a:lnTo>
                      <a:pt x="494" y="55"/>
                    </a:lnTo>
                    <a:lnTo>
                      <a:pt x="503" y="51"/>
                    </a:lnTo>
                    <a:lnTo>
                      <a:pt x="503" y="51"/>
                    </a:lnTo>
                    <a:lnTo>
                      <a:pt x="508" y="51"/>
                    </a:lnTo>
                    <a:lnTo>
                      <a:pt x="517" y="51"/>
                    </a:lnTo>
                    <a:lnTo>
                      <a:pt x="521" y="51"/>
                    </a:lnTo>
                    <a:lnTo>
                      <a:pt x="521" y="51"/>
                    </a:lnTo>
                    <a:lnTo>
                      <a:pt x="526" y="55"/>
                    </a:lnTo>
                    <a:lnTo>
                      <a:pt x="531" y="55"/>
                    </a:lnTo>
                    <a:lnTo>
                      <a:pt x="535" y="55"/>
                    </a:lnTo>
                    <a:lnTo>
                      <a:pt x="540" y="55"/>
                    </a:lnTo>
                    <a:lnTo>
                      <a:pt x="540" y="60"/>
                    </a:lnTo>
                    <a:lnTo>
                      <a:pt x="544" y="64"/>
                    </a:lnTo>
                    <a:lnTo>
                      <a:pt x="544" y="64"/>
                    </a:lnTo>
                    <a:lnTo>
                      <a:pt x="549" y="69"/>
                    </a:lnTo>
                    <a:lnTo>
                      <a:pt x="553" y="74"/>
                    </a:lnTo>
                    <a:lnTo>
                      <a:pt x="558" y="74"/>
                    </a:lnTo>
                    <a:lnTo>
                      <a:pt x="563" y="74"/>
                    </a:lnTo>
                    <a:lnTo>
                      <a:pt x="567" y="83"/>
                    </a:lnTo>
                    <a:lnTo>
                      <a:pt x="567" y="87"/>
                    </a:lnTo>
                    <a:lnTo>
                      <a:pt x="567" y="87"/>
                    </a:lnTo>
                    <a:lnTo>
                      <a:pt x="567" y="92"/>
                    </a:lnTo>
                    <a:lnTo>
                      <a:pt x="567" y="96"/>
                    </a:lnTo>
                    <a:lnTo>
                      <a:pt x="567" y="110"/>
                    </a:lnTo>
                    <a:lnTo>
                      <a:pt x="567" y="115"/>
                    </a:lnTo>
                    <a:lnTo>
                      <a:pt x="572" y="119"/>
                    </a:lnTo>
                    <a:lnTo>
                      <a:pt x="576" y="119"/>
                    </a:lnTo>
                    <a:lnTo>
                      <a:pt x="581" y="119"/>
                    </a:lnTo>
                    <a:lnTo>
                      <a:pt x="585" y="119"/>
                    </a:lnTo>
                    <a:lnTo>
                      <a:pt x="585" y="115"/>
                    </a:lnTo>
                    <a:lnTo>
                      <a:pt x="590" y="115"/>
                    </a:lnTo>
                    <a:lnTo>
                      <a:pt x="590" y="115"/>
                    </a:lnTo>
                    <a:lnTo>
                      <a:pt x="595" y="110"/>
                    </a:lnTo>
                    <a:lnTo>
                      <a:pt x="599" y="106"/>
                    </a:lnTo>
                    <a:lnTo>
                      <a:pt x="608" y="96"/>
                    </a:lnTo>
                    <a:lnTo>
                      <a:pt x="613" y="96"/>
                    </a:lnTo>
                    <a:lnTo>
                      <a:pt x="613" y="96"/>
                    </a:lnTo>
                    <a:lnTo>
                      <a:pt x="613" y="96"/>
                    </a:lnTo>
                    <a:lnTo>
                      <a:pt x="613" y="92"/>
                    </a:lnTo>
                    <a:lnTo>
                      <a:pt x="617" y="92"/>
                    </a:lnTo>
                    <a:lnTo>
                      <a:pt x="622" y="87"/>
                    </a:lnTo>
                    <a:lnTo>
                      <a:pt x="627" y="87"/>
                    </a:lnTo>
                    <a:lnTo>
                      <a:pt x="627" y="83"/>
                    </a:lnTo>
                    <a:lnTo>
                      <a:pt x="631" y="83"/>
                    </a:lnTo>
                    <a:lnTo>
                      <a:pt x="631" y="78"/>
                    </a:lnTo>
                    <a:lnTo>
                      <a:pt x="631" y="78"/>
                    </a:lnTo>
                    <a:lnTo>
                      <a:pt x="636" y="74"/>
                    </a:lnTo>
                    <a:lnTo>
                      <a:pt x="640" y="74"/>
                    </a:lnTo>
                    <a:lnTo>
                      <a:pt x="645" y="74"/>
                    </a:lnTo>
                    <a:lnTo>
                      <a:pt x="654" y="64"/>
                    </a:lnTo>
                    <a:lnTo>
                      <a:pt x="659" y="60"/>
                    </a:lnTo>
                    <a:lnTo>
                      <a:pt x="663" y="55"/>
                    </a:lnTo>
                    <a:lnTo>
                      <a:pt x="668" y="55"/>
                    </a:lnTo>
                    <a:lnTo>
                      <a:pt x="668" y="55"/>
                    </a:lnTo>
                    <a:lnTo>
                      <a:pt x="672" y="55"/>
                    </a:lnTo>
                    <a:lnTo>
                      <a:pt x="677" y="51"/>
                    </a:lnTo>
                    <a:lnTo>
                      <a:pt x="677" y="46"/>
                    </a:lnTo>
                    <a:lnTo>
                      <a:pt x="686" y="37"/>
                    </a:lnTo>
                    <a:lnTo>
                      <a:pt x="691" y="37"/>
                    </a:lnTo>
                    <a:lnTo>
                      <a:pt x="700" y="28"/>
                    </a:lnTo>
                    <a:lnTo>
                      <a:pt x="700" y="28"/>
                    </a:lnTo>
                    <a:lnTo>
                      <a:pt x="709" y="23"/>
                    </a:lnTo>
                    <a:lnTo>
                      <a:pt x="713" y="23"/>
                    </a:lnTo>
                    <a:lnTo>
                      <a:pt x="723" y="19"/>
                    </a:lnTo>
                    <a:lnTo>
                      <a:pt x="723" y="14"/>
                    </a:lnTo>
                    <a:lnTo>
                      <a:pt x="727" y="14"/>
                    </a:lnTo>
                    <a:lnTo>
                      <a:pt x="732" y="14"/>
                    </a:lnTo>
                    <a:lnTo>
                      <a:pt x="736" y="14"/>
                    </a:lnTo>
                    <a:lnTo>
                      <a:pt x="741" y="10"/>
                    </a:lnTo>
                    <a:lnTo>
                      <a:pt x="750" y="10"/>
                    </a:lnTo>
                    <a:lnTo>
                      <a:pt x="755" y="10"/>
                    </a:lnTo>
                    <a:lnTo>
                      <a:pt x="755" y="5"/>
                    </a:lnTo>
                    <a:lnTo>
                      <a:pt x="759" y="5"/>
                    </a:lnTo>
                    <a:lnTo>
                      <a:pt x="764" y="5"/>
                    </a:lnTo>
                    <a:lnTo>
                      <a:pt x="764" y="0"/>
                    </a:lnTo>
                    <a:lnTo>
                      <a:pt x="768" y="5"/>
                    </a:lnTo>
                    <a:lnTo>
                      <a:pt x="773" y="10"/>
                    </a:lnTo>
                    <a:lnTo>
                      <a:pt x="782" y="19"/>
                    </a:lnTo>
                    <a:lnTo>
                      <a:pt x="782" y="23"/>
                    </a:lnTo>
                    <a:lnTo>
                      <a:pt x="782" y="28"/>
                    </a:lnTo>
                    <a:lnTo>
                      <a:pt x="777" y="37"/>
                    </a:lnTo>
                    <a:lnTo>
                      <a:pt x="777" y="42"/>
                    </a:lnTo>
                    <a:lnTo>
                      <a:pt x="773" y="46"/>
                    </a:lnTo>
                    <a:lnTo>
                      <a:pt x="773" y="51"/>
                    </a:lnTo>
                    <a:lnTo>
                      <a:pt x="777" y="51"/>
                    </a:lnTo>
                    <a:lnTo>
                      <a:pt x="777" y="55"/>
                    </a:lnTo>
                    <a:lnTo>
                      <a:pt x="782" y="60"/>
                    </a:lnTo>
                    <a:lnTo>
                      <a:pt x="782" y="64"/>
                    </a:lnTo>
                    <a:lnTo>
                      <a:pt x="787" y="64"/>
                    </a:lnTo>
                    <a:lnTo>
                      <a:pt x="787" y="69"/>
                    </a:lnTo>
                    <a:lnTo>
                      <a:pt x="791" y="69"/>
                    </a:lnTo>
                    <a:lnTo>
                      <a:pt x="796" y="69"/>
                    </a:lnTo>
                    <a:lnTo>
                      <a:pt x="800" y="74"/>
                    </a:lnTo>
                    <a:lnTo>
                      <a:pt x="805" y="74"/>
                    </a:lnTo>
                    <a:lnTo>
                      <a:pt x="809" y="74"/>
                    </a:lnTo>
                    <a:lnTo>
                      <a:pt x="809" y="74"/>
                    </a:lnTo>
                    <a:lnTo>
                      <a:pt x="814" y="78"/>
                    </a:lnTo>
                    <a:lnTo>
                      <a:pt x="819" y="78"/>
                    </a:lnTo>
                    <a:lnTo>
                      <a:pt x="823" y="78"/>
                    </a:lnTo>
                    <a:lnTo>
                      <a:pt x="823" y="83"/>
                    </a:lnTo>
                    <a:lnTo>
                      <a:pt x="828" y="83"/>
                    </a:lnTo>
                    <a:lnTo>
                      <a:pt x="828" y="87"/>
                    </a:lnTo>
                    <a:lnTo>
                      <a:pt x="828" y="96"/>
                    </a:lnTo>
                    <a:lnTo>
                      <a:pt x="832" y="101"/>
                    </a:lnTo>
                    <a:lnTo>
                      <a:pt x="832" y="106"/>
                    </a:lnTo>
                    <a:lnTo>
                      <a:pt x="837" y="110"/>
                    </a:lnTo>
                    <a:lnTo>
                      <a:pt x="841" y="115"/>
                    </a:lnTo>
                    <a:lnTo>
                      <a:pt x="846" y="115"/>
                    </a:lnTo>
                    <a:lnTo>
                      <a:pt x="851" y="115"/>
                    </a:lnTo>
                    <a:lnTo>
                      <a:pt x="855" y="119"/>
                    </a:lnTo>
                    <a:lnTo>
                      <a:pt x="860" y="119"/>
                    </a:lnTo>
                    <a:lnTo>
                      <a:pt x="869" y="119"/>
                    </a:lnTo>
                    <a:lnTo>
                      <a:pt x="873" y="119"/>
                    </a:lnTo>
                    <a:lnTo>
                      <a:pt x="887" y="124"/>
                    </a:lnTo>
                    <a:lnTo>
                      <a:pt x="892" y="124"/>
                    </a:lnTo>
                    <a:lnTo>
                      <a:pt x="896" y="124"/>
                    </a:lnTo>
                    <a:lnTo>
                      <a:pt x="896" y="128"/>
                    </a:lnTo>
                    <a:lnTo>
                      <a:pt x="896" y="128"/>
                    </a:lnTo>
                    <a:lnTo>
                      <a:pt x="901" y="133"/>
                    </a:lnTo>
                    <a:lnTo>
                      <a:pt x="905" y="133"/>
                    </a:lnTo>
                    <a:lnTo>
                      <a:pt x="910" y="138"/>
                    </a:lnTo>
                    <a:lnTo>
                      <a:pt x="910" y="142"/>
                    </a:lnTo>
                    <a:lnTo>
                      <a:pt x="915" y="142"/>
                    </a:lnTo>
                    <a:lnTo>
                      <a:pt x="919" y="142"/>
                    </a:lnTo>
                    <a:lnTo>
                      <a:pt x="919" y="142"/>
                    </a:lnTo>
                    <a:lnTo>
                      <a:pt x="919" y="147"/>
                    </a:lnTo>
                    <a:lnTo>
                      <a:pt x="924" y="147"/>
                    </a:lnTo>
                    <a:lnTo>
                      <a:pt x="924" y="151"/>
                    </a:lnTo>
                    <a:lnTo>
                      <a:pt x="928" y="156"/>
                    </a:lnTo>
                    <a:lnTo>
                      <a:pt x="933" y="160"/>
                    </a:lnTo>
                    <a:lnTo>
                      <a:pt x="933" y="165"/>
                    </a:lnTo>
                    <a:lnTo>
                      <a:pt x="937" y="165"/>
                    </a:lnTo>
                    <a:lnTo>
                      <a:pt x="937" y="165"/>
                    </a:lnTo>
                    <a:lnTo>
                      <a:pt x="937" y="165"/>
                    </a:lnTo>
                    <a:lnTo>
                      <a:pt x="942" y="165"/>
                    </a:lnTo>
                    <a:lnTo>
                      <a:pt x="942" y="170"/>
                    </a:lnTo>
                    <a:lnTo>
                      <a:pt x="942" y="174"/>
                    </a:lnTo>
                    <a:lnTo>
                      <a:pt x="942" y="179"/>
                    </a:lnTo>
                    <a:lnTo>
                      <a:pt x="942" y="183"/>
                    </a:lnTo>
                    <a:lnTo>
                      <a:pt x="947" y="183"/>
                    </a:lnTo>
                    <a:lnTo>
                      <a:pt x="947" y="183"/>
                    </a:lnTo>
                    <a:lnTo>
                      <a:pt x="947" y="188"/>
                    </a:lnTo>
                    <a:lnTo>
                      <a:pt x="947" y="192"/>
                    </a:lnTo>
                    <a:lnTo>
                      <a:pt x="947" y="202"/>
                    </a:lnTo>
                    <a:lnTo>
                      <a:pt x="947" y="206"/>
                    </a:lnTo>
                    <a:lnTo>
                      <a:pt x="942" y="206"/>
                    </a:lnTo>
                    <a:lnTo>
                      <a:pt x="942" y="229"/>
                    </a:lnTo>
                    <a:lnTo>
                      <a:pt x="942" y="234"/>
                    </a:lnTo>
                    <a:lnTo>
                      <a:pt x="942" y="238"/>
                    </a:lnTo>
                    <a:lnTo>
                      <a:pt x="942" y="243"/>
                    </a:lnTo>
                    <a:lnTo>
                      <a:pt x="942" y="252"/>
                    </a:lnTo>
                    <a:lnTo>
                      <a:pt x="942" y="261"/>
                    </a:lnTo>
                    <a:lnTo>
                      <a:pt x="942" y="275"/>
                    </a:lnTo>
                    <a:lnTo>
                      <a:pt x="947" y="288"/>
                    </a:lnTo>
                    <a:lnTo>
                      <a:pt x="947" y="293"/>
                    </a:lnTo>
                    <a:lnTo>
                      <a:pt x="947" y="293"/>
                    </a:lnTo>
                    <a:lnTo>
                      <a:pt x="947" y="298"/>
                    </a:lnTo>
                    <a:lnTo>
                      <a:pt x="947" y="302"/>
                    </a:lnTo>
                    <a:lnTo>
                      <a:pt x="947" y="307"/>
                    </a:lnTo>
                    <a:lnTo>
                      <a:pt x="942" y="307"/>
                    </a:lnTo>
                    <a:lnTo>
                      <a:pt x="942" y="307"/>
                    </a:lnTo>
                    <a:lnTo>
                      <a:pt x="937" y="311"/>
                    </a:lnTo>
                    <a:lnTo>
                      <a:pt x="928" y="311"/>
                    </a:lnTo>
                    <a:lnTo>
                      <a:pt x="919" y="316"/>
                    </a:lnTo>
                    <a:lnTo>
                      <a:pt x="919" y="316"/>
                    </a:lnTo>
                    <a:lnTo>
                      <a:pt x="924" y="325"/>
                    </a:lnTo>
                    <a:lnTo>
                      <a:pt x="928" y="325"/>
                    </a:lnTo>
                    <a:lnTo>
                      <a:pt x="937" y="325"/>
                    </a:lnTo>
                    <a:lnTo>
                      <a:pt x="942" y="330"/>
                    </a:lnTo>
                    <a:lnTo>
                      <a:pt x="942" y="330"/>
                    </a:lnTo>
                    <a:lnTo>
                      <a:pt x="951" y="330"/>
                    </a:lnTo>
                    <a:lnTo>
                      <a:pt x="956" y="330"/>
                    </a:lnTo>
                    <a:lnTo>
                      <a:pt x="960" y="334"/>
                    </a:lnTo>
                    <a:lnTo>
                      <a:pt x="960" y="339"/>
                    </a:lnTo>
                    <a:lnTo>
                      <a:pt x="965" y="339"/>
                    </a:lnTo>
                    <a:lnTo>
                      <a:pt x="965" y="343"/>
                    </a:lnTo>
                    <a:lnTo>
                      <a:pt x="969" y="348"/>
                    </a:lnTo>
                    <a:lnTo>
                      <a:pt x="969" y="352"/>
                    </a:lnTo>
                    <a:lnTo>
                      <a:pt x="974" y="357"/>
                    </a:lnTo>
                    <a:lnTo>
                      <a:pt x="979" y="362"/>
                    </a:lnTo>
                    <a:lnTo>
                      <a:pt x="983" y="362"/>
                    </a:lnTo>
                    <a:lnTo>
                      <a:pt x="983" y="362"/>
                    </a:lnTo>
                    <a:lnTo>
                      <a:pt x="983" y="362"/>
                    </a:lnTo>
                    <a:lnTo>
                      <a:pt x="992" y="366"/>
                    </a:lnTo>
                    <a:lnTo>
                      <a:pt x="997" y="366"/>
                    </a:lnTo>
                    <a:lnTo>
                      <a:pt x="1001" y="366"/>
                    </a:lnTo>
                    <a:lnTo>
                      <a:pt x="1006" y="362"/>
                    </a:lnTo>
                    <a:lnTo>
                      <a:pt x="1006" y="362"/>
                    </a:lnTo>
                    <a:lnTo>
                      <a:pt x="1011" y="366"/>
                    </a:lnTo>
                    <a:lnTo>
                      <a:pt x="1011" y="371"/>
                    </a:lnTo>
                    <a:lnTo>
                      <a:pt x="1006" y="371"/>
                    </a:lnTo>
                    <a:lnTo>
                      <a:pt x="1006" y="375"/>
                    </a:lnTo>
                    <a:lnTo>
                      <a:pt x="1006" y="380"/>
                    </a:lnTo>
                    <a:lnTo>
                      <a:pt x="1006" y="384"/>
                    </a:lnTo>
                    <a:lnTo>
                      <a:pt x="1006" y="389"/>
                    </a:lnTo>
                    <a:lnTo>
                      <a:pt x="1006" y="403"/>
                    </a:lnTo>
                    <a:lnTo>
                      <a:pt x="1006" y="407"/>
                    </a:lnTo>
                    <a:lnTo>
                      <a:pt x="1006" y="412"/>
                    </a:lnTo>
                    <a:lnTo>
                      <a:pt x="1011" y="426"/>
                    </a:lnTo>
                    <a:lnTo>
                      <a:pt x="1015" y="426"/>
                    </a:lnTo>
                    <a:lnTo>
                      <a:pt x="1020" y="426"/>
                    </a:lnTo>
                    <a:lnTo>
                      <a:pt x="1020" y="430"/>
                    </a:lnTo>
                    <a:lnTo>
                      <a:pt x="1024" y="435"/>
                    </a:lnTo>
                    <a:lnTo>
                      <a:pt x="1024" y="444"/>
                    </a:lnTo>
                    <a:lnTo>
                      <a:pt x="1024" y="448"/>
                    </a:lnTo>
                    <a:lnTo>
                      <a:pt x="1024" y="462"/>
                    </a:lnTo>
                    <a:lnTo>
                      <a:pt x="1024" y="467"/>
                    </a:lnTo>
                    <a:lnTo>
                      <a:pt x="1020" y="471"/>
                    </a:lnTo>
                    <a:lnTo>
                      <a:pt x="1015" y="476"/>
                    </a:lnTo>
                    <a:lnTo>
                      <a:pt x="1015" y="480"/>
                    </a:lnTo>
                    <a:lnTo>
                      <a:pt x="1011" y="485"/>
                    </a:lnTo>
                    <a:lnTo>
                      <a:pt x="1006" y="490"/>
                    </a:lnTo>
                    <a:lnTo>
                      <a:pt x="1006" y="494"/>
                    </a:lnTo>
                    <a:lnTo>
                      <a:pt x="1001" y="494"/>
                    </a:lnTo>
                    <a:lnTo>
                      <a:pt x="1001" y="494"/>
                    </a:lnTo>
                    <a:lnTo>
                      <a:pt x="997" y="494"/>
                    </a:lnTo>
                    <a:lnTo>
                      <a:pt x="992" y="499"/>
                    </a:lnTo>
                    <a:lnTo>
                      <a:pt x="988" y="503"/>
                    </a:lnTo>
                    <a:lnTo>
                      <a:pt x="983" y="508"/>
                    </a:lnTo>
                    <a:lnTo>
                      <a:pt x="983" y="512"/>
                    </a:lnTo>
                    <a:lnTo>
                      <a:pt x="983" y="517"/>
                    </a:lnTo>
                    <a:lnTo>
                      <a:pt x="983" y="526"/>
                    </a:lnTo>
                    <a:lnTo>
                      <a:pt x="983" y="535"/>
                    </a:lnTo>
                    <a:lnTo>
                      <a:pt x="983" y="554"/>
                    </a:lnTo>
                    <a:lnTo>
                      <a:pt x="983" y="558"/>
                    </a:lnTo>
                    <a:lnTo>
                      <a:pt x="983" y="563"/>
                    </a:lnTo>
                    <a:lnTo>
                      <a:pt x="983" y="567"/>
                    </a:lnTo>
                    <a:lnTo>
                      <a:pt x="983" y="572"/>
                    </a:lnTo>
                    <a:lnTo>
                      <a:pt x="983" y="576"/>
                    </a:lnTo>
                    <a:lnTo>
                      <a:pt x="983" y="581"/>
                    </a:lnTo>
                    <a:lnTo>
                      <a:pt x="979" y="581"/>
                    </a:lnTo>
                    <a:lnTo>
                      <a:pt x="979" y="590"/>
                    </a:lnTo>
                    <a:lnTo>
                      <a:pt x="974" y="590"/>
                    </a:lnTo>
                    <a:lnTo>
                      <a:pt x="974" y="595"/>
                    </a:lnTo>
                    <a:lnTo>
                      <a:pt x="974" y="599"/>
                    </a:lnTo>
                    <a:lnTo>
                      <a:pt x="974" y="604"/>
                    </a:lnTo>
                    <a:lnTo>
                      <a:pt x="965" y="608"/>
                    </a:lnTo>
                    <a:lnTo>
                      <a:pt x="965" y="613"/>
                    </a:lnTo>
                    <a:lnTo>
                      <a:pt x="965" y="618"/>
                    </a:lnTo>
                    <a:lnTo>
                      <a:pt x="960" y="622"/>
                    </a:lnTo>
                    <a:lnTo>
                      <a:pt x="960" y="631"/>
                    </a:lnTo>
                    <a:lnTo>
                      <a:pt x="960" y="636"/>
                    </a:lnTo>
                    <a:lnTo>
                      <a:pt x="960" y="659"/>
                    </a:lnTo>
                    <a:lnTo>
                      <a:pt x="960" y="663"/>
                    </a:lnTo>
                    <a:lnTo>
                      <a:pt x="960" y="668"/>
                    </a:lnTo>
                    <a:lnTo>
                      <a:pt x="960" y="672"/>
                    </a:lnTo>
                    <a:lnTo>
                      <a:pt x="960" y="677"/>
                    </a:lnTo>
                    <a:lnTo>
                      <a:pt x="960" y="686"/>
                    </a:lnTo>
                    <a:lnTo>
                      <a:pt x="960" y="691"/>
                    </a:lnTo>
                    <a:lnTo>
                      <a:pt x="960" y="691"/>
                    </a:lnTo>
                    <a:lnTo>
                      <a:pt x="960" y="695"/>
                    </a:lnTo>
                    <a:lnTo>
                      <a:pt x="956" y="700"/>
                    </a:lnTo>
                    <a:lnTo>
                      <a:pt x="956" y="704"/>
                    </a:lnTo>
                    <a:lnTo>
                      <a:pt x="956" y="709"/>
                    </a:lnTo>
                    <a:lnTo>
                      <a:pt x="951" y="714"/>
                    </a:lnTo>
                    <a:lnTo>
                      <a:pt x="947" y="727"/>
                    </a:lnTo>
                    <a:lnTo>
                      <a:pt x="942" y="732"/>
                    </a:lnTo>
                    <a:lnTo>
                      <a:pt x="942" y="736"/>
                    </a:lnTo>
                    <a:lnTo>
                      <a:pt x="942" y="741"/>
                    </a:lnTo>
                    <a:lnTo>
                      <a:pt x="942" y="750"/>
                    </a:lnTo>
                    <a:lnTo>
                      <a:pt x="942" y="759"/>
                    </a:lnTo>
                    <a:lnTo>
                      <a:pt x="942" y="768"/>
                    </a:lnTo>
                    <a:lnTo>
                      <a:pt x="942" y="773"/>
                    </a:lnTo>
                    <a:lnTo>
                      <a:pt x="942" y="778"/>
                    </a:lnTo>
                    <a:lnTo>
                      <a:pt x="947" y="778"/>
                    </a:lnTo>
                    <a:lnTo>
                      <a:pt x="947" y="782"/>
                    </a:lnTo>
                    <a:lnTo>
                      <a:pt x="951" y="787"/>
                    </a:lnTo>
                    <a:lnTo>
                      <a:pt x="951" y="791"/>
                    </a:lnTo>
                    <a:lnTo>
                      <a:pt x="956" y="791"/>
                    </a:lnTo>
                    <a:lnTo>
                      <a:pt x="956" y="791"/>
                    </a:lnTo>
                    <a:lnTo>
                      <a:pt x="960" y="800"/>
                    </a:lnTo>
                    <a:lnTo>
                      <a:pt x="969" y="810"/>
                    </a:lnTo>
                    <a:lnTo>
                      <a:pt x="974" y="810"/>
                    </a:lnTo>
                    <a:lnTo>
                      <a:pt x="974" y="814"/>
                    </a:lnTo>
                    <a:lnTo>
                      <a:pt x="979" y="814"/>
                    </a:lnTo>
                    <a:lnTo>
                      <a:pt x="983" y="814"/>
                    </a:lnTo>
                    <a:lnTo>
                      <a:pt x="983" y="819"/>
                    </a:lnTo>
                    <a:lnTo>
                      <a:pt x="983" y="819"/>
                    </a:lnTo>
                    <a:lnTo>
                      <a:pt x="988" y="819"/>
                    </a:lnTo>
                    <a:lnTo>
                      <a:pt x="988" y="823"/>
                    </a:lnTo>
                    <a:lnTo>
                      <a:pt x="992" y="823"/>
                    </a:lnTo>
                    <a:lnTo>
                      <a:pt x="997" y="828"/>
                    </a:lnTo>
                    <a:lnTo>
                      <a:pt x="997" y="832"/>
                    </a:lnTo>
                    <a:lnTo>
                      <a:pt x="997" y="837"/>
                    </a:lnTo>
                    <a:lnTo>
                      <a:pt x="992" y="842"/>
                    </a:lnTo>
                    <a:lnTo>
                      <a:pt x="992" y="842"/>
                    </a:lnTo>
                    <a:lnTo>
                      <a:pt x="988" y="846"/>
                    </a:lnTo>
                    <a:lnTo>
                      <a:pt x="988" y="851"/>
                    </a:lnTo>
                    <a:lnTo>
                      <a:pt x="983" y="855"/>
                    </a:lnTo>
                    <a:lnTo>
                      <a:pt x="983" y="860"/>
                    </a:lnTo>
                    <a:lnTo>
                      <a:pt x="983" y="864"/>
                    </a:lnTo>
                    <a:lnTo>
                      <a:pt x="983" y="864"/>
                    </a:lnTo>
                    <a:lnTo>
                      <a:pt x="979" y="869"/>
                    </a:lnTo>
                    <a:lnTo>
                      <a:pt x="979" y="874"/>
                    </a:lnTo>
                    <a:lnTo>
                      <a:pt x="974" y="878"/>
                    </a:lnTo>
                    <a:lnTo>
                      <a:pt x="974" y="883"/>
                    </a:lnTo>
                    <a:lnTo>
                      <a:pt x="969" y="887"/>
                    </a:lnTo>
                    <a:lnTo>
                      <a:pt x="969" y="887"/>
                    </a:lnTo>
                    <a:lnTo>
                      <a:pt x="969" y="892"/>
                    </a:lnTo>
                    <a:lnTo>
                      <a:pt x="965" y="896"/>
                    </a:lnTo>
                    <a:lnTo>
                      <a:pt x="965" y="901"/>
                    </a:lnTo>
                    <a:lnTo>
                      <a:pt x="960" y="906"/>
                    </a:lnTo>
                    <a:lnTo>
                      <a:pt x="960" y="910"/>
                    </a:lnTo>
                    <a:lnTo>
                      <a:pt x="960" y="915"/>
                    </a:lnTo>
                    <a:lnTo>
                      <a:pt x="960" y="919"/>
                    </a:lnTo>
                    <a:lnTo>
                      <a:pt x="956" y="924"/>
                    </a:lnTo>
                    <a:lnTo>
                      <a:pt x="956" y="929"/>
                    </a:lnTo>
                    <a:lnTo>
                      <a:pt x="956" y="933"/>
                    </a:lnTo>
                    <a:lnTo>
                      <a:pt x="956" y="938"/>
                    </a:lnTo>
                    <a:lnTo>
                      <a:pt x="951" y="942"/>
                    </a:lnTo>
                    <a:lnTo>
                      <a:pt x="947" y="942"/>
                    </a:lnTo>
                    <a:lnTo>
                      <a:pt x="942" y="947"/>
                    </a:lnTo>
                    <a:lnTo>
                      <a:pt x="942" y="951"/>
                    </a:lnTo>
                    <a:lnTo>
                      <a:pt x="937" y="951"/>
                    </a:lnTo>
                    <a:lnTo>
                      <a:pt x="933" y="951"/>
                    </a:lnTo>
                    <a:lnTo>
                      <a:pt x="928" y="951"/>
                    </a:lnTo>
                    <a:lnTo>
                      <a:pt x="924" y="951"/>
                    </a:lnTo>
                    <a:lnTo>
                      <a:pt x="915" y="951"/>
                    </a:lnTo>
                    <a:lnTo>
                      <a:pt x="910" y="951"/>
                    </a:lnTo>
                    <a:lnTo>
                      <a:pt x="901" y="951"/>
                    </a:lnTo>
                    <a:lnTo>
                      <a:pt x="896" y="947"/>
                    </a:lnTo>
                    <a:lnTo>
                      <a:pt x="896" y="942"/>
                    </a:lnTo>
                    <a:lnTo>
                      <a:pt x="892" y="942"/>
                    </a:lnTo>
                    <a:lnTo>
                      <a:pt x="892" y="938"/>
                    </a:lnTo>
                    <a:lnTo>
                      <a:pt x="887" y="938"/>
                    </a:lnTo>
                    <a:lnTo>
                      <a:pt x="887" y="933"/>
                    </a:lnTo>
                    <a:lnTo>
                      <a:pt x="883" y="933"/>
                    </a:lnTo>
                    <a:lnTo>
                      <a:pt x="883" y="929"/>
                    </a:lnTo>
                    <a:lnTo>
                      <a:pt x="878" y="924"/>
                    </a:lnTo>
                    <a:lnTo>
                      <a:pt x="873" y="919"/>
                    </a:lnTo>
                    <a:lnTo>
                      <a:pt x="873" y="915"/>
                    </a:lnTo>
                    <a:lnTo>
                      <a:pt x="869" y="910"/>
                    </a:lnTo>
                    <a:lnTo>
                      <a:pt x="869" y="910"/>
                    </a:lnTo>
                    <a:lnTo>
                      <a:pt x="864" y="906"/>
                    </a:lnTo>
                    <a:lnTo>
                      <a:pt x="860" y="906"/>
                    </a:lnTo>
                    <a:lnTo>
                      <a:pt x="855" y="906"/>
                    </a:lnTo>
                    <a:lnTo>
                      <a:pt x="846" y="906"/>
                    </a:lnTo>
                    <a:lnTo>
                      <a:pt x="841" y="901"/>
                    </a:lnTo>
                    <a:lnTo>
                      <a:pt x="832" y="906"/>
                    </a:lnTo>
                    <a:lnTo>
                      <a:pt x="828" y="906"/>
                    </a:lnTo>
                    <a:lnTo>
                      <a:pt x="823" y="906"/>
                    </a:lnTo>
                    <a:lnTo>
                      <a:pt x="819" y="910"/>
                    </a:lnTo>
                    <a:lnTo>
                      <a:pt x="814" y="910"/>
                    </a:lnTo>
                    <a:lnTo>
                      <a:pt x="814" y="910"/>
                    </a:lnTo>
                    <a:lnTo>
                      <a:pt x="809" y="915"/>
                    </a:lnTo>
                    <a:lnTo>
                      <a:pt x="809" y="919"/>
                    </a:lnTo>
                    <a:lnTo>
                      <a:pt x="809" y="924"/>
                    </a:lnTo>
                    <a:lnTo>
                      <a:pt x="805" y="924"/>
                    </a:lnTo>
                    <a:lnTo>
                      <a:pt x="805" y="929"/>
                    </a:lnTo>
                    <a:lnTo>
                      <a:pt x="800" y="933"/>
                    </a:lnTo>
                    <a:lnTo>
                      <a:pt x="796" y="933"/>
                    </a:lnTo>
                    <a:lnTo>
                      <a:pt x="791" y="933"/>
                    </a:lnTo>
                    <a:lnTo>
                      <a:pt x="791" y="938"/>
                    </a:lnTo>
                    <a:lnTo>
                      <a:pt x="791" y="938"/>
                    </a:lnTo>
                    <a:lnTo>
                      <a:pt x="787" y="942"/>
                    </a:lnTo>
                    <a:lnTo>
                      <a:pt x="787" y="947"/>
                    </a:lnTo>
                    <a:lnTo>
                      <a:pt x="782" y="951"/>
                    </a:lnTo>
                    <a:lnTo>
                      <a:pt x="777" y="951"/>
                    </a:lnTo>
                    <a:lnTo>
                      <a:pt x="773" y="951"/>
                    </a:lnTo>
                    <a:lnTo>
                      <a:pt x="768" y="951"/>
                    </a:lnTo>
                    <a:lnTo>
                      <a:pt x="768" y="951"/>
                    </a:lnTo>
                    <a:lnTo>
                      <a:pt x="764" y="938"/>
                    </a:lnTo>
                    <a:lnTo>
                      <a:pt x="764" y="933"/>
                    </a:lnTo>
                    <a:lnTo>
                      <a:pt x="768" y="915"/>
                    </a:lnTo>
                    <a:lnTo>
                      <a:pt x="768" y="910"/>
                    </a:lnTo>
                    <a:lnTo>
                      <a:pt x="768" y="906"/>
                    </a:lnTo>
                    <a:lnTo>
                      <a:pt x="768" y="896"/>
                    </a:lnTo>
                    <a:lnTo>
                      <a:pt x="768" y="892"/>
                    </a:lnTo>
                    <a:lnTo>
                      <a:pt x="764" y="887"/>
                    </a:lnTo>
                    <a:lnTo>
                      <a:pt x="764" y="887"/>
                    </a:lnTo>
                    <a:lnTo>
                      <a:pt x="764" y="883"/>
                    </a:lnTo>
                    <a:lnTo>
                      <a:pt x="764" y="878"/>
                    </a:lnTo>
                    <a:lnTo>
                      <a:pt x="759" y="878"/>
                    </a:lnTo>
                    <a:lnTo>
                      <a:pt x="759" y="874"/>
                    </a:lnTo>
                    <a:lnTo>
                      <a:pt x="755" y="869"/>
                    </a:lnTo>
                    <a:lnTo>
                      <a:pt x="755" y="864"/>
                    </a:lnTo>
                    <a:lnTo>
                      <a:pt x="750" y="864"/>
                    </a:lnTo>
                    <a:lnTo>
                      <a:pt x="750" y="864"/>
                    </a:lnTo>
                    <a:lnTo>
                      <a:pt x="745" y="860"/>
                    </a:lnTo>
                    <a:lnTo>
                      <a:pt x="745" y="855"/>
                    </a:lnTo>
                    <a:lnTo>
                      <a:pt x="741" y="846"/>
                    </a:lnTo>
                    <a:lnTo>
                      <a:pt x="741" y="842"/>
                    </a:lnTo>
                    <a:lnTo>
                      <a:pt x="741" y="837"/>
                    </a:lnTo>
                    <a:lnTo>
                      <a:pt x="741" y="832"/>
                    </a:lnTo>
                    <a:lnTo>
                      <a:pt x="736" y="832"/>
                    </a:lnTo>
                    <a:lnTo>
                      <a:pt x="736" y="823"/>
                    </a:lnTo>
                    <a:lnTo>
                      <a:pt x="732" y="823"/>
                    </a:lnTo>
                    <a:lnTo>
                      <a:pt x="732" y="819"/>
                    </a:lnTo>
                    <a:close/>
                  </a:path>
                </a:pathLst>
              </a:custGeom>
              <a:grp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205" name="Freeform 25">
                <a:extLst>
                  <a:ext uri="{FF2B5EF4-FFF2-40B4-BE49-F238E27FC236}">
                    <a16:creationId xmlns:a16="http://schemas.microsoft.com/office/drawing/2014/main" id="{499C943D-5B95-4AAC-85C0-10CF32A42427}"/>
                  </a:ext>
                </a:extLst>
              </p:cNvPr>
              <p:cNvSpPr>
                <a:spLocks/>
              </p:cNvSpPr>
              <p:nvPr>
                <p:custDataLst>
                  <p:tags r:id="rId22"/>
                </p:custDataLst>
              </p:nvPr>
            </p:nvSpPr>
            <p:spPr bwMode="auto">
              <a:xfrm>
                <a:off x="2680988" y="2369252"/>
                <a:ext cx="878490" cy="960497"/>
              </a:xfrm>
              <a:custGeom>
                <a:avLst/>
                <a:gdLst/>
                <a:ahLst/>
                <a:cxnLst>
                  <a:cxn ang="0">
                    <a:pos x="430" y="594"/>
                  </a:cxn>
                  <a:cxn ang="0">
                    <a:pos x="430" y="667"/>
                  </a:cxn>
                  <a:cxn ang="0">
                    <a:pos x="453" y="709"/>
                  </a:cxn>
                  <a:cxn ang="0">
                    <a:pos x="439" y="750"/>
                  </a:cxn>
                  <a:cxn ang="0">
                    <a:pos x="411" y="777"/>
                  </a:cxn>
                  <a:cxn ang="0">
                    <a:pos x="375" y="754"/>
                  </a:cxn>
                  <a:cxn ang="0">
                    <a:pos x="334" y="736"/>
                  </a:cxn>
                  <a:cxn ang="0">
                    <a:pos x="357" y="704"/>
                  </a:cxn>
                  <a:cxn ang="0">
                    <a:pos x="352" y="617"/>
                  </a:cxn>
                  <a:cxn ang="0">
                    <a:pos x="352" y="581"/>
                  </a:cxn>
                  <a:cxn ang="0">
                    <a:pos x="329" y="553"/>
                  </a:cxn>
                  <a:cxn ang="0">
                    <a:pos x="306" y="535"/>
                  </a:cxn>
                  <a:cxn ang="0">
                    <a:pos x="247" y="521"/>
                  </a:cxn>
                  <a:cxn ang="0">
                    <a:pos x="219" y="485"/>
                  </a:cxn>
                  <a:cxn ang="0">
                    <a:pos x="187" y="466"/>
                  </a:cxn>
                  <a:cxn ang="0">
                    <a:pos x="178" y="416"/>
                  </a:cxn>
                  <a:cxn ang="0">
                    <a:pos x="142" y="425"/>
                  </a:cxn>
                  <a:cxn ang="0">
                    <a:pos x="87" y="457"/>
                  </a:cxn>
                  <a:cxn ang="0">
                    <a:pos x="46" y="471"/>
                  </a:cxn>
                  <a:cxn ang="0">
                    <a:pos x="14" y="439"/>
                  </a:cxn>
                  <a:cxn ang="0">
                    <a:pos x="18" y="407"/>
                  </a:cxn>
                  <a:cxn ang="0">
                    <a:pos x="41" y="379"/>
                  </a:cxn>
                  <a:cxn ang="0">
                    <a:pos x="91" y="357"/>
                  </a:cxn>
                  <a:cxn ang="0">
                    <a:pos x="78" y="311"/>
                  </a:cxn>
                  <a:cxn ang="0">
                    <a:pos x="64" y="270"/>
                  </a:cxn>
                  <a:cxn ang="0">
                    <a:pos x="64" y="206"/>
                  </a:cxn>
                  <a:cxn ang="0">
                    <a:pos x="55" y="137"/>
                  </a:cxn>
                  <a:cxn ang="0">
                    <a:pos x="101" y="101"/>
                  </a:cxn>
                  <a:cxn ang="0">
                    <a:pos x="151" y="91"/>
                  </a:cxn>
                  <a:cxn ang="0">
                    <a:pos x="183" y="64"/>
                  </a:cxn>
                  <a:cxn ang="0">
                    <a:pos x="206" y="23"/>
                  </a:cxn>
                  <a:cxn ang="0">
                    <a:pos x="242" y="18"/>
                  </a:cxn>
                  <a:cxn ang="0">
                    <a:pos x="261" y="50"/>
                  </a:cxn>
                  <a:cxn ang="0">
                    <a:pos x="274" y="46"/>
                  </a:cxn>
                  <a:cxn ang="0">
                    <a:pos x="302" y="9"/>
                  </a:cxn>
                  <a:cxn ang="0">
                    <a:pos x="347" y="0"/>
                  </a:cxn>
                  <a:cxn ang="0">
                    <a:pos x="384" y="9"/>
                  </a:cxn>
                  <a:cxn ang="0">
                    <a:pos x="393" y="46"/>
                  </a:cxn>
                  <a:cxn ang="0">
                    <a:pos x="425" y="69"/>
                  </a:cxn>
                  <a:cxn ang="0">
                    <a:pos x="425" y="96"/>
                  </a:cxn>
                  <a:cxn ang="0">
                    <a:pos x="471" y="114"/>
                  </a:cxn>
                  <a:cxn ang="0">
                    <a:pos x="494" y="146"/>
                  </a:cxn>
                  <a:cxn ang="0">
                    <a:pos x="494" y="178"/>
                  </a:cxn>
                  <a:cxn ang="0">
                    <a:pos x="512" y="201"/>
                  </a:cxn>
                  <a:cxn ang="0">
                    <a:pos x="544" y="206"/>
                  </a:cxn>
                  <a:cxn ang="0">
                    <a:pos x="571" y="201"/>
                  </a:cxn>
                  <a:cxn ang="0">
                    <a:pos x="594" y="224"/>
                  </a:cxn>
                  <a:cxn ang="0">
                    <a:pos x="590" y="283"/>
                  </a:cxn>
                  <a:cxn ang="0">
                    <a:pos x="571" y="311"/>
                  </a:cxn>
                  <a:cxn ang="0">
                    <a:pos x="603" y="329"/>
                  </a:cxn>
                  <a:cxn ang="0">
                    <a:pos x="608" y="357"/>
                  </a:cxn>
                  <a:cxn ang="0">
                    <a:pos x="640" y="389"/>
                  </a:cxn>
                  <a:cxn ang="0">
                    <a:pos x="645" y="416"/>
                  </a:cxn>
                  <a:cxn ang="0">
                    <a:pos x="613" y="439"/>
                  </a:cxn>
                  <a:cxn ang="0">
                    <a:pos x="590" y="475"/>
                  </a:cxn>
                  <a:cxn ang="0">
                    <a:pos x="553" y="485"/>
                  </a:cxn>
                  <a:cxn ang="0">
                    <a:pos x="526" y="503"/>
                  </a:cxn>
                  <a:cxn ang="0">
                    <a:pos x="489" y="535"/>
                  </a:cxn>
                  <a:cxn ang="0">
                    <a:pos x="466" y="567"/>
                  </a:cxn>
                </a:cxnLst>
                <a:rect l="0" t="0" r="r" b="b"/>
                <a:pathLst>
                  <a:path w="658" h="777">
                    <a:moveTo>
                      <a:pt x="439" y="576"/>
                    </a:moveTo>
                    <a:lnTo>
                      <a:pt x="439" y="576"/>
                    </a:lnTo>
                    <a:lnTo>
                      <a:pt x="439" y="576"/>
                    </a:lnTo>
                    <a:lnTo>
                      <a:pt x="434" y="576"/>
                    </a:lnTo>
                    <a:lnTo>
                      <a:pt x="434" y="581"/>
                    </a:lnTo>
                    <a:lnTo>
                      <a:pt x="434" y="585"/>
                    </a:lnTo>
                    <a:lnTo>
                      <a:pt x="430" y="585"/>
                    </a:lnTo>
                    <a:lnTo>
                      <a:pt x="430" y="590"/>
                    </a:lnTo>
                    <a:lnTo>
                      <a:pt x="430" y="594"/>
                    </a:lnTo>
                    <a:lnTo>
                      <a:pt x="430" y="594"/>
                    </a:lnTo>
                    <a:lnTo>
                      <a:pt x="430" y="599"/>
                    </a:lnTo>
                    <a:lnTo>
                      <a:pt x="430" y="613"/>
                    </a:lnTo>
                    <a:lnTo>
                      <a:pt x="430" y="617"/>
                    </a:lnTo>
                    <a:lnTo>
                      <a:pt x="425" y="631"/>
                    </a:lnTo>
                    <a:lnTo>
                      <a:pt x="425" y="645"/>
                    </a:lnTo>
                    <a:lnTo>
                      <a:pt x="425" y="649"/>
                    </a:lnTo>
                    <a:lnTo>
                      <a:pt x="425" y="654"/>
                    </a:lnTo>
                    <a:lnTo>
                      <a:pt x="430" y="663"/>
                    </a:lnTo>
                    <a:lnTo>
                      <a:pt x="430" y="663"/>
                    </a:lnTo>
                    <a:lnTo>
                      <a:pt x="430" y="667"/>
                    </a:lnTo>
                    <a:lnTo>
                      <a:pt x="434" y="672"/>
                    </a:lnTo>
                    <a:lnTo>
                      <a:pt x="439" y="677"/>
                    </a:lnTo>
                    <a:lnTo>
                      <a:pt x="439" y="681"/>
                    </a:lnTo>
                    <a:lnTo>
                      <a:pt x="439" y="686"/>
                    </a:lnTo>
                    <a:lnTo>
                      <a:pt x="443" y="686"/>
                    </a:lnTo>
                    <a:lnTo>
                      <a:pt x="443" y="690"/>
                    </a:lnTo>
                    <a:lnTo>
                      <a:pt x="448" y="690"/>
                    </a:lnTo>
                    <a:lnTo>
                      <a:pt x="453" y="695"/>
                    </a:lnTo>
                    <a:lnTo>
                      <a:pt x="453" y="704"/>
                    </a:lnTo>
                    <a:lnTo>
                      <a:pt x="453" y="709"/>
                    </a:lnTo>
                    <a:lnTo>
                      <a:pt x="453" y="718"/>
                    </a:lnTo>
                    <a:lnTo>
                      <a:pt x="453" y="722"/>
                    </a:lnTo>
                    <a:lnTo>
                      <a:pt x="453" y="727"/>
                    </a:lnTo>
                    <a:lnTo>
                      <a:pt x="453" y="727"/>
                    </a:lnTo>
                    <a:lnTo>
                      <a:pt x="453" y="736"/>
                    </a:lnTo>
                    <a:lnTo>
                      <a:pt x="448" y="741"/>
                    </a:lnTo>
                    <a:lnTo>
                      <a:pt x="448" y="745"/>
                    </a:lnTo>
                    <a:lnTo>
                      <a:pt x="443" y="745"/>
                    </a:lnTo>
                    <a:lnTo>
                      <a:pt x="443" y="750"/>
                    </a:lnTo>
                    <a:lnTo>
                      <a:pt x="439" y="750"/>
                    </a:lnTo>
                    <a:lnTo>
                      <a:pt x="439" y="754"/>
                    </a:lnTo>
                    <a:lnTo>
                      <a:pt x="434" y="759"/>
                    </a:lnTo>
                    <a:lnTo>
                      <a:pt x="434" y="763"/>
                    </a:lnTo>
                    <a:lnTo>
                      <a:pt x="430" y="768"/>
                    </a:lnTo>
                    <a:lnTo>
                      <a:pt x="430" y="773"/>
                    </a:lnTo>
                    <a:lnTo>
                      <a:pt x="425" y="773"/>
                    </a:lnTo>
                    <a:lnTo>
                      <a:pt x="421" y="777"/>
                    </a:lnTo>
                    <a:lnTo>
                      <a:pt x="416" y="773"/>
                    </a:lnTo>
                    <a:lnTo>
                      <a:pt x="416" y="773"/>
                    </a:lnTo>
                    <a:lnTo>
                      <a:pt x="411" y="777"/>
                    </a:lnTo>
                    <a:lnTo>
                      <a:pt x="407" y="777"/>
                    </a:lnTo>
                    <a:lnTo>
                      <a:pt x="402" y="777"/>
                    </a:lnTo>
                    <a:lnTo>
                      <a:pt x="393" y="773"/>
                    </a:lnTo>
                    <a:lnTo>
                      <a:pt x="393" y="773"/>
                    </a:lnTo>
                    <a:lnTo>
                      <a:pt x="393" y="773"/>
                    </a:lnTo>
                    <a:lnTo>
                      <a:pt x="389" y="773"/>
                    </a:lnTo>
                    <a:lnTo>
                      <a:pt x="384" y="768"/>
                    </a:lnTo>
                    <a:lnTo>
                      <a:pt x="379" y="763"/>
                    </a:lnTo>
                    <a:lnTo>
                      <a:pt x="379" y="759"/>
                    </a:lnTo>
                    <a:lnTo>
                      <a:pt x="375" y="754"/>
                    </a:lnTo>
                    <a:lnTo>
                      <a:pt x="375" y="750"/>
                    </a:lnTo>
                    <a:lnTo>
                      <a:pt x="370" y="750"/>
                    </a:lnTo>
                    <a:lnTo>
                      <a:pt x="370" y="745"/>
                    </a:lnTo>
                    <a:lnTo>
                      <a:pt x="366" y="741"/>
                    </a:lnTo>
                    <a:lnTo>
                      <a:pt x="361" y="741"/>
                    </a:lnTo>
                    <a:lnTo>
                      <a:pt x="352" y="741"/>
                    </a:lnTo>
                    <a:lnTo>
                      <a:pt x="352" y="741"/>
                    </a:lnTo>
                    <a:lnTo>
                      <a:pt x="347" y="736"/>
                    </a:lnTo>
                    <a:lnTo>
                      <a:pt x="338" y="736"/>
                    </a:lnTo>
                    <a:lnTo>
                      <a:pt x="334" y="736"/>
                    </a:lnTo>
                    <a:lnTo>
                      <a:pt x="329" y="727"/>
                    </a:lnTo>
                    <a:lnTo>
                      <a:pt x="329" y="727"/>
                    </a:lnTo>
                    <a:lnTo>
                      <a:pt x="338" y="722"/>
                    </a:lnTo>
                    <a:lnTo>
                      <a:pt x="347" y="722"/>
                    </a:lnTo>
                    <a:lnTo>
                      <a:pt x="352" y="718"/>
                    </a:lnTo>
                    <a:lnTo>
                      <a:pt x="352" y="718"/>
                    </a:lnTo>
                    <a:lnTo>
                      <a:pt x="357" y="718"/>
                    </a:lnTo>
                    <a:lnTo>
                      <a:pt x="357" y="713"/>
                    </a:lnTo>
                    <a:lnTo>
                      <a:pt x="357" y="709"/>
                    </a:lnTo>
                    <a:lnTo>
                      <a:pt x="357" y="704"/>
                    </a:lnTo>
                    <a:lnTo>
                      <a:pt x="357" y="704"/>
                    </a:lnTo>
                    <a:lnTo>
                      <a:pt x="357" y="699"/>
                    </a:lnTo>
                    <a:lnTo>
                      <a:pt x="352" y="686"/>
                    </a:lnTo>
                    <a:lnTo>
                      <a:pt x="352" y="672"/>
                    </a:lnTo>
                    <a:lnTo>
                      <a:pt x="352" y="663"/>
                    </a:lnTo>
                    <a:lnTo>
                      <a:pt x="352" y="654"/>
                    </a:lnTo>
                    <a:lnTo>
                      <a:pt x="352" y="649"/>
                    </a:lnTo>
                    <a:lnTo>
                      <a:pt x="352" y="645"/>
                    </a:lnTo>
                    <a:lnTo>
                      <a:pt x="352" y="640"/>
                    </a:lnTo>
                    <a:lnTo>
                      <a:pt x="352" y="617"/>
                    </a:lnTo>
                    <a:lnTo>
                      <a:pt x="357" y="617"/>
                    </a:lnTo>
                    <a:lnTo>
                      <a:pt x="357" y="613"/>
                    </a:lnTo>
                    <a:lnTo>
                      <a:pt x="357" y="603"/>
                    </a:lnTo>
                    <a:lnTo>
                      <a:pt x="357" y="599"/>
                    </a:lnTo>
                    <a:lnTo>
                      <a:pt x="357" y="594"/>
                    </a:lnTo>
                    <a:lnTo>
                      <a:pt x="357" y="594"/>
                    </a:lnTo>
                    <a:lnTo>
                      <a:pt x="352" y="594"/>
                    </a:lnTo>
                    <a:lnTo>
                      <a:pt x="352" y="590"/>
                    </a:lnTo>
                    <a:lnTo>
                      <a:pt x="352" y="585"/>
                    </a:lnTo>
                    <a:lnTo>
                      <a:pt x="352" y="581"/>
                    </a:lnTo>
                    <a:lnTo>
                      <a:pt x="352" y="576"/>
                    </a:lnTo>
                    <a:lnTo>
                      <a:pt x="347" y="576"/>
                    </a:lnTo>
                    <a:lnTo>
                      <a:pt x="347" y="576"/>
                    </a:lnTo>
                    <a:lnTo>
                      <a:pt x="343" y="576"/>
                    </a:lnTo>
                    <a:lnTo>
                      <a:pt x="343" y="571"/>
                    </a:lnTo>
                    <a:lnTo>
                      <a:pt x="338" y="567"/>
                    </a:lnTo>
                    <a:lnTo>
                      <a:pt x="334" y="562"/>
                    </a:lnTo>
                    <a:lnTo>
                      <a:pt x="334" y="558"/>
                    </a:lnTo>
                    <a:lnTo>
                      <a:pt x="329" y="558"/>
                    </a:lnTo>
                    <a:lnTo>
                      <a:pt x="329" y="553"/>
                    </a:lnTo>
                    <a:lnTo>
                      <a:pt x="329" y="553"/>
                    </a:lnTo>
                    <a:lnTo>
                      <a:pt x="325" y="553"/>
                    </a:lnTo>
                    <a:lnTo>
                      <a:pt x="320" y="553"/>
                    </a:lnTo>
                    <a:lnTo>
                      <a:pt x="320" y="549"/>
                    </a:lnTo>
                    <a:lnTo>
                      <a:pt x="315" y="544"/>
                    </a:lnTo>
                    <a:lnTo>
                      <a:pt x="311" y="544"/>
                    </a:lnTo>
                    <a:lnTo>
                      <a:pt x="311" y="544"/>
                    </a:lnTo>
                    <a:lnTo>
                      <a:pt x="306" y="539"/>
                    </a:lnTo>
                    <a:lnTo>
                      <a:pt x="306" y="539"/>
                    </a:lnTo>
                    <a:lnTo>
                      <a:pt x="306" y="535"/>
                    </a:lnTo>
                    <a:lnTo>
                      <a:pt x="302" y="535"/>
                    </a:lnTo>
                    <a:lnTo>
                      <a:pt x="297" y="535"/>
                    </a:lnTo>
                    <a:lnTo>
                      <a:pt x="283" y="530"/>
                    </a:lnTo>
                    <a:lnTo>
                      <a:pt x="279" y="530"/>
                    </a:lnTo>
                    <a:lnTo>
                      <a:pt x="270" y="530"/>
                    </a:lnTo>
                    <a:lnTo>
                      <a:pt x="265" y="530"/>
                    </a:lnTo>
                    <a:lnTo>
                      <a:pt x="261" y="526"/>
                    </a:lnTo>
                    <a:lnTo>
                      <a:pt x="256" y="526"/>
                    </a:lnTo>
                    <a:lnTo>
                      <a:pt x="251" y="526"/>
                    </a:lnTo>
                    <a:lnTo>
                      <a:pt x="247" y="521"/>
                    </a:lnTo>
                    <a:lnTo>
                      <a:pt x="242" y="517"/>
                    </a:lnTo>
                    <a:lnTo>
                      <a:pt x="242" y="512"/>
                    </a:lnTo>
                    <a:lnTo>
                      <a:pt x="238" y="507"/>
                    </a:lnTo>
                    <a:lnTo>
                      <a:pt x="238" y="498"/>
                    </a:lnTo>
                    <a:lnTo>
                      <a:pt x="238" y="494"/>
                    </a:lnTo>
                    <a:lnTo>
                      <a:pt x="233" y="494"/>
                    </a:lnTo>
                    <a:lnTo>
                      <a:pt x="233" y="489"/>
                    </a:lnTo>
                    <a:lnTo>
                      <a:pt x="229" y="489"/>
                    </a:lnTo>
                    <a:lnTo>
                      <a:pt x="224" y="489"/>
                    </a:lnTo>
                    <a:lnTo>
                      <a:pt x="219" y="485"/>
                    </a:lnTo>
                    <a:lnTo>
                      <a:pt x="219" y="485"/>
                    </a:lnTo>
                    <a:lnTo>
                      <a:pt x="215" y="485"/>
                    </a:lnTo>
                    <a:lnTo>
                      <a:pt x="210" y="485"/>
                    </a:lnTo>
                    <a:lnTo>
                      <a:pt x="206" y="480"/>
                    </a:lnTo>
                    <a:lnTo>
                      <a:pt x="201" y="480"/>
                    </a:lnTo>
                    <a:lnTo>
                      <a:pt x="197" y="480"/>
                    </a:lnTo>
                    <a:lnTo>
                      <a:pt x="197" y="475"/>
                    </a:lnTo>
                    <a:lnTo>
                      <a:pt x="192" y="475"/>
                    </a:lnTo>
                    <a:lnTo>
                      <a:pt x="192" y="471"/>
                    </a:lnTo>
                    <a:lnTo>
                      <a:pt x="187" y="466"/>
                    </a:lnTo>
                    <a:lnTo>
                      <a:pt x="187" y="462"/>
                    </a:lnTo>
                    <a:lnTo>
                      <a:pt x="183" y="462"/>
                    </a:lnTo>
                    <a:lnTo>
                      <a:pt x="183" y="457"/>
                    </a:lnTo>
                    <a:lnTo>
                      <a:pt x="187" y="453"/>
                    </a:lnTo>
                    <a:lnTo>
                      <a:pt x="187" y="448"/>
                    </a:lnTo>
                    <a:lnTo>
                      <a:pt x="192" y="439"/>
                    </a:lnTo>
                    <a:lnTo>
                      <a:pt x="192" y="434"/>
                    </a:lnTo>
                    <a:lnTo>
                      <a:pt x="192" y="430"/>
                    </a:lnTo>
                    <a:lnTo>
                      <a:pt x="183" y="421"/>
                    </a:lnTo>
                    <a:lnTo>
                      <a:pt x="178" y="416"/>
                    </a:lnTo>
                    <a:lnTo>
                      <a:pt x="174" y="411"/>
                    </a:lnTo>
                    <a:lnTo>
                      <a:pt x="174" y="411"/>
                    </a:lnTo>
                    <a:lnTo>
                      <a:pt x="174" y="416"/>
                    </a:lnTo>
                    <a:lnTo>
                      <a:pt x="169" y="416"/>
                    </a:lnTo>
                    <a:lnTo>
                      <a:pt x="165" y="416"/>
                    </a:lnTo>
                    <a:lnTo>
                      <a:pt x="165" y="421"/>
                    </a:lnTo>
                    <a:lnTo>
                      <a:pt x="160" y="421"/>
                    </a:lnTo>
                    <a:lnTo>
                      <a:pt x="151" y="421"/>
                    </a:lnTo>
                    <a:lnTo>
                      <a:pt x="146" y="425"/>
                    </a:lnTo>
                    <a:lnTo>
                      <a:pt x="142" y="425"/>
                    </a:lnTo>
                    <a:lnTo>
                      <a:pt x="137" y="425"/>
                    </a:lnTo>
                    <a:lnTo>
                      <a:pt x="133" y="425"/>
                    </a:lnTo>
                    <a:lnTo>
                      <a:pt x="133" y="430"/>
                    </a:lnTo>
                    <a:lnTo>
                      <a:pt x="123" y="434"/>
                    </a:lnTo>
                    <a:lnTo>
                      <a:pt x="119" y="434"/>
                    </a:lnTo>
                    <a:lnTo>
                      <a:pt x="110" y="439"/>
                    </a:lnTo>
                    <a:lnTo>
                      <a:pt x="110" y="439"/>
                    </a:lnTo>
                    <a:lnTo>
                      <a:pt x="101" y="448"/>
                    </a:lnTo>
                    <a:lnTo>
                      <a:pt x="96" y="448"/>
                    </a:lnTo>
                    <a:lnTo>
                      <a:pt x="87" y="457"/>
                    </a:lnTo>
                    <a:lnTo>
                      <a:pt x="87" y="462"/>
                    </a:lnTo>
                    <a:lnTo>
                      <a:pt x="82" y="466"/>
                    </a:lnTo>
                    <a:lnTo>
                      <a:pt x="78" y="466"/>
                    </a:lnTo>
                    <a:lnTo>
                      <a:pt x="78" y="466"/>
                    </a:lnTo>
                    <a:lnTo>
                      <a:pt x="73" y="466"/>
                    </a:lnTo>
                    <a:lnTo>
                      <a:pt x="69" y="471"/>
                    </a:lnTo>
                    <a:lnTo>
                      <a:pt x="64" y="471"/>
                    </a:lnTo>
                    <a:lnTo>
                      <a:pt x="64" y="471"/>
                    </a:lnTo>
                    <a:lnTo>
                      <a:pt x="55" y="471"/>
                    </a:lnTo>
                    <a:lnTo>
                      <a:pt x="46" y="471"/>
                    </a:lnTo>
                    <a:lnTo>
                      <a:pt x="41" y="471"/>
                    </a:lnTo>
                    <a:lnTo>
                      <a:pt x="41" y="471"/>
                    </a:lnTo>
                    <a:lnTo>
                      <a:pt x="27" y="466"/>
                    </a:lnTo>
                    <a:lnTo>
                      <a:pt x="27" y="462"/>
                    </a:lnTo>
                    <a:lnTo>
                      <a:pt x="27" y="457"/>
                    </a:lnTo>
                    <a:lnTo>
                      <a:pt x="23" y="453"/>
                    </a:lnTo>
                    <a:lnTo>
                      <a:pt x="18" y="443"/>
                    </a:lnTo>
                    <a:lnTo>
                      <a:pt x="18" y="443"/>
                    </a:lnTo>
                    <a:lnTo>
                      <a:pt x="14" y="443"/>
                    </a:lnTo>
                    <a:lnTo>
                      <a:pt x="14" y="439"/>
                    </a:lnTo>
                    <a:lnTo>
                      <a:pt x="9" y="434"/>
                    </a:lnTo>
                    <a:lnTo>
                      <a:pt x="5" y="430"/>
                    </a:lnTo>
                    <a:lnTo>
                      <a:pt x="5" y="425"/>
                    </a:lnTo>
                    <a:lnTo>
                      <a:pt x="0" y="421"/>
                    </a:lnTo>
                    <a:lnTo>
                      <a:pt x="0" y="421"/>
                    </a:lnTo>
                    <a:lnTo>
                      <a:pt x="5" y="421"/>
                    </a:lnTo>
                    <a:lnTo>
                      <a:pt x="9" y="411"/>
                    </a:lnTo>
                    <a:lnTo>
                      <a:pt x="14" y="411"/>
                    </a:lnTo>
                    <a:lnTo>
                      <a:pt x="14" y="407"/>
                    </a:lnTo>
                    <a:lnTo>
                      <a:pt x="18" y="407"/>
                    </a:lnTo>
                    <a:lnTo>
                      <a:pt x="23" y="407"/>
                    </a:lnTo>
                    <a:lnTo>
                      <a:pt x="23" y="402"/>
                    </a:lnTo>
                    <a:lnTo>
                      <a:pt x="23" y="398"/>
                    </a:lnTo>
                    <a:lnTo>
                      <a:pt x="23" y="393"/>
                    </a:lnTo>
                    <a:lnTo>
                      <a:pt x="27" y="389"/>
                    </a:lnTo>
                    <a:lnTo>
                      <a:pt x="27" y="384"/>
                    </a:lnTo>
                    <a:lnTo>
                      <a:pt x="32" y="384"/>
                    </a:lnTo>
                    <a:lnTo>
                      <a:pt x="37" y="384"/>
                    </a:lnTo>
                    <a:lnTo>
                      <a:pt x="41" y="379"/>
                    </a:lnTo>
                    <a:lnTo>
                      <a:pt x="41" y="379"/>
                    </a:lnTo>
                    <a:lnTo>
                      <a:pt x="50" y="375"/>
                    </a:lnTo>
                    <a:lnTo>
                      <a:pt x="55" y="375"/>
                    </a:lnTo>
                    <a:lnTo>
                      <a:pt x="59" y="375"/>
                    </a:lnTo>
                    <a:lnTo>
                      <a:pt x="73" y="375"/>
                    </a:lnTo>
                    <a:lnTo>
                      <a:pt x="78" y="375"/>
                    </a:lnTo>
                    <a:lnTo>
                      <a:pt x="87" y="370"/>
                    </a:lnTo>
                    <a:lnTo>
                      <a:pt x="91" y="366"/>
                    </a:lnTo>
                    <a:lnTo>
                      <a:pt x="91" y="366"/>
                    </a:lnTo>
                    <a:lnTo>
                      <a:pt x="91" y="361"/>
                    </a:lnTo>
                    <a:lnTo>
                      <a:pt x="91" y="357"/>
                    </a:lnTo>
                    <a:lnTo>
                      <a:pt x="91" y="357"/>
                    </a:lnTo>
                    <a:lnTo>
                      <a:pt x="87" y="347"/>
                    </a:lnTo>
                    <a:lnTo>
                      <a:pt x="87" y="343"/>
                    </a:lnTo>
                    <a:lnTo>
                      <a:pt x="87" y="338"/>
                    </a:lnTo>
                    <a:lnTo>
                      <a:pt x="82" y="334"/>
                    </a:lnTo>
                    <a:lnTo>
                      <a:pt x="82" y="334"/>
                    </a:lnTo>
                    <a:lnTo>
                      <a:pt x="82" y="329"/>
                    </a:lnTo>
                    <a:lnTo>
                      <a:pt x="78" y="315"/>
                    </a:lnTo>
                    <a:lnTo>
                      <a:pt x="78" y="311"/>
                    </a:lnTo>
                    <a:lnTo>
                      <a:pt x="78" y="311"/>
                    </a:lnTo>
                    <a:lnTo>
                      <a:pt x="78" y="306"/>
                    </a:lnTo>
                    <a:lnTo>
                      <a:pt x="78" y="302"/>
                    </a:lnTo>
                    <a:lnTo>
                      <a:pt x="78" y="297"/>
                    </a:lnTo>
                    <a:lnTo>
                      <a:pt x="78" y="288"/>
                    </a:lnTo>
                    <a:lnTo>
                      <a:pt x="73" y="288"/>
                    </a:lnTo>
                    <a:lnTo>
                      <a:pt x="73" y="283"/>
                    </a:lnTo>
                    <a:lnTo>
                      <a:pt x="73" y="279"/>
                    </a:lnTo>
                    <a:lnTo>
                      <a:pt x="69" y="279"/>
                    </a:lnTo>
                    <a:lnTo>
                      <a:pt x="64" y="274"/>
                    </a:lnTo>
                    <a:lnTo>
                      <a:pt x="64" y="270"/>
                    </a:lnTo>
                    <a:lnTo>
                      <a:pt x="64" y="265"/>
                    </a:lnTo>
                    <a:lnTo>
                      <a:pt x="64" y="265"/>
                    </a:lnTo>
                    <a:lnTo>
                      <a:pt x="64" y="261"/>
                    </a:lnTo>
                    <a:lnTo>
                      <a:pt x="64" y="251"/>
                    </a:lnTo>
                    <a:lnTo>
                      <a:pt x="64" y="247"/>
                    </a:lnTo>
                    <a:lnTo>
                      <a:pt x="64" y="238"/>
                    </a:lnTo>
                    <a:lnTo>
                      <a:pt x="64" y="233"/>
                    </a:lnTo>
                    <a:lnTo>
                      <a:pt x="64" y="219"/>
                    </a:lnTo>
                    <a:lnTo>
                      <a:pt x="64" y="215"/>
                    </a:lnTo>
                    <a:lnTo>
                      <a:pt x="64" y="206"/>
                    </a:lnTo>
                    <a:lnTo>
                      <a:pt x="64" y="197"/>
                    </a:lnTo>
                    <a:lnTo>
                      <a:pt x="64" y="192"/>
                    </a:lnTo>
                    <a:lnTo>
                      <a:pt x="64" y="183"/>
                    </a:lnTo>
                    <a:lnTo>
                      <a:pt x="59" y="169"/>
                    </a:lnTo>
                    <a:lnTo>
                      <a:pt x="55" y="165"/>
                    </a:lnTo>
                    <a:lnTo>
                      <a:pt x="55" y="160"/>
                    </a:lnTo>
                    <a:lnTo>
                      <a:pt x="55" y="155"/>
                    </a:lnTo>
                    <a:lnTo>
                      <a:pt x="55" y="155"/>
                    </a:lnTo>
                    <a:lnTo>
                      <a:pt x="55" y="146"/>
                    </a:lnTo>
                    <a:lnTo>
                      <a:pt x="55" y="137"/>
                    </a:lnTo>
                    <a:lnTo>
                      <a:pt x="59" y="133"/>
                    </a:lnTo>
                    <a:lnTo>
                      <a:pt x="64" y="128"/>
                    </a:lnTo>
                    <a:lnTo>
                      <a:pt x="64" y="123"/>
                    </a:lnTo>
                    <a:lnTo>
                      <a:pt x="69" y="119"/>
                    </a:lnTo>
                    <a:lnTo>
                      <a:pt x="73" y="114"/>
                    </a:lnTo>
                    <a:lnTo>
                      <a:pt x="78" y="114"/>
                    </a:lnTo>
                    <a:lnTo>
                      <a:pt x="82" y="114"/>
                    </a:lnTo>
                    <a:lnTo>
                      <a:pt x="87" y="110"/>
                    </a:lnTo>
                    <a:lnTo>
                      <a:pt x="101" y="105"/>
                    </a:lnTo>
                    <a:lnTo>
                      <a:pt x="101" y="101"/>
                    </a:lnTo>
                    <a:lnTo>
                      <a:pt x="105" y="101"/>
                    </a:lnTo>
                    <a:lnTo>
                      <a:pt x="110" y="96"/>
                    </a:lnTo>
                    <a:lnTo>
                      <a:pt x="114" y="96"/>
                    </a:lnTo>
                    <a:lnTo>
                      <a:pt x="119" y="96"/>
                    </a:lnTo>
                    <a:lnTo>
                      <a:pt x="123" y="96"/>
                    </a:lnTo>
                    <a:lnTo>
                      <a:pt x="133" y="91"/>
                    </a:lnTo>
                    <a:lnTo>
                      <a:pt x="133" y="91"/>
                    </a:lnTo>
                    <a:lnTo>
                      <a:pt x="137" y="91"/>
                    </a:lnTo>
                    <a:lnTo>
                      <a:pt x="142" y="91"/>
                    </a:lnTo>
                    <a:lnTo>
                      <a:pt x="151" y="91"/>
                    </a:lnTo>
                    <a:lnTo>
                      <a:pt x="151" y="87"/>
                    </a:lnTo>
                    <a:lnTo>
                      <a:pt x="155" y="87"/>
                    </a:lnTo>
                    <a:lnTo>
                      <a:pt x="165" y="82"/>
                    </a:lnTo>
                    <a:lnTo>
                      <a:pt x="169" y="78"/>
                    </a:lnTo>
                    <a:lnTo>
                      <a:pt x="174" y="78"/>
                    </a:lnTo>
                    <a:lnTo>
                      <a:pt x="174" y="73"/>
                    </a:lnTo>
                    <a:lnTo>
                      <a:pt x="178" y="69"/>
                    </a:lnTo>
                    <a:lnTo>
                      <a:pt x="178" y="69"/>
                    </a:lnTo>
                    <a:lnTo>
                      <a:pt x="183" y="69"/>
                    </a:lnTo>
                    <a:lnTo>
                      <a:pt x="183" y="64"/>
                    </a:lnTo>
                    <a:lnTo>
                      <a:pt x="187" y="59"/>
                    </a:lnTo>
                    <a:lnTo>
                      <a:pt x="187" y="55"/>
                    </a:lnTo>
                    <a:lnTo>
                      <a:pt x="187" y="50"/>
                    </a:lnTo>
                    <a:lnTo>
                      <a:pt x="192" y="46"/>
                    </a:lnTo>
                    <a:lnTo>
                      <a:pt x="197" y="37"/>
                    </a:lnTo>
                    <a:lnTo>
                      <a:pt x="197" y="37"/>
                    </a:lnTo>
                    <a:lnTo>
                      <a:pt x="197" y="32"/>
                    </a:lnTo>
                    <a:lnTo>
                      <a:pt x="197" y="27"/>
                    </a:lnTo>
                    <a:lnTo>
                      <a:pt x="201" y="27"/>
                    </a:lnTo>
                    <a:lnTo>
                      <a:pt x="206" y="23"/>
                    </a:lnTo>
                    <a:lnTo>
                      <a:pt x="210" y="18"/>
                    </a:lnTo>
                    <a:lnTo>
                      <a:pt x="215" y="18"/>
                    </a:lnTo>
                    <a:lnTo>
                      <a:pt x="219" y="14"/>
                    </a:lnTo>
                    <a:lnTo>
                      <a:pt x="219" y="9"/>
                    </a:lnTo>
                    <a:lnTo>
                      <a:pt x="229" y="5"/>
                    </a:lnTo>
                    <a:lnTo>
                      <a:pt x="229" y="5"/>
                    </a:lnTo>
                    <a:lnTo>
                      <a:pt x="233" y="5"/>
                    </a:lnTo>
                    <a:lnTo>
                      <a:pt x="238" y="5"/>
                    </a:lnTo>
                    <a:lnTo>
                      <a:pt x="242" y="14"/>
                    </a:lnTo>
                    <a:lnTo>
                      <a:pt x="242" y="18"/>
                    </a:lnTo>
                    <a:lnTo>
                      <a:pt x="247" y="23"/>
                    </a:lnTo>
                    <a:lnTo>
                      <a:pt x="251" y="27"/>
                    </a:lnTo>
                    <a:lnTo>
                      <a:pt x="256" y="27"/>
                    </a:lnTo>
                    <a:lnTo>
                      <a:pt x="256" y="32"/>
                    </a:lnTo>
                    <a:lnTo>
                      <a:pt x="261" y="32"/>
                    </a:lnTo>
                    <a:lnTo>
                      <a:pt x="261" y="37"/>
                    </a:lnTo>
                    <a:lnTo>
                      <a:pt x="261" y="41"/>
                    </a:lnTo>
                    <a:lnTo>
                      <a:pt x="261" y="46"/>
                    </a:lnTo>
                    <a:lnTo>
                      <a:pt x="261" y="50"/>
                    </a:lnTo>
                    <a:lnTo>
                      <a:pt x="261" y="50"/>
                    </a:lnTo>
                    <a:lnTo>
                      <a:pt x="261" y="59"/>
                    </a:lnTo>
                    <a:lnTo>
                      <a:pt x="261" y="64"/>
                    </a:lnTo>
                    <a:lnTo>
                      <a:pt x="265" y="64"/>
                    </a:lnTo>
                    <a:lnTo>
                      <a:pt x="265" y="69"/>
                    </a:lnTo>
                    <a:lnTo>
                      <a:pt x="270" y="64"/>
                    </a:lnTo>
                    <a:lnTo>
                      <a:pt x="270" y="59"/>
                    </a:lnTo>
                    <a:lnTo>
                      <a:pt x="274" y="59"/>
                    </a:lnTo>
                    <a:lnTo>
                      <a:pt x="274" y="55"/>
                    </a:lnTo>
                    <a:lnTo>
                      <a:pt x="274" y="50"/>
                    </a:lnTo>
                    <a:lnTo>
                      <a:pt x="274" y="46"/>
                    </a:lnTo>
                    <a:lnTo>
                      <a:pt x="279" y="46"/>
                    </a:lnTo>
                    <a:lnTo>
                      <a:pt x="279" y="37"/>
                    </a:lnTo>
                    <a:lnTo>
                      <a:pt x="283" y="27"/>
                    </a:lnTo>
                    <a:lnTo>
                      <a:pt x="283" y="27"/>
                    </a:lnTo>
                    <a:lnTo>
                      <a:pt x="283" y="27"/>
                    </a:lnTo>
                    <a:lnTo>
                      <a:pt x="283" y="23"/>
                    </a:lnTo>
                    <a:lnTo>
                      <a:pt x="288" y="18"/>
                    </a:lnTo>
                    <a:lnTo>
                      <a:pt x="293" y="14"/>
                    </a:lnTo>
                    <a:lnTo>
                      <a:pt x="297" y="14"/>
                    </a:lnTo>
                    <a:lnTo>
                      <a:pt x="302" y="9"/>
                    </a:lnTo>
                    <a:lnTo>
                      <a:pt x="306" y="5"/>
                    </a:lnTo>
                    <a:lnTo>
                      <a:pt x="306" y="5"/>
                    </a:lnTo>
                    <a:lnTo>
                      <a:pt x="315" y="5"/>
                    </a:lnTo>
                    <a:lnTo>
                      <a:pt x="329" y="5"/>
                    </a:lnTo>
                    <a:lnTo>
                      <a:pt x="329" y="5"/>
                    </a:lnTo>
                    <a:lnTo>
                      <a:pt x="329" y="5"/>
                    </a:lnTo>
                    <a:lnTo>
                      <a:pt x="334" y="5"/>
                    </a:lnTo>
                    <a:lnTo>
                      <a:pt x="338" y="5"/>
                    </a:lnTo>
                    <a:lnTo>
                      <a:pt x="343" y="0"/>
                    </a:lnTo>
                    <a:lnTo>
                      <a:pt x="347" y="0"/>
                    </a:lnTo>
                    <a:lnTo>
                      <a:pt x="352" y="0"/>
                    </a:lnTo>
                    <a:lnTo>
                      <a:pt x="352" y="5"/>
                    </a:lnTo>
                    <a:lnTo>
                      <a:pt x="352" y="5"/>
                    </a:lnTo>
                    <a:lnTo>
                      <a:pt x="357" y="5"/>
                    </a:lnTo>
                    <a:lnTo>
                      <a:pt x="361" y="5"/>
                    </a:lnTo>
                    <a:lnTo>
                      <a:pt x="366" y="5"/>
                    </a:lnTo>
                    <a:lnTo>
                      <a:pt x="370" y="9"/>
                    </a:lnTo>
                    <a:lnTo>
                      <a:pt x="370" y="9"/>
                    </a:lnTo>
                    <a:lnTo>
                      <a:pt x="375" y="9"/>
                    </a:lnTo>
                    <a:lnTo>
                      <a:pt x="384" y="9"/>
                    </a:lnTo>
                    <a:lnTo>
                      <a:pt x="393" y="5"/>
                    </a:lnTo>
                    <a:lnTo>
                      <a:pt x="393" y="5"/>
                    </a:lnTo>
                    <a:lnTo>
                      <a:pt x="398" y="9"/>
                    </a:lnTo>
                    <a:lnTo>
                      <a:pt x="398" y="14"/>
                    </a:lnTo>
                    <a:lnTo>
                      <a:pt x="402" y="18"/>
                    </a:lnTo>
                    <a:lnTo>
                      <a:pt x="398" y="18"/>
                    </a:lnTo>
                    <a:lnTo>
                      <a:pt x="398" y="27"/>
                    </a:lnTo>
                    <a:lnTo>
                      <a:pt x="393" y="32"/>
                    </a:lnTo>
                    <a:lnTo>
                      <a:pt x="393" y="41"/>
                    </a:lnTo>
                    <a:lnTo>
                      <a:pt x="393" y="46"/>
                    </a:lnTo>
                    <a:lnTo>
                      <a:pt x="393" y="50"/>
                    </a:lnTo>
                    <a:lnTo>
                      <a:pt x="393" y="50"/>
                    </a:lnTo>
                    <a:lnTo>
                      <a:pt x="393" y="50"/>
                    </a:lnTo>
                    <a:lnTo>
                      <a:pt x="393" y="55"/>
                    </a:lnTo>
                    <a:lnTo>
                      <a:pt x="398" y="59"/>
                    </a:lnTo>
                    <a:lnTo>
                      <a:pt x="402" y="59"/>
                    </a:lnTo>
                    <a:lnTo>
                      <a:pt x="416" y="59"/>
                    </a:lnTo>
                    <a:lnTo>
                      <a:pt x="416" y="64"/>
                    </a:lnTo>
                    <a:lnTo>
                      <a:pt x="425" y="64"/>
                    </a:lnTo>
                    <a:lnTo>
                      <a:pt x="425" y="69"/>
                    </a:lnTo>
                    <a:lnTo>
                      <a:pt x="430" y="69"/>
                    </a:lnTo>
                    <a:lnTo>
                      <a:pt x="430" y="69"/>
                    </a:lnTo>
                    <a:lnTo>
                      <a:pt x="434" y="73"/>
                    </a:lnTo>
                    <a:lnTo>
                      <a:pt x="434" y="78"/>
                    </a:lnTo>
                    <a:lnTo>
                      <a:pt x="434" y="82"/>
                    </a:lnTo>
                    <a:lnTo>
                      <a:pt x="434" y="87"/>
                    </a:lnTo>
                    <a:lnTo>
                      <a:pt x="430" y="87"/>
                    </a:lnTo>
                    <a:lnTo>
                      <a:pt x="425" y="91"/>
                    </a:lnTo>
                    <a:lnTo>
                      <a:pt x="425" y="91"/>
                    </a:lnTo>
                    <a:lnTo>
                      <a:pt x="425" y="96"/>
                    </a:lnTo>
                    <a:lnTo>
                      <a:pt x="421" y="96"/>
                    </a:lnTo>
                    <a:lnTo>
                      <a:pt x="421" y="101"/>
                    </a:lnTo>
                    <a:lnTo>
                      <a:pt x="425" y="110"/>
                    </a:lnTo>
                    <a:lnTo>
                      <a:pt x="430" y="114"/>
                    </a:lnTo>
                    <a:lnTo>
                      <a:pt x="439" y="114"/>
                    </a:lnTo>
                    <a:lnTo>
                      <a:pt x="439" y="114"/>
                    </a:lnTo>
                    <a:lnTo>
                      <a:pt x="443" y="114"/>
                    </a:lnTo>
                    <a:lnTo>
                      <a:pt x="457" y="114"/>
                    </a:lnTo>
                    <a:lnTo>
                      <a:pt x="462" y="114"/>
                    </a:lnTo>
                    <a:lnTo>
                      <a:pt x="471" y="114"/>
                    </a:lnTo>
                    <a:lnTo>
                      <a:pt x="475" y="114"/>
                    </a:lnTo>
                    <a:lnTo>
                      <a:pt x="480" y="114"/>
                    </a:lnTo>
                    <a:lnTo>
                      <a:pt x="480" y="114"/>
                    </a:lnTo>
                    <a:lnTo>
                      <a:pt x="480" y="114"/>
                    </a:lnTo>
                    <a:lnTo>
                      <a:pt x="480" y="119"/>
                    </a:lnTo>
                    <a:lnTo>
                      <a:pt x="485" y="123"/>
                    </a:lnTo>
                    <a:lnTo>
                      <a:pt x="485" y="128"/>
                    </a:lnTo>
                    <a:lnTo>
                      <a:pt x="489" y="133"/>
                    </a:lnTo>
                    <a:lnTo>
                      <a:pt x="494" y="142"/>
                    </a:lnTo>
                    <a:lnTo>
                      <a:pt x="494" y="146"/>
                    </a:lnTo>
                    <a:lnTo>
                      <a:pt x="498" y="146"/>
                    </a:lnTo>
                    <a:lnTo>
                      <a:pt x="498" y="151"/>
                    </a:lnTo>
                    <a:lnTo>
                      <a:pt x="503" y="155"/>
                    </a:lnTo>
                    <a:lnTo>
                      <a:pt x="503" y="155"/>
                    </a:lnTo>
                    <a:lnTo>
                      <a:pt x="498" y="160"/>
                    </a:lnTo>
                    <a:lnTo>
                      <a:pt x="498" y="165"/>
                    </a:lnTo>
                    <a:lnTo>
                      <a:pt x="498" y="169"/>
                    </a:lnTo>
                    <a:lnTo>
                      <a:pt x="498" y="174"/>
                    </a:lnTo>
                    <a:lnTo>
                      <a:pt x="494" y="174"/>
                    </a:lnTo>
                    <a:lnTo>
                      <a:pt x="494" y="178"/>
                    </a:lnTo>
                    <a:lnTo>
                      <a:pt x="489" y="178"/>
                    </a:lnTo>
                    <a:lnTo>
                      <a:pt x="489" y="178"/>
                    </a:lnTo>
                    <a:lnTo>
                      <a:pt x="485" y="178"/>
                    </a:lnTo>
                    <a:lnTo>
                      <a:pt x="485" y="183"/>
                    </a:lnTo>
                    <a:lnTo>
                      <a:pt x="485" y="187"/>
                    </a:lnTo>
                    <a:lnTo>
                      <a:pt x="489" y="192"/>
                    </a:lnTo>
                    <a:lnTo>
                      <a:pt x="494" y="197"/>
                    </a:lnTo>
                    <a:lnTo>
                      <a:pt x="498" y="197"/>
                    </a:lnTo>
                    <a:lnTo>
                      <a:pt x="507" y="201"/>
                    </a:lnTo>
                    <a:lnTo>
                      <a:pt x="512" y="201"/>
                    </a:lnTo>
                    <a:lnTo>
                      <a:pt x="512" y="201"/>
                    </a:lnTo>
                    <a:lnTo>
                      <a:pt x="521" y="197"/>
                    </a:lnTo>
                    <a:lnTo>
                      <a:pt x="526" y="197"/>
                    </a:lnTo>
                    <a:lnTo>
                      <a:pt x="526" y="197"/>
                    </a:lnTo>
                    <a:lnTo>
                      <a:pt x="539" y="192"/>
                    </a:lnTo>
                    <a:lnTo>
                      <a:pt x="544" y="197"/>
                    </a:lnTo>
                    <a:lnTo>
                      <a:pt x="549" y="197"/>
                    </a:lnTo>
                    <a:lnTo>
                      <a:pt x="549" y="201"/>
                    </a:lnTo>
                    <a:lnTo>
                      <a:pt x="549" y="206"/>
                    </a:lnTo>
                    <a:lnTo>
                      <a:pt x="544" y="206"/>
                    </a:lnTo>
                    <a:lnTo>
                      <a:pt x="544" y="210"/>
                    </a:lnTo>
                    <a:lnTo>
                      <a:pt x="544" y="215"/>
                    </a:lnTo>
                    <a:lnTo>
                      <a:pt x="549" y="215"/>
                    </a:lnTo>
                    <a:lnTo>
                      <a:pt x="553" y="215"/>
                    </a:lnTo>
                    <a:lnTo>
                      <a:pt x="558" y="219"/>
                    </a:lnTo>
                    <a:lnTo>
                      <a:pt x="567" y="219"/>
                    </a:lnTo>
                    <a:lnTo>
                      <a:pt x="571" y="219"/>
                    </a:lnTo>
                    <a:lnTo>
                      <a:pt x="571" y="215"/>
                    </a:lnTo>
                    <a:lnTo>
                      <a:pt x="571" y="206"/>
                    </a:lnTo>
                    <a:lnTo>
                      <a:pt x="571" y="201"/>
                    </a:lnTo>
                    <a:lnTo>
                      <a:pt x="571" y="201"/>
                    </a:lnTo>
                    <a:lnTo>
                      <a:pt x="571" y="197"/>
                    </a:lnTo>
                    <a:lnTo>
                      <a:pt x="576" y="197"/>
                    </a:lnTo>
                    <a:lnTo>
                      <a:pt x="581" y="192"/>
                    </a:lnTo>
                    <a:lnTo>
                      <a:pt x="585" y="197"/>
                    </a:lnTo>
                    <a:lnTo>
                      <a:pt x="590" y="197"/>
                    </a:lnTo>
                    <a:lnTo>
                      <a:pt x="590" y="201"/>
                    </a:lnTo>
                    <a:lnTo>
                      <a:pt x="590" y="201"/>
                    </a:lnTo>
                    <a:lnTo>
                      <a:pt x="594" y="210"/>
                    </a:lnTo>
                    <a:lnTo>
                      <a:pt x="594" y="224"/>
                    </a:lnTo>
                    <a:lnTo>
                      <a:pt x="594" y="224"/>
                    </a:lnTo>
                    <a:lnTo>
                      <a:pt x="599" y="229"/>
                    </a:lnTo>
                    <a:lnTo>
                      <a:pt x="599" y="233"/>
                    </a:lnTo>
                    <a:lnTo>
                      <a:pt x="599" y="238"/>
                    </a:lnTo>
                    <a:lnTo>
                      <a:pt x="599" y="247"/>
                    </a:lnTo>
                    <a:lnTo>
                      <a:pt x="599" y="256"/>
                    </a:lnTo>
                    <a:lnTo>
                      <a:pt x="599" y="274"/>
                    </a:lnTo>
                    <a:lnTo>
                      <a:pt x="594" y="279"/>
                    </a:lnTo>
                    <a:lnTo>
                      <a:pt x="594" y="283"/>
                    </a:lnTo>
                    <a:lnTo>
                      <a:pt x="590" y="283"/>
                    </a:lnTo>
                    <a:lnTo>
                      <a:pt x="590" y="288"/>
                    </a:lnTo>
                    <a:lnTo>
                      <a:pt x="585" y="288"/>
                    </a:lnTo>
                    <a:lnTo>
                      <a:pt x="581" y="288"/>
                    </a:lnTo>
                    <a:lnTo>
                      <a:pt x="576" y="293"/>
                    </a:lnTo>
                    <a:lnTo>
                      <a:pt x="576" y="297"/>
                    </a:lnTo>
                    <a:lnTo>
                      <a:pt x="576" y="302"/>
                    </a:lnTo>
                    <a:lnTo>
                      <a:pt x="571" y="302"/>
                    </a:lnTo>
                    <a:lnTo>
                      <a:pt x="571" y="302"/>
                    </a:lnTo>
                    <a:lnTo>
                      <a:pt x="571" y="306"/>
                    </a:lnTo>
                    <a:lnTo>
                      <a:pt x="571" y="311"/>
                    </a:lnTo>
                    <a:lnTo>
                      <a:pt x="571" y="315"/>
                    </a:lnTo>
                    <a:lnTo>
                      <a:pt x="571" y="320"/>
                    </a:lnTo>
                    <a:lnTo>
                      <a:pt x="571" y="325"/>
                    </a:lnTo>
                    <a:lnTo>
                      <a:pt x="571" y="329"/>
                    </a:lnTo>
                    <a:lnTo>
                      <a:pt x="576" y="334"/>
                    </a:lnTo>
                    <a:lnTo>
                      <a:pt x="581" y="334"/>
                    </a:lnTo>
                    <a:lnTo>
                      <a:pt x="585" y="334"/>
                    </a:lnTo>
                    <a:lnTo>
                      <a:pt x="590" y="334"/>
                    </a:lnTo>
                    <a:lnTo>
                      <a:pt x="594" y="334"/>
                    </a:lnTo>
                    <a:lnTo>
                      <a:pt x="603" y="329"/>
                    </a:lnTo>
                    <a:lnTo>
                      <a:pt x="608" y="329"/>
                    </a:lnTo>
                    <a:lnTo>
                      <a:pt x="613" y="329"/>
                    </a:lnTo>
                    <a:lnTo>
                      <a:pt x="613" y="334"/>
                    </a:lnTo>
                    <a:lnTo>
                      <a:pt x="613" y="338"/>
                    </a:lnTo>
                    <a:lnTo>
                      <a:pt x="608" y="338"/>
                    </a:lnTo>
                    <a:lnTo>
                      <a:pt x="608" y="343"/>
                    </a:lnTo>
                    <a:lnTo>
                      <a:pt x="608" y="347"/>
                    </a:lnTo>
                    <a:lnTo>
                      <a:pt x="603" y="347"/>
                    </a:lnTo>
                    <a:lnTo>
                      <a:pt x="608" y="357"/>
                    </a:lnTo>
                    <a:lnTo>
                      <a:pt x="608" y="357"/>
                    </a:lnTo>
                    <a:lnTo>
                      <a:pt x="613" y="361"/>
                    </a:lnTo>
                    <a:lnTo>
                      <a:pt x="613" y="366"/>
                    </a:lnTo>
                    <a:lnTo>
                      <a:pt x="617" y="366"/>
                    </a:lnTo>
                    <a:lnTo>
                      <a:pt x="622" y="370"/>
                    </a:lnTo>
                    <a:lnTo>
                      <a:pt x="631" y="375"/>
                    </a:lnTo>
                    <a:lnTo>
                      <a:pt x="635" y="375"/>
                    </a:lnTo>
                    <a:lnTo>
                      <a:pt x="635" y="379"/>
                    </a:lnTo>
                    <a:lnTo>
                      <a:pt x="635" y="384"/>
                    </a:lnTo>
                    <a:lnTo>
                      <a:pt x="635" y="389"/>
                    </a:lnTo>
                    <a:lnTo>
                      <a:pt x="640" y="389"/>
                    </a:lnTo>
                    <a:lnTo>
                      <a:pt x="649" y="389"/>
                    </a:lnTo>
                    <a:lnTo>
                      <a:pt x="654" y="389"/>
                    </a:lnTo>
                    <a:lnTo>
                      <a:pt x="658" y="389"/>
                    </a:lnTo>
                    <a:lnTo>
                      <a:pt x="658" y="393"/>
                    </a:lnTo>
                    <a:lnTo>
                      <a:pt x="658" y="398"/>
                    </a:lnTo>
                    <a:lnTo>
                      <a:pt x="654" y="398"/>
                    </a:lnTo>
                    <a:lnTo>
                      <a:pt x="649" y="402"/>
                    </a:lnTo>
                    <a:lnTo>
                      <a:pt x="649" y="407"/>
                    </a:lnTo>
                    <a:lnTo>
                      <a:pt x="645" y="411"/>
                    </a:lnTo>
                    <a:lnTo>
                      <a:pt x="645" y="416"/>
                    </a:lnTo>
                    <a:lnTo>
                      <a:pt x="640" y="421"/>
                    </a:lnTo>
                    <a:lnTo>
                      <a:pt x="635" y="421"/>
                    </a:lnTo>
                    <a:lnTo>
                      <a:pt x="631" y="421"/>
                    </a:lnTo>
                    <a:lnTo>
                      <a:pt x="626" y="421"/>
                    </a:lnTo>
                    <a:lnTo>
                      <a:pt x="622" y="421"/>
                    </a:lnTo>
                    <a:lnTo>
                      <a:pt x="617" y="421"/>
                    </a:lnTo>
                    <a:lnTo>
                      <a:pt x="617" y="425"/>
                    </a:lnTo>
                    <a:lnTo>
                      <a:pt x="613" y="434"/>
                    </a:lnTo>
                    <a:lnTo>
                      <a:pt x="613" y="434"/>
                    </a:lnTo>
                    <a:lnTo>
                      <a:pt x="613" y="439"/>
                    </a:lnTo>
                    <a:lnTo>
                      <a:pt x="613" y="443"/>
                    </a:lnTo>
                    <a:lnTo>
                      <a:pt x="608" y="448"/>
                    </a:lnTo>
                    <a:lnTo>
                      <a:pt x="613" y="457"/>
                    </a:lnTo>
                    <a:lnTo>
                      <a:pt x="613" y="462"/>
                    </a:lnTo>
                    <a:lnTo>
                      <a:pt x="613" y="466"/>
                    </a:lnTo>
                    <a:lnTo>
                      <a:pt x="608" y="471"/>
                    </a:lnTo>
                    <a:lnTo>
                      <a:pt x="603" y="471"/>
                    </a:lnTo>
                    <a:lnTo>
                      <a:pt x="594" y="471"/>
                    </a:lnTo>
                    <a:lnTo>
                      <a:pt x="590" y="475"/>
                    </a:lnTo>
                    <a:lnTo>
                      <a:pt x="590" y="475"/>
                    </a:lnTo>
                    <a:lnTo>
                      <a:pt x="585" y="480"/>
                    </a:lnTo>
                    <a:lnTo>
                      <a:pt x="581" y="480"/>
                    </a:lnTo>
                    <a:lnTo>
                      <a:pt x="581" y="485"/>
                    </a:lnTo>
                    <a:lnTo>
                      <a:pt x="576" y="485"/>
                    </a:lnTo>
                    <a:lnTo>
                      <a:pt x="576" y="485"/>
                    </a:lnTo>
                    <a:lnTo>
                      <a:pt x="571" y="485"/>
                    </a:lnTo>
                    <a:lnTo>
                      <a:pt x="567" y="485"/>
                    </a:lnTo>
                    <a:lnTo>
                      <a:pt x="562" y="485"/>
                    </a:lnTo>
                    <a:lnTo>
                      <a:pt x="558" y="485"/>
                    </a:lnTo>
                    <a:lnTo>
                      <a:pt x="553" y="485"/>
                    </a:lnTo>
                    <a:lnTo>
                      <a:pt x="549" y="485"/>
                    </a:lnTo>
                    <a:lnTo>
                      <a:pt x="549" y="485"/>
                    </a:lnTo>
                    <a:lnTo>
                      <a:pt x="544" y="485"/>
                    </a:lnTo>
                    <a:lnTo>
                      <a:pt x="535" y="489"/>
                    </a:lnTo>
                    <a:lnTo>
                      <a:pt x="530" y="489"/>
                    </a:lnTo>
                    <a:lnTo>
                      <a:pt x="530" y="494"/>
                    </a:lnTo>
                    <a:lnTo>
                      <a:pt x="526" y="494"/>
                    </a:lnTo>
                    <a:lnTo>
                      <a:pt x="526" y="498"/>
                    </a:lnTo>
                    <a:lnTo>
                      <a:pt x="526" y="498"/>
                    </a:lnTo>
                    <a:lnTo>
                      <a:pt x="526" y="503"/>
                    </a:lnTo>
                    <a:lnTo>
                      <a:pt x="521" y="503"/>
                    </a:lnTo>
                    <a:lnTo>
                      <a:pt x="521" y="507"/>
                    </a:lnTo>
                    <a:lnTo>
                      <a:pt x="517" y="507"/>
                    </a:lnTo>
                    <a:lnTo>
                      <a:pt x="512" y="507"/>
                    </a:lnTo>
                    <a:lnTo>
                      <a:pt x="512" y="512"/>
                    </a:lnTo>
                    <a:lnTo>
                      <a:pt x="507" y="512"/>
                    </a:lnTo>
                    <a:lnTo>
                      <a:pt x="498" y="526"/>
                    </a:lnTo>
                    <a:lnTo>
                      <a:pt x="498" y="530"/>
                    </a:lnTo>
                    <a:lnTo>
                      <a:pt x="494" y="530"/>
                    </a:lnTo>
                    <a:lnTo>
                      <a:pt x="489" y="535"/>
                    </a:lnTo>
                    <a:lnTo>
                      <a:pt x="489" y="539"/>
                    </a:lnTo>
                    <a:lnTo>
                      <a:pt x="485" y="539"/>
                    </a:lnTo>
                    <a:lnTo>
                      <a:pt x="485" y="544"/>
                    </a:lnTo>
                    <a:lnTo>
                      <a:pt x="485" y="549"/>
                    </a:lnTo>
                    <a:lnTo>
                      <a:pt x="480" y="553"/>
                    </a:lnTo>
                    <a:lnTo>
                      <a:pt x="480" y="553"/>
                    </a:lnTo>
                    <a:lnTo>
                      <a:pt x="475" y="558"/>
                    </a:lnTo>
                    <a:lnTo>
                      <a:pt x="475" y="562"/>
                    </a:lnTo>
                    <a:lnTo>
                      <a:pt x="471" y="562"/>
                    </a:lnTo>
                    <a:lnTo>
                      <a:pt x="466" y="567"/>
                    </a:lnTo>
                    <a:lnTo>
                      <a:pt x="462" y="567"/>
                    </a:lnTo>
                    <a:lnTo>
                      <a:pt x="453" y="571"/>
                    </a:lnTo>
                    <a:lnTo>
                      <a:pt x="448" y="571"/>
                    </a:lnTo>
                    <a:lnTo>
                      <a:pt x="443" y="571"/>
                    </a:lnTo>
                    <a:lnTo>
                      <a:pt x="439" y="571"/>
                    </a:lnTo>
                    <a:lnTo>
                      <a:pt x="439" y="576"/>
                    </a:lnTo>
                    <a:close/>
                  </a:path>
                </a:pathLst>
              </a:custGeom>
              <a:grp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206" name="Freeform 26">
                <a:extLst>
                  <a:ext uri="{FF2B5EF4-FFF2-40B4-BE49-F238E27FC236}">
                    <a16:creationId xmlns:a16="http://schemas.microsoft.com/office/drawing/2014/main" id="{BD6FFAFD-7D92-458A-9D91-3DAD8DFC9BF3}"/>
                  </a:ext>
                </a:extLst>
              </p:cNvPr>
              <p:cNvSpPr>
                <a:spLocks/>
              </p:cNvSpPr>
              <p:nvPr>
                <p:custDataLst>
                  <p:tags r:id="rId23"/>
                </p:custDataLst>
              </p:nvPr>
            </p:nvSpPr>
            <p:spPr bwMode="auto">
              <a:xfrm>
                <a:off x="2285989" y="2013377"/>
                <a:ext cx="1059801" cy="1038570"/>
              </a:xfrm>
              <a:custGeom>
                <a:avLst/>
                <a:gdLst/>
                <a:ahLst/>
                <a:cxnLst>
                  <a:cxn ang="0">
                    <a:pos x="0" y="663"/>
                  </a:cxn>
                  <a:cxn ang="0">
                    <a:pos x="14" y="622"/>
                  </a:cxn>
                  <a:cxn ang="0">
                    <a:pos x="27" y="594"/>
                  </a:cxn>
                  <a:cxn ang="0">
                    <a:pos x="82" y="590"/>
                  </a:cxn>
                  <a:cxn ang="0">
                    <a:pos x="123" y="553"/>
                  </a:cxn>
                  <a:cxn ang="0">
                    <a:pos x="123" y="521"/>
                  </a:cxn>
                  <a:cxn ang="0">
                    <a:pos x="91" y="498"/>
                  </a:cxn>
                  <a:cxn ang="0">
                    <a:pos x="110" y="466"/>
                  </a:cxn>
                  <a:cxn ang="0">
                    <a:pos x="96" y="411"/>
                  </a:cxn>
                  <a:cxn ang="0">
                    <a:pos x="82" y="361"/>
                  </a:cxn>
                  <a:cxn ang="0">
                    <a:pos x="73" y="283"/>
                  </a:cxn>
                  <a:cxn ang="0">
                    <a:pos x="68" y="187"/>
                  </a:cxn>
                  <a:cxn ang="0">
                    <a:pos x="114" y="105"/>
                  </a:cxn>
                  <a:cxn ang="0">
                    <a:pos x="146" y="87"/>
                  </a:cxn>
                  <a:cxn ang="0">
                    <a:pos x="224" y="78"/>
                  </a:cxn>
                  <a:cxn ang="0">
                    <a:pos x="270" y="50"/>
                  </a:cxn>
                  <a:cxn ang="0">
                    <a:pos x="292" y="37"/>
                  </a:cxn>
                  <a:cxn ang="0">
                    <a:pos x="343" y="5"/>
                  </a:cxn>
                  <a:cxn ang="0">
                    <a:pos x="388" y="5"/>
                  </a:cxn>
                  <a:cxn ang="0">
                    <a:pos x="439" y="14"/>
                  </a:cxn>
                  <a:cxn ang="0">
                    <a:pos x="484" y="32"/>
                  </a:cxn>
                  <a:cxn ang="0">
                    <a:pos x="530" y="64"/>
                  </a:cxn>
                  <a:cxn ang="0">
                    <a:pos x="567" y="96"/>
                  </a:cxn>
                  <a:cxn ang="0">
                    <a:pos x="617" y="105"/>
                  </a:cxn>
                  <a:cxn ang="0">
                    <a:pos x="667" y="146"/>
                  </a:cxn>
                  <a:cxn ang="0">
                    <a:pos x="690" y="160"/>
                  </a:cxn>
                  <a:cxn ang="0">
                    <a:pos x="750" y="178"/>
                  </a:cxn>
                  <a:cxn ang="0">
                    <a:pos x="786" y="224"/>
                  </a:cxn>
                  <a:cxn ang="0">
                    <a:pos x="763" y="247"/>
                  </a:cxn>
                  <a:cxn ang="0">
                    <a:pos x="681" y="251"/>
                  </a:cxn>
                  <a:cxn ang="0">
                    <a:pos x="649" y="224"/>
                  </a:cxn>
                  <a:cxn ang="0">
                    <a:pos x="590" y="201"/>
                  </a:cxn>
                  <a:cxn ang="0">
                    <a:pos x="530" y="197"/>
                  </a:cxn>
                  <a:cxn ang="0">
                    <a:pos x="484" y="206"/>
                  </a:cxn>
                  <a:cxn ang="0">
                    <a:pos x="494" y="279"/>
                  </a:cxn>
                  <a:cxn ang="0">
                    <a:pos x="503" y="311"/>
                  </a:cxn>
                  <a:cxn ang="0">
                    <a:pos x="475" y="357"/>
                  </a:cxn>
                  <a:cxn ang="0">
                    <a:pos x="430" y="379"/>
                  </a:cxn>
                  <a:cxn ang="0">
                    <a:pos x="375" y="402"/>
                  </a:cxn>
                  <a:cxn ang="0">
                    <a:pos x="352" y="448"/>
                  </a:cxn>
                  <a:cxn ang="0">
                    <a:pos x="361" y="526"/>
                  </a:cxn>
                  <a:cxn ang="0">
                    <a:pos x="370" y="576"/>
                  </a:cxn>
                  <a:cxn ang="0">
                    <a:pos x="379" y="622"/>
                  </a:cxn>
                  <a:cxn ang="0">
                    <a:pos x="356" y="663"/>
                  </a:cxn>
                  <a:cxn ang="0">
                    <a:pos x="320" y="690"/>
                  </a:cxn>
                  <a:cxn ang="0">
                    <a:pos x="306" y="722"/>
                  </a:cxn>
                  <a:cxn ang="0">
                    <a:pos x="343" y="759"/>
                  </a:cxn>
                  <a:cxn ang="0">
                    <a:pos x="334" y="782"/>
                  </a:cxn>
                  <a:cxn ang="0">
                    <a:pos x="297" y="814"/>
                  </a:cxn>
                  <a:cxn ang="0">
                    <a:pos x="274" y="786"/>
                  </a:cxn>
                  <a:cxn ang="0">
                    <a:pos x="242" y="754"/>
                  </a:cxn>
                  <a:cxn ang="0">
                    <a:pos x="192" y="754"/>
                  </a:cxn>
                  <a:cxn ang="0">
                    <a:pos x="160" y="791"/>
                  </a:cxn>
                  <a:cxn ang="0">
                    <a:pos x="123" y="818"/>
                  </a:cxn>
                  <a:cxn ang="0">
                    <a:pos x="91" y="832"/>
                  </a:cxn>
                  <a:cxn ang="0">
                    <a:pos x="55" y="809"/>
                  </a:cxn>
                  <a:cxn ang="0">
                    <a:pos x="50" y="782"/>
                  </a:cxn>
                  <a:cxn ang="0">
                    <a:pos x="9" y="750"/>
                  </a:cxn>
                  <a:cxn ang="0">
                    <a:pos x="18" y="709"/>
                  </a:cxn>
                </a:cxnLst>
                <a:rect l="0" t="0" r="r" b="b"/>
                <a:pathLst>
                  <a:path w="795" h="841">
                    <a:moveTo>
                      <a:pt x="18" y="699"/>
                    </a:moveTo>
                    <a:lnTo>
                      <a:pt x="14" y="690"/>
                    </a:lnTo>
                    <a:lnTo>
                      <a:pt x="14" y="690"/>
                    </a:lnTo>
                    <a:lnTo>
                      <a:pt x="14" y="686"/>
                    </a:lnTo>
                    <a:lnTo>
                      <a:pt x="9" y="686"/>
                    </a:lnTo>
                    <a:lnTo>
                      <a:pt x="9" y="681"/>
                    </a:lnTo>
                    <a:lnTo>
                      <a:pt x="4" y="677"/>
                    </a:lnTo>
                    <a:lnTo>
                      <a:pt x="4" y="672"/>
                    </a:lnTo>
                    <a:lnTo>
                      <a:pt x="0" y="667"/>
                    </a:lnTo>
                    <a:lnTo>
                      <a:pt x="0" y="663"/>
                    </a:lnTo>
                    <a:lnTo>
                      <a:pt x="0" y="663"/>
                    </a:lnTo>
                    <a:lnTo>
                      <a:pt x="0" y="658"/>
                    </a:lnTo>
                    <a:lnTo>
                      <a:pt x="0" y="654"/>
                    </a:lnTo>
                    <a:lnTo>
                      <a:pt x="4" y="649"/>
                    </a:lnTo>
                    <a:lnTo>
                      <a:pt x="4" y="645"/>
                    </a:lnTo>
                    <a:lnTo>
                      <a:pt x="4" y="645"/>
                    </a:lnTo>
                    <a:lnTo>
                      <a:pt x="9" y="640"/>
                    </a:lnTo>
                    <a:lnTo>
                      <a:pt x="9" y="635"/>
                    </a:lnTo>
                    <a:lnTo>
                      <a:pt x="9" y="631"/>
                    </a:lnTo>
                    <a:lnTo>
                      <a:pt x="9" y="626"/>
                    </a:lnTo>
                    <a:lnTo>
                      <a:pt x="9" y="622"/>
                    </a:lnTo>
                    <a:lnTo>
                      <a:pt x="14" y="622"/>
                    </a:lnTo>
                    <a:lnTo>
                      <a:pt x="14" y="622"/>
                    </a:lnTo>
                    <a:lnTo>
                      <a:pt x="14" y="613"/>
                    </a:lnTo>
                    <a:lnTo>
                      <a:pt x="14" y="608"/>
                    </a:lnTo>
                    <a:lnTo>
                      <a:pt x="14" y="608"/>
                    </a:lnTo>
                    <a:lnTo>
                      <a:pt x="14" y="603"/>
                    </a:lnTo>
                    <a:lnTo>
                      <a:pt x="14" y="599"/>
                    </a:lnTo>
                    <a:lnTo>
                      <a:pt x="18" y="599"/>
                    </a:lnTo>
                    <a:lnTo>
                      <a:pt x="18" y="599"/>
                    </a:lnTo>
                    <a:lnTo>
                      <a:pt x="23" y="599"/>
                    </a:lnTo>
                    <a:lnTo>
                      <a:pt x="23" y="594"/>
                    </a:lnTo>
                    <a:lnTo>
                      <a:pt x="27" y="594"/>
                    </a:lnTo>
                    <a:lnTo>
                      <a:pt x="36" y="590"/>
                    </a:lnTo>
                    <a:lnTo>
                      <a:pt x="41" y="590"/>
                    </a:lnTo>
                    <a:lnTo>
                      <a:pt x="50" y="590"/>
                    </a:lnTo>
                    <a:lnTo>
                      <a:pt x="55" y="590"/>
                    </a:lnTo>
                    <a:lnTo>
                      <a:pt x="64" y="599"/>
                    </a:lnTo>
                    <a:lnTo>
                      <a:pt x="68" y="599"/>
                    </a:lnTo>
                    <a:lnTo>
                      <a:pt x="73" y="599"/>
                    </a:lnTo>
                    <a:lnTo>
                      <a:pt x="78" y="599"/>
                    </a:lnTo>
                    <a:lnTo>
                      <a:pt x="78" y="594"/>
                    </a:lnTo>
                    <a:lnTo>
                      <a:pt x="78" y="594"/>
                    </a:lnTo>
                    <a:lnTo>
                      <a:pt x="82" y="590"/>
                    </a:lnTo>
                    <a:lnTo>
                      <a:pt x="91" y="581"/>
                    </a:lnTo>
                    <a:lnTo>
                      <a:pt x="96" y="576"/>
                    </a:lnTo>
                    <a:lnTo>
                      <a:pt x="100" y="576"/>
                    </a:lnTo>
                    <a:lnTo>
                      <a:pt x="100" y="576"/>
                    </a:lnTo>
                    <a:lnTo>
                      <a:pt x="100" y="571"/>
                    </a:lnTo>
                    <a:lnTo>
                      <a:pt x="100" y="567"/>
                    </a:lnTo>
                    <a:lnTo>
                      <a:pt x="105" y="562"/>
                    </a:lnTo>
                    <a:lnTo>
                      <a:pt x="105" y="558"/>
                    </a:lnTo>
                    <a:lnTo>
                      <a:pt x="110" y="553"/>
                    </a:lnTo>
                    <a:lnTo>
                      <a:pt x="119" y="553"/>
                    </a:lnTo>
                    <a:lnTo>
                      <a:pt x="123" y="553"/>
                    </a:lnTo>
                    <a:lnTo>
                      <a:pt x="128" y="558"/>
                    </a:lnTo>
                    <a:lnTo>
                      <a:pt x="128" y="553"/>
                    </a:lnTo>
                    <a:lnTo>
                      <a:pt x="132" y="553"/>
                    </a:lnTo>
                    <a:lnTo>
                      <a:pt x="137" y="553"/>
                    </a:lnTo>
                    <a:lnTo>
                      <a:pt x="142" y="549"/>
                    </a:lnTo>
                    <a:lnTo>
                      <a:pt x="142" y="544"/>
                    </a:lnTo>
                    <a:lnTo>
                      <a:pt x="142" y="539"/>
                    </a:lnTo>
                    <a:lnTo>
                      <a:pt x="137" y="535"/>
                    </a:lnTo>
                    <a:lnTo>
                      <a:pt x="132" y="535"/>
                    </a:lnTo>
                    <a:lnTo>
                      <a:pt x="128" y="530"/>
                    </a:lnTo>
                    <a:lnTo>
                      <a:pt x="123" y="521"/>
                    </a:lnTo>
                    <a:lnTo>
                      <a:pt x="119" y="521"/>
                    </a:lnTo>
                    <a:lnTo>
                      <a:pt x="119" y="517"/>
                    </a:lnTo>
                    <a:lnTo>
                      <a:pt x="114" y="517"/>
                    </a:lnTo>
                    <a:lnTo>
                      <a:pt x="114" y="512"/>
                    </a:lnTo>
                    <a:lnTo>
                      <a:pt x="110" y="512"/>
                    </a:lnTo>
                    <a:lnTo>
                      <a:pt x="100" y="512"/>
                    </a:lnTo>
                    <a:lnTo>
                      <a:pt x="100" y="512"/>
                    </a:lnTo>
                    <a:lnTo>
                      <a:pt x="100" y="507"/>
                    </a:lnTo>
                    <a:lnTo>
                      <a:pt x="96" y="507"/>
                    </a:lnTo>
                    <a:lnTo>
                      <a:pt x="91" y="503"/>
                    </a:lnTo>
                    <a:lnTo>
                      <a:pt x="91" y="498"/>
                    </a:lnTo>
                    <a:lnTo>
                      <a:pt x="96" y="494"/>
                    </a:lnTo>
                    <a:lnTo>
                      <a:pt x="96" y="489"/>
                    </a:lnTo>
                    <a:lnTo>
                      <a:pt x="100" y="489"/>
                    </a:lnTo>
                    <a:lnTo>
                      <a:pt x="100" y="485"/>
                    </a:lnTo>
                    <a:lnTo>
                      <a:pt x="100" y="485"/>
                    </a:lnTo>
                    <a:lnTo>
                      <a:pt x="100" y="480"/>
                    </a:lnTo>
                    <a:lnTo>
                      <a:pt x="105" y="480"/>
                    </a:lnTo>
                    <a:lnTo>
                      <a:pt x="105" y="475"/>
                    </a:lnTo>
                    <a:lnTo>
                      <a:pt x="105" y="471"/>
                    </a:lnTo>
                    <a:lnTo>
                      <a:pt x="110" y="466"/>
                    </a:lnTo>
                    <a:lnTo>
                      <a:pt x="110" y="466"/>
                    </a:lnTo>
                    <a:lnTo>
                      <a:pt x="110" y="457"/>
                    </a:lnTo>
                    <a:lnTo>
                      <a:pt x="110" y="453"/>
                    </a:lnTo>
                    <a:lnTo>
                      <a:pt x="110" y="443"/>
                    </a:lnTo>
                    <a:lnTo>
                      <a:pt x="105" y="443"/>
                    </a:lnTo>
                    <a:lnTo>
                      <a:pt x="105" y="434"/>
                    </a:lnTo>
                    <a:lnTo>
                      <a:pt x="100" y="430"/>
                    </a:lnTo>
                    <a:lnTo>
                      <a:pt x="100" y="425"/>
                    </a:lnTo>
                    <a:lnTo>
                      <a:pt x="100" y="425"/>
                    </a:lnTo>
                    <a:lnTo>
                      <a:pt x="100" y="421"/>
                    </a:lnTo>
                    <a:lnTo>
                      <a:pt x="100" y="416"/>
                    </a:lnTo>
                    <a:lnTo>
                      <a:pt x="96" y="411"/>
                    </a:lnTo>
                    <a:lnTo>
                      <a:pt x="96" y="402"/>
                    </a:lnTo>
                    <a:lnTo>
                      <a:pt x="91" y="393"/>
                    </a:lnTo>
                    <a:lnTo>
                      <a:pt x="91" y="393"/>
                    </a:lnTo>
                    <a:lnTo>
                      <a:pt x="91" y="389"/>
                    </a:lnTo>
                    <a:lnTo>
                      <a:pt x="91" y="384"/>
                    </a:lnTo>
                    <a:lnTo>
                      <a:pt x="87" y="384"/>
                    </a:lnTo>
                    <a:lnTo>
                      <a:pt x="87" y="379"/>
                    </a:lnTo>
                    <a:lnTo>
                      <a:pt x="82" y="375"/>
                    </a:lnTo>
                    <a:lnTo>
                      <a:pt x="82" y="370"/>
                    </a:lnTo>
                    <a:lnTo>
                      <a:pt x="82" y="366"/>
                    </a:lnTo>
                    <a:lnTo>
                      <a:pt x="82" y="361"/>
                    </a:lnTo>
                    <a:lnTo>
                      <a:pt x="78" y="361"/>
                    </a:lnTo>
                    <a:lnTo>
                      <a:pt x="78" y="357"/>
                    </a:lnTo>
                    <a:lnTo>
                      <a:pt x="78" y="357"/>
                    </a:lnTo>
                    <a:lnTo>
                      <a:pt x="78" y="347"/>
                    </a:lnTo>
                    <a:lnTo>
                      <a:pt x="78" y="334"/>
                    </a:lnTo>
                    <a:lnTo>
                      <a:pt x="78" y="325"/>
                    </a:lnTo>
                    <a:lnTo>
                      <a:pt x="78" y="320"/>
                    </a:lnTo>
                    <a:lnTo>
                      <a:pt x="73" y="315"/>
                    </a:lnTo>
                    <a:lnTo>
                      <a:pt x="73" y="311"/>
                    </a:lnTo>
                    <a:lnTo>
                      <a:pt x="73" y="306"/>
                    </a:lnTo>
                    <a:lnTo>
                      <a:pt x="73" y="283"/>
                    </a:lnTo>
                    <a:lnTo>
                      <a:pt x="68" y="279"/>
                    </a:lnTo>
                    <a:lnTo>
                      <a:pt x="68" y="270"/>
                    </a:lnTo>
                    <a:lnTo>
                      <a:pt x="68" y="270"/>
                    </a:lnTo>
                    <a:lnTo>
                      <a:pt x="68" y="261"/>
                    </a:lnTo>
                    <a:lnTo>
                      <a:pt x="64" y="251"/>
                    </a:lnTo>
                    <a:lnTo>
                      <a:pt x="64" y="247"/>
                    </a:lnTo>
                    <a:lnTo>
                      <a:pt x="64" y="247"/>
                    </a:lnTo>
                    <a:lnTo>
                      <a:pt x="64" y="215"/>
                    </a:lnTo>
                    <a:lnTo>
                      <a:pt x="64" y="206"/>
                    </a:lnTo>
                    <a:lnTo>
                      <a:pt x="68" y="197"/>
                    </a:lnTo>
                    <a:lnTo>
                      <a:pt x="68" y="187"/>
                    </a:lnTo>
                    <a:lnTo>
                      <a:pt x="68" y="178"/>
                    </a:lnTo>
                    <a:lnTo>
                      <a:pt x="68" y="165"/>
                    </a:lnTo>
                    <a:lnTo>
                      <a:pt x="68" y="146"/>
                    </a:lnTo>
                    <a:lnTo>
                      <a:pt x="73" y="128"/>
                    </a:lnTo>
                    <a:lnTo>
                      <a:pt x="78" y="123"/>
                    </a:lnTo>
                    <a:lnTo>
                      <a:pt x="82" y="123"/>
                    </a:lnTo>
                    <a:lnTo>
                      <a:pt x="91" y="119"/>
                    </a:lnTo>
                    <a:lnTo>
                      <a:pt x="96" y="119"/>
                    </a:lnTo>
                    <a:lnTo>
                      <a:pt x="100" y="119"/>
                    </a:lnTo>
                    <a:lnTo>
                      <a:pt x="100" y="114"/>
                    </a:lnTo>
                    <a:lnTo>
                      <a:pt x="114" y="105"/>
                    </a:lnTo>
                    <a:lnTo>
                      <a:pt x="114" y="101"/>
                    </a:lnTo>
                    <a:lnTo>
                      <a:pt x="119" y="101"/>
                    </a:lnTo>
                    <a:lnTo>
                      <a:pt x="119" y="96"/>
                    </a:lnTo>
                    <a:lnTo>
                      <a:pt x="123" y="91"/>
                    </a:lnTo>
                    <a:lnTo>
                      <a:pt x="123" y="91"/>
                    </a:lnTo>
                    <a:lnTo>
                      <a:pt x="128" y="91"/>
                    </a:lnTo>
                    <a:lnTo>
                      <a:pt x="128" y="91"/>
                    </a:lnTo>
                    <a:lnTo>
                      <a:pt x="128" y="87"/>
                    </a:lnTo>
                    <a:lnTo>
                      <a:pt x="132" y="87"/>
                    </a:lnTo>
                    <a:lnTo>
                      <a:pt x="137" y="87"/>
                    </a:lnTo>
                    <a:lnTo>
                      <a:pt x="146" y="87"/>
                    </a:lnTo>
                    <a:lnTo>
                      <a:pt x="164" y="87"/>
                    </a:lnTo>
                    <a:lnTo>
                      <a:pt x="169" y="91"/>
                    </a:lnTo>
                    <a:lnTo>
                      <a:pt x="183" y="91"/>
                    </a:lnTo>
                    <a:lnTo>
                      <a:pt x="187" y="91"/>
                    </a:lnTo>
                    <a:lnTo>
                      <a:pt x="192" y="91"/>
                    </a:lnTo>
                    <a:lnTo>
                      <a:pt x="196" y="91"/>
                    </a:lnTo>
                    <a:lnTo>
                      <a:pt x="206" y="87"/>
                    </a:lnTo>
                    <a:lnTo>
                      <a:pt x="215" y="82"/>
                    </a:lnTo>
                    <a:lnTo>
                      <a:pt x="215" y="82"/>
                    </a:lnTo>
                    <a:lnTo>
                      <a:pt x="219" y="82"/>
                    </a:lnTo>
                    <a:lnTo>
                      <a:pt x="224" y="78"/>
                    </a:lnTo>
                    <a:lnTo>
                      <a:pt x="228" y="73"/>
                    </a:lnTo>
                    <a:lnTo>
                      <a:pt x="233" y="73"/>
                    </a:lnTo>
                    <a:lnTo>
                      <a:pt x="238" y="69"/>
                    </a:lnTo>
                    <a:lnTo>
                      <a:pt x="238" y="69"/>
                    </a:lnTo>
                    <a:lnTo>
                      <a:pt x="242" y="64"/>
                    </a:lnTo>
                    <a:lnTo>
                      <a:pt x="251" y="59"/>
                    </a:lnTo>
                    <a:lnTo>
                      <a:pt x="256" y="55"/>
                    </a:lnTo>
                    <a:lnTo>
                      <a:pt x="265" y="55"/>
                    </a:lnTo>
                    <a:lnTo>
                      <a:pt x="265" y="50"/>
                    </a:lnTo>
                    <a:lnTo>
                      <a:pt x="270" y="50"/>
                    </a:lnTo>
                    <a:lnTo>
                      <a:pt x="270" y="50"/>
                    </a:lnTo>
                    <a:lnTo>
                      <a:pt x="274" y="50"/>
                    </a:lnTo>
                    <a:lnTo>
                      <a:pt x="279" y="46"/>
                    </a:lnTo>
                    <a:lnTo>
                      <a:pt x="279" y="46"/>
                    </a:lnTo>
                    <a:lnTo>
                      <a:pt x="279" y="46"/>
                    </a:lnTo>
                    <a:lnTo>
                      <a:pt x="283" y="41"/>
                    </a:lnTo>
                    <a:lnTo>
                      <a:pt x="283" y="41"/>
                    </a:lnTo>
                    <a:lnTo>
                      <a:pt x="288" y="41"/>
                    </a:lnTo>
                    <a:lnTo>
                      <a:pt x="288" y="37"/>
                    </a:lnTo>
                    <a:lnTo>
                      <a:pt x="292" y="37"/>
                    </a:lnTo>
                    <a:lnTo>
                      <a:pt x="292" y="37"/>
                    </a:lnTo>
                    <a:lnTo>
                      <a:pt x="292" y="37"/>
                    </a:lnTo>
                    <a:lnTo>
                      <a:pt x="297" y="37"/>
                    </a:lnTo>
                    <a:lnTo>
                      <a:pt x="315" y="23"/>
                    </a:lnTo>
                    <a:lnTo>
                      <a:pt x="320" y="23"/>
                    </a:lnTo>
                    <a:lnTo>
                      <a:pt x="324" y="14"/>
                    </a:lnTo>
                    <a:lnTo>
                      <a:pt x="329" y="14"/>
                    </a:lnTo>
                    <a:lnTo>
                      <a:pt x="329" y="14"/>
                    </a:lnTo>
                    <a:lnTo>
                      <a:pt x="329" y="14"/>
                    </a:lnTo>
                    <a:lnTo>
                      <a:pt x="329" y="14"/>
                    </a:lnTo>
                    <a:lnTo>
                      <a:pt x="334" y="14"/>
                    </a:lnTo>
                    <a:lnTo>
                      <a:pt x="338" y="9"/>
                    </a:lnTo>
                    <a:lnTo>
                      <a:pt x="343" y="5"/>
                    </a:lnTo>
                    <a:lnTo>
                      <a:pt x="347" y="0"/>
                    </a:lnTo>
                    <a:lnTo>
                      <a:pt x="352" y="0"/>
                    </a:lnTo>
                    <a:lnTo>
                      <a:pt x="356" y="0"/>
                    </a:lnTo>
                    <a:lnTo>
                      <a:pt x="361" y="0"/>
                    </a:lnTo>
                    <a:lnTo>
                      <a:pt x="366" y="0"/>
                    </a:lnTo>
                    <a:lnTo>
                      <a:pt x="366" y="0"/>
                    </a:lnTo>
                    <a:lnTo>
                      <a:pt x="370" y="0"/>
                    </a:lnTo>
                    <a:lnTo>
                      <a:pt x="375" y="0"/>
                    </a:lnTo>
                    <a:lnTo>
                      <a:pt x="379" y="5"/>
                    </a:lnTo>
                    <a:lnTo>
                      <a:pt x="384" y="5"/>
                    </a:lnTo>
                    <a:lnTo>
                      <a:pt x="388" y="5"/>
                    </a:lnTo>
                    <a:lnTo>
                      <a:pt x="388" y="5"/>
                    </a:lnTo>
                    <a:lnTo>
                      <a:pt x="393" y="5"/>
                    </a:lnTo>
                    <a:lnTo>
                      <a:pt x="402" y="5"/>
                    </a:lnTo>
                    <a:lnTo>
                      <a:pt x="420" y="9"/>
                    </a:lnTo>
                    <a:lnTo>
                      <a:pt x="425" y="9"/>
                    </a:lnTo>
                    <a:lnTo>
                      <a:pt x="425" y="9"/>
                    </a:lnTo>
                    <a:lnTo>
                      <a:pt x="434" y="9"/>
                    </a:lnTo>
                    <a:lnTo>
                      <a:pt x="434" y="9"/>
                    </a:lnTo>
                    <a:lnTo>
                      <a:pt x="434" y="9"/>
                    </a:lnTo>
                    <a:lnTo>
                      <a:pt x="439" y="14"/>
                    </a:lnTo>
                    <a:lnTo>
                      <a:pt x="439" y="14"/>
                    </a:lnTo>
                    <a:lnTo>
                      <a:pt x="443" y="14"/>
                    </a:lnTo>
                    <a:lnTo>
                      <a:pt x="448" y="14"/>
                    </a:lnTo>
                    <a:lnTo>
                      <a:pt x="448" y="14"/>
                    </a:lnTo>
                    <a:lnTo>
                      <a:pt x="452" y="14"/>
                    </a:lnTo>
                    <a:lnTo>
                      <a:pt x="457" y="14"/>
                    </a:lnTo>
                    <a:lnTo>
                      <a:pt x="466" y="18"/>
                    </a:lnTo>
                    <a:lnTo>
                      <a:pt x="471" y="23"/>
                    </a:lnTo>
                    <a:lnTo>
                      <a:pt x="480" y="27"/>
                    </a:lnTo>
                    <a:lnTo>
                      <a:pt x="484" y="27"/>
                    </a:lnTo>
                    <a:lnTo>
                      <a:pt x="484" y="27"/>
                    </a:lnTo>
                    <a:lnTo>
                      <a:pt x="484" y="32"/>
                    </a:lnTo>
                    <a:lnTo>
                      <a:pt x="489" y="37"/>
                    </a:lnTo>
                    <a:lnTo>
                      <a:pt x="494" y="37"/>
                    </a:lnTo>
                    <a:lnTo>
                      <a:pt x="498" y="41"/>
                    </a:lnTo>
                    <a:lnTo>
                      <a:pt x="498" y="41"/>
                    </a:lnTo>
                    <a:lnTo>
                      <a:pt x="498" y="41"/>
                    </a:lnTo>
                    <a:lnTo>
                      <a:pt x="503" y="46"/>
                    </a:lnTo>
                    <a:lnTo>
                      <a:pt x="521" y="50"/>
                    </a:lnTo>
                    <a:lnTo>
                      <a:pt x="521" y="50"/>
                    </a:lnTo>
                    <a:lnTo>
                      <a:pt x="526" y="55"/>
                    </a:lnTo>
                    <a:lnTo>
                      <a:pt x="526" y="55"/>
                    </a:lnTo>
                    <a:lnTo>
                      <a:pt x="530" y="64"/>
                    </a:lnTo>
                    <a:lnTo>
                      <a:pt x="535" y="64"/>
                    </a:lnTo>
                    <a:lnTo>
                      <a:pt x="539" y="69"/>
                    </a:lnTo>
                    <a:lnTo>
                      <a:pt x="539" y="69"/>
                    </a:lnTo>
                    <a:lnTo>
                      <a:pt x="544" y="73"/>
                    </a:lnTo>
                    <a:lnTo>
                      <a:pt x="544" y="73"/>
                    </a:lnTo>
                    <a:lnTo>
                      <a:pt x="548" y="78"/>
                    </a:lnTo>
                    <a:lnTo>
                      <a:pt x="553" y="82"/>
                    </a:lnTo>
                    <a:lnTo>
                      <a:pt x="558" y="87"/>
                    </a:lnTo>
                    <a:lnTo>
                      <a:pt x="562" y="91"/>
                    </a:lnTo>
                    <a:lnTo>
                      <a:pt x="567" y="96"/>
                    </a:lnTo>
                    <a:lnTo>
                      <a:pt x="567" y="96"/>
                    </a:lnTo>
                    <a:lnTo>
                      <a:pt x="567" y="96"/>
                    </a:lnTo>
                    <a:lnTo>
                      <a:pt x="571" y="96"/>
                    </a:lnTo>
                    <a:lnTo>
                      <a:pt x="571" y="96"/>
                    </a:lnTo>
                    <a:lnTo>
                      <a:pt x="576" y="101"/>
                    </a:lnTo>
                    <a:lnTo>
                      <a:pt x="580" y="105"/>
                    </a:lnTo>
                    <a:lnTo>
                      <a:pt x="585" y="105"/>
                    </a:lnTo>
                    <a:lnTo>
                      <a:pt x="590" y="105"/>
                    </a:lnTo>
                    <a:lnTo>
                      <a:pt x="603" y="101"/>
                    </a:lnTo>
                    <a:lnTo>
                      <a:pt x="608" y="101"/>
                    </a:lnTo>
                    <a:lnTo>
                      <a:pt x="612" y="101"/>
                    </a:lnTo>
                    <a:lnTo>
                      <a:pt x="617" y="105"/>
                    </a:lnTo>
                    <a:lnTo>
                      <a:pt x="626" y="105"/>
                    </a:lnTo>
                    <a:lnTo>
                      <a:pt x="631" y="110"/>
                    </a:lnTo>
                    <a:lnTo>
                      <a:pt x="635" y="114"/>
                    </a:lnTo>
                    <a:lnTo>
                      <a:pt x="644" y="119"/>
                    </a:lnTo>
                    <a:lnTo>
                      <a:pt x="649" y="123"/>
                    </a:lnTo>
                    <a:lnTo>
                      <a:pt x="649" y="123"/>
                    </a:lnTo>
                    <a:lnTo>
                      <a:pt x="654" y="123"/>
                    </a:lnTo>
                    <a:lnTo>
                      <a:pt x="658" y="133"/>
                    </a:lnTo>
                    <a:lnTo>
                      <a:pt x="663" y="137"/>
                    </a:lnTo>
                    <a:lnTo>
                      <a:pt x="667" y="142"/>
                    </a:lnTo>
                    <a:lnTo>
                      <a:pt x="667" y="146"/>
                    </a:lnTo>
                    <a:lnTo>
                      <a:pt x="667" y="146"/>
                    </a:lnTo>
                    <a:lnTo>
                      <a:pt x="667" y="151"/>
                    </a:lnTo>
                    <a:lnTo>
                      <a:pt x="672" y="155"/>
                    </a:lnTo>
                    <a:lnTo>
                      <a:pt x="676" y="155"/>
                    </a:lnTo>
                    <a:lnTo>
                      <a:pt x="676" y="155"/>
                    </a:lnTo>
                    <a:lnTo>
                      <a:pt x="681" y="155"/>
                    </a:lnTo>
                    <a:lnTo>
                      <a:pt x="681" y="155"/>
                    </a:lnTo>
                    <a:lnTo>
                      <a:pt x="686" y="160"/>
                    </a:lnTo>
                    <a:lnTo>
                      <a:pt x="686" y="160"/>
                    </a:lnTo>
                    <a:lnTo>
                      <a:pt x="690" y="160"/>
                    </a:lnTo>
                    <a:lnTo>
                      <a:pt x="690" y="160"/>
                    </a:lnTo>
                    <a:lnTo>
                      <a:pt x="695" y="160"/>
                    </a:lnTo>
                    <a:lnTo>
                      <a:pt x="699" y="160"/>
                    </a:lnTo>
                    <a:lnTo>
                      <a:pt x="713" y="165"/>
                    </a:lnTo>
                    <a:lnTo>
                      <a:pt x="718" y="169"/>
                    </a:lnTo>
                    <a:lnTo>
                      <a:pt x="718" y="169"/>
                    </a:lnTo>
                    <a:lnTo>
                      <a:pt x="722" y="169"/>
                    </a:lnTo>
                    <a:lnTo>
                      <a:pt x="731" y="169"/>
                    </a:lnTo>
                    <a:lnTo>
                      <a:pt x="736" y="174"/>
                    </a:lnTo>
                    <a:lnTo>
                      <a:pt x="736" y="174"/>
                    </a:lnTo>
                    <a:lnTo>
                      <a:pt x="745" y="174"/>
                    </a:lnTo>
                    <a:lnTo>
                      <a:pt x="750" y="178"/>
                    </a:lnTo>
                    <a:lnTo>
                      <a:pt x="754" y="178"/>
                    </a:lnTo>
                    <a:lnTo>
                      <a:pt x="759" y="178"/>
                    </a:lnTo>
                    <a:lnTo>
                      <a:pt x="772" y="183"/>
                    </a:lnTo>
                    <a:lnTo>
                      <a:pt x="777" y="187"/>
                    </a:lnTo>
                    <a:lnTo>
                      <a:pt x="777" y="187"/>
                    </a:lnTo>
                    <a:lnTo>
                      <a:pt x="782" y="187"/>
                    </a:lnTo>
                    <a:lnTo>
                      <a:pt x="782" y="187"/>
                    </a:lnTo>
                    <a:lnTo>
                      <a:pt x="795" y="210"/>
                    </a:lnTo>
                    <a:lnTo>
                      <a:pt x="791" y="219"/>
                    </a:lnTo>
                    <a:lnTo>
                      <a:pt x="786" y="219"/>
                    </a:lnTo>
                    <a:lnTo>
                      <a:pt x="786" y="224"/>
                    </a:lnTo>
                    <a:lnTo>
                      <a:pt x="782" y="229"/>
                    </a:lnTo>
                    <a:lnTo>
                      <a:pt x="782" y="229"/>
                    </a:lnTo>
                    <a:lnTo>
                      <a:pt x="777" y="229"/>
                    </a:lnTo>
                    <a:lnTo>
                      <a:pt x="777" y="233"/>
                    </a:lnTo>
                    <a:lnTo>
                      <a:pt x="777" y="233"/>
                    </a:lnTo>
                    <a:lnTo>
                      <a:pt x="777" y="238"/>
                    </a:lnTo>
                    <a:lnTo>
                      <a:pt x="777" y="242"/>
                    </a:lnTo>
                    <a:lnTo>
                      <a:pt x="772" y="242"/>
                    </a:lnTo>
                    <a:lnTo>
                      <a:pt x="772" y="247"/>
                    </a:lnTo>
                    <a:lnTo>
                      <a:pt x="768" y="247"/>
                    </a:lnTo>
                    <a:lnTo>
                      <a:pt x="763" y="247"/>
                    </a:lnTo>
                    <a:lnTo>
                      <a:pt x="759" y="251"/>
                    </a:lnTo>
                    <a:lnTo>
                      <a:pt x="754" y="256"/>
                    </a:lnTo>
                    <a:lnTo>
                      <a:pt x="745" y="261"/>
                    </a:lnTo>
                    <a:lnTo>
                      <a:pt x="736" y="261"/>
                    </a:lnTo>
                    <a:lnTo>
                      <a:pt x="736" y="261"/>
                    </a:lnTo>
                    <a:lnTo>
                      <a:pt x="718" y="261"/>
                    </a:lnTo>
                    <a:lnTo>
                      <a:pt x="713" y="265"/>
                    </a:lnTo>
                    <a:lnTo>
                      <a:pt x="708" y="261"/>
                    </a:lnTo>
                    <a:lnTo>
                      <a:pt x="695" y="261"/>
                    </a:lnTo>
                    <a:lnTo>
                      <a:pt x="686" y="256"/>
                    </a:lnTo>
                    <a:lnTo>
                      <a:pt x="681" y="251"/>
                    </a:lnTo>
                    <a:lnTo>
                      <a:pt x="676" y="251"/>
                    </a:lnTo>
                    <a:lnTo>
                      <a:pt x="672" y="247"/>
                    </a:lnTo>
                    <a:lnTo>
                      <a:pt x="667" y="247"/>
                    </a:lnTo>
                    <a:lnTo>
                      <a:pt x="667" y="242"/>
                    </a:lnTo>
                    <a:lnTo>
                      <a:pt x="663" y="242"/>
                    </a:lnTo>
                    <a:lnTo>
                      <a:pt x="658" y="233"/>
                    </a:lnTo>
                    <a:lnTo>
                      <a:pt x="654" y="233"/>
                    </a:lnTo>
                    <a:lnTo>
                      <a:pt x="654" y="229"/>
                    </a:lnTo>
                    <a:lnTo>
                      <a:pt x="649" y="229"/>
                    </a:lnTo>
                    <a:lnTo>
                      <a:pt x="649" y="229"/>
                    </a:lnTo>
                    <a:lnTo>
                      <a:pt x="649" y="224"/>
                    </a:lnTo>
                    <a:lnTo>
                      <a:pt x="644" y="219"/>
                    </a:lnTo>
                    <a:lnTo>
                      <a:pt x="644" y="215"/>
                    </a:lnTo>
                    <a:lnTo>
                      <a:pt x="640" y="215"/>
                    </a:lnTo>
                    <a:lnTo>
                      <a:pt x="640" y="206"/>
                    </a:lnTo>
                    <a:lnTo>
                      <a:pt x="635" y="206"/>
                    </a:lnTo>
                    <a:lnTo>
                      <a:pt x="626" y="201"/>
                    </a:lnTo>
                    <a:lnTo>
                      <a:pt x="626" y="197"/>
                    </a:lnTo>
                    <a:lnTo>
                      <a:pt x="617" y="192"/>
                    </a:lnTo>
                    <a:lnTo>
                      <a:pt x="608" y="192"/>
                    </a:lnTo>
                    <a:lnTo>
                      <a:pt x="594" y="197"/>
                    </a:lnTo>
                    <a:lnTo>
                      <a:pt x="590" y="201"/>
                    </a:lnTo>
                    <a:lnTo>
                      <a:pt x="580" y="201"/>
                    </a:lnTo>
                    <a:lnTo>
                      <a:pt x="580" y="201"/>
                    </a:lnTo>
                    <a:lnTo>
                      <a:pt x="576" y="201"/>
                    </a:lnTo>
                    <a:lnTo>
                      <a:pt x="571" y="201"/>
                    </a:lnTo>
                    <a:lnTo>
                      <a:pt x="567" y="206"/>
                    </a:lnTo>
                    <a:lnTo>
                      <a:pt x="558" y="206"/>
                    </a:lnTo>
                    <a:lnTo>
                      <a:pt x="553" y="201"/>
                    </a:lnTo>
                    <a:lnTo>
                      <a:pt x="548" y="201"/>
                    </a:lnTo>
                    <a:lnTo>
                      <a:pt x="539" y="201"/>
                    </a:lnTo>
                    <a:lnTo>
                      <a:pt x="539" y="197"/>
                    </a:lnTo>
                    <a:lnTo>
                      <a:pt x="530" y="197"/>
                    </a:lnTo>
                    <a:lnTo>
                      <a:pt x="526" y="197"/>
                    </a:lnTo>
                    <a:lnTo>
                      <a:pt x="526" y="192"/>
                    </a:lnTo>
                    <a:lnTo>
                      <a:pt x="521" y="192"/>
                    </a:lnTo>
                    <a:lnTo>
                      <a:pt x="516" y="192"/>
                    </a:lnTo>
                    <a:lnTo>
                      <a:pt x="516" y="192"/>
                    </a:lnTo>
                    <a:lnTo>
                      <a:pt x="512" y="192"/>
                    </a:lnTo>
                    <a:lnTo>
                      <a:pt x="498" y="197"/>
                    </a:lnTo>
                    <a:lnTo>
                      <a:pt x="494" y="201"/>
                    </a:lnTo>
                    <a:lnTo>
                      <a:pt x="489" y="206"/>
                    </a:lnTo>
                    <a:lnTo>
                      <a:pt x="489" y="206"/>
                    </a:lnTo>
                    <a:lnTo>
                      <a:pt x="484" y="206"/>
                    </a:lnTo>
                    <a:lnTo>
                      <a:pt x="484" y="210"/>
                    </a:lnTo>
                    <a:lnTo>
                      <a:pt x="484" y="215"/>
                    </a:lnTo>
                    <a:lnTo>
                      <a:pt x="484" y="219"/>
                    </a:lnTo>
                    <a:lnTo>
                      <a:pt x="484" y="233"/>
                    </a:lnTo>
                    <a:lnTo>
                      <a:pt x="484" y="238"/>
                    </a:lnTo>
                    <a:lnTo>
                      <a:pt x="484" y="247"/>
                    </a:lnTo>
                    <a:lnTo>
                      <a:pt x="484" y="251"/>
                    </a:lnTo>
                    <a:lnTo>
                      <a:pt x="484" y="261"/>
                    </a:lnTo>
                    <a:lnTo>
                      <a:pt x="489" y="265"/>
                    </a:lnTo>
                    <a:lnTo>
                      <a:pt x="489" y="270"/>
                    </a:lnTo>
                    <a:lnTo>
                      <a:pt x="494" y="279"/>
                    </a:lnTo>
                    <a:lnTo>
                      <a:pt x="498" y="283"/>
                    </a:lnTo>
                    <a:lnTo>
                      <a:pt x="503" y="288"/>
                    </a:lnTo>
                    <a:lnTo>
                      <a:pt x="516" y="288"/>
                    </a:lnTo>
                    <a:lnTo>
                      <a:pt x="516" y="293"/>
                    </a:lnTo>
                    <a:lnTo>
                      <a:pt x="521" y="293"/>
                    </a:lnTo>
                    <a:lnTo>
                      <a:pt x="526" y="293"/>
                    </a:lnTo>
                    <a:lnTo>
                      <a:pt x="516" y="297"/>
                    </a:lnTo>
                    <a:lnTo>
                      <a:pt x="516" y="302"/>
                    </a:lnTo>
                    <a:lnTo>
                      <a:pt x="512" y="306"/>
                    </a:lnTo>
                    <a:lnTo>
                      <a:pt x="507" y="306"/>
                    </a:lnTo>
                    <a:lnTo>
                      <a:pt x="503" y="311"/>
                    </a:lnTo>
                    <a:lnTo>
                      <a:pt x="498" y="315"/>
                    </a:lnTo>
                    <a:lnTo>
                      <a:pt x="494" y="315"/>
                    </a:lnTo>
                    <a:lnTo>
                      <a:pt x="494" y="320"/>
                    </a:lnTo>
                    <a:lnTo>
                      <a:pt x="494" y="325"/>
                    </a:lnTo>
                    <a:lnTo>
                      <a:pt x="494" y="325"/>
                    </a:lnTo>
                    <a:lnTo>
                      <a:pt x="489" y="334"/>
                    </a:lnTo>
                    <a:lnTo>
                      <a:pt x="484" y="343"/>
                    </a:lnTo>
                    <a:lnTo>
                      <a:pt x="484" y="347"/>
                    </a:lnTo>
                    <a:lnTo>
                      <a:pt x="480" y="352"/>
                    </a:lnTo>
                    <a:lnTo>
                      <a:pt x="480" y="357"/>
                    </a:lnTo>
                    <a:lnTo>
                      <a:pt x="475" y="357"/>
                    </a:lnTo>
                    <a:lnTo>
                      <a:pt x="475" y="357"/>
                    </a:lnTo>
                    <a:lnTo>
                      <a:pt x="471" y="361"/>
                    </a:lnTo>
                    <a:lnTo>
                      <a:pt x="471" y="366"/>
                    </a:lnTo>
                    <a:lnTo>
                      <a:pt x="466" y="366"/>
                    </a:lnTo>
                    <a:lnTo>
                      <a:pt x="462" y="370"/>
                    </a:lnTo>
                    <a:lnTo>
                      <a:pt x="452" y="375"/>
                    </a:lnTo>
                    <a:lnTo>
                      <a:pt x="448" y="375"/>
                    </a:lnTo>
                    <a:lnTo>
                      <a:pt x="448" y="379"/>
                    </a:lnTo>
                    <a:lnTo>
                      <a:pt x="439" y="379"/>
                    </a:lnTo>
                    <a:lnTo>
                      <a:pt x="434" y="379"/>
                    </a:lnTo>
                    <a:lnTo>
                      <a:pt x="430" y="379"/>
                    </a:lnTo>
                    <a:lnTo>
                      <a:pt x="430" y="379"/>
                    </a:lnTo>
                    <a:lnTo>
                      <a:pt x="420" y="384"/>
                    </a:lnTo>
                    <a:lnTo>
                      <a:pt x="416" y="384"/>
                    </a:lnTo>
                    <a:lnTo>
                      <a:pt x="411" y="384"/>
                    </a:lnTo>
                    <a:lnTo>
                      <a:pt x="407" y="384"/>
                    </a:lnTo>
                    <a:lnTo>
                      <a:pt x="402" y="389"/>
                    </a:lnTo>
                    <a:lnTo>
                      <a:pt x="398" y="389"/>
                    </a:lnTo>
                    <a:lnTo>
                      <a:pt x="398" y="393"/>
                    </a:lnTo>
                    <a:lnTo>
                      <a:pt x="384" y="398"/>
                    </a:lnTo>
                    <a:lnTo>
                      <a:pt x="379" y="402"/>
                    </a:lnTo>
                    <a:lnTo>
                      <a:pt x="375" y="402"/>
                    </a:lnTo>
                    <a:lnTo>
                      <a:pt x="370" y="402"/>
                    </a:lnTo>
                    <a:lnTo>
                      <a:pt x="370" y="402"/>
                    </a:lnTo>
                    <a:lnTo>
                      <a:pt x="366" y="407"/>
                    </a:lnTo>
                    <a:lnTo>
                      <a:pt x="361" y="411"/>
                    </a:lnTo>
                    <a:lnTo>
                      <a:pt x="361" y="416"/>
                    </a:lnTo>
                    <a:lnTo>
                      <a:pt x="356" y="421"/>
                    </a:lnTo>
                    <a:lnTo>
                      <a:pt x="352" y="425"/>
                    </a:lnTo>
                    <a:lnTo>
                      <a:pt x="352" y="434"/>
                    </a:lnTo>
                    <a:lnTo>
                      <a:pt x="352" y="443"/>
                    </a:lnTo>
                    <a:lnTo>
                      <a:pt x="352" y="443"/>
                    </a:lnTo>
                    <a:lnTo>
                      <a:pt x="352" y="448"/>
                    </a:lnTo>
                    <a:lnTo>
                      <a:pt x="352" y="453"/>
                    </a:lnTo>
                    <a:lnTo>
                      <a:pt x="352" y="453"/>
                    </a:lnTo>
                    <a:lnTo>
                      <a:pt x="356" y="457"/>
                    </a:lnTo>
                    <a:lnTo>
                      <a:pt x="361" y="471"/>
                    </a:lnTo>
                    <a:lnTo>
                      <a:pt x="361" y="480"/>
                    </a:lnTo>
                    <a:lnTo>
                      <a:pt x="361" y="485"/>
                    </a:lnTo>
                    <a:lnTo>
                      <a:pt x="361" y="494"/>
                    </a:lnTo>
                    <a:lnTo>
                      <a:pt x="361" y="503"/>
                    </a:lnTo>
                    <a:lnTo>
                      <a:pt x="361" y="507"/>
                    </a:lnTo>
                    <a:lnTo>
                      <a:pt x="361" y="521"/>
                    </a:lnTo>
                    <a:lnTo>
                      <a:pt x="361" y="526"/>
                    </a:lnTo>
                    <a:lnTo>
                      <a:pt x="361" y="535"/>
                    </a:lnTo>
                    <a:lnTo>
                      <a:pt x="361" y="539"/>
                    </a:lnTo>
                    <a:lnTo>
                      <a:pt x="361" y="549"/>
                    </a:lnTo>
                    <a:lnTo>
                      <a:pt x="361" y="553"/>
                    </a:lnTo>
                    <a:lnTo>
                      <a:pt x="361" y="553"/>
                    </a:lnTo>
                    <a:lnTo>
                      <a:pt x="361" y="558"/>
                    </a:lnTo>
                    <a:lnTo>
                      <a:pt x="361" y="562"/>
                    </a:lnTo>
                    <a:lnTo>
                      <a:pt x="366" y="567"/>
                    </a:lnTo>
                    <a:lnTo>
                      <a:pt x="370" y="567"/>
                    </a:lnTo>
                    <a:lnTo>
                      <a:pt x="370" y="571"/>
                    </a:lnTo>
                    <a:lnTo>
                      <a:pt x="370" y="576"/>
                    </a:lnTo>
                    <a:lnTo>
                      <a:pt x="375" y="576"/>
                    </a:lnTo>
                    <a:lnTo>
                      <a:pt x="375" y="585"/>
                    </a:lnTo>
                    <a:lnTo>
                      <a:pt x="375" y="590"/>
                    </a:lnTo>
                    <a:lnTo>
                      <a:pt x="375" y="594"/>
                    </a:lnTo>
                    <a:lnTo>
                      <a:pt x="375" y="599"/>
                    </a:lnTo>
                    <a:lnTo>
                      <a:pt x="375" y="599"/>
                    </a:lnTo>
                    <a:lnTo>
                      <a:pt x="375" y="603"/>
                    </a:lnTo>
                    <a:lnTo>
                      <a:pt x="375" y="608"/>
                    </a:lnTo>
                    <a:lnTo>
                      <a:pt x="379" y="617"/>
                    </a:lnTo>
                    <a:lnTo>
                      <a:pt x="379" y="622"/>
                    </a:lnTo>
                    <a:lnTo>
                      <a:pt x="379" y="622"/>
                    </a:lnTo>
                    <a:lnTo>
                      <a:pt x="384" y="626"/>
                    </a:lnTo>
                    <a:lnTo>
                      <a:pt x="384" y="631"/>
                    </a:lnTo>
                    <a:lnTo>
                      <a:pt x="384" y="635"/>
                    </a:lnTo>
                    <a:lnTo>
                      <a:pt x="388" y="645"/>
                    </a:lnTo>
                    <a:lnTo>
                      <a:pt x="388" y="645"/>
                    </a:lnTo>
                    <a:lnTo>
                      <a:pt x="388" y="649"/>
                    </a:lnTo>
                    <a:lnTo>
                      <a:pt x="388" y="654"/>
                    </a:lnTo>
                    <a:lnTo>
                      <a:pt x="384" y="658"/>
                    </a:lnTo>
                    <a:lnTo>
                      <a:pt x="375" y="663"/>
                    </a:lnTo>
                    <a:lnTo>
                      <a:pt x="370" y="663"/>
                    </a:lnTo>
                    <a:lnTo>
                      <a:pt x="356" y="663"/>
                    </a:lnTo>
                    <a:lnTo>
                      <a:pt x="352" y="663"/>
                    </a:lnTo>
                    <a:lnTo>
                      <a:pt x="347" y="663"/>
                    </a:lnTo>
                    <a:lnTo>
                      <a:pt x="338" y="667"/>
                    </a:lnTo>
                    <a:lnTo>
                      <a:pt x="338" y="667"/>
                    </a:lnTo>
                    <a:lnTo>
                      <a:pt x="334" y="672"/>
                    </a:lnTo>
                    <a:lnTo>
                      <a:pt x="329" y="672"/>
                    </a:lnTo>
                    <a:lnTo>
                      <a:pt x="324" y="672"/>
                    </a:lnTo>
                    <a:lnTo>
                      <a:pt x="324" y="677"/>
                    </a:lnTo>
                    <a:lnTo>
                      <a:pt x="320" y="681"/>
                    </a:lnTo>
                    <a:lnTo>
                      <a:pt x="320" y="686"/>
                    </a:lnTo>
                    <a:lnTo>
                      <a:pt x="320" y="690"/>
                    </a:lnTo>
                    <a:lnTo>
                      <a:pt x="320" y="695"/>
                    </a:lnTo>
                    <a:lnTo>
                      <a:pt x="315" y="695"/>
                    </a:lnTo>
                    <a:lnTo>
                      <a:pt x="311" y="695"/>
                    </a:lnTo>
                    <a:lnTo>
                      <a:pt x="311" y="699"/>
                    </a:lnTo>
                    <a:lnTo>
                      <a:pt x="306" y="699"/>
                    </a:lnTo>
                    <a:lnTo>
                      <a:pt x="302" y="709"/>
                    </a:lnTo>
                    <a:lnTo>
                      <a:pt x="297" y="709"/>
                    </a:lnTo>
                    <a:lnTo>
                      <a:pt x="297" y="709"/>
                    </a:lnTo>
                    <a:lnTo>
                      <a:pt x="302" y="713"/>
                    </a:lnTo>
                    <a:lnTo>
                      <a:pt x="302" y="718"/>
                    </a:lnTo>
                    <a:lnTo>
                      <a:pt x="306" y="722"/>
                    </a:lnTo>
                    <a:lnTo>
                      <a:pt x="311" y="727"/>
                    </a:lnTo>
                    <a:lnTo>
                      <a:pt x="311" y="731"/>
                    </a:lnTo>
                    <a:lnTo>
                      <a:pt x="315" y="731"/>
                    </a:lnTo>
                    <a:lnTo>
                      <a:pt x="315" y="731"/>
                    </a:lnTo>
                    <a:lnTo>
                      <a:pt x="320" y="741"/>
                    </a:lnTo>
                    <a:lnTo>
                      <a:pt x="324" y="745"/>
                    </a:lnTo>
                    <a:lnTo>
                      <a:pt x="324" y="750"/>
                    </a:lnTo>
                    <a:lnTo>
                      <a:pt x="324" y="754"/>
                    </a:lnTo>
                    <a:lnTo>
                      <a:pt x="338" y="759"/>
                    </a:lnTo>
                    <a:lnTo>
                      <a:pt x="338" y="759"/>
                    </a:lnTo>
                    <a:lnTo>
                      <a:pt x="343" y="759"/>
                    </a:lnTo>
                    <a:lnTo>
                      <a:pt x="352" y="759"/>
                    </a:lnTo>
                    <a:lnTo>
                      <a:pt x="361" y="759"/>
                    </a:lnTo>
                    <a:lnTo>
                      <a:pt x="361" y="759"/>
                    </a:lnTo>
                    <a:lnTo>
                      <a:pt x="366" y="759"/>
                    </a:lnTo>
                    <a:lnTo>
                      <a:pt x="361" y="763"/>
                    </a:lnTo>
                    <a:lnTo>
                      <a:pt x="352" y="773"/>
                    </a:lnTo>
                    <a:lnTo>
                      <a:pt x="343" y="773"/>
                    </a:lnTo>
                    <a:lnTo>
                      <a:pt x="338" y="777"/>
                    </a:lnTo>
                    <a:lnTo>
                      <a:pt x="338" y="777"/>
                    </a:lnTo>
                    <a:lnTo>
                      <a:pt x="338" y="782"/>
                    </a:lnTo>
                    <a:lnTo>
                      <a:pt x="334" y="782"/>
                    </a:lnTo>
                    <a:lnTo>
                      <a:pt x="334" y="786"/>
                    </a:lnTo>
                    <a:lnTo>
                      <a:pt x="329" y="786"/>
                    </a:lnTo>
                    <a:lnTo>
                      <a:pt x="324" y="791"/>
                    </a:lnTo>
                    <a:lnTo>
                      <a:pt x="320" y="791"/>
                    </a:lnTo>
                    <a:lnTo>
                      <a:pt x="320" y="795"/>
                    </a:lnTo>
                    <a:lnTo>
                      <a:pt x="320" y="795"/>
                    </a:lnTo>
                    <a:lnTo>
                      <a:pt x="320" y="795"/>
                    </a:lnTo>
                    <a:lnTo>
                      <a:pt x="315" y="795"/>
                    </a:lnTo>
                    <a:lnTo>
                      <a:pt x="306" y="805"/>
                    </a:lnTo>
                    <a:lnTo>
                      <a:pt x="302" y="809"/>
                    </a:lnTo>
                    <a:lnTo>
                      <a:pt x="297" y="814"/>
                    </a:lnTo>
                    <a:lnTo>
                      <a:pt x="297" y="814"/>
                    </a:lnTo>
                    <a:lnTo>
                      <a:pt x="292" y="814"/>
                    </a:lnTo>
                    <a:lnTo>
                      <a:pt x="292" y="818"/>
                    </a:lnTo>
                    <a:lnTo>
                      <a:pt x="288" y="818"/>
                    </a:lnTo>
                    <a:lnTo>
                      <a:pt x="283" y="818"/>
                    </a:lnTo>
                    <a:lnTo>
                      <a:pt x="279" y="818"/>
                    </a:lnTo>
                    <a:lnTo>
                      <a:pt x="274" y="814"/>
                    </a:lnTo>
                    <a:lnTo>
                      <a:pt x="274" y="809"/>
                    </a:lnTo>
                    <a:lnTo>
                      <a:pt x="274" y="795"/>
                    </a:lnTo>
                    <a:lnTo>
                      <a:pt x="274" y="791"/>
                    </a:lnTo>
                    <a:lnTo>
                      <a:pt x="274" y="786"/>
                    </a:lnTo>
                    <a:lnTo>
                      <a:pt x="274" y="786"/>
                    </a:lnTo>
                    <a:lnTo>
                      <a:pt x="274" y="782"/>
                    </a:lnTo>
                    <a:lnTo>
                      <a:pt x="270" y="773"/>
                    </a:lnTo>
                    <a:lnTo>
                      <a:pt x="265" y="773"/>
                    </a:lnTo>
                    <a:lnTo>
                      <a:pt x="260" y="773"/>
                    </a:lnTo>
                    <a:lnTo>
                      <a:pt x="256" y="768"/>
                    </a:lnTo>
                    <a:lnTo>
                      <a:pt x="251" y="763"/>
                    </a:lnTo>
                    <a:lnTo>
                      <a:pt x="251" y="763"/>
                    </a:lnTo>
                    <a:lnTo>
                      <a:pt x="247" y="759"/>
                    </a:lnTo>
                    <a:lnTo>
                      <a:pt x="247" y="754"/>
                    </a:lnTo>
                    <a:lnTo>
                      <a:pt x="242" y="754"/>
                    </a:lnTo>
                    <a:lnTo>
                      <a:pt x="238" y="754"/>
                    </a:lnTo>
                    <a:lnTo>
                      <a:pt x="233" y="754"/>
                    </a:lnTo>
                    <a:lnTo>
                      <a:pt x="228" y="750"/>
                    </a:lnTo>
                    <a:lnTo>
                      <a:pt x="228" y="750"/>
                    </a:lnTo>
                    <a:lnTo>
                      <a:pt x="224" y="750"/>
                    </a:lnTo>
                    <a:lnTo>
                      <a:pt x="215" y="750"/>
                    </a:lnTo>
                    <a:lnTo>
                      <a:pt x="210" y="750"/>
                    </a:lnTo>
                    <a:lnTo>
                      <a:pt x="210" y="750"/>
                    </a:lnTo>
                    <a:lnTo>
                      <a:pt x="201" y="754"/>
                    </a:lnTo>
                    <a:lnTo>
                      <a:pt x="196" y="754"/>
                    </a:lnTo>
                    <a:lnTo>
                      <a:pt x="192" y="754"/>
                    </a:lnTo>
                    <a:lnTo>
                      <a:pt x="187" y="754"/>
                    </a:lnTo>
                    <a:lnTo>
                      <a:pt x="187" y="759"/>
                    </a:lnTo>
                    <a:lnTo>
                      <a:pt x="187" y="768"/>
                    </a:lnTo>
                    <a:lnTo>
                      <a:pt x="183" y="782"/>
                    </a:lnTo>
                    <a:lnTo>
                      <a:pt x="183" y="786"/>
                    </a:lnTo>
                    <a:lnTo>
                      <a:pt x="178" y="786"/>
                    </a:lnTo>
                    <a:lnTo>
                      <a:pt x="178" y="791"/>
                    </a:lnTo>
                    <a:lnTo>
                      <a:pt x="169" y="791"/>
                    </a:lnTo>
                    <a:lnTo>
                      <a:pt x="164" y="791"/>
                    </a:lnTo>
                    <a:lnTo>
                      <a:pt x="164" y="791"/>
                    </a:lnTo>
                    <a:lnTo>
                      <a:pt x="160" y="791"/>
                    </a:lnTo>
                    <a:lnTo>
                      <a:pt x="155" y="786"/>
                    </a:lnTo>
                    <a:lnTo>
                      <a:pt x="142" y="786"/>
                    </a:lnTo>
                    <a:lnTo>
                      <a:pt x="137" y="786"/>
                    </a:lnTo>
                    <a:lnTo>
                      <a:pt x="132" y="786"/>
                    </a:lnTo>
                    <a:lnTo>
                      <a:pt x="123" y="791"/>
                    </a:lnTo>
                    <a:lnTo>
                      <a:pt x="123" y="791"/>
                    </a:lnTo>
                    <a:lnTo>
                      <a:pt x="123" y="795"/>
                    </a:lnTo>
                    <a:lnTo>
                      <a:pt x="123" y="795"/>
                    </a:lnTo>
                    <a:lnTo>
                      <a:pt x="123" y="805"/>
                    </a:lnTo>
                    <a:lnTo>
                      <a:pt x="123" y="818"/>
                    </a:lnTo>
                    <a:lnTo>
                      <a:pt x="123" y="818"/>
                    </a:lnTo>
                    <a:lnTo>
                      <a:pt x="123" y="827"/>
                    </a:lnTo>
                    <a:lnTo>
                      <a:pt x="123" y="832"/>
                    </a:lnTo>
                    <a:lnTo>
                      <a:pt x="123" y="837"/>
                    </a:lnTo>
                    <a:lnTo>
                      <a:pt x="119" y="837"/>
                    </a:lnTo>
                    <a:lnTo>
                      <a:pt x="119" y="841"/>
                    </a:lnTo>
                    <a:lnTo>
                      <a:pt x="110" y="841"/>
                    </a:lnTo>
                    <a:lnTo>
                      <a:pt x="105" y="841"/>
                    </a:lnTo>
                    <a:lnTo>
                      <a:pt x="100" y="841"/>
                    </a:lnTo>
                    <a:lnTo>
                      <a:pt x="96" y="837"/>
                    </a:lnTo>
                    <a:lnTo>
                      <a:pt x="96" y="832"/>
                    </a:lnTo>
                    <a:lnTo>
                      <a:pt x="91" y="832"/>
                    </a:lnTo>
                    <a:lnTo>
                      <a:pt x="87" y="827"/>
                    </a:lnTo>
                    <a:lnTo>
                      <a:pt x="82" y="823"/>
                    </a:lnTo>
                    <a:lnTo>
                      <a:pt x="78" y="818"/>
                    </a:lnTo>
                    <a:lnTo>
                      <a:pt x="78" y="818"/>
                    </a:lnTo>
                    <a:lnTo>
                      <a:pt x="78" y="818"/>
                    </a:lnTo>
                    <a:lnTo>
                      <a:pt x="73" y="818"/>
                    </a:lnTo>
                    <a:lnTo>
                      <a:pt x="68" y="814"/>
                    </a:lnTo>
                    <a:lnTo>
                      <a:pt x="64" y="814"/>
                    </a:lnTo>
                    <a:lnTo>
                      <a:pt x="59" y="814"/>
                    </a:lnTo>
                    <a:lnTo>
                      <a:pt x="55" y="809"/>
                    </a:lnTo>
                    <a:lnTo>
                      <a:pt x="55" y="809"/>
                    </a:lnTo>
                    <a:lnTo>
                      <a:pt x="50" y="809"/>
                    </a:lnTo>
                    <a:lnTo>
                      <a:pt x="50" y="805"/>
                    </a:lnTo>
                    <a:lnTo>
                      <a:pt x="46" y="805"/>
                    </a:lnTo>
                    <a:lnTo>
                      <a:pt x="41" y="805"/>
                    </a:lnTo>
                    <a:lnTo>
                      <a:pt x="41" y="800"/>
                    </a:lnTo>
                    <a:lnTo>
                      <a:pt x="41" y="795"/>
                    </a:lnTo>
                    <a:lnTo>
                      <a:pt x="41" y="795"/>
                    </a:lnTo>
                    <a:lnTo>
                      <a:pt x="41" y="791"/>
                    </a:lnTo>
                    <a:lnTo>
                      <a:pt x="46" y="786"/>
                    </a:lnTo>
                    <a:lnTo>
                      <a:pt x="46" y="782"/>
                    </a:lnTo>
                    <a:lnTo>
                      <a:pt x="50" y="782"/>
                    </a:lnTo>
                    <a:lnTo>
                      <a:pt x="55" y="773"/>
                    </a:lnTo>
                    <a:lnTo>
                      <a:pt x="55" y="773"/>
                    </a:lnTo>
                    <a:lnTo>
                      <a:pt x="55" y="768"/>
                    </a:lnTo>
                    <a:lnTo>
                      <a:pt x="50" y="763"/>
                    </a:lnTo>
                    <a:lnTo>
                      <a:pt x="50" y="759"/>
                    </a:lnTo>
                    <a:lnTo>
                      <a:pt x="46" y="759"/>
                    </a:lnTo>
                    <a:lnTo>
                      <a:pt x="36" y="754"/>
                    </a:lnTo>
                    <a:lnTo>
                      <a:pt x="27" y="754"/>
                    </a:lnTo>
                    <a:lnTo>
                      <a:pt x="23" y="754"/>
                    </a:lnTo>
                    <a:lnTo>
                      <a:pt x="14" y="754"/>
                    </a:lnTo>
                    <a:lnTo>
                      <a:pt x="9" y="750"/>
                    </a:lnTo>
                    <a:lnTo>
                      <a:pt x="9" y="745"/>
                    </a:lnTo>
                    <a:lnTo>
                      <a:pt x="9" y="736"/>
                    </a:lnTo>
                    <a:lnTo>
                      <a:pt x="9" y="731"/>
                    </a:lnTo>
                    <a:lnTo>
                      <a:pt x="14" y="731"/>
                    </a:lnTo>
                    <a:lnTo>
                      <a:pt x="14" y="727"/>
                    </a:lnTo>
                    <a:lnTo>
                      <a:pt x="14" y="722"/>
                    </a:lnTo>
                    <a:lnTo>
                      <a:pt x="14" y="722"/>
                    </a:lnTo>
                    <a:lnTo>
                      <a:pt x="14" y="718"/>
                    </a:lnTo>
                    <a:lnTo>
                      <a:pt x="14" y="713"/>
                    </a:lnTo>
                    <a:lnTo>
                      <a:pt x="18" y="709"/>
                    </a:lnTo>
                    <a:lnTo>
                      <a:pt x="18" y="709"/>
                    </a:lnTo>
                    <a:lnTo>
                      <a:pt x="18" y="699"/>
                    </a:lnTo>
                    <a:lnTo>
                      <a:pt x="18" y="699"/>
                    </a:lnTo>
                    <a:close/>
                  </a:path>
                </a:pathLst>
              </a:custGeom>
              <a:grpFill/>
              <a:ln w="9525" cmpd="sng">
                <a:solidFill>
                  <a:srgbClr val="FFFFFF"/>
                </a:solidFill>
                <a:miter lim="800000"/>
                <a:headEnd/>
                <a:tailEnd/>
              </a:ln>
              <a:effectLst/>
            </p:spPr>
            <p:txBody>
              <a:bodyPr rIns="365760" bIns="27432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Katsina</a:t>
                </a:r>
              </a:p>
            </p:txBody>
          </p:sp>
          <p:sp>
            <p:nvSpPr>
              <p:cNvPr id="207" name="Freeform 27">
                <a:extLst>
                  <a:ext uri="{FF2B5EF4-FFF2-40B4-BE49-F238E27FC236}">
                    <a16:creationId xmlns:a16="http://schemas.microsoft.com/office/drawing/2014/main" id="{B3B4EA16-7BA7-4E88-872C-A827B03466DE}"/>
                  </a:ext>
                </a:extLst>
              </p:cNvPr>
              <p:cNvSpPr>
                <a:spLocks/>
              </p:cNvSpPr>
              <p:nvPr>
                <p:custDataLst>
                  <p:tags r:id="rId24"/>
                </p:custDataLst>
              </p:nvPr>
            </p:nvSpPr>
            <p:spPr bwMode="auto">
              <a:xfrm>
                <a:off x="580810" y="2046062"/>
                <a:ext cx="1284279" cy="1463440"/>
              </a:xfrm>
              <a:custGeom>
                <a:avLst/>
                <a:gdLst/>
                <a:ahLst/>
                <a:cxnLst>
                  <a:cxn ang="0">
                    <a:pos x="407" y="471"/>
                  </a:cxn>
                  <a:cxn ang="0">
                    <a:pos x="393" y="645"/>
                  </a:cxn>
                  <a:cxn ang="0">
                    <a:pos x="434" y="618"/>
                  </a:cxn>
                  <a:cxn ang="0">
                    <a:pos x="494" y="595"/>
                  </a:cxn>
                  <a:cxn ang="0">
                    <a:pos x="544" y="595"/>
                  </a:cxn>
                  <a:cxn ang="0">
                    <a:pos x="608" y="604"/>
                  </a:cxn>
                  <a:cxn ang="0">
                    <a:pos x="644" y="581"/>
                  </a:cxn>
                  <a:cxn ang="0">
                    <a:pos x="699" y="576"/>
                  </a:cxn>
                  <a:cxn ang="0">
                    <a:pos x="740" y="604"/>
                  </a:cxn>
                  <a:cxn ang="0">
                    <a:pos x="777" y="627"/>
                  </a:cxn>
                  <a:cxn ang="0">
                    <a:pos x="823" y="622"/>
                  </a:cxn>
                  <a:cxn ang="0">
                    <a:pos x="868" y="618"/>
                  </a:cxn>
                  <a:cxn ang="0">
                    <a:pos x="919" y="663"/>
                  </a:cxn>
                  <a:cxn ang="0">
                    <a:pos x="919" y="718"/>
                  </a:cxn>
                  <a:cxn ang="0">
                    <a:pos x="960" y="755"/>
                  </a:cxn>
                  <a:cxn ang="0">
                    <a:pos x="955" y="823"/>
                  </a:cxn>
                  <a:cxn ang="0">
                    <a:pos x="905" y="855"/>
                  </a:cxn>
                  <a:cxn ang="0">
                    <a:pos x="763" y="864"/>
                  </a:cxn>
                  <a:cxn ang="0">
                    <a:pos x="718" y="796"/>
                  </a:cxn>
                  <a:cxn ang="0">
                    <a:pos x="686" y="732"/>
                  </a:cxn>
                  <a:cxn ang="0">
                    <a:pos x="567" y="736"/>
                  </a:cxn>
                  <a:cxn ang="0">
                    <a:pos x="498" y="755"/>
                  </a:cxn>
                  <a:cxn ang="0">
                    <a:pos x="494" y="791"/>
                  </a:cxn>
                  <a:cxn ang="0">
                    <a:pos x="544" y="828"/>
                  </a:cxn>
                  <a:cxn ang="0">
                    <a:pos x="603" y="878"/>
                  </a:cxn>
                  <a:cxn ang="0">
                    <a:pos x="612" y="919"/>
                  </a:cxn>
                  <a:cxn ang="0">
                    <a:pos x="590" y="951"/>
                  </a:cxn>
                  <a:cxn ang="0">
                    <a:pos x="526" y="965"/>
                  </a:cxn>
                  <a:cxn ang="0">
                    <a:pos x="512" y="1020"/>
                  </a:cxn>
                  <a:cxn ang="0">
                    <a:pos x="535" y="1088"/>
                  </a:cxn>
                  <a:cxn ang="0">
                    <a:pos x="526" y="1139"/>
                  </a:cxn>
                  <a:cxn ang="0">
                    <a:pos x="457" y="1134"/>
                  </a:cxn>
                  <a:cxn ang="0">
                    <a:pos x="434" y="1184"/>
                  </a:cxn>
                  <a:cxn ang="0">
                    <a:pos x="402" y="1143"/>
                  </a:cxn>
                  <a:cxn ang="0">
                    <a:pos x="375" y="1075"/>
                  </a:cxn>
                  <a:cxn ang="0">
                    <a:pos x="402" y="1024"/>
                  </a:cxn>
                  <a:cxn ang="0">
                    <a:pos x="443" y="997"/>
                  </a:cxn>
                  <a:cxn ang="0">
                    <a:pos x="462" y="906"/>
                  </a:cxn>
                  <a:cxn ang="0">
                    <a:pos x="416" y="919"/>
                  </a:cxn>
                  <a:cxn ang="0">
                    <a:pos x="366" y="915"/>
                  </a:cxn>
                  <a:cxn ang="0">
                    <a:pos x="315" y="883"/>
                  </a:cxn>
                  <a:cxn ang="0">
                    <a:pos x="274" y="860"/>
                  </a:cxn>
                  <a:cxn ang="0">
                    <a:pos x="210" y="864"/>
                  </a:cxn>
                  <a:cxn ang="0">
                    <a:pos x="137" y="842"/>
                  </a:cxn>
                  <a:cxn ang="0">
                    <a:pos x="87" y="823"/>
                  </a:cxn>
                  <a:cxn ang="0">
                    <a:pos x="0" y="736"/>
                  </a:cxn>
                  <a:cxn ang="0">
                    <a:pos x="41" y="590"/>
                  </a:cxn>
                  <a:cxn ang="0">
                    <a:pos x="46" y="512"/>
                  </a:cxn>
                  <a:cxn ang="0">
                    <a:pos x="55" y="403"/>
                  </a:cxn>
                  <a:cxn ang="0">
                    <a:pos x="55" y="288"/>
                  </a:cxn>
                  <a:cxn ang="0">
                    <a:pos x="142" y="211"/>
                  </a:cxn>
                  <a:cxn ang="0">
                    <a:pos x="215" y="119"/>
                  </a:cxn>
                  <a:cxn ang="0">
                    <a:pos x="288" y="10"/>
                  </a:cxn>
                  <a:cxn ang="0">
                    <a:pos x="324" y="19"/>
                  </a:cxn>
                  <a:cxn ang="0">
                    <a:pos x="370" y="51"/>
                  </a:cxn>
                  <a:cxn ang="0">
                    <a:pos x="434" y="74"/>
                  </a:cxn>
                  <a:cxn ang="0">
                    <a:pos x="480" y="46"/>
                  </a:cxn>
                  <a:cxn ang="0">
                    <a:pos x="471" y="110"/>
                  </a:cxn>
                  <a:cxn ang="0">
                    <a:pos x="489" y="188"/>
                  </a:cxn>
                  <a:cxn ang="0">
                    <a:pos x="480" y="330"/>
                  </a:cxn>
                </a:cxnLst>
                <a:rect l="0" t="0" r="r" b="b"/>
                <a:pathLst>
                  <a:path w="964" h="1184">
                    <a:moveTo>
                      <a:pt x="434" y="320"/>
                    </a:moveTo>
                    <a:lnTo>
                      <a:pt x="425" y="325"/>
                    </a:lnTo>
                    <a:lnTo>
                      <a:pt x="416" y="330"/>
                    </a:lnTo>
                    <a:lnTo>
                      <a:pt x="411" y="339"/>
                    </a:lnTo>
                    <a:lnTo>
                      <a:pt x="407" y="343"/>
                    </a:lnTo>
                    <a:lnTo>
                      <a:pt x="402" y="352"/>
                    </a:lnTo>
                    <a:lnTo>
                      <a:pt x="407" y="371"/>
                    </a:lnTo>
                    <a:lnTo>
                      <a:pt x="402" y="384"/>
                    </a:lnTo>
                    <a:lnTo>
                      <a:pt x="402" y="403"/>
                    </a:lnTo>
                    <a:lnTo>
                      <a:pt x="402" y="412"/>
                    </a:lnTo>
                    <a:lnTo>
                      <a:pt x="402" y="421"/>
                    </a:lnTo>
                    <a:lnTo>
                      <a:pt x="402" y="439"/>
                    </a:lnTo>
                    <a:lnTo>
                      <a:pt x="407" y="453"/>
                    </a:lnTo>
                    <a:lnTo>
                      <a:pt x="407" y="471"/>
                    </a:lnTo>
                    <a:lnTo>
                      <a:pt x="407" y="476"/>
                    </a:lnTo>
                    <a:lnTo>
                      <a:pt x="407" y="494"/>
                    </a:lnTo>
                    <a:lnTo>
                      <a:pt x="398" y="512"/>
                    </a:lnTo>
                    <a:lnTo>
                      <a:pt x="393" y="526"/>
                    </a:lnTo>
                    <a:lnTo>
                      <a:pt x="388" y="549"/>
                    </a:lnTo>
                    <a:lnTo>
                      <a:pt x="384" y="572"/>
                    </a:lnTo>
                    <a:lnTo>
                      <a:pt x="379" y="590"/>
                    </a:lnTo>
                    <a:lnTo>
                      <a:pt x="375" y="599"/>
                    </a:lnTo>
                    <a:lnTo>
                      <a:pt x="370" y="604"/>
                    </a:lnTo>
                    <a:lnTo>
                      <a:pt x="370" y="618"/>
                    </a:lnTo>
                    <a:lnTo>
                      <a:pt x="370" y="631"/>
                    </a:lnTo>
                    <a:lnTo>
                      <a:pt x="375" y="636"/>
                    </a:lnTo>
                    <a:lnTo>
                      <a:pt x="388" y="640"/>
                    </a:lnTo>
                    <a:lnTo>
                      <a:pt x="393" y="645"/>
                    </a:lnTo>
                    <a:lnTo>
                      <a:pt x="398" y="645"/>
                    </a:lnTo>
                    <a:lnTo>
                      <a:pt x="402" y="645"/>
                    </a:lnTo>
                    <a:lnTo>
                      <a:pt x="407" y="650"/>
                    </a:lnTo>
                    <a:lnTo>
                      <a:pt x="407" y="645"/>
                    </a:lnTo>
                    <a:lnTo>
                      <a:pt x="411" y="645"/>
                    </a:lnTo>
                    <a:lnTo>
                      <a:pt x="411" y="640"/>
                    </a:lnTo>
                    <a:lnTo>
                      <a:pt x="416" y="640"/>
                    </a:lnTo>
                    <a:lnTo>
                      <a:pt x="416" y="636"/>
                    </a:lnTo>
                    <a:lnTo>
                      <a:pt x="416" y="636"/>
                    </a:lnTo>
                    <a:lnTo>
                      <a:pt x="416" y="631"/>
                    </a:lnTo>
                    <a:lnTo>
                      <a:pt x="420" y="627"/>
                    </a:lnTo>
                    <a:lnTo>
                      <a:pt x="425" y="622"/>
                    </a:lnTo>
                    <a:lnTo>
                      <a:pt x="430" y="618"/>
                    </a:lnTo>
                    <a:lnTo>
                      <a:pt x="434" y="618"/>
                    </a:lnTo>
                    <a:lnTo>
                      <a:pt x="434" y="618"/>
                    </a:lnTo>
                    <a:lnTo>
                      <a:pt x="443" y="613"/>
                    </a:lnTo>
                    <a:lnTo>
                      <a:pt x="448" y="613"/>
                    </a:lnTo>
                    <a:lnTo>
                      <a:pt x="452" y="608"/>
                    </a:lnTo>
                    <a:lnTo>
                      <a:pt x="457" y="608"/>
                    </a:lnTo>
                    <a:lnTo>
                      <a:pt x="462" y="604"/>
                    </a:lnTo>
                    <a:lnTo>
                      <a:pt x="466" y="604"/>
                    </a:lnTo>
                    <a:lnTo>
                      <a:pt x="475" y="604"/>
                    </a:lnTo>
                    <a:lnTo>
                      <a:pt x="480" y="604"/>
                    </a:lnTo>
                    <a:lnTo>
                      <a:pt x="480" y="599"/>
                    </a:lnTo>
                    <a:lnTo>
                      <a:pt x="480" y="599"/>
                    </a:lnTo>
                    <a:lnTo>
                      <a:pt x="484" y="595"/>
                    </a:lnTo>
                    <a:lnTo>
                      <a:pt x="489" y="595"/>
                    </a:lnTo>
                    <a:lnTo>
                      <a:pt x="494" y="595"/>
                    </a:lnTo>
                    <a:lnTo>
                      <a:pt x="498" y="590"/>
                    </a:lnTo>
                    <a:lnTo>
                      <a:pt x="503" y="590"/>
                    </a:lnTo>
                    <a:lnTo>
                      <a:pt x="507" y="586"/>
                    </a:lnTo>
                    <a:lnTo>
                      <a:pt x="516" y="581"/>
                    </a:lnTo>
                    <a:lnTo>
                      <a:pt x="521" y="581"/>
                    </a:lnTo>
                    <a:lnTo>
                      <a:pt x="526" y="590"/>
                    </a:lnTo>
                    <a:lnTo>
                      <a:pt x="526" y="590"/>
                    </a:lnTo>
                    <a:lnTo>
                      <a:pt x="535" y="590"/>
                    </a:lnTo>
                    <a:lnTo>
                      <a:pt x="535" y="586"/>
                    </a:lnTo>
                    <a:lnTo>
                      <a:pt x="539" y="586"/>
                    </a:lnTo>
                    <a:lnTo>
                      <a:pt x="544" y="586"/>
                    </a:lnTo>
                    <a:lnTo>
                      <a:pt x="544" y="586"/>
                    </a:lnTo>
                    <a:lnTo>
                      <a:pt x="544" y="590"/>
                    </a:lnTo>
                    <a:lnTo>
                      <a:pt x="544" y="595"/>
                    </a:lnTo>
                    <a:lnTo>
                      <a:pt x="548" y="595"/>
                    </a:lnTo>
                    <a:lnTo>
                      <a:pt x="553" y="595"/>
                    </a:lnTo>
                    <a:lnTo>
                      <a:pt x="558" y="595"/>
                    </a:lnTo>
                    <a:lnTo>
                      <a:pt x="562" y="595"/>
                    </a:lnTo>
                    <a:lnTo>
                      <a:pt x="567" y="595"/>
                    </a:lnTo>
                    <a:lnTo>
                      <a:pt x="567" y="590"/>
                    </a:lnTo>
                    <a:lnTo>
                      <a:pt x="590" y="590"/>
                    </a:lnTo>
                    <a:lnTo>
                      <a:pt x="590" y="590"/>
                    </a:lnTo>
                    <a:lnTo>
                      <a:pt x="590" y="595"/>
                    </a:lnTo>
                    <a:lnTo>
                      <a:pt x="594" y="595"/>
                    </a:lnTo>
                    <a:lnTo>
                      <a:pt x="599" y="599"/>
                    </a:lnTo>
                    <a:lnTo>
                      <a:pt x="599" y="604"/>
                    </a:lnTo>
                    <a:lnTo>
                      <a:pt x="603" y="604"/>
                    </a:lnTo>
                    <a:lnTo>
                      <a:pt x="608" y="604"/>
                    </a:lnTo>
                    <a:lnTo>
                      <a:pt x="612" y="604"/>
                    </a:lnTo>
                    <a:lnTo>
                      <a:pt x="612" y="599"/>
                    </a:lnTo>
                    <a:lnTo>
                      <a:pt x="612" y="604"/>
                    </a:lnTo>
                    <a:lnTo>
                      <a:pt x="617" y="604"/>
                    </a:lnTo>
                    <a:lnTo>
                      <a:pt x="631" y="599"/>
                    </a:lnTo>
                    <a:lnTo>
                      <a:pt x="635" y="595"/>
                    </a:lnTo>
                    <a:lnTo>
                      <a:pt x="635" y="595"/>
                    </a:lnTo>
                    <a:lnTo>
                      <a:pt x="640" y="595"/>
                    </a:lnTo>
                    <a:lnTo>
                      <a:pt x="644" y="595"/>
                    </a:lnTo>
                    <a:lnTo>
                      <a:pt x="649" y="595"/>
                    </a:lnTo>
                    <a:lnTo>
                      <a:pt x="649" y="590"/>
                    </a:lnTo>
                    <a:lnTo>
                      <a:pt x="649" y="586"/>
                    </a:lnTo>
                    <a:lnTo>
                      <a:pt x="644" y="586"/>
                    </a:lnTo>
                    <a:lnTo>
                      <a:pt x="644" y="581"/>
                    </a:lnTo>
                    <a:lnTo>
                      <a:pt x="649" y="576"/>
                    </a:lnTo>
                    <a:lnTo>
                      <a:pt x="654" y="576"/>
                    </a:lnTo>
                    <a:lnTo>
                      <a:pt x="654" y="576"/>
                    </a:lnTo>
                    <a:lnTo>
                      <a:pt x="658" y="576"/>
                    </a:lnTo>
                    <a:lnTo>
                      <a:pt x="667" y="576"/>
                    </a:lnTo>
                    <a:lnTo>
                      <a:pt x="667" y="581"/>
                    </a:lnTo>
                    <a:lnTo>
                      <a:pt x="672" y="581"/>
                    </a:lnTo>
                    <a:lnTo>
                      <a:pt x="676" y="586"/>
                    </a:lnTo>
                    <a:lnTo>
                      <a:pt x="676" y="586"/>
                    </a:lnTo>
                    <a:lnTo>
                      <a:pt x="681" y="581"/>
                    </a:lnTo>
                    <a:lnTo>
                      <a:pt x="686" y="581"/>
                    </a:lnTo>
                    <a:lnTo>
                      <a:pt x="690" y="576"/>
                    </a:lnTo>
                    <a:lnTo>
                      <a:pt x="699" y="576"/>
                    </a:lnTo>
                    <a:lnTo>
                      <a:pt x="699" y="576"/>
                    </a:lnTo>
                    <a:lnTo>
                      <a:pt x="704" y="576"/>
                    </a:lnTo>
                    <a:lnTo>
                      <a:pt x="704" y="581"/>
                    </a:lnTo>
                    <a:lnTo>
                      <a:pt x="708" y="581"/>
                    </a:lnTo>
                    <a:lnTo>
                      <a:pt x="713" y="590"/>
                    </a:lnTo>
                    <a:lnTo>
                      <a:pt x="718" y="595"/>
                    </a:lnTo>
                    <a:lnTo>
                      <a:pt x="718" y="595"/>
                    </a:lnTo>
                    <a:lnTo>
                      <a:pt x="718" y="599"/>
                    </a:lnTo>
                    <a:lnTo>
                      <a:pt x="722" y="604"/>
                    </a:lnTo>
                    <a:lnTo>
                      <a:pt x="722" y="608"/>
                    </a:lnTo>
                    <a:lnTo>
                      <a:pt x="727" y="613"/>
                    </a:lnTo>
                    <a:lnTo>
                      <a:pt x="727" y="608"/>
                    </a:lnTo>
                    <a:lnTo>
                      <a:pt x="731" y="604"/>
                    </a:lnTo>
                    <a:lnTo>
                      <a:pt x="736" y="604"/>
                    </a:lnTo>
                    <a:lnTo>
                      <a:pt x="740" y="604"/>
                    </a:lnTo>
                    <a:lnTo>
                      <a:pt x="745" y="604"/>
                    </a:lnTo>
                    <a:lnTo>
                      <a:pt x="745" y="608"/>
                    </a:lnTo>
                    <a:lnTo>
                      <a:pt x="750" y="608"/>
                    </a:lnTo>
                    <a:lnTo>
                      <a:pt x="750" y="613"/>
                    </a:lnTo>
                    <a:lnTo>
                      <a:pt x="754" y="613"/>
                    </a:lnTo>
                    <a:lnTo>
                      <a:pt x="759" y="618"/>
                    </a:lnTo>
                    <a:lnTo>
                      <a:pt x="763" y="618"/>
                    </a:lnTo>
                    <a:lnTo>
                      <a:pt x="763" y="622"/>
                    </a:lnTo>
                    <a:lnTo>
                      <a:pt x="763" y="622"/>
                    </a:lnTo>
                    <a:lnTo>
                      <a:pt x="763" y="627"/>
                    </a:lnTo>
                    <a:lnTo>
                      <a:pt x="768" y="627"/>
                    </a:lnTo>
                    <a:lnTo>
                      <a:pt x="768" y="631"/>
                    </a:lnTo>
                    <a:lnTo>
                      <a:pt x="772" y="631"/>
                    </a:lnTo>
                    <a:lnTo>
                      <a:pt x="777" y="627"/>
                    </a:lnTo>
                    <a:lnTo>
                      <a:pt x="782" y="627"/>
                    </a:lnTo>
                    <a:lnTo>
                      <a:pt x="782" y="622"/>
                    </a:lnTo>
                    <a:lnTo>
                      <a:pt x="786" y="622"/>
                    </a:lnTo>
                    <a:lnTo>
                      <a:pt x="791" y="622"/>
                    </a:lnTo>
                    <a:lnTo>
                      <a:pt x="795" y="618"/>
                    </a:lnTo>
                    <a:lnTo>
                      <a:pt x="800" y="618"/>
                    </a:lnTo>
                    <a:lnTo>
                      <a:pt x="804" y="618"/>
                    </a:lnTo>
                    <a:lnTo>
                      <a:pt x="804" y="622"/>
                    </a:lnTo>
                    <a:lnTo>
                      <a:pt x="809" y="622"/>
                    </a:lnTo>
                    <a:lnTo>
                      <a:pt x="809" y="618"/>
                    </a:lnTo>
                    <a:lnTo>
                      <a:pt x="809" y="618"/>
                    </a:lnTo>
                    <a:lnTo>
                      <a:pt x="814" y="618"/>
                    </a:lnTo>
                    <a:lnTo>
                      <a:pt x="818" y="622"/>
                    </a:lnTo>
                    <a:lnTo>
                      <a:pt x="823" y="622"/>
                    </a:lnTo>
                    <a:lnTo>
                      <a:pt x="827" y="622"/>
                    </a:lnTo>
                    <a:lnTo>
                      <a:pt x="832" y="622"/>
                    </a:lnTo>
                    <a:lnTo>
                      <a:pt x="832" y="618"/>
                    </a:lnTo>
                    <a:lnTo>
                      <a:pt x="836" y="622"/>
                    </a:lnTo>
                    <a:lnTo>
                      <a:pt x="841" y="622"/>
                    </a:lnTo>
                    <a:lnTo>
                      <a:pt x="846" y="622"/>
                    </a:lnTo>
                    <a:lnTo>
                      <a:pt x="846" y="618"/>
                    </a:lnTo>
                    <a:lnTo>
                      <a:pt x="850" y="618"/>
                    </a:lnTo>
                    <a:lnTo>
                      <a:pt x="855" y="618"/>
                    </a:lnTo>
                    <a:lnTo>
                      <a:pt x="855" y="613"/>
                    </a:lnTo>
                    <a:lnTo>
                      <a:pt x="855" y="613"/>
                    </a:lnTo>
                    <a:lnTo>
                      <a:pt x="859" y="613"/>
                    </a:lnTo>
                    <a:lnTo>
                      <a:pt x="864" y="618"/>
                    </a:lnTo>
                    <a:lnTo>
                      <a:pt x="868" y="618"/>
                    </a:lnTo>
                    <a:lnTo>
                      <a:pt x="873" y="618"/>
                    </a:lnTo>
                    <a:lnTo>
                      <a:pt x="873" y="618"/>
                    </a:lnTo>
                    <a:lnTo>
                      <a:pt x="878" y="618"/>
                    </a:lnTo>
                    <a:lnTo>
                      <a:pt x="882" y="618"/>
                    </a:lnTo>
                    <a:lnTo>
                      <a:pt x="887" y="618"/>
                    </a:lnTo>
                    <a:lnTo>
                      <a:pt x="891" y="622"/>
                    </a:lnTo>
                    <a:lnTo>
                      <a:pt x="896" y="622"/>
                    </a:lnTo>
                    <a:lnTo>
                      <a:pt x="896" y="627"/>
                    </a:lnTo>
                    <a:lnTo>
                      <a:pt x="900" y="627"/>
                    </a:lnTo>
                    <a:lnTo>
                      <a:pt x="900" y="631"/>
                    </a:lnTo>
                    <a:lnTo>
                      <a:pt x="905" y="636"/>
                    </a:lnTo>
                    <a:lnTo>
                      <a:pt x="910" y="636"/>
                    </a:lnTo>
                    <a:lnTo>
                      <a:pt x="914" y="640"/>
                    </a:lnTo>
                    <a:lnTo>
                      <a:pt x="919" y="663"/>
                    </a:lnTo>
                    <a:lnTo>
                      <a:pt x="919" y="672"/>
                    </a:lnTo>
                    <a:lnTo>
                      <a:pt x="914" y="682"/>
                    </a:lnTo>
                    <a:lnTo>
                      <a:pt x="914" y="686"/>
                    </a:lnTo>
                    <a:lnTo>
                      <a:pt x="905" y="695"/>
                    </a:lnTo>
                    <a:lnTo>
                      <a:pt x="905" y="700"/>
                    </a:lnTo>
                    <a:lnTo>
                      <a:pt x="905" y="704"/>
                    </a:lnTo>
                    <a:lnTo>
                      <a:pt x="900" y="704"/>
                    </a:lnTo>
                    <a:lnTo>
                      <a:pt x="900" y="704"/>
                    </a:lnTo>
                    <a:lnTo>
                      <a:pt x="905" y="704"/>
                    </a:lnTo>
                    <a:lnTo>
                      <a:pt x="905" y="709"/>
                    </a:lnTo>
                    <a:lnTo>
                      <a:pt x="910" y="709"/>
                    </a:lnTo>
                    <a:lnTo>
                      <a:pt x="914" y="714"/>
                    </a:lnTo>
                    <a:lnTo>
                      <a:pt x="919" y="714"/>
                    </a:lnTo>
                    <a:lnTo>
                      <a:pt x="919" y="718"/>
                    </a:lnTo>
                    <a:lnTo>
                      <a:pt x="923" y="718"/>
                    </a:lnTo>
                    <a:lnTo>
                      <a:pt x="928" y="718"/>
                    </a:lnTo>
                    <a:lnTo>
                      <a:pt x="937" y="723"/>
                    </a:lnTo>
                    <a:lnTo>
                      <a:pt x="942" y="727"/>
                    </a:lnTo>
                    <a:lnTo>
                      <a:pt x="942" y="727"/>
                    </a:lnTo>
                    <a:lnTo>
                      <a:pt x="942" y="727"/>
                    </a:lnTo>
                    <a:lnTo>
                      <a:pt x="946" y="727"/>
                    </a:lnTo>
                    <a:lnTo>
                      <a:pt x="946" y="732"/>
                    </a:lnTo>
                    <a:lnTo>
                      <a:pt x="951" y="736"/>
                    </a:lnTo>
                    <a:lnTo>
                      <a:pt x="951" y="741"/>
                    </a:lnTo>
                    <a:lnTo>
                      <a:pt x="951" y="746"/>
                    </a:lnTo>
                    <a:lnTo>
                      <a:pt x="955" y="746"/>
                    </a:lnTo>
                    <a:lnTo>
                      <a:pt x="955" y="750"/>
                    </a:lnTo>
                    <a:lnTo>
                      <a:pt x="960" y="755"/>
                    </a:lnTo>
                    <a:lnTo>
                      <a:pt x="960" y="759"/>
                    </a:lnTo>
                    <a:lnTo>
                      <a:pt x="964" y="768"/>
                    </a:lnTo>
                    <a:lnTo>
                      <a:pt x="964" y="773"/>
                    </a:lnTo>
                    <a:lnTo>
                      <a:pt x="964" y="778"/>
                    </a:lnTo>
                    <a:lnTo>
                      <a:pt x="964" y="787"/>
                    </a:lnTo>
                    <a:lnTo>
                      <a:pt x="964" y="791"/>
                    </a:lnTo>
                    <a:lnTo>
                      <a:pt x="960" y="800"/>
                    </a:lnTo>
                    <a:lnTo>
                      <a:pt x="960" y="805"/>
                    </a:lnTo>
                    <a:lnTo>
                      <a:pt x="960" y="810"/>
                    </a:lnTo>
                    <a:lnTo>
                      <a:pt x="964" y="814"/>
                    </a:lnTo>
                    <a:lnTo>
                      <a:pt x="964" y="823"/>
                    </a:lnTo>
                    <a:lnTo>
                      <a:pt x="964" y="823"/>
                    </a:lnTo>
                    <a:lnTo>
                      <a:pt x="960" y="823"/>
                    </a:lnTo>
                    <a:lnTo>
                      <a:pt x="955" y="823"/>
                    </a:lnTo>
                    <a:lnTo>
                      <a:pt x="955" y="828"/>
                    </a:lnTo>
                    <a:lnTo>
                      <a:pt x="946" y="832"/>
                    </a:lnTo>
                    <a:lnTo>
                      <a:pt x="942" y="837"/>
                    </a:lnTo>
                    <a:lnTo>
                      <a:pt x="942" y="837"/>
                    </a:lnTo>
                    <a:lnTo>
                      <a:pt x="937" y="842"/>
                    </a:lnTo>
                    <a:lnTo>
                      <a:pt x="932" y="842"/>
                    </a:lnTo>
                    <a:lnTo>
                      <a:pt x="932" y="846"/>
                    </a:lnTo>
                    <a:lnTo>
                      <a:pt x="928" y="846"/>
                    </a:lnTo>
                    <a:lnTo>
                      <a:pt x="923" y="851"/>
                    </a:lnTo>
                    <a:lnTo>
                      <a:pt x="919" y="851"/>
                    </a:lnTo>
                    <a:lnTo>
                      <a:pt x="919" y="855"/>
                    </a:lnTo>
                    <a:lnTo>
                      <a:pt x="914" y="855"/>
                    </a:lnTo>
                    <a:lnTo>
                      <a:pt x="910" y="855"/>
                    </a:lnTo>
                    <a:lnTo>
                      <a:pt x="905" y="855"/>
                    </a:lnTo>
                    <a:lnTo>
                      <a:pt x="900" y="855"/>
                    </a:lnTo>
                    <a:lnTo>
                      <a:pt x="882" y="864"/>
                    </a:lnTo>
                    <a:lnTo>
                      <a:pt x="864" y="869"/>
                    </a:lnTo>
                    <a:lnTo>
                      <a:pt x="855" y="869"/>
                    </a:lnTo>
                    <a:lnTo>
                      <a:pt x="850" y="869"/>
                    </a:lnTo>
                    <a:lnTo>
                      <a:pt x="841" y="869"/>
                    </a:lnTo>
                    <a:lnTo>
                      <a:pt x="823" y="869"/>
                    </a:lnTo>
                    <a:lnTo>
                      <a:pt x="804" y="869"/>
                    </a:lnTo>
                    <a:lnTo>
                      <a:pt x="791" y="869"/>
                    </a:lnTo>
                    <a:lnTo>
                      <a:pt x="782" y="869"/>
                    </a:lnTo>
                    <a:lnTo>
                      <a:pt x="777" y="869"/>
                    </a:lnTo>
                    <a:lnTo>
                      <a:pt x="768" y="864"/>
                    </a:lnTo>
                    <a:lnTo>
                      <a:pt x="763" y="864"/>
                    </a:lnTo>
                    <a:lnTo>
                      <a:pt x="763" y="864"/>
                    </a:lnTo>
                    <a:lnTo>
                      <a:pt x="763" y="860"/>
                    </a:lnTo>
                    <a:lnTo>
                      <a:pt x="754" y="860"/>
                    </a:lnTo>
                    <a:lnTo>
                      <a:pt x="754" y="855"/>
                    </a:lnTo>
                    <a:lnTo>
                      <a:pt x="750" y="855"/>
                    </a:lnTo>
                    <a:lnTo>
                      <a:pt x="745" y="855"/>
                    </a:lnTo>
                    <a:lnTo>
                      <a:pt x="740" y="855"/>
                    </a:lnTo>
                    <a:lnTo>
                      <a:pt x="736" y="851"/>
                    </a:lnTo>
                    <a:lnTo>
                      <a:pt x="727" y="842"/>
                    </a:lnTo>
                    <a:lnTo>
                      <a:pt x="727" y="837"/>
                    </a:lnTo>
                    <a:lnTo>
                      <a:pt x="722" y="832"/>
                    </a:lnTo>
                    <a:lnTo>
                      <a:pt x="722" y="828"/>
                    </a:lnTo>
                    <a:lnTo>
                      <a:pt x="722" y="823"/>
                    </a:lnTo>
                    <a:lnTo>
                      <a:pt x="718" y="810"/>
                    </a:lnTo>
                    <a:lnTo>
                      <a:pt x="718" y="796"/>
                    </a:lnTo>
                    <a:lnTo>
                      <a:pt x="713" y="791"/>
                    </a:lnTo>
                    <a:lnTo>
                      <a:pt x="713" y="782"/>
                    </a:lnTo>
                    <a:lnTo>
                      <a:pt x="708" y="778"/>
                    </a:lnTo>
                    <a:lnTo>
                      <a:pt x="708" y="768"/>
                    </a:lnTo>
                    <a:lnTo>
                      <a:pt x="708" y="768"/>
                    </a:lnTo>
                    <a:lnTo>
                      <a:pt x="704" y="764"/>
                    </a:lnTo>
                    <a:lnTo>
                      <a:pt x="704" y="759"/>
                    </a:lnTo>
                    <a:lnTo>
                      <a:pt x="704" y="755"/>
                    </a:lnTo>
                    <a:lnTo>
                      <a:pt x="699" y="746"/>
                    </a:lnTo>
                    <a:lnTo>
                      <a:pt x="699" y="746"/>
                    </a:lnTo>
                    <a:lnTo>
                      <a:pt x="699" y="741"/>
                    </a:lnTo>
                    <a:lnTo>
                      <a:pt x="695" y="741"/>
                    </a:lnTo>
                    <a:lnTo>
                      <a:pt x="695" y="736"/>
                    </a:lnTo>
                    <a:lnTo>
                      <a:pt x="686" y="732"/>
                    </a:lnTo>
                    <a:lnTo>
                      <a:pt x="681" y="732"/>
                    </a:lnTo>
                    <a:lnTo>
                      <a:pt x="676" y="727"/>
                    </a:lnTo>
                    <a:lnTo>
                      <a:pt x="676" y="727"/>
                    </a:lnTo>
                    <a:lnTo>
                      <a:pt x="672" y="727"/>
                    </a:lnTo>
                    <a:lnTo>
                      <a:pt x="658" y="727"/>
                    </a:lnTo>
                    <a:lnTo>
                      <a:pt x="654" y="727"/>
                    </a:lnTo>
                    <a:lnTo>
                      <a:pt x="649" y="727"/>
                    </a:lnTo>
                    <a:lnTo>
                      <a:pt x="640" y="727"/>
                    </a:lnTo>
                    <a:lnTo>
                      <a:pt x="626" y="727"/>
                    </a:lnTo>
                    <a:lnTo>
                      <a:pt x="608" y="727"/>
                    </a:lnTo>
                    <a:lnTo>
                      <a:pt x="594" y="727"/>
                    </a:lnTo>
                    <a:lnTo>
                      <a:pt x="590" y="732"/>
                    </a:lnTo>
                    <a:lnTo>
                      <a:pt x="576" y="732"/>
                    </a:lnTo>
                    <a:lnTo>
                      <a:pt x="567" y="736"/>
                    </a:lnTo>
                    <a:lnTo>
                      <a:pt x="544" y="741"/>
                    </a:lnTo>
                    <a:lnTo>
                      <a:pt x="539" y="741"/>
                    </a:lnTo>
                    <a:lnTo>
                      <a:pt x="526" y="741"/>
                    </a:lnTo>
                    <a:lnTo>
                      <a:pt x="526" y="746"/>
                    </a:lnTo>
                    <a:lnTo>
                      <a:pt x="526" y="746"/>
                    </a:lnTo>
                    <a:lnTo>
                      <a:pt x="521" y="746"/>
                    </a:lnTo>
                    <a:lnTo>
                      <a:pt x="516" y="746"/>
                    </a:lnTo>
                    <a:lnTo>
                      <a:pt x="512" y="746"/>
                    </a:lnTo>
                    <a:lnTo>
                      <a:pt x="507" y="746"/>
                    </a:lnTo>
                    <a:lnTo>
                      <a:pt x="503" y="746"/>
                    </a:lnTo>
                    <a:lnTo>
                      <a:pt x="503" y="750"/>
                    </a:lnTo>
                    <a:lnTo>
                      <a:pt x="503" y="750"/>
                    </a:lnTo>
                    <a:lnTo>
                      <a:pt x="503" y="755"/>
                    </a:lnTo>
                    <a:lnTo>
                      <a:pt x="498" y="755"/>
                    </a:lnTo>
                    <a:lnTo>
                      <a:pt x="494" y="755"/>
                    </a:lnTo>
                    <a:lnTo>
                      <a:pt x="489" y="759"/>
                    </a:lnTo>
                    <a:lnTo>
                      <a:pt x="480" y="764"/>
                    </a:lnTo>
                    <a:lnTo>
                      <a:pt x="480" y="764"/>
                    </a:lnTo>
                    <a:lnTo>
                      <a:pt x="475" y="768"/>
                    </a:lnTo>
                    <a:lnTo>
                      <a:pt x="475" y="768"/>
                    </a:lnTo>
                    <a:lnTo>
                      <a:pt x="475" y="773"/>
                    </a:lnTo>
                    <a:lnTo>
                      <a:pt x="475" y="778"/>
                    </a:lnTo>
                    <a:lnTo>
                      <a:pt x="480" y="782"/>
                    </a:lnTo>
                    <a:lnTo>
                      <a:pt x="480" y="782"/>
                    </a:lnTo>
                    <a:lnTo>
                      <a:pt x="480" y="782"/>
                    </a:lnTo>
                    <a:lnTo>
                      <a:pt x="480" y="787"/>
                    </a:lnTo>
                    <a:lnTo>
                      <a:pt x="484" y="787"/>
                    </a:lnTo>
                    <a:lnTo>
                      <a:pt x="494" y="791"/>
                    </a:lnTo>
                    <a:lnTo>
                      <a:pt x="498" y="791"/>
                    </a:lnTo>
                    <a:lnTo>
                      <a:pt x="503" y="796"/>
                    </a:lnTo>
                    <a:lnTo>
                      <a:pt x="503" y="796"/>
                    </a:lnTo>
                    <a:lnTo>
                      <a:pt x="512" y="805"/>
                    </a:lnTo>
                    <a:lnTo>
                      <a:pt x="516" y="805"/>
                    </a:lnTo>
                    <a:lnTo>
                      <a:pt x="521" y="810"/>
                    </a:lnTo>
                    <a:lnTo>
                      <a:pt x="526" y="810"/>
                    </a:lnTo>
                    <a:lnTo>
                      <a:pt x="526" y="814"/>
                    </a:lnTo>
                    <a:lnTo>
                      <a:pt x="530" y="814"/>
                    </a:lnTo>
                    <a:lnTo>
                      <a:pt x="535" y="814"/>
                    </a:lnTo>
                    <a:lnTo>
                      <a:pt x="539" y="819"/>
                    </a:lnTo>
                    <a:lnTo>
                      <a:pt x="544" y="823"/>
                    </a:lnTo>
                    <a:lnTo>
                      <a:pt x="544" y="823"/>
                    </a:lnTo>
                    <a:lnTo>
                      <a:pt x="544" y="828"/>
                    </a:lnTo>
                    <a:lnTo>
                      <a:pt x="548" y="828"/>
                    </a:lnTo>
                    <a:lnTo>
                      <a:pt x="558" y="828"/>
                    </a:lnTo>
                    <a:lnTo>
                      <a:pt x="567" y="828"/>
                    </a:lnTo>
                    <a:lnTo>
                      <a:pt x="580" y="832"/>
                    </a:lnTo>
                    <a:lnTo>
                      <a:pt x="585" y="832"/>
                    </a:lnTo>
                    <a:lnTo>
                      <a:pt x="585" y="837"/>
                    </a:lnTo>
                    <a:lnTo>
                      <a:pt x="590" y="837"/>
                    </a:lnTo>
                    <a:lnTo>
                      <a:pt x="590" y="837"/>
                    </a:lnTo>
                    <a:lnTo>
                      <a:pt x="590" y="837"/>
                    </a:lnTo>
                    <a:lnTo>
                      <a:pt x="594" y="842"/>
                    </a:lnTo>
                    <a:lnTo>
                      <a:pt x="594" y="846"/>
                    </a:lnTo>
                    <a:lnTo>
                      <a:pt x="599" y="860"/>
                    </a:lnTo>
                    <a:lnTo>
                      <a:pt x="603" y="869"/>
                    </a:lnTo>
                    <a:lnTo>
                      <a:pt x="603" y="878"/>
                    </a:lnTo>
                    <a:lnTo>
                      <a:pt x="603" y="883"/>
                    </a:lnTo>
                    <a:lnTo>
                      <a:pt x="599" y="887"/>
                    </a:lnTo>
                    <a:lnTo>
                      <a:pt x="599" y="892"/>
                    </a:lnTo>
                    <a:lnTo>
                      <a:pt x="594" y="901"/>
                    </a:lnTo>
                    <a:lnTo>
                      <a:pt x="590" y="901"/>
                    </a:lnTo>
                    <a:lnTo>
                      <a:pt x="590" y="901"/>
                    </a:lnTo>
                    <a:lnTo>
                      <a:pt x="590" y="901"/>
                    </a:lnTo>
                    <a:lnTo>
                      <a:pt x="590" y="906"/>
                    </a:lnTo>
                    <a:lnTo>
                      <a:pt x="590" y="910"/>
                    </a:lnTo>
                    <a:lnTo>
                      <a:pt x="594" y="915"/>
                    </a:lnTo>
                    <a:lnTo>
                      <a:pt x="599" y="915"/>
                    </a:lnTo>
                    <a:lnTo>
                      <a:pt x="603" y="915"/>
                    </a:lnTo>
                    <a:lnTo>
                      <a:pt x="603" y="919"/>
                    </a:lnTo>
                    <a:lnTo>
                      <a:pt x="612" y="919"/>
                    </a:lnTo>
                    <a:lnTo>
                      <a:pt x="612" y="919"/>
                    </a:lnTo>
                    <a:lnTo>
                      <a:pt x="612" y="924"/>
                    </a:lnTo>
                    <a:lnTo>
                      <a:pt x="617" y="924"/>
                    </a:lnTo>
                    <a:lnTo>
                      <a:pt x="622" y="924"/>
                    </a:lnTo>
                    <a:lnTo>
                      <a:pt x="622" y="928"/>
                    </a:lnTo>
                    <a:lnTo>
                      <a:pt x="622" y="933"/>
                    </a:lnTo>
                    <a:lnTo>
                      <a:pt x="622" y="938"/>
                    </a:lnTo>
                    <a:lnTo>
                      <a:pt x="617" y="942"/>
                    </a:lnTo>
                    <a:lnTo>
                      <a:pt x="612" y="942"/>
                    </a:lnTo>
                    <a:lnTo>
                      <a:pt x="612" y="947"/>
                    </a:lnTo>
                    <a:lnTo>
                      <a:pt x="608" y="947"/>
                    </a:lnTo>
                    <a:lnTo>
                      <a:pt x="603" y="947"/>
                    </a:lnTo>
                    <a:lnTo>
                      <a:pt x="594" y="947"/>
                    </a:lnTo>
                    <a:lnTo>
                      <a:pt x="590" y="951"/>
                    </a:lnTo>
                    <a:lnTo>
                      <a:pt x="590" y="951"/>
                    </a:lnTo>
                    <a:lnTo>
                      <a:pt x="585" y="951"/>
                    </a:lnTo>
                    <a:lnTo>
                      <a:pt x="580" y="956"/>
                    </a:lnTo>
                    <a:lnTo>
                      <a:pt x="576" y="956"/>
                    </a:lnTo>
                    <a:lnTo>
                      <a:pt x="571" y="960"/>
                    </a:lnTo>
                    <a:lnTo>
                      <a:pt x="567" y="960"/>
                    </a:lnTo>
                    <a:lnTo>
                      <a:pt x="567" y="965"/>
                    </a:lnTo>
                    <a:lnTo>
                      <a:pt x="558" y="965"/>
                    </a:lnTo>
                    <a:lnTo>
                      <a:pt x="553" y="965"/>
                    </a:lnTo>
                    <a:lnTo>
                      <a:pt x="544" y="965"/>
                    </a:lnTo>
                    <a:lnTo>
                      <a:pt x="544" y="965"/>
                    </a:lnTo>
                    <a:lnTo>
                      <a:pt x="535" y="965"/>
                    </a:lnTo>
                    <a:lnTo>
                      <a:pt x="530" y="965"/>
                    </a:lnTo>
                    <a:lnTo>
                      <a:pt x="526" y="965"/>
                    </a:lnTo>
                    <a:lnTo>
                      <a:pt x="526" y="965"/>
                    </a:lnTo>
                    <a:lnTo>
                      <a:pt x="521" y="960"/>
                    </a:lnTo>
                    <a:lnTo>
                      <a:pt x="512" y="960"/>
                    </a:lnTo>
                    <a:lnTo>
                      <a:pt x="507" y="956"/>
                    </a:lnTo>
                    <a:lnTo>
                      <a:pt x="503" y="956"/>
                    </a:lnTo>
                    <a:lnTo>
                      <a:pt x="503" y="960"/>
                    </a:lnTo>
                    <a:lnTo>
                      <a:pt x="503" y="960"/>
                    </a:lnTo>
                    <a:lnTo>
                      <a:pt x="503" y="965"/>
                    </a:lnTo>
                    <a:lnTo>
                      <a:pt x="503" y="970"/>
                    </a:lnTo>
                    <a:lnTo>
                      <a:pt x="503" y="988"/>
                    </a:lnTo>
                    <a:lnTo>
                      <a:pt x="507" y="997"/>
                    </a:lnTo>
                    <a:lnTo>
                      <a:pt x="512" y="1002"/>
                    </a:lnTo>
                    <a:lnTo>
                      <a:pt x="512" y="1011"/>
                    </a:lnTo>
                    <a:lnTo>
                      <a:pt x="512" y="1020"/>
                    </a:lnTo>
                    <a:lnTo>
                      <a:pt x="512" y="1034"/>
                    </a:lnTo>
                    <a:lnTo>
                      <a:pt x="512" y="1047"/>
                    </a:lnTo>
                    <a:lnTo>
                      <a:pt x="512" y="1052"/>
                    </a:lnTo>
                    <a:lnTo>
                      <a:pt x="512" y="1056"/>
                    </a:lnTo>
                    <a:lnTo>
                      <a:pt x="512" y="1056"/>
                    </a:lnTo>
                    <a:lnTo>
                      <a:pt x="512" y="1061"/>
                    </a:lnTo>
                    <a:lnTo>
                      <a:pt x="521" y="1066"/>
                    </a:lnTo>
                    <a:lnTo>
                      <a:pt x="526" y="1066"/>
                    </a:lnTo>
                    <a:lnTo>
                      <a:pt x="526" y="1070"/>
                    </a:lnTo>
                    <a:lnTo>
                      <a:pt x="530" y="1070"/>
                    </a:lnTo>
                    <a:lnTo>
                      <a:pt x="530" y="1075"/>
                    </a:lnTo>
                    <a:lnTo>
                      <a:pt x="530" y="1075"/>
                    </a:lnTo>
                    <a:lnTo>
                      <a:pt x="535" y="1075"/>
                    </a:lnTo>
                    <a:lnTo>
                      <a:pt x="535" y="1088"/>
                    </a:lnTo>
                    <a:lnTo>
                      <a:pt x="539" y="1093"/>
                    </a:lnTo>
                    <a:lnTo>
                      <a:pt x="544" y="1098"/>
                    </a:lnTo>
                    <a:lnTo>
                      <a:pt x="544" y="1098"/>
                    </a:lnTo>
                    <a:lnTo>
                      <a:pt x="544" y="1102"/>
                    </a:lnTo>
                    <a:lnTo>
                      <a:pt x="544" y="1107"/>
                    </a:lnTo>
                    <a:lnTo>
                      <a:pt x="544" y="1111"/>
                    </a:lnTo>
                    <a:lnTo>
                      <a:pt x="544" y="1116"/>
                    </a:lnTo>
                    <a:lnTo>
                      <a:pt x="544" y="1120"/>
                    </a:lnTo>
                    <a:lnTo>
                      <a:pt x="544" y="1120"/>
                    </a:lnTo>
                    <a:lnTo>
                      <a:pt x="544" y="1125"/>
                    </a:lnTo>
                    <a:lnTo>
                      <a:pt x="539" y="1130"/>
                    </a:lnTo>
                    <a:lnTo>
                      <a:pt x="535" y="1130"/>
                    </a:lnTo>
                    <a:lnTo>
                      <a:pt x="530" y="1134"/>
                    </a:lnTo>
                    <a:lnTo>
                      <a:pt x="526" y="1139"/>
                    </a:lnTo>
                    <a:lnTo>
                      <a:pt x="526" y="1139"/>
                    </a:lnTo>
                    <a:lnTo>
                      <a:pt x="521" y="1139"/>
                    </a:lnTo>
                    <a:lnTo>
                      <a:pt x="516" y="1139"/>
                    </a:lnTo>
                    <a:lnTo>
                      <a:pt x="512" y="1139"/>
                    </a:lnTo>
                    <a:lnTo>
                      <a:pt x="507" y="1139"/>
                    </a:lnTo>
                    <a:lnTo>
                      <a:pt x="503" y="1139"/>
                    </a:lnTo>
                    <a:lnTo>
                      <a:pt x="498" y="1139"/>
                    </a:lnTo>
                    <a:lnTo>
                      <a:pt x="489" y="1134"/>
                    </a:lnTo>
                    <a:lnTo>
                      <a:pt x="475" y="1130"/>
                    </a:lnTo>
                    <a:lnTo>
                      <a:pt x="471" y="1130"/>
                    </a:lnTo>
                    <a:lnTo>
                      <a:pt x="466" y="1130"/>
                    </a:lnTo>
                    <a:lnTo>
                      <a:pt x="462" y="1130"/>
                    </a:lnTo>
                    <a:lnTo>
                      <a:pt x="457" y="1130"/>
                    </a:lnTo>
                    <a:lnTo>
                      <a:pt x="457" y="1134"/>
                    </a:lnTo>
                    <a:lnTo>
                      <a:pt x="457" y="1134"/>
                    </a:lnTo>
                    <a:lnTo>
                      <a:pt x="457" y="1139"/>
                    </a:lnTo>
                    <a:lnTo>
                      <a:pt x="457" y="1143"/>
                    </a:lnTo>
                    <a:lnTo>
                      <a:pt x="452" y="1143"/>
                    </a:lnTo>
                    <a:lnTo>
                      <a:pt x="452" y="1143"/>
                    </a:lnTo>
                    <a:lnTo>
                      <a:pt x="452" y="1148"/>
                    </a:lnTo>
                    <a:lnTo>
                      <a:pt x="452" y="1157"/>
                    </a:lnTo>
                    <a:lnTo>
                      <a:pt x="452" y="1166"/>
                    </a:lnTo>
                    <a:lnTo>
                      <a:pt x="452" y="1175"/>
                    </a:lnTo>
                    <a:lnTo>
                      <a:pt x="452" y="1180"/>
                    </a:lnTo>
                    <a:lnTo>
                      <a:pt x="448" y="1180"/>
                    </a:lnTo>
                    <a:lnTo>
                      <a:pt x="443" y="1184"/>
                    </a:lnTo>
                    <a:lnTo>
                      <a:pt x="443" y="1184"/>
                    </a:lnTo>
                    <a:lnTo>
                      <a:pt x="434" y="1184"/>
                    </a:lnTo>
                    <a:lnTo>
                      <a:pt x="430" y="1184"/>
                    </a:lnTo>
                    <a:lnTo>
                      <a:pt x="425" y="1184"/>
                    </a:lnTo>
                    <a:lnTo>
                      <a:pt x="420" y="1184"/>
                    </a:lnTo>
                    <a:lnTo>
                      <a:pt x="416" y="1184"/>
                    </a:lnTo>
                    <a:lnTo>
                      <a:pt x="407" y="1180"/>
                    </a:lnTo>
                    <a:lnTo>
                      <a:pt x="402" y="1175"/>
                    </a:lnTo>
                    <a:lnTo>
                      <a:pt x="402" y="1171"/>
                    </a:lnTo>
                    <a:lnTo>
                      <a:pt x="402" y="1166"/>
                    </a:lnTo>
                    <a:lnTo>
                      <a:pt x="407" y="1166"/>
                    </a:lnTo>
                    <a:lnTo>
                      <a:pt x="407" y="1162"/>
                    </a:lnTo>
                    <a:lnTo>
                      <a:pt x="407" y="1157"/>
                    </a:lnTo>
                    <a:lnTo>
                      <a:pt x="407" y="1152"/>
                    </a:lnTo>
                    <a:lnTo>
                      <a:pt x="407" y="1148"/>
                    </a:lnTo>
                    <a:lnTo>
                      <a:pt x="402" y="1143"/>
                    </a:lnTo>
                    <a:lnTo>
                      <a:pt x="398" y="1139"/>
                    </a:lnTo>
                    <a:lnTo>
                      <a:pt x="393" y="1134"/>
                    </a:lnTo>
                    <a:lnTo>
                      <a:pt x="393" y="1130"/>
                    </a:lnTo>
                    <a:lnTo>
                      <a:pt x="388" y="1125"/>
                    </a:lnTo>
                    <a:lnTo>
                      <a:pt x="384" y="1120"/>
                    </a:lnTo>
                    <a:lnTo>
                      <a:pt x="384" y="1120"/>
                    </a:lnTo>
                    <a:lnTo>
                      <a:pt x="379" y="1120"/>
                    </a:lnTo>
                    <a:lnTo>
                      <a:pt x="379" y="1116"/>
                    </a:lnTo>
                    <a:lnTo>
                      <a:pt x="379" y="1107"/>
                    </a:lnTo>
                    <a:lnTo>
                      <a:pt x="375" y="1102"/>
                    </a:lnTo>
                    <a:lnTo>
                      <a:pt x="375" y="1098"/>
                    </a:lnTo>
                    <a:lnTo>
                      <a:pt x="375" y="1098"/>
                    </a:lnTo>
                    <a:lnTo>
                      <a:pt x="375" y="1088"/>
                    </a:lnTo>
                    <a:lnTo>
                      <a:pt x="375" y="1075"/>
                    </a:lnTo>
                    <a:lnTo>
                      <a:pt x="375" y="1075"/>
                    </a:lnTo>
                    <a:lnTo>
                      <a:pt x="379" y="1056"/>
                    </a:lnTo>
                    <a:lnTo>
                      <a:pt x="379" y="1056"/>
                    </a:lnTo>
                    <a:lnTo>
                      <a:pt x="379" y="1052"/>
                    </a:lnTo>
                    <a:lnTo>
                      <a:pt x="379" y="1047"/>
                    </a:lnTo>
                    <a:lnTo>
                      <a:pt x="384" y="1047"/>
                    </a:lnTo>
                    <a:lnTo>
                      <a:pt x="384" y="1043"/>
                    </a:lnTo>
                    <a:lnTo>
                      <a:pt x="388" y="1043"/>
                    </a:lnTo>
                    <a:lnTo>
                      <a:pt x="388" y="1038"/>
                    </a:lnTo>
                    <a:lnTo>
                      <a:pt x="393" y="1034"/>
                    </a:lnTo>
                    <a:lnTo>
                      <a:pt x="393" y="1029"/>
                    </a:lnTo>
                    <a:lnTo>
                      <a:pt x="398" y="1029"/>
                    </a:lnTo>
                    <a:lnTo>
                      <a:pt x="398" y="1024"/>
                    </a:lnTo>
                    <a:lnTo>
                      <a:pt x="402" y="1024"/>
                    </a:lnTo>
                    <a:lnTo>
                      <a:pt x="407" y="1024"/>
                    </a:lnTo>
                    <a:lnTo>
                      <a:pt x="411" y="1015"/>
                    </a:lnTo>
                    <a:lnTo>
                      <a:pt x="416" y="1015"/>
                    </a:lnTo>
                    <a:lnTo>
                      <a:pt x="416" y="1011"/>
                    </a:lnTo>
                    <a:lnTo>
                      <a:pt x="420" y="1011"/>
                    </a:lnTo>
                    <a:lnTo>
                      <a:pt x="420" y="1011"/>
                    </a:lnTo>
                    <a:lnTo>
                      <a:pt x="425" y="1011"/>
                    </a:lnTo>
                    <a:lnTo>
                      <a:pt x="430" y="1006"/>
                    </a:lnTo>
                    <a:lnTo>
                      <a:pt x="434" y="1006"/>
                    </a:lnTo>
                    <a:lnTo>
                      <a:pt x="434" y="1002"/>
                    </a:lnTo>
                    <a:lnTo>
                      <a:pt x="434" y="1002"/>
                    </a:lnTo>
                    <a:lnTo>
                      <a:pt x="439" y="1002"/>
                    </a:lnTo>
                    <a:lnTo>
                      <a:pt x="439" y="997"/>
                    </a:lnTo>
                    <a:lnTo>
                      <a:pt x="443" y="997"/>
                    </a:lnTo>
                    <a:lnTo>
                      <a:pt x="448" y="988"/>
                    </a:lnTo>
                    <a:lnTo>
                      <a:pt x="452" y="988"/>
                    </a:lnTo>
                    <a:lnTo>
                      <a:pt x="452" y="988"/>
                    </a:lnTo>
                    <a:lnTo>
                      <a:pt x="457" y="983"/>
                    </a:lnTo>
                    <a:lnTo>
                      <a:pt x="457" y="983"/>
                    </a:lnTo>
                    <a:lnTo>
                      <a:pt x="457" y="979"/>
                    </a:lnTo>
                    <a:lnTo>
                      <a:pt x="457" y="974"/>
                    </a:lnTo>
                    <a:lnTo>
                      <a:pt x="462" y="970"/>
                    </a:lnTo>
                    <a:lnTo>
                      <a:pt x="462" y="965"/>
                    </a:lnTo>
                    <a:lnTo>
                      <a:pt x="462" y="947"/>
                    </a:lnTo>
                    <a:lnTo>
                      <a:pt x="466" y="924"/>
                    </a:lnTo>
                    <a:lnTo>
                      <a:pt x="466" y="919"/>
                    </a:lnTo>
                    <a:lnTo>
                      <a:pt x="462" y="915"/>
                    </a:lnTo>
                    <a:lnTo>
                      <a:pt x="462" y="906"/>
                    </a:lnTo>
                    <a:lnTo>
                      <a:pt x="462" y="901"/>
                    </a:lnTo>
                    <a:lnTo>
                      <a:pt x="457" y="901"/>
                    </a:lnTo>
                    <a:lnTo>
                      <a:pt x="457" y="901"/>
                    </a:lnTo>
                    <a:lnTo>
                      <a:pt x="457" y="901"/>
                    </a:lnTo>
                    <a:lnTo>
                      <a:pt x="452" y="901"/>
                    </a:lnTo>
                    <a:lnTo>
                      <a:pt x="443" y="901"/>
                    </a:lnTo>
                    <a:lnTo>
                      <a:pt x="439" y="901"/>
                    </a:lnTo>
                    <a:lnTo>
                      <a:pt x="434" y="901"/>
                    </a:lnTo>
                    <a:lnTo>
                      <a:pt x="434" y="906"/>
                    </a:lnTo>
                    <a:lnTo>
                      <a:pt x="430" y="906"/>
                    </a:lnTo>
                    <a:lnTo>
                      <a:pt x="430" y="910"/>
                    </a:lnTo>
                    <a:lnTo>
                      <a:pt x="425" y="910"/>
                    </a:lnTo>
                    <a:lnTo>
                      <a:pt x="420" y="915"/>
                    </a:lnTo>
                    <a:lnTo>
                      <a:pt x="416" y="919"/>
                    </a:lnTo>
                    <a:lnTo>
                      <a:pt x="411" y="919"/>
                    </a:lnTo>
                    <a:lnTo>
                      <a:pt x="407" y="924"/>
                    </a:lnTo>
                    <a:lnTo>
                      <a:pt x="402" y="924"/>
                    </a:lnTo>
                    <a:lnTo>
                      <a:pt x="402" y="924"/>
                    </a:lnTo>
                    <a:lnTo>
                      <a:pt x="398" y="924"/>
                    </a:lnTo>
                    <a:lnTo>
                      <a:pt x="393" y="924"/>
                    </a:lnTo>
                    <a:lnTo>
                      <a:pt x="393" y="924"/>
                    </a:lnTo>
                    <a:lnTo>
                      <a:pt x="388" y="924"/>
                    </a:lnTo>
                    <a:lnTo>
                      <a:pt x="384" y="924"/>
                    </a:lnTo>
                    <a:lnTo>
                      <a:pt x="375" y="919"/>
                    </a:lnTo>
                    <a:lnTo>
                      <a:pt x="375" y="915"/>
                    </a:lnTo>
                    <a:lnTo>
                      <a:pt x="370" y="915"/>
                    </a:lnTo>
                    <a:lnTo>
                      <a:pt x="370" y="915"/>
                    </a:lnTo>
                    <a:lnTo>
                      <a:pt x="366" y="915"/>
                    </a:lnTo>
                    <a:lnTo>
                      <a:pt x="352" y="915"/>
                    </a:lnTo>
                    <a:lnTo>
                      <a:pt x="347" y="910"/>
                    </a:lnTo>
                    <a:lnTo>
                      <a:pt x="347" y="910"/>
                    </a:lnTo>
                    <a:lnTo>
                      <a:pt x="343" y="906"/>
                    </a:lnTo>
                    <a:lnTo>
                      <a:pt x="338" y="901"/>
                    </a:lnTo>
                    <a:lnTo>
                      <a:pt x="334" y="901"/>
                    </a:lnTo>
                    <a:lnTo>
                      <a:pt x="329" y="901"/>
                    </a:lnTo>
                    <a:lnTo>
                      <a:pt x="329" y="901"/>
                    </a:lnTo>
                    <a:lnTo>
                      <a:pt x="324" y="896"/>
                    </a:lnTo>
                    <a:lnTo>
                      <a:pt x="324" y="896"/>
                    </a:lnTo>
                    <a:lnTo>
                      <a:pt x="324" y="892"/>
                    </a:lnTo>
                    <a:lnTo>
                      <a:pt x="320" y="892"/>
                    </a:lnTo>
                    <a:lnTo>
                      <a:pt x="315" y="887"/>
                    </a:lnTo>
                    <a:lnTo>
                      <a:pt x="315" y="883"/>
                    </a:lnTo>
                    <a:lnTo>
                      <a:pt x="311" y="883"/>
                    </a:lnTo>
                    <a:lnTo>
                      <a:pt x="311" y="878"/>
                    </a:lnTo>
                    <a:lnTo>
                      <a:pt x="306" y="878"/>
                    </a:lnTo>
                    <a:lnTo>
                      <a:pt x="306" y="878"/>
                    </a:lnTo>
                    <a:lnTo>
                      <a:pt x="306" y="878"/>
                    </a:lnTo>
                    <a:lnTo>
                      <a:pt x="302" y="874"/>
                    </a:lnTo>
                    <a:lnTo>
                      <a:pt x="302" y="869"/>
                    </a:lnTo>
                    <a:lnTo>
                      <a:pt x="297" y="864"/>
                    </a:lnTo>
                    <a:lnTo>
                      <a:pt x="292" y="864"/>
                    </a:lnTo>
                    <a:lnTo>
                      <a:pt x="292" y="860"/>
                    </a:lnTo>
                    <a:lnTo>
                      <a:pt x="288" y="860"/>
                    </a:lnTo>
                    <a:lnTo>
                      <a:pt x="283" y="860"/>
                    </a:lnTo>
                    <a:lnTo>
                      <a:pt x="279" y="860"/>
                    </a:lnTo>
                    <a:lnTo>
                      <a:pt x="274" y="860"/>
                    </a:lnTo>
                    <a:lnTo>
                      <a:pt x="270" y="855"/>
                    </a:lnTo>
                    <a:lnTo>
                      <a:pt x="265" y="855"/>
                    </a:lnTo>
                    <a:lnTo>
                      <a:pt x="265" y="855"/>
                    </a:lnTo>
                    <a:lnTo>
                      <a:pt x="260" y="855"/>
                    </a:lnTo>
                    <a:lnTo>
                      <a:pt x="260" y="855"/>
                    </a:lnTo>
                    <a:lnTo>
                      <a:pt x="256" y="855"/>
                    </a:lnTo>
                    <a:lnTo>
                      <a:pt x="247" y="855"/>
                    </a:lnTo>
                    <a:lnTo>
                      <a:pt x="242" y="855"/>
                    </a:lnTo>
                    <a:lnTo>
                      <a:pt x="238" y="855"/>
                    </a:lnTo>
                    <a:lnTo>
                      <a:pt x="238" y="860"/>
                    </a:lnTo>
                    <a:lnTo>
                      <a:pt x="233" y="864"/>
                    </a:lnTo>
                    <a:lnTo>
                      <a:pt x="228" y="864"/>
                    </a:lnTo>
                    <a:lnTo>
                      <a:pt x="219" y="864"/>
                    </a:lnTo>
                    <a:lnTo>
                      <a:pt x="210" y="864"/>
                    </a:lnTo>
                    <a:lnTo>
                      <a:pt x="206" y="864"/>
                    </a:lnTo>
                    <a:lnTo>
                      <a:pt x="196" y="864"/>
                    </a:lnTo>
                    <a:lnTo>
                      <a:pt x="192" y="864"/>
                    </a:lnTo>
                    <a:lnTo>
                      <a:pt x="174" y="864"/>
                    </a:lnTo>
                    <a:lnTo>
                      <a:pt x="164" y="860"/>
                    </a:lnTo>
                    <a:lnTo>
                      <a:pt x="160" y="855"/>
                    </a:lnTo>
                    <a:lnTo>
                      <a:pt x="151" y="855"/>
                    </a:lnTo>
                    <a:lnTo>
                      <a:pt x="151" y="855"/>
                    </a:lnTo>
                    <a:lnTo>
                      <a:pt x="151" y="851"/>
                    </a:lnTo>
                    <a:lnTo>
                      <a:pt x="146" y="851"/>
                    </a:lnTo>
                    <a:lnTo>
                      <a:pt x="146" y="846"/>
                    </a:lnTo>
                    <a:lnTo>
                      <a:pt x="142" y="846"/>
                    </a:lnTo>
                    <a:lnTo>
                      <a:pt x="137" y="846"/>
                    </a:lnTo>
                    <a:lnTo>
                      <a:pt x="137" y="842"/>
                    </a:lnTo>
                    <a:lnTo>
                      <a:pt x="132" y="842"/>
                    </a:lnTo>
                    <a:lnTo>
                      <a:pt x="128" y="842"/>
                    </a:lnTo>
                    <a:lnTo>
                      <a:pt x="128" y="837"/>
                    </a:lnTo>
                    <a:lnTo>
                      <a:pt x="128" y="837"/>
                    </a:lnTo>
                    <a:lnTo>
                      <a:pt x="123" y="837"/>
                    </a:lnTo>
                    <a:lnTo>
                      <a:pt x="123" y="837"/>
                    </a:lnTo>
                    <a:lnTo>
                      <a:pt x="119" y="837"/>
                    </a:lnTo>
                    <a:lnTo>
                      <a:pt x="114" y="837"/>
                    </a:lnTo>
                    <a:lnTo>
                      <a:pt x="114" y="832"/>
                    </a:lnTo>
                    <a:lnTo>
                      <a:pt x="110" y="832"/>
                    </a:lnTo>
                    <a:lnTo>
                      <a:pt x="105" y="828"/>
                    </a:lnTo>
                    <a:lnTo>
                      <a:pt x="100" y="823"/>
                    </a:lnTo>
                    <a:lnTo>
                      <a:pt x="96" y="819"/>
                    </a:lnTo>
                    <a:lnTo>
                      <a:pt x="87" y="823"/>
                    </a:lnTo>
                    <a:lnTo>
                      <a:pt x="87" y="819"/>
                    </a:lnTo>
                    <a:lnTo>
                      <a:pt x="87" y="814"/>
                    </a:lnTo>
                    <a:lnTo>
                      <a:pt x="87" y="810"/>
                    </a:lnTo>
                    <a:lnTo>
                      <a:pt x="82" y="810"/>
                    </a:lnTo>
                    <a:lnTo>
                      <a:pt x="82" y="810"/>
                    </a:lnTo>
                    <a:lnTo>
                      <a:pt x="73" y="810"/>
                    </a:lnTo>
                    <a:lnTo>
                      <a:pt x="64" y="800"/>
                    </a:lnTo>
                    <a:lnTo>
                      <a:pt x="50" y="787"/>
                    </a:lnTo>
                    <a:lnTo>
                      <a:pt x="32" y="773"/>
                    </a:lnTo>
                    <a:lnTo>
                      <a:pt x="27" y="768"/>
                    </a:lnTo>
                    <a:lnTo>
                      <a:pt x="23" y="764"/>
                    </a:lnTo>
                    <a:lnTo>
                      <a:pt x="18" y="759"/>
                    </a:lnTo>
                    <a:lnTo>
                      <a:pt x="0" y="746"/>
                    </a:lnTo>
                    <a:lnTo>
                      <a:pt x="0" y="736"/>
                    </a:lnTo>
                    <a:lnTo>
                      <a:pt x="4" y="714"/>
                    </a:lnTo>
                    <a:lnTo>
                      <a:pt x="9" y="700"/>
                    </a:lnTo>
                    <a:lnTo>
                      <a:pt x="14" y="677"/>
                    </a:lnTo>
                    <a:lnTo>
                      <a:pt x="18" y="650"/>
                    </a:lnTo>
                    <a:lnTo>
                      <a:pt x="23" y="631"/>
                    </a:lnTo>
                    <a:lnTo>
                      <a:pt x="27" y="622"/>
                    </a:lnTo>
                    <a:lnTo>
                      <a:pt x="32" y="613"/>
                    </a:lnTo>
                    <a:lnTo>
                      <a:pt x="32" y="608"/>
                    </a:lnTo>
                    <a:lnTo>
                      <a:pt x="36" y="604"/>
                    </a:lnTo>
                    <a:lnTo>
                      <a:pt x="41" y="595"/>
                    </a:lnTo>
                    <a:lnTo>
                      <a:pt x="41" y="595"/>
                    </a:lnTo>
                    <a:lnTo>
                      <a:pt x="41" y="595"/>
                    </a:lnTo>
                    <a:lnTo>
                      <a:pt x="41" y="595"/>
                    </a:lnTo>
                    <a:lnTo>
                      <a:pt x="41" y="590"/>
                    </a:lnTo>
                    <a:lnTo>
                      <a:pt x="50" y="586"/>
                    </a:lnTo>
                    <a:lnTo>
                      <a:pt x="59" y="576"/>
                    </a:lnTo>
                    <a:lnTo>
                      <a:pt x="64" y="572"/>
                    </a:lnTo>
                    <a:lnTo>
                      <a:pt x="68" y="572"/>
                    </a:lnTo>
                    <a:lnTo>
                      <a:pt x="68" y="567"/>
                    </a:lnTo>
                    <a:lnTo>
                      <a:pt x="64" y="558"/>
                    </a:lnTo>
                    <a:lnTo>
                      <a:pt x="64" y="554"/>
                    </a:lnTo>
                    <a:lnTo>
                      <a:pt x="64" y="549"/>
                    </a:lnTo>
                    <a:lnTo>
                      <a:pt x="59" y="549"/>
                    </a:lnTo>
                    <a:lnTo>
                      <a:pt x="50" y="544"/>
                    </a:lnTo>
                    <a:lnTo>
                      <a:pt x="50" y="540"/>
                    </a:lnTo>
                    <a:lnTo>
                      <a:pt x="46" y="535"/>
                    </a:lnTo>
                    <a:lnTo>
                      <a:pt x="46" y="531"/>
                    </a:lnTo>
                    <a:lnTo>
                      <a:pt x="46" y="512"/>
                    </a:lnTo>
                    <a:lnTo>
                      <a:pt x="46" y="508"/>
                    </a:lnTo>
                    <a:lnTo>
                      <a:pt x="50" y="508"/>
                    </a:lnTo>
                    <a:lnTo>
                      <a:pt x="55" y="499"/>
                    </a:lnTo>
                    <a:lnTo>
                      <a:pt x="64" y="490"/>
                    </a:lnTo>
                    <a:lnTo>
                      <a:pt x="64" y="490"/>
                    </a:lnTo>
                    <a:lnTo>
                      <a:pt x="64" y="480"/>
                    </a:lnTo>
                    <a:lnTo>
                      <a:pt x="59" y="471"/>
                    </a:lnTo>
                    <a:lnTo>
                      <a:pt x="55" y="458"/>
                    </a:lnTo>
                    <a:lnTo>
                      <a:pt x="55" y="448"/>
                    </a:lnTo>
                    <a:lnTo>
                      <a:pt x="50" y="435"/>
                    </a:lnTo>
                    <a:lnTo>
                      <a:pt x="50" y="426"/>
                    </a:lnTo>
                    <a:lnTo>
                      <a:pt x="55" y="416"/>
                    </a:lnTo>
                    <a:lnTo>
                      <a:pt x="55" y="407"/>
                    </a:lnTo>
                    <a:lnTo>
                      <a:pt x="55" y="403"/>
                    </a:lnTo>
                    <a:lnTo>
                      <a:pt x="55" y="403"/>
                    </a:lnTo>
                    <a:lnTo>
                      <a:pt x="59" y="389"/>
                    </a:lnTo>
                    <a:lnTo>
                      <a:pt x="59" y="380"/>
                    </a:lnTo>
                    <a:lnTo>
                      <a:pt x="59" y="371"/>
                    </a:lnTo>
                    <a:lnTo>
                      <a:pt x="59" y="352"/>
                    </a:lnTo>
                    <a:lnTo>
                      <a:pt x="59" y="339"/>
                    </a:lnTo>
                    <a:lnTo>
                      <a:pt x="59" y="330"/>
                    </a:lnTo>
                    <a:lnTo>
                      <a:pt x="59" y="316"/>
                    </a:lnTo>
                    <a:lnTo>
                      <a:pt x="59" y="316"/>
                    </a:lnTo>
                    <a:lnTo>
                      <a:pt x="59" y="316"/>
                    </a:lnTo>
                    <a:lnTo>
                      <a:pt x="55" y="311"/>
                    </a:lnTo>
                    <a:lnTo>
                      <a:pt x="55" y="302"/>
                    </a:lnTo>
                    <a:lnTo>
                      <a:pt x="55" y="293"/>
                    </a:lnTo>
                    <a:lnTo>
                      <a:pt x="55" y="288"/>
                    </a:lnTo>
                    <a:lnTo>
                      <a:pt x="55" y="284"/>
                    </a:lnTo>
                    <a:lnTo>
                      <a:pt x="73" y="266"/>
                    </a:lnTo>
                    <a:lnTo>
                      <a:pt x="78" y="266"/>
                    </a:lnTo>
                    <a:lnTo>
                      <a:pt x="78" y="266"/>
                    </a:lnTo>
                    <a:lnTo>
                      <a:pt x="82" y="261"/>
                    </a:lnTo>
                    <a:lnTo>
                      <a:pt x="87" y="256"/>
                    </a:lnTo>
                    <a:lnTo>
                      <a:pt x="91" y="252"/>
                    </a:lnTo>
                    <a:lnTo>
                      <a:pt x="96" y="247"/>
                    </a:lnTo>
                    <a:lnTo>
                      <a:pt x="105" y="243"/>
                    </a:lnTo>
                    <a:lnTo>
                      <a:pt x="123" y="224"/>
                    </a:lnTo>
                    <a:lnTo>
                      <a:pt x="123" y="224"/>
                    </a:lnTo>
                    <a:lnTo>
                      <a:pt x="128" y="224"/>
                    </a:lnTo>
                    <a:lnTo>
                      <a:pt x="137" y="215"/>
                    </a:lnTo>
                    <a:lnTo>
                      <a:pt x="142" y="211"/>
                    </a:lnTo>
                    <a:lnTo>
                      <a:pt x="142" y="211"/>
                    </a:lnTo>
                    <a:lnTo>
                      <a:pt x="164" y="197"/>
                    </a:lnTo>
                    <a:lnTo>
                      <a:pt x="164" y="192"/>
                    </a:lnTo>
                    <a:lnTo>
                      <a:pt x="169" y="192"/>
                    </a:lnTo>
                    <a:lnTo>
                      <a:pt x="178" y="179"/>
                    </a:lnTo>
                    <a:lnTo>
                      <a:pt x="178" y="174"/>
                    </a:lnTo>
                    <a:lnTo>
                      <a:pt x="192" y="156"/>
                    </a:lnTo>
                    <a:lnTo>
                      <a:pt x="192" y="151"/>
                    </a:lnTo>
                    <a:lnTo>
                      <a:pt x="196" y="147"/>
                    </a:lnTo>
                    <a:lnTo>
                      <a:pt x="201" y="142"/>
                    </a:lnTo>
                    <a:lnTo>
                      <a:pt x="201" y="138"/>
                    </a:lnTo>
                    <a:lnTo>
                      <a:pt x="210" y="128"/>
                    </a:lnTo>
                    <a:lnTo>
                      <a:pt x="210" y="128"/>
                    </a:lnTo>
                    <a:lnTo>
                      <a:pt x="215" y="119"/>
                    </a:lnTo>
                    <a:lnTo>
                      <a:pt x="228" y="101"/>
                    </a:lnTo>
                    <a:lnTo>
                      <a:pt x="228" y="92"/>
                    </a:lnTo>
                    <a:lnTo>
                      <a:pt x="233" y="74"/>
                    </a:lnTo>
                    <a:lnTo>
                      <a:pt x="233" y="69"/>
                    </a:lnTo>
                    <a:lnTo>
                      <a:pt x="238" y="60"/>
                    </a:lnTo>
                    <a:lnTo>
                      <a:pt x="238" y="46"/>
                    </a:lnTo>
                    <a:lnTo>
                      <a:pt x="238" y="46"/>
                    </a:lnTo>
                    <a:lnTo>
                      <a:pt x="238" y="32"/>
                    </a:lnTo>
                    <a:lnTo>
                      <a:pt x="238" y="23"/>
                    </a:lnTo>
                    <a:lnTo>
                      <a:pt x="238" y="10"/>
                    </a:lnTo>
                    <a:lnTo>
                      <a:pt x="265" y="10"/>
                    </a:lnTo>
                    <a:lnTo>
                      <a:pt x="270" y="10"/>
                    </a:lnTo>
                    <a:lnTo>
                      <a:pt x="279" y="10"/>
                    </a:lnTo>
                    <a:lnTo>
                      <a:pt x="288" y="10"/>
                    </a:lnTo>
                    <a:lnTo>
                      <a:pt x="292" y="10"/>
                    </a:lnTo>
                    <a:lnTo>
                      <a:pt x="297" y="10"/>
                    </a:lnTo>
                    <a:lnTo>
                      <a:pt x="302" y="10"/>
                    </a:lnTo>
                    <a:lnTo>
                      <a:pt x="302" y="5"/>
                    </a:lnTo>
                    <a:lnTo>
                      <a:pt x="306" y="5"/>
                    </a:lnTo>
                    <a:lnTo>
                      <a:pt x="306" y="5"/>
                    </a:lnTo>
                    <a:lnTo>
                      <a:pt x="306" y="0"/>
                    </a:lnTo>
                    <a:lnTo>
                      <a:pt x="311" y="5"/>
                    </a:lnTo>
                    <a:lnTo>
                      <a:pt x="315" y="5"/>
                    </a:lnTo>
                    <a:lnTo>
                      <a:pt x="315" y="10"/>
                    </a:lnTo>
                    <a:lnTo>
                      <a:pt x="320" y="10"/>
                    </a:lnTo>
                    <a:lnTo>
                      <a:pt x="320" y="14"/>
                    </a:lnTo>
                    <a:lnTo>
                      <a:pt x="324" y="19"/>
                    </a:lnTo>
                    <a:lnTo>
                      <a:pt x="324" y="19"/>
                    </a:lnTo>
                    <a:lnTo>
                      <a:pt x="324" y="23"/>
                    </a:lnTo>
                    <a:lnTo>
                      <a:pt x="329" y="23"/>
                    </a:lnTo>
                    <a:lnTo>
                      <a:pt x="338" y="23"/>
                    </a:lnTo>
                    <a:lnTo>
                      <a:pt x="338" y="23"/>
                    </a:lnTo>
                    <a:lnTo>
                      <a:pt x="343" y="23"/>
                    </a:lnTo>
                    <a:lnTo>
                      <a:pt x="347" y="28"/>
                    </a:lnTo>
                    <a:lnTo>
                      <a:pt x="347" y="37"/>
                    </a:lnTo>
                    <a:lnTo>
                      <a:pt x="352" y="37"/>
                    </a:lnTo>
                    <a:lnTo>
                      <a:pt x="352" y="42"/>
                    </a:lnTo>
                    <a:lnTo>
                      <a:pt x="356" y="46"/>
                    </a:lnTo>
                    <a:lnTo>
                      <a:pt x="361" y="46"/>
                    </a:lnTo>
                    <a:lnTo>
                      <a:pt x="366" y="46"/>
                    </a:lnTo>
                    <a:lnTo>
                      <a:pt x="370" y="46"/>
                    </a:lnTo>
                    <a:lnTo>
                      <a:pt x="370" y="51"/>
                    </a:lnTo>
                    <a:lnTo>
                      <a:pt x="384" y="51"/>
                    </a:lnTo>
                    <a:lnTo>
                      <a:pt x="388" y="51"/>
                    </a:lnTo>
                    <a:lnTo>
                      <a:pt x="393" y="55"/>
                    </a:lnTo>
                    <a:lnTo>
                      <a:pt x="398" y="55"/>
                    </a:lnTo>
                    <a:lnTo>
                      <a:pt x="402" y="55"/>
                    </a:lnTo>
                    <a:lnTo>
                      <a:pt x="402" y="60"/>
                    </a:lnTo>
                    <a:lnTo>
                      <a:pt x="407" y="60"/>
                    </a:lnTo>
                    <a:lnTo>
                      <a:pt x="411" y="60"/>
                    </a:lnTo>
                    <a:lnTo>
                      <a:pt x="416" y="64"/>
                    </a:lnTo>
                    <a:lnTo>
                      <a:pt x="416" y="64"/>
                    </a:lnTo>
                    <a:lnTo>
                      <a:pt x="420" y="69"/>
                    </a:lnTo>
                    <a:lnTo>
                      <a:pt x="425" y="69"/>
                    </a:lnTo>
                    <a:lnTo>
                      <a:pt x="430" y="74"/>
                    </a:lnTo>
                    <a:lnTo>
                      <a:pt x="434" y="74"/>
                    </a:lnTo>
                    <a:lnTo>
                      <a:pt x="439" y="74"/>
                    </a:lnTo>
                    <a:lnTo>
                      <a:pt x="443" y="74"/>
                    </a:lnTo>
                    <a:lnTo>
                      <a:pt x="448" y="74"/>
                    </a:lnTo>
                    <a:lnTo>
                      <a:pt x="452" y="69"/>
                    </a:lnTo>
                    <a:lnTo>
                      <a:pt x="457" y="69"/>
                    </a:lnTo>
                    <a:lnTo>
                      <a:pt x="457" y="69"/>
                    </a:lnTo>
                    <a:lnTo>
                      <a:pt x="457" y="64"/>
                    </a:lnTo>
                    <a:lnTo>
                      <a:pt x="457" y="60"/>
                    </a:lnTo>
                    <a:lnTo>
                      <a:pt x="462" y="60"/>
                    </a:lnTo>
                    <a:lnTo>
                      <a:pt x="462" y="55"/>
                    </a:lnTo>
                    <a:lnTo>
                      <a:pt x="466" y="51"/>
                    </a:lnTo>
                    <a:lnTo>
                      <a:pt x="475" y="46"/>
                    </a:lnTo>
                    <a:lnTo>
                      <a:pt x="480" y="46"/>
                    </a:lnTo>
                    <a:lnTo>
                      <a:pt x="480" y="46"/>
                    </a:lnTo>
                    <a:lnTo>
                      <a:pt x="484" y="46"/>
                    </a:lnTo>
                    <a:lnTo>
                      <a:pt x="484" y="46"/>
                    </a:lnTo>
                    <a:lnTo>
                      <a:pt x="489" y="51"/>
                    </a:lnTo>
                    <a:lnTo>
                      <a:pt x="489" y="55"/>
                    </a:lnTo>
                    <a:lnTo>
                      <a:pt x="489" y="60"/>
                    </a:lnTo>
                    <a:lnTo>
                      <a:pt x="489" y="64"/>
                    </a:lnTo>
                    <a:lnTo>
                      <a:pt x="484" y="69"/>
                    </a:lnTo>
                    <a:lnTo>
                      <a:pt x="480" y="78"/>
                    </a:lnTo>
                    <a:lnTo>
                      <a:pt x="480" y="83"/>
                    </a:lnTo>
                    <a:lnTo>
                      <a:pt x="480" y="87"/>
                    </a:lnTo>
                    <a:lnTo>
                      <a:pt x="480" y="92"/>
                    </a:lnTo>
                    <a:lnTo>
                      <a:pt x="480" y="101"/>
                    </a:lnTo>
                    <a:lnTo>
                      <a:pt x="475" y="110"/>
                    </a:lnTo>
                    <a:lnTo>
                      <a:pt x="471" y="110"/>
                    </a:lnTo>
                    <a:lnTo>
                      <a:pt x="471" y="115"/>
                    </a:lnTo>
                    <a:lnTo>
                      <a:pt x="466" y="119"/>
                    </a:lnTo>
                    <a:lnTo>
                      <a:pt x="466" y="124"/>
                    </a:lnTo>
                    <a:lnTo>
                      <a:pt x="466" y="128"/>
                    </a:lnTo>
                    <a:lnTo>
                      <a:pt x="466" y="133"/>
                    </a:lnTo>
                    <a:lnTo>
                      <a:pt x="466" y="133"/>
                    </a:lnTo>
                    <a:lnTo>
                      <a:pt x="471" y="138"/>
                    </a:lnTo>
                    <a:lnTo>
                      <a:pt x="475" y="142"/>
                    </a:lnTo>
                    <a:lnTo>
                      <a:pt x="480" y="147"/>
                    </a:lnTo>
                    <a:lnTo>
                      <a:pt x="484" y="156"/>
                    </a:lnTo>
                    <a:lnTo>
                      <a:pt x="484" y="160"/>
                    </a:lnTo>
                    <a:lnTo>
                      <a:pt x="484" y="174"/>
                    </a:lnTo>
                    <a:lnTo>
                      <a:pt x="489" y="183"/>
                    </a:lnTo>
                    <a:lnTo>
                      <a:pt x="489" y="188"/>
                    </a:lnTo>
                    <a:lnTo>
                      <a:pt x="484" y="197"/>
                    </a:lnTo>
                    <a:lnTo>
                      <a:pt x="484" y="206"/>
                    </a:lnTo>
                    <a:lnTo>
                      <a:pt x="480" y="215"/>
                    </a:lnTo>
                    <a:lnTo>
                      <a:pt x="480" y="220"/>
                    </a:lnTo>
                    <a:lnTo>
                      <a:pt x="480" y="229"/>
                    </a:lnTo>
                    <a:lnTo>
                      <a:pt x="480" y="238"/>
                    </a:lnTo>
                    <a:lnTo>
                      <a:pt x="480" y="243"/>
                    </a:lnTo>
                    <a:lnTo>
                      <a:pt x="484" y="252"/>
                    </a:lnTo>
                    <a:lnTo>
                      <a:pt x="489" y="266"/>
                    </a:lnTo>
                    <a:lnTo>
                      <a:pt x="489" y="284"/>
                    </a:lnTo>
                    <a:lnTo>
                      <a:pt x="489" y="298"/>
                    </a:lnTo>
                    <a:lnTo>
                      <a:pt x="484" y="311"/>
                    </a:lnTo>
                    <a:lnTo>
                      <a:pt x="484" y="325"/>
                    </a:lnTo>
                    <a:lnTo>
                      <a:pt x="480" y="330"/>
                    </a:lnTo>
                    <a:lnTo>
                      <a:pt x="480" y="330"/>
                    </a:lnTo>
                    <a:lnTo>
                      <a:pt x="475" y="325"/>
                    </a:lnTo>
                    <a:lnTo>
                      <a:pt x="466" y="316"/>
                    </a:lnTo>
                    <a:lnTo>
                      <a:pt x="457" y="311"/>
                    </a:lnTo>
                    <a:lnTo>
                      <a:pt x="443" y="316"/>
                    </a:lnTo>
                    <a:lnTo>
                      <a:pt x="434" y="320"/>
                    </a:lnTo>
                    <a:close/>
                  </a:path>
                </a:pathLst>
              </a:custGeom>
              <a:grpFill/>
              <a:ln w="9525" cmpd="sng">
                <a:solidFill>
                  <a:srgbClr val="FFFFFF"/>
                </a:solidFill>
                <a:miter lim="800000"/>
                <a:headEnd/>
                <a:tailEnd/>
              </a:ln>
              <a:effectLst/>
            </p:spPr>
            <p:txBody>
              <a:bodyPr rIns="731520" bIns="18288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Kebbi</a:t>
                </a:r>
              </a:p>
            </p:txBody>
          </p:sp>
          <p:sp>
            <p:nvSpPr>
              <p:cNvPr id="208" name="Freeform 28">
                <a:extLst>
                  <a:ext uri="{FF2B5EF4-FFF2-40B4-BE49-F238E27FC236}">
                    <a16:creationId xmlns:a16="http://schemas.microsoft.com/office/drawing/2014/main" id="{CC617A83-269B-4D1B-8852-4CC082614F41}"/>
                  </a:ext>
                </a:extLst>
              </p:cNvPr>
              <p:cNvSpPr>
                <a:spLocks/>
              </p:cNvSpPr>
              <p:nvPr>
                <p:custDataLst>
                  <p:tags r:id="rId25"/>
                </p:custDataLst>
              </p:nvPr>
            </p:nvSpPr>
            <p:spPr bwMode="auto">
              <a:xfrm>
                <a:off x="1519738" y="4170408"/>
                <a:ext cx="1254063" cy="1024045"/>
              </a:xfrm>
              <a:custGeom>
                <a:avLst/>
                <a:gdLst/>
                <a:ahLst/>
                <a:cxnLst>
                  <a:cxn ang="0">
                    <a:pos x="407" y="508"/>
                  </a:cxn>
                  <a:cxn ang="0">
                    <a:pos x="375" y="494"/>
                  </a:cxn>
                  <a:cxn ang="0">
                    <a:pos x="329" y="480"/>
                  </a:cxn>
                  <a:cxn ang="0">
                    <a:pos x="297" y="471"/>
                  </a:cxn>
                  <a:cxn ang="0">
                    <a:pos x="283" y="444"/>
                  </a:cxn>
                  <a:cxn ang="0">
                    <a:pos x="256" y="426"/>
                  </a:cxn>
                  <a:cxn ang="0">
                    <a:pos x="215" y="389"/>
                  </a:cxn>
                  <a:cxn ang="0">
                    <a:pos x="169" y="366"/>
                  </a:cxn>
                  <a:cxn ang="0">
                    <a:pos x="128" y="343"/>
                  </a:cxn>
                  <a:cxn ang="0">
                    <a:pos x="96" y="302"/>
                  </a:cxn>
                  <a:cxn ang="0">
                    <a:pos x="119" y="266"/>
                  </a:cxn>
                  <a:cxn ang="0">
                    <a:pos x="78" y="275"/>
                  </a:cxn>
                  <a:cxn ang="0">
                    <a:pos x="78" y="247"/>
                  </a:cxn>
                  <a:cxn ang="0">
                    <a:pos x="50" y="220"/>
                  </a:cxn>
                  <a:cxn ang="0">
                    <a:pos x="18" y="188"/>
                  </a:cxn>
                  <a:cxn ang="0">
                    <a:pos x="4" y="138"/>
                  </a:cxn>
                  <a:cxn ang="0">
                    <a:pos x="36" y="110"/>
                  </a:cxn>
                  <a:cxn ang="0">
                    <a:pos x="73" y="83"/>
                  </a:cxn>
                  <a:cxn ang="0">
                    <a:pos x="114" y="106"/>
                  </a:cxn>
                  <a:cxn ang="0">
                    <a:pos x="160" y="124"/>
                  </a:cxn>
                  <a:cxn ang="0">
                    <a:pos x="224" y="124"/>
                  </a:cxn>
                  <a:cxn ang="0">
                    <a:pos x="288" y="124"/>
                  </a:cxn>
                  <a:cxn ang="0">
                    <a:pos x="302" y="60"/>
                  </a:cxn>
                  <a:cxn ang="0">
                    <a:pos x="324" y="19"/>
                  </a:cxn>
                  <a:cxn ang="0">
                    <a:pos x="370" y="14"/>
                  </a:cxn>
                  <a:cxn ang="0">
                    <a:pos x="398" y="51"/>
                  </a:cxn>
                  <a:cxn ang="0">
                    <a:pos x="416" y="106"/>
                  </a:cxn>
                  <a:cxn ang="0">
                    <a:pos x="452" y="138"/>
                  </a:cxn>
                  <a:cxn ang="0">
                    <a:pos x="484" y="165"/>
                  </a:cxn>
                  <a:cxn ang="0">
                    <a:pos x="521" y="192"/>
                  </a:cxn>
                  <a:cxn ang="0">
                    <a:pos x="544" y="151"/>
                  </a:cxn>
                  <a:cxn ang="0">
                    <a:pos x="571" y="119"/>
                  </a:cxn>
                  <a:cxn ang="0">
                    <a:pos x="626" y="133"/>
                  </a:cxn>
                  <a:cxn ang="0">
                    <a:pos x="631" y="211"/>
                  </a:cxn>
                  <a:cxn ang="0">
                    <a:pos x="626" y="256"/>
                  </a:cxn>
                  <a:cxn ang="0">
                    <a:pos x="612" y="316"/>
                  </a:cxn>
                  <a:cxn ang="0">
                    <a:pos x="654" y="302"/>
                  </a:cxn>
                  <a:cxn ang="0">
                    <a:pos x="699" y="284"/>
                  </a:cxn>
                  <a:cxn ang="0">
                    <a:pos x="777" y="266"/>
                  </a:cxn>
                  <a:cxn ang="0">
                    <a:pos x="864" y="261"/>
                  </a:cxn>
                  <a:cxn ang="0">
                    <a:pos x="878" y="334"/>
                  </a:cxn>
                  <a:cxn ang="0">
                    <a:pos x="905" y="389"/>
                  </a:cxn>
                  <a:cxn ang="0">
                    <a:pos x="928" y="503"/>
                  </a:cxn>
                  <a:cxn ang="0">
                    <a:pos x="928" y="544"/>
                  </a:cxn>
                  <a:cxn ang="0">
                    <a:pos x="914" y="586"/>
                  </a:cxn>
                  <a:cxn ang="0">
                    <a:pos x="868" y="599"/>
                  </a:cxn>
                  <a:cxn ang="0">
                    <a:pos x="846" y="654"/>
                  </a:cxn>
                  <a:cxn ang="0">
                    <a:pos x="782" y="613"/>
                  </a:cxn>
                  <a:cxn ang="0">
                    <a:pos x="745" y="645"/>
                  </a:cxn>
                  <a:cxn ang="0">
                    <a:pos x="699" y="695"/>
                  </a:cxn>
                  <a:cxn ang="0">
                    <a:pos x="654" y="732"/>
                  </a:cxn>
                  <a:cxn ang="0">
                    <a:pos x="608" y="709"/>
                  </a:cxn>
                  <a:cxn ang="0">
                    <a:pos x="580" y="764"/>
                  </a:cxn>
                  <a:cxn ang="0">
                    <a:pos x="553" y="823"/>
                  </a:cxn>
                  <a:cxn ang="0">
                    <a:pos x="498" y="805"/>
                  </a:cxn>
                  <a:cxn ang="0">
                    <a:pos x="489" y="727"/>
                  </a:cxn>
                  <a:cxn ang="0">
                    <a:pos x="507" y="668"/>
                  </a:cxn>
                  <a:cxn ang="0">
                    <a:pos x="521" y="608"/>
                  </a:cxn>
                  <a:cxn ang="0">
                    <a:pos x="512" y="563"/>
                  </a:cxn>
                  <a:cxn ang="0">
                    <a:pos x="462" y="544"/>
                  </a:cxn>
                </a:cxnLst>
                <a:rect l="0" t="0" r="r" b="b"/>
                <a:pathLst>
                  <a:path w="942" h="828">
                    <a:moveTo>
                      <a:pt x="430" y="526"/>
                    </a:moveTo>
                    <a:lnTo>
                      <a:pt x="430" y="522"/>
                    </a:lnTo>
                    <a:lnTo>
                      <a:pt x="425" y="522"/>
                    </a:lnTo>
                    <a:lnTo>
                      <a:pt x="425" y="517"/>
                    </a:lnTo>
                    <a:lnTo>
                      <a:pt x="420" y="522"/>
                    </a:lnTo>
                    <a:lnTo>
                      <a:pt x="416" y="522"/>
                    </a:lnTo>
                    <a:lnTo>
                      <a:pt x="411" y="522"/>
                    </a:lnTo>
                    <a:lnTo>
                      <a:pt x="411" y="522"/>
                    </a:lnTo>
                    <a:lnTo>
                      <a:pt x="407" y="522"/>
                    </a:lnTo>
                    <a:lnTo>
                      <a:pt x="407" y="517"/>
                    </a:lnTo>
                    <a:lnTo>
                      <a:pt x="407" y="512"/>
                    </a:lnTo>
                    <a:lnTo>
                      <a:pt x="407" y="508"/>
                    </a:lnTo>
                    <a:lnTo>
                      <a:pt x="407" y="503"/>
                    </a:lnTo>
                    <a:lnTo>
                      <a:pt x="402" y="503"/>
                    </a:lnTo>
                    <a:lnTo>
                      <a:pt x="402" y="499"/>
                    </a:lnTo>
                    <a:lnTo>
                      <a:pt x="398" y="499"/>
                    </a:lnTo>
                    <a:lnTo>
                      <a:pt x="393" y="503"/>
                    </a:lnTo>
                    <a:lnTo>
                      <a:pt x="388" y="503"/>
                    </a:lnTo>
                    <a:lnTo>
                      <a:pt x="388" y="503"/>
                    </a:lnTo>
                    <a:lnTo>
                      <a:pt x="384" y="499"/>
                    </a:lnTo>
                    <a:lnTo>
                      <a:pt x="379" y="499"/>
                    </a:lnTo>
                    <a:lnTo>
                      <a:pt x="379" y="499"/>
                    </a:lnTo>
                    <a:lnTo>
                      <a:pt x="375" y="499"/>
                    </a:lnTo>
                    <a:lnTo>
                      <a:pt x="375" y="494"/>
                    </a:lnTo>
                    <a:lnTo>
                      <a:pt x="370" y="490"/>
                    </a:lnTo>
                    <a:lnTo>
                      <a:pt x="370" y="485"/>
                    </a:lnTo>
                    <a:lnTo>
                      <a:pt x="370" y="485"/>
                    </a:lnTo>
                    <a:lnTo>
                      <a:pt x="370" y="480"/>
                    </a:lnTo>
                    <a:lnTo>
                      <a:pt x="366" y="480"/>
                    </a:lnTo>
                    <a:lnTo>
                      <a:pt x="361" y="476"/>
                    </a:lnTo>
                    <a:lnTo>
                      <a:pt x="352" y="476"/>
                    </a:lnTo>
                    <a:lnTo>
                      <a:pt x="347" y="476"/>
                    </a:lnTo>
                    <a:lnTo>
                      <a:pt x="343" y="476"/>
                    </a:lnTo>
                    <a:lnTo>
                      <a:pt x="338" y="476"/>
                    </a:lnTo>
                    <a:lnTo>
                      <a:pt x="334" y="480"/>
                    </a:lnTo>
                    <a:lnTo>
                      <a:pt x="329" y="480"/>
                    </a:lnTo>
                    <a:lnTo>
                      <a:pt x="324" y="480"/>
                    </a:lnTo>
                    <a:lnTo>
                      <a:pt x="324" y="485"/>
                    </a:lnTo>
                    <a:lnTo>
                      <a:pt x="324" y="485"/>
                    </a:lnTo>
                    <a:lnTo>
                      <a:pt x="320" y="485"/>
                    </a:lnTo>
                    <a:lnTo>
                      <a:pt x="311" y="485"/>
                    </a:lnTo>
                    <a:lnTo>
                      <a:pt x="306" y="485"/>
                    </a:lnTo>
                    <a:lnTo>
                      <a:pt x="302" y="485"/>
                    </a:lnTo>
                    <a:lnTo>
                      <a:pt x="302" y="485"/>
                    </a:lnTo>
                    <a:lnTo>
                      <a:pt x="297" y="480"/>
                    </a:lnTo>
                    <a:lnTo>
                      <a:pt x="297" y="476"/>
                    </a:lnTo>
                    <a:lnTo>
                      <a:pt x="297" y="476"/>
                    </a:lnTo>
                    <a:lnTo>
                      <a:pt x="297" y="471"/>
                    </a:lnTo>
                    <a:lnTo>
                      <a:pt x="297" y="462"/>
                    </a:lnTo>
                    <a:lnTo>
                      <a:pt x="302" y="462"/>
                    </a:lnTo>
                    <a:lnTo>
                      <a:pt x="302" y="458"/>
                    </a:lnTo>
                    <a:lnTo>
                      <a:pt x="302" y="453"/>
                    </a:lnTo>
                    <a:lnTo>
                      <a:pt x="302" y="453"/>
                    </a:lnTo>
                    <a:lnTo>
                      <a:pt x="306" y="448"/>
                    </a:lnTo>
                    <a:lnTo>
                      <a:pt x="302" y="448"/>
                    </a:lnTo>
                    <a:lnTo>
                      <a:pt x="302" y="444"/>
                    </a:lnTo>
                    <a:lnTo>
                      <a:pt x="292" y="448"/>
                    </a:lnTo>
                    <a:lnTo>
                      <a:pt x="288" y="448"/>
                    </a:lnTo>
                    <a:lnTo>
                      <a:pt x="288" y="444"/>
                    </a:lnTo>
                    <a:lnTo>
                      <a:pt x="283" y="444"/>
                    </a:lnTo>
                    <a:lnTo>
                      <a:pt x="283" y="439"/>
                    </a:lnTo>
                    <a:lnTo>
                      <a:pt x="283" y="435"/>
                    </a:lnTo>
                    <a:lnTo>
                      <a:pt x="283" y="435"/>
                    </a:lnTo>
                    <a:lnTo>
                      <a:pt x="279" y="435"/>
                    </a:lnTo>
                    <a:lnTo>
                      <a:pt x="279" y="430"/>
                    </a:lnTo>
                    <a:lnTo>
                      <a:pt x="279" y="430"/>
                    </a:lnTo>
                    <a:lnTo>
                      <a:pt x="279" y="435"/>
                    </a:lnTo>
                    <a:lnTo>
                      <a:pt x="274" y="435"/>
                    </a:lnTo>
                    <a:lnTo>
                      <a:pt x="270" y="435"/>
                    </a:lnTo>
                    <a:lnTo>
                      <a:pt x="260" y="435"/>
                    </a:lnTo>
                    <a:lnTo>
                      <a:pt x="256" y="430"/>
                    </a:lnTo>
                    <a:lnTo>
                      <a:pt x="256" y="426"/>
                    </a:lnTo>
                    <a:lnTo>
                      <a:pt x="251" y="426"/>
                    </a:lnTo>
                    <a:lnTo>
                      <a:pt x="247" y="421"/>
                    </a:lnTo>
                    <a:lnTo>
                      <a:pt x="238" y="416"/>
                    </a:lnTo>
                    <a:lnTo>
                      <a:pt x="238" y="412"/>
                    </a:lnTo>
                    <a:lnTo>
                      <a:pt x="238" y="412"/>
                    </a:lnTo>
                    <a:lnTo>
                      <a:pt x="233" y="412"/>
                    </a:lnTo>
                    <a:lnTo>
                      <a:pt x="233" y="407"/>
                    </a:lnTo>
                    <a:lnTo>
                      <a:pt x="228" y="403"/>
                    </a:lnTo>
                    <a:lnTo>
                      <a:pt x="224" y="398"/>
                    </a:lnTo>
                    <a:lnTo>
                      <a:pt x="224" y="394"/>
                    </a:lnTo>
                    <a:lnTo>
                      <a:pt x="219" y="389"/>
                    </a:lnTo>
                    <a:lnTo>
                      <a:pt x="215" y="389"/>
                    </a:lnTo>
                    <a:lnTo>
                      <a:pt x="215" y="384"/>
                    </a:lnTo>
                    <a:lnTo>
                      <a:pt x="219" y="371"/>
                    </a:lnTo>
                    <a:lnTo>
                      <a:pt x="219" y="366"/>
                    </a:lnTo>
                    <a:lnTo>
                      <a:pt x="224" y="366"/>
                    </a:lnTo>
                    <a:lnTo>
                      <a:pt x="219" y="362"/>
                    </a:lnTo>
                    <a:lnTo>
                      <a:pt x="219" y="357"/>
                    </a:lnTo>
                    <a:lnTo>
                      <a:pt x="215" y="357"/>
                    </a:lnTo>
                    <a:lnTo>
                      <a:pt x="210" y="362"/>
                    </a:lnTo>
                    <a:lnTo>
                      <a:pt x="192" y="362"/>
                    </a:lnTo>
                    <a:lnTo>
                      <a:pt x="183" y="366"/>
                    </a:lnTo>
                    <a:lnTo>
                      <a:pt x="174" y="366"/>
                    </a:lnTo>
                    <a:lnTo>
                      <a:pt x="169" y="366"/>
                    </a:lnTo>
                    <a:lnTo>
                      <a:pt x="169" y="362"/>
                    </a:lnTo>
                    <a:lnTo>
                      <a:pt x="164" y="362"/>
                    </a:lnTo>
                    <a:lnTo>
                      <a:pt x="160" y="357"/>
                    </a:lnTo>
                    <a:lnTo>
                      <a:pt x="155" y="357"/>
                    </a:lnTo>
                    <a:lnTo>
                      <a:pt x="155" y="352"/>
                    </a:lnTo>
                    <a:lnTo>
                      <a:pt x="151" y="352"/>
                    </a:lnTo>
                    <a:lnTo>
                      <a:pt x="151" y="352"/>
                    </a:lnTo>
                    <a:lnTo>
                      <a:pt x="146" y="352"/>
                    </a:lnTo>
                    <a:lnTo>
                      <a:pt x="137" y="348"/>
                    </a:lnTo>
                    <a:lnTo>
                      <a:pt x="132" y="348"/>
                    </a:lnTo>
                    <a:lnTo>
                      <a:pt x="128" y="343"/>
                    </a:lnTo>
                    <a:lnTo>
                      <a:pt x="128" y="343"/>
                    </a:lnTo>
                    <a:lnTo>
                      <a:pt x="128" y="343"/>
                    </a:lnTo>
                    <a:lnTo>
                      <a:pt x="123" y="343"/>
                    </a:lnTo>
                    <a:lnTo>
                      <a:pt x="110" y="339"/>
                    </a:lnTo>
                    <a:lnTo>
                      <a:pt x="105" y="334"/>
                    </a:lnTo>
                    <a:lnTo>
                      <a:pt x="105" y="334"/>
                    </a:lnTo>
                    <a:lnTo>
                      <a:pt x="105" y="330"/>
                    </a:lnTo>
                    <a:lnTo>
                      <a:pt x="100" y="325"/>
                    </a:lnTo>
                    <a:lnTo>
                      <a:pt x="96" y="320"/>
                    </a:lnTo>
                    <a:lnTo>
                      <a:pt x="96" y="316"/>
                    </a:lnTo>
                    <a:lnTo>
                      <a:pt x="96" y="311"/>
                    </a:lnTo>
                    <a:lnTo>
                      <a:pt x="96" y="307"/>
                    </a:lnTo>
                    <a:lnTo>
                      <a:pt x="96" y="302"/>
                    </a:lnTo>
                    <a:lnTo>
                      <a:pt x="96" y="298"/>
                    </a:lnTo>
                    <a:lnTo>
                      <a:pt x="100" y="298"/>
                    </a:lnTo>
                    <a:lnTo>
                      <a:pt x="100" y="293"/>
                    </a:lnTo>
                    <a:lnTo>
                      <a:pt x="105" y="288"/>
                    </a:lnTo>
                    <a:lnTo>
                      <a:pt x="105" y="288"/>
                    </a:lnTo>
                    <a:lnTo>
                      <a:pt x="105" y="284"/>
                    </a:lnTo>
                    <a:lnTo>
                      <a:pt x="110" y="284"/>
                    </a:lnTo>
                    <a:lnTo>
                      <a:pt x="119" y="279"/>
                    </a:lnTo>
                    <a:lnTo>
                      <a:pt x="119" y="279"/>
                    </a:lnTo>
                    <a:lnTo>
                      <a:pt x="123" y="270"/>
                    </a:lnTo>
                    <a:lnTo>
                      <a:pt x="119" y="270"/>
                    </a:lnTo>
                    <a:lnTo>
                      <a:pt x="119" y="266"/>
                    </a:lnTo>
                    <a:lnTo>
                      <a:pt x="114" y="266"/>
                    </a:lnTo>
                    <a:lnTo>
                      <a:pt x="110" y="261"/>
                    </a:lnTo>
                    <a:lnTo>
                      <a:pt x="105" y="261"/>
                    </a:lnTo>
                    <a:lnTo>
                      <a:pt x="105" y="261"/>
                    </a:lnTo>
                    <a:lnTo>
                      <a:pt x="100" y="266"/>
                    </a:lnTo>
                    <a:lnTo>
                      <a:pt x="96" y="266"/>
                    </a:lnTo>
                    <a:lnTo>
                      <a:pt x="87" y="266"/>
                    </a:lnTo>
                    <a:lnTo>
                      <a:pt x="87" y="270"/>
                    </a:lnTo>
                    <a:lnTo>
                      <a:pt x="82" y="270"/>
                    </a:lnTo>
                    <a:lnTo>
                      <a:pt x="82" y="270"/>
                    </a:lnTo>
                    <a:lnTo>
                      <a:pt x="82" y="275"/>
                    </a:lnTo>
                    <a:lnTo>
                      <a:pt x="78" y="275"/>
                    </a:lnTo>
                    <a:lnTo>
                      <a:pt x="73" y="275"/>
                    </a:lnTo>
                    <a:lnTo>
                      <a:pt x="73" y="279"/>
                    </a:lnTo>
                    <a:lnTo>
                      <a:pt x="68" y="279"/>
                    </a:lnTo>
                    <a:lnTo>
                      <a:pt x="64" y="279"/>
                    </a:lnTo>
                    <a:lnTo>
                      <a:pt x="64" y="270"/>
                    </a:lnTo>
                    <a:lnTo>
                      <a:pt x="64" y="266"/>
                    </a:lnTo>
                    <a:lnTo>
                      <a:pt x="68" y="261"/>
                    </a:lnTo>
                    <a:lnTo>
                      <a:pt x="73" y="256"/>
                    </a:lnTo>
                    <a:lnTo>
                      <a:pt x="73" y="256"/>
                    </a:lnTo>
                    <a:lnTo>
                      <a:pt x="78" y="256"/>
                    </a:lnTo>
                    <a:lnTo>
                      <a:pt x="78" y="252"/>
                    </a:lnTo>
                    <a:lnTo>
                      <a:pt x="78" y="247"/>
                    </a:lnTo>
                    <a:lnTo>
                      <a:pt x="82" y="243"/>
                    </a:lnTo>
                    <a:lnTo>
                      <a:pt x="82" y="234"/>
                    </a:lnTo>
                    <a:lnTo>
                      <a:pt x="82" y="229"/>
                    </a:lnTo>
                    <a:lnTo>
                      <a:pt x="82" y="224"/>
                    </a:lnTo>
                    <a:lnTo>
                      <a:pt x="82" y="220"/>
                    </a:lnTo>
                    <a:lnTo>
                      <a:pt x="78" y="215"/>
                    </a:lnTo>
                    <a:lnTo>
                      <a:pt x="73" y="215"/>
                    </a:lnTo>
                    <a:lnTo>
                      <a:pt x="68" y="215"/>
                    </a:lnTo>
                    <a:lnTo>
                      <a:pt x="59" y="220"/>
                    </a:lnTo>
                    <a:lnTo>
                      <a:pt x="59" y="220"/>
                    </a:lnTo>
                    <a:lnTo>
                      <a:pt x="55" y="220"/>
                    </a:lnTo>
                    <a:lnTo>
                      <a:pt x="50" y="220"/>
                    </a:lnTo>
                    <a:lnTo>
                      <a:pt x="46" y="220"/>
                    </a:lnTo>
                    <a:lnTo>
                      <a:pt x="46" y="215"/>
                    </a:lnTo>
                    <a:lnTo>
                      <a:pt x="41" y="215"/>
                    </a:lnTo>
                    <a:lnTo>
                      <a:pt x="41" y="211"/>
                    </a:lnTo>
                    <a:lnTo>
                      <a:pt x="41" y="202"/>
                    </a:lnTo>
                    <a:lnTo>
                      <a:pt x="41" y="197"/>
                    </a:lnTo>
                    <a:lnTo>
                      <a:pt x="41" y="192"/>
                    </a:lnTo>
                    <a:lnTo>
                      <a:pt x="36" y="192"/>
                    </a:lnTo>
                    <a:lnTo>
                      <a:pt x="36" y="188"/>
                    </a:lnTo>
                    <a:lnTo>
                      <a:pt x="32" y="188"/>
                    </a:lnTo>
                    <a:lnTo>
                      <a:pt x="18" y="188"/>
                    </a:lnTo>
                    <a:lnTo>
                      <a:pt x="18" y="188"/>
                    </a:lnTo>
                    <a:lnTo>
                      <a:pt x="14" y="183"/>
                    </a:lnTo>
                    <a:lnTo>
                      <a:pt x="14" y="179"/>
                    </a:lnTo>
                    <a:lnTo>
                      <a:pt x="9" y="174"/>
                    </a:lnTo>
                    <a:lnTo>
                      <a:pt x="9" y="170"/>
                    </a:lnTo>
                    <a:lnTo>
                      <a:pt x="4" y="170"/>
                    </a:lnTo>
                    <a:lnTo>
                      <a:pt x="4" y="165"/>
                    </a:lnTo>
                    <a:lnTo>
                      <a:pt x="0" y="151"/>
                    </a:lnTo>
                    <a:lnTo>
                      <a:pt x="0" y="147"/>
                    </a:lnTo>
                    <a:lnTo>
                      <a:pt x="0" y="147"/>
                    </a:lnTo>
                    <a:lnTo>
                      <a:pt x="4" y="147"/>
                    </a:lnTo>
                    <a:lnTo>
                      <a:pt x="4" y="142"/>
                    </a:lnTo>
                    <a:lnTo>
                      <a:pt x="4" y="138"/>
                    </a:lnTo>
                    <a:lnTo>
                      <a:pt x="9" y="138"/>
                    </a:lnTo>
                    <a:lnTo>
                      <a:pt x="14" y="133"/>
                    </a:lnTo>
                    <a:lnTo>
                      <a:pt x="18" y="133"/>
                    </a:lnTo>
                    <a:lnTo>
                      <a:pt x="18" y="128"/>
                    </a:lnTo>
                    <a:lnTo>
                      <a:pt x="18" y="128"/>
                    </a:lnTo>
                    <a:lnTo>
                      <a:pt x="18" y="124"/>
                    </a:lnTo>
                    <a:lnTo>
                      <a:pt x="23" y="124"/>
                    </a:lnTo>
                    <a:lnTo>
                      <a:pt x="23" y="124"/>
                    </a:lnTo>
                    <a:lnTo>
                      <a:pt x="27" y="124"/>
                    </a:lnTo>
                    <a:lnTo>
                      <a:pt x="32" y="119"/>
                    </a:lnTo>
                    <a:lnTo>
                      <a:pt x="36" y="115"/>
                    </a:lnTo>
                    <a:lnTo>
                      <a:pt x="36" y="110"/>
                    </a:lnTo>
                    <a:lnTo>
                      <a:pt x="41" y="110"/>
                    </a:lnTo>
                    <a:lnTo>
                      <a:pt x="41" y="106"/>
                    </a:lnTo>
                    <a:lnTo>
                      <a:pt x="41" y="106"/>
                    </a:lnTo>
                    <a:lnTo>
                      <a:pt x="46" y="96"/>
                    </a:lnTo>
                    <a:lnTo>
                      <a:pt x="46" y="92"/>
                    </a:lnTo>
                    <a:lnTo>
                      <a:pt x="50" y="92"/>
                    </a:lnTo>
                    <a:lnTo>
                      <a:pt x="55" y="87"/>
                    </a:lnTo>
                    <a:lnTo>
                      <a:pt x="59" y="83"/>
                    </a:lnTo>
                    <a:lnTo>
                      <a:pt x="59" y="83"/>
                    </a:lnTo>
                    <a:lnTo>
                      <a:pt x="64" y="83"/>
                    </a:lnTo>
                    <a:lnTo>
                      <a:pt x="68" y="83"/>
                    </a:lnTo>
                    <a:lnTo>
                      <a:pt x="73" y="83"/>
                    </a:lnTo>
                    <a:lnTo>
                      <a:pt x="78" y="83"/>
                    </a:lnTo>
                    <a:lnTo>
                      <a:pt x="82" y="83"/>
                    </a:lnTo>
                    <a:lnTo>
                      <a:pt x="82" y="83"/>
                    </a:lnTo>
                    <a:lnTo>
                      <a:pt x="87" y="83"/>
                    </a:lnTo>
                    <a:lnTo>
                      <a:pt x="87" y="87"/>
                    </a:lnTo>
                    <a:lnTo>
                      <a:pt x="91" y="87"/>
                    </a:lnTo>
                    <a:lnTo>
                      <a:pt x="96" y="92"/>
                    </a:lnTo>
                    <a:lnTo>
                      <a:pt x="100" y="96"/>
                    </a:lnTo>
                    <a:lnTo>
                      <a:pt x="105" y="101"/>
                    </a:lnTo>
                    <a:lnTo>
                      <a:pt x="105" y="101"/>
                    </a:lnTo>
                    <a:lnTo>
                      <a:pt x="110" y="106"/>
                    </a:lnTo>
                    <a:lnTo>
                      <a:pt x="114" y="106"/>
                    </a:lnTo>
                    <a:lnTo>
                      <a:pt x="119" y="106"/>
                    </a:lnTo>
                    <a:lnTo>
                      <a:pt x="119" y="110"/>
                    </a:lnTo>
                    <a:lnTo>
                      <a:pt x="123" y="110"/>
                    </a:lnTo>
                    <a:lnTo>
                      <a:pt x="128" y="115"/>
                    </a:lnTo>
                    <a:lnTo>
                      <a:pt x="132" y="119"/>
                    </a:lnTo>
                    <a:lnTo>
                      <a:pt x="137" y="119"/>
                    </a:lnTo>
                    <a:lnTo>
                      <a:pt x="142" y="119"/>
                    </a:lnTo>
                    <a:lnTo>
                      <a:pt x="146" y="119"/>
                    </a:lnTo>
                    <a:lnTo>
                      <a:pt x="146" y="124"/>
                    </a:lnTo>
                    <a:lnTo>
                      <a:pt x="151" y="124"/>
                    </a:lnTo>
                    <a:lnTo>
                      <a:pt x="155" y="124"/>
                    </a:lnTo>
                    <a:lnTo>
                      <a:pt x="160" y="124"/>
                    </a:lnTo>
                    <a:lnTo>
                      <a:pt x="174" y="124"/>
                    </a:lnTo>
                    <a:lnTo>
                      <a:pt x="178" y="124"/>
                    </a:lnTo>
                    <a:lnTo>
                      <a:pt x="183" y="124"/>
                    </a:lnTo>
                    <a:lnTo>
                      <a:pt x="187" y="124"/>
                    </a:lnTo>
                    <a:lnTo>
                      <a:pt x="192" y="124"/>
                    </a:lnTo>
                    <a:lnTo>
                      <a:pt x="192" y="124"/>
                    </a:lnTo>
                    <a:lnTo>
                      <a:pt x="192" y="128"/>
                    </a:lnTo>
                    <a:lnTo>
                      <a:pt x="196" y="128"/>
                    </a:lnTo>
                    <a:lnTo>
                      <a:pt x="201" y="128"/>
                    </a:lnTo>
                    <a:lnTo>
                      <a:pt x="206" y="124"/>
                    </a:lnTo>
                    <a:lnTo>
                      <a:pt x="215" y="124"/>
                    </a:lnTo>
                    <a:lnTo>
                      <a:pt x="224" y="124"/>
                    </a:lnTo>
                    <a:lnTo>
                      <a:pt x="228" y="124"/>
                    </a:lnTo>
                    <a:lnTo>
                      <a:pt x="233" y="124"/>
                    </a:lnTo>
                    <a:lnTo>
                      <a:pt x="247" y="124"/>
                    </a:lnTo>
                    <a:lnTo>
                      <a:pt x="256" y="124"/>
                    </a:lnTo>
                    <a:lnTo>
                      <a:pt x="260" y="128"/>
                    </a:lnTo>
                    <a:lnTo>
                      <a:pt x="260" y="128"/>
                    </a:lnTo>
                    <a:lnTo>
                      <a:pt x="265" y="128"/>
                    </a:lnTo>
                    <a:lnTo>
                      <a:pt x="274" y="128"/>
                    </a:lnTo>
                    <a:lnTo>
                      <a:pt x="279" y="128"/>
                    </a:lnTo>
                    <a:lnTo>
                      <a:pt x="283" y="128"/>
                    </a:lnTo>
                    <a:lnTo>
                      <a:pt x="288" y="128"/>
                    </a:lnTo>
                    <a:lnTo>
                      <a:pt x="288" y="124"/>
                    </a:lnTo>
                    <a:lnTo>
                      <a:pt x="288" y="124"/>
                    </a:lnTo>
                    <a:lnTo>
                      <a:pt x="292" y="124"/>
                    </a:lnTo>
                    <a:lnTo>
                      <a:pt x="292" y="110"/>
                    </a:lnTo>
                    <a:lnTo>
                      <a:pt x="292" y="106"/>
                    </a:lnTo>
                    <a:lnTo>
                      <a:pt x="292" y="96"/>
                    </a:lnTo>
                    <a:lnTo>
                      <a:pt x="297" y="92"/>
                    </a:lnTo>
                    <a:lnTo>
                      <a:pt x="297" y="87"/>
                    </a:lnTo>
                    <a:lnTo>
                      <a:pt x="297" y="83"/>
                    </a:lnTo>
                    <a:lnTo>
                      <a:pt x="297" y="74"/>
                    </a:lnTo>
                    <a:lnTo>
                      <a:pt x="297" y="69"/>
                    </a:lnTo>
                    <a:lnTo>
                      <a:pt x="302" y="64"/>
                    </a:lnTo>
                    <a:lnTo>
                      <a:pt x="302" y="60"/>
                    </a:lnTo>
                    <a:lnTo>
                      <a:pt x="302" y="60"/>
                    </a:lnTo>
                    <a:lnTo>
                      <a:pt x="302" y="60"/>
                    </a:lnTo>
                    <a:lnTo>
                      <a:pt x="302" y="55"/>
                    </a:lnTo>
                    <a:lnTo>
                      <a:pt x="306" y="51"/>
                    </a:lnTo>
                    <a:lnTo>
                      <a:pt x="306" y="46"/>
                    </a:lnTo>
                    <a:lnTo>
                      <a:pt x="311" y="46"/>
                    </a:lnTo>
                    <a:lnTo>
                      <a:pt x="311" y="42"/>
                    </a:lnTo>
                    <a:lnTo>
                      <a:pt x="315" y="37"/>
                    </a:lnTo>
                    <a:lnTo>
                      <a:pt x="315" y="37"/>
                    </a:lnTo>
                    <a:lnTo>
                      <a:pt x="320" y="32"/>
                    </a:lnTo>
                    <a:lnTo>
                      <a:pt x="320" y="23"/>
                    </a:lnTo>
                    <a:lnTo>
                      <a:pt x="324" y="19"/>
                    </a:lnTo>
                    <a:lnTo>
                      <a:pt x="324" y="14"/>
                    </a:lnTo>
                    <a:lnTo>
                      <a:pt x="324" y="14"/>
                    </a:lnTo>
                    <a:lnTo>
                      <a:pt x="324" y="10"/>
                    </a:lnTo>
                    <a:lnTo>
                      <a:pt x="338" y="5"/>
                    </a:lnTo>
                    <a:lnTo>
                      <a:pt x="343" y="0"/>
                    </a:lnTo>
                    <a:lnTo>
                      <a:pt x="347" y="0"/>
                    </a:lnTo>
                    <a:lnTo>
                      <a:pt x="347" y="5"/>
                    </a:lnTo>
                    <a:lnTo>
                      <a:pt x="352" y="5"/>
                    </a:lnTo>
                    <a:lnTo>
                      <a:pt x="356" y="5"/>
                    </a:lnTo>
                    <a:lnTo>
                      <a:pt x="366" y="10"/>
                    </a:lnTo>
                    <a:lnTo>
                      <a:pt x="370" y="10"/>
                    </a:lnTo>
                    <a:lnTo>
                      <a:pt x="370" y="14"/>
                    </a:lnTo>
                    <a:lnTo>
                      <a:pt x="375" y="14"/>
                    </a:lnTo>
                    <a:lnTo>
                      <a:pt x="375" y="14"/>
                    </a:lnTo>
                    <a:lnTo>
                      <a:pt x="379" y="19"/>
                    </a:lnTo>
                    <a:lnTo>
                      <a:pt x="384" y="19"/>
                    </a:lnTo>
                    <a:lnTo>
                      <a:pt x="388" y="23"/>
                    </a:lnTo>
                    <a:lnTo>
                      <a:pt x="388" y="28"/>
                    </a:lnTo>
                    <a:lnTo>
                      <a:pt x="388" y="32"/>
                    </a:lnTo>
                    <a:lnTo>
                      <a:pt x="393" y="37"/>
                    </a:lnTo>
                    <a:lnTo>
                      <a:pt x="393" y="37"/>
                    </a:lnTo>
                    <a:lnTo>
                      <a:pt x="393" y="42"/>
                    </a:lnTo>
                    <a:lnTo>
                      <a:pt x="398" y="46"/>
                    </a:lnTo>
                    <a:lnTo>
                      <a:pt x="398" y="51"/>
                    </a:lnTo>
                    <a:lnTo>
                      <a:pt x="402" y="55"/>
                    </a:lnTo>
                    <a:lnTo>
                      <a:pt x="407" y="60"/>
                    </a:lnTo>
                    <a:lnTo>
                      <a:pt x="407" y="60"/>
                    </a:lnTo>
                    <a:lnTo>
                      <a:pt x="407" y="69"/>
                    </a:lnTo>
                    <a:lnTo>
                      <a:pt x="407" y="74"/>
                    </a:lnTo>
                    <a:lnTo>
                      <a:pt x="411" y="74"/>
                    </a:lnTo>
                    <a:lnTo>
                      <a:pt x="411" y="83"/>
                    </a:lnTo>
                    <a:lnTo>
                      <a:pt x="411" y="83"/>
                    </a:lnTo>
                    <a:lnTo>
                      <a:pt x="411" y="87"/>
                    </a:lnTo>
                    <a:lnTo>
                      <a:pt x="411" y="92"/>
                    </a:lnTo>
                    <a:lnTo>
                      <a:pt x="416" y="106"/>
                    </a:lnTo>
                    <a:lnTo>
                      <a:pt x="416" y="106"/>
                    </a:lnTo>
                    <a:lnTo>
                      <a:pt x="420" y="110"/>
                    </a:lnTo>
                    <a:lnTo>
                      <a:pt x="420" y="115"/>
                    </a:lnTo>
                    <a:lnTo>
                      <a:pt x="425" y="115"/>
                    </a:lnTo>
                    <a:lnTo>
                      <a:pt x="430" y="119"/>
                    </a:lnTo>
                    <a:lnTo>
                      <a:pt x="434" y="124"/>
                    </a:lnTo>
                    <a:lnTo>
                      <a:pt x="434" y="124"/>
                    </a:lnTo>
                    <a:lnTo>
                      <a:pt x="434" y="124"/>
                    </a:lnTo>
                    <a:lnTo>
                      <a:pt x="439" y="124"/>
                    </a:lnTo>
                    <a:lnTo>
                      <a:pt x="439" y="128"/>
                    </a:lnTo>
                    <a:lnTo>
                      <a:pt x="448" y="133"/>
                    </a:lnTo>
                    <a:lnTo>
                      <a:pt x="448" y="138"/>
                    </a:lnTo>
                    <a:lnTo>
                      <a:pt x="452" y="138"/>
                    </a:lnTo>
                    <a:lnTo>
                      <a:pt x="452" y="142"/>
                    </a:lnTo>
                    <a:lnTo>
                      <a:pt x="457" y="142"/>
                    </a:lnTo>
                    <a:lnTo>
                      <a:pt x="462" y="147"/>
                    </a:lnTo>
                    <a:lnTo>
                      <a:pt x="462" y="147"/>
                    </a:lnTo>
                    <a:lnTo>
                      <a:pt x="466" y="147"/>
                    </a:lnTo>
                    <a:lnTo>
                      <a:pt x="471" y="147"/>
                    </a:lnTo>
                    <a:lnTo>
                      <a:pt x="471" y="151"/>
                    </a:lnTo>
                    <a:lnTo>
                      <a:pt x="475" y="151"/>
                    </a:lnTo>
                    <a:lnTo>
                      <a:pt x="480" y="156"/>
                    </a:lnTo>
                    <a:lnTo>
                      <a:pt x="480" y="156"/>
                    </a:lnTo>
                    <a:lnTo>
                      <a:pt x="480" y="160"/>
                    </a:lnTo>
                    <a:lnTo>
                      <a:pt x="484" y="165"/>
                    </a:lnTo>
                    <a:lnTo>
                      <a:pt x="489" y="170"/>
                    </a:lnTo>
                    <a:lnTo>
                      <a:pt x="494" y="170"/>
                    </a:lnTo>
                    <a:lnTo>
                      <a:pt x="498" y="174"/>
                    </a:lnTo>
                    <a:lnTo>
                      <a:pt x="498" y="179"/>
                    </a:lnTo>
                    <a:lnTo>
                      <a:pt x="498" y="179"/>
                    </a:lnTo>
                    <a:lnTo>
                      <a:pt x="498" y="183"/>
                    </a:lnTo>
                    <a:lnTo>
                      <a:pt x="498" y="188"/>
                    </a:lnTo>
                    <a:lnTo>
                      <a:pt x="503" y="188"/>
                    </a:lnTo>
                    <a:lnTo>
                      <a:pt x="507" y="192"/>
                    </a:lnTo>
                    <a:lnTo>
                      <a:pt x="512" y="192"/>
                    </a:lnTo>
                    <a:lnTo>
                      <a:pt x="516" y="197"/>
                    </a:lnTo>
                    <a:lnTo>
                      <a:pt x="521" y="192"/>
                    </a:lnTo>
                    <a:lnTo>
                      <a:pt x="521" y="192"/>
                    </a:lnTo>
                    <a:lnTo>
                      <a:pt x="526" y="192"/>
                    </a:lnTo>
                    <a:lnTo>
                      <a:pt x="526" y="188"/>
                    </a:lnTo>
                    <a:lnTo>
                      <a:pt x="530" y="188"/>
                    </a:lnTo>
                    <a:lnTo>
                      <a:pt x="530" y="183"/>
                    </a:lnTo>
                    <a:lnTo>
                      <a:pt x="535" y="179"/>
                    </a:lnTo>
                    <a:lnTo>
                      <a:pt x="535" y="174"/>
                    </a:lnTo>
                    <a:lnTo>
                      <a:pt x="539" y="174"/>
                    </a:lnTo>
                    <a:lnTo>
                      <a:pt x="544" y="170"/>
                    </a:lnTo>
                    <a:lnTo>
                      <a:pt x="544" y="165"/>
                    </a:lnTo>
                    <a:lnTo>
                      <a:pt x="544" y="156"/>
                    </a:lnTo>
                    <a:lnTo>
                      <a:pt x="544" y="151"/>
                    </a:lnTo>
                    <a:lnTo>
                      <a:pt x="548" y="151"/>
                    </a:lnTo>
                    <a:lnTo>
                      <a:pt x="548" y="147"/>
                    </a:lnTo>
                    <a:lnTo>
                      <a:pt x="553" y="147"/>
                    </a:lnTo>
                    <a:lnTo>
                      <a:pt x="558" y="147"/>
                    </a:lnTo>
                    <a:lnTo>
                      <a:pt x="558" y="142"/>
                    </a:lnTo>
                    <a:lnTo>
                      <a:pt x="562" y="138"/>
                    </a:lnTo>
                    <a:lnTo>
                      <a:pt x="562" y="133"/>
                    </a:lnTo>
                    <a:lnTo>
                      <a:pt x="567" y="133"/>
                    </a:lnTo>
                    <a:lnTo>
                      <a:pt x="567" y="128"/>
                    </a:lnTo>
                    <a:lnTo>
                      <a:pt x="567" y="124"/>
                    </a:lnTo>
                    <a:lnTo>
                      <a:pt x="567" y="119"/>
                    </a:lnTo>
                    <a:lnTo>
                      <a:pt x="571" y="119"/>
                    </a:lnTo>
                    <a:lnTo>
                      <a:pt x="576" y="119"/>
                    </a:lnTo>
                    <a:lnTo>
                      <a:pt x="580" y="119"/>
                    </a:lnTo>
                    <a:lnTo>
                      <a:pt x="585" y="119"/>
                    </a:lnTo>
                    <a:lnTo>
                      <a:pt x="590" y="119"/>
                    </a:lnTo>
                    <a:lnTo>
                      <a:pt x="590" y="119"/>
                    </a:lnTo>
                    <a:lnTo>
                      <a:pt x="603" y="119"/>
                    </a:lnTo>
                    <a:lnTo>
                      <a:pt x="608" y="119"/>
                    </a:lnTo>
                    <a:lnTo>
                      <a:pt x="612" y="119"/>
                    </a:lnTo>
                    <a:lnTo>
                      <a:pt x="631" y="119"/>
                    </a:lnTo>
                    <a:lnTo>
                      <a:pt x="635" y="119"/>
                    </a:lnTo>
                    <a:lnTo>
                      <a:pt x="631" y="128"/>
                    </a:lnTo>
                    <a:lnTo>
                      <a:pt x="626" y="133"/>
                    </a:lnTo>
                    <a:lnTo>
                      <a:pt x="617" y="142"/>
                    </a:lnTo>
                    <a:lnTo>
                      <a:pt x="612" y="156"/>
                    </a:lnTo>
                    <a:lnTo>
                      <a:pt x="608" y="165"/>
                    </a:lnTo>
                    <a:lnTo>
                      <a:pt x="608" y="170"/>
                    </a:lnTo>
                    <a:lnTo>
                      <a:pt x="612" y="179"/>
                    </a:lnTo>
                    <a:lnTo>
                      <a:pt x="617" y="183"/>
                    </a:lnTo>
                    <a:lnTo>
                      <a:pt x="617" y="192"/>
                    </a:lnTo>
                    <a:lnTo>
                      <a:pt x="617" y="192"/>
                    </a:lnTo>
                    <a:lnTo>
                      <a:pt x="622" y="197"/>
                    </a:lnTo>
                    <a:lnTo>
                      <a:pt x="622" y="202"/>
                    </a:lnTo>
                    <a:lnTo>
                      <a:pt x="626" y="206"/>
                    </a:lnTo>
                    <a:lnTo>
                      <a:pt x="631" y="211"/>
                    </a:lnTo>
                    <a:lnTo>
                      <a:pt x="631" y="215"/>
                    </a:lnTo>
                    <a:lnTo>
                      <a:pt x="631" y="215"/>
                    </a:lnTo>
                    <a:lnTo>
                      <a:pt x="631" y="215"/>
                    </a:lnTo>
                    <a:lnTo>
                      <a:pt x="631" y="220"/>
                    </a:lnTo>
                    <a:lnTo>
                      <a:pt x="626" y="229"/>
                    </a:lnTo>
                    <a:lnTo>
                      <a:pt x="626" y="234"/>
                    </a:lnTo>
                    <a:lnTo>
                      <a:pt x="626" y="234"/>
                    </a:lnTo>
                    <a:lnTo>
                      <a:pt x="626" y="238"/>
                    </a:lnTo>
                    <a:lnTo>
                      <a:pt x="631" y="243"/>
                    </a:lnTo>
                    <a:lnTo>
                      <a:pt x="631" y="252"/>
                    </a:lnTo>
                    <a:lnTo>
                      <a:pt x="626" y="256"/>
                    </a:lnTo>
                    <a:lnTo>
                      <a:pt x="626" y="256"/>
                    </a:lnTo>
                    <a:lnTo>
                      <a:pt x="626" y="261"/>
                    </a:lnTo>
                    <a:lnTo>
                      <a:pt x="622" y="261"/>
                    </a:lnTo>
                    <a:lnTo>
                      <a:pt x="622" y="266"/>
                    </a:lnTo>
                    <a:lnTo>
                      <a:pt x="622" y="270"/>
                    </a:lnTo>
                    <a:lnTo>
                      <a:pt x="622" y="275"/>
                    </a:lnTo>
                    <a:lnTo>
                      <a:pt x="622" y="279"/>
                    </a:lnTo>
                    <a:lnTo>
                      <a:pt x="617" y="279"/>
                    </a:lnTo>
                    <a:lnTo>
                      <a:pt x="617" y="288"/>
                    </a:lnTo>
                    <a:lnTo>
                      <a:pt x="612" y="298"/>
                    </a:lnTo>
                    <a:lnTo>
                      <a:pt x="612" y="307"/>
                    </a:lnTo>
                    <a:lnTo>
                      <a:pt x="612" y="311"/>
                    </a:lnTo>
                    <a:lnTo>
                      <a:pt x="612" y="316"/>
                    </a:lnTo>
                    <a:lnTo>
                      <a:pt x="612" y="320"/>
                    </a:lnTo>
                    <a:lnTo>
                      <a:pt x="612" y="325"/>
                    </a:lnTo>
                    <a:lnTo>
                      <a:pt x="617" y="325"/>
                    </a:lnTo>
                    <a:lnTo>
                      <a:pt x="626" y="320"/>
                    </a:lnTo>
                    <a:lnTo>
                      <a:pt x="631" y="316"/>
                    </a:lnTo>
                    <a:lnTo>
                      <a:pt x="631" y="311"/>
                    </a:lnTo>
                    <a:lnTo>
                      <a:pt x="635" y="311"/>
                    </a:lnTo>
                    <a:lnTo>
                      <a:pt x="640" y="307"/>
                    </a:lnTo>
                    <a:lnTo>
                      <a:pt x="644" y="307"/>
                    </a:lnTo>
                    <a:lnTo>
                      <a:pt x="649" y="302"/>
                    </a:lnTo>
                    <a:lnTo>
                      <a:pt x="654" y="302"/>
                    </a:lnTo>
                    <a:lnTo>
                      <a:pt x="654" y="302"/>
                    </a:lnTo>
                    <a:lnTo>
                      <a:pt x="663" y="298"/>
                    </a:lnTo>
                    <a:lnTo>
                      <a:pt x="667" y="298"/>
                    </a:lnTo>
                    <a:lnTo>
                      <a:pt x="672" y="298"/>
                    </a:lnTo>
                    <a:lnTo>
                      <a:pt x="672" y="293"/>
                    </a:lnTo>
                    <a:lnTo>
                      <a:pt x="676" y="293"/>
                    </a:lnTo>
                    <a:lnTo>
                      <a:pt x="686" y="293"/>
                    </a:lnTo>
                    <a:lnTo>
                      <a:pt x="686" y="288"/>
                    </a:lnTo>
                    <a:lnTo>
                      <a:pt x="690" y="288"/>
                    </a:lnTo>
                    <a:lnTo>
                      <a:pt x="695" y="288"/>
                    </a:lnTo>
                    <a:lnTo>
                      <a:pt x="699" y="288"/>
                    </a:lnTo>
                    <a:lnTo>
                      <a:pt x="699" y="284"/>
                    </a:lnTo>
                    <a:lnTo>
                      <a:pt x="699" y="284"/>
                    </a:lnTo>
                    <a:lnTo>
                      <a:pt x="708" y="284"/>
                    </a:lnTo>
                    <a:lnTo>
                      <a:pt x="713" y="279"/>
                    </a:lnTo>
                    <a:lnTo>
                      <a:pt x="718" y="279"/>
                    </a:lnTo>
                    <a:lnTo>
                      <a:pt x="727" y="279"/>
                    </a:lnTo>
                    <a:lnTo>
                      <a:pt x="731" y="279"/>
                    </a:lnTo>
                    <a:lnTo>
                      <a:pt x="736" y="275"/>
                    </a:lnTo>
                    <a:lnTo>
                      <a:pt x="740" y="275"/>
                    </a:lnTo>
                    <a:lnTo>
                      <a:pt x="754" y="270"/>
                    </a:lnTo>
                    <a:lnTo>
                      <a:pt x="759" y="270"/>
                    </a:lnTo>
                    <a:lnTo>
                      <a:pt x="763" y="270"/>
                    </a:lnTo>
                    <a:lnTo>
                      <a:pt x="768" y="266"/>
                    </a:lnTo>
                    <a:lnTo>
                      <a:pt x="777" y="266"/>
                    </a:lnTo>
                    <a:lnTo>
                      <a:pt x="786" y="261"/>
                    </a:lnTo>
                    <a:lnTo>
                      <a:pt x="791" y="261"/>
                    </a:lnTo>
                    <a:lnTo>
                      <a:pt x="800" y="261"/>
                    </a:lnTo>
                    <a:lnTo>
                      <a:pt x="809" y="261"/>
                    </a:lnTo>
                    <a:lnTo>
                      <a:pt x="814" y="261"/>
                    </a:lnTo>
                    <a:lnTo>
                      <a:pt x="818" y="261"/>
                    </a:lnTo>
                    <a:lnTo>
                      <a:pt x="823" y="256"/>
                    </a:lnTo>
                    <a:lnTo>
                      <a:pt x="827" y="256"/>
                    </a:lnTo>
                    <a:lnTo>
                      <a:pt x="836" y="256"/>
                    </a:lnTo>
                    <a:lnTo>
                      <a:pt x="850" y="261"/>
                    </a:lnTo>
                    <a:lnTo>
                      <a:pt x="855" y="261"/>
                    </a:lnTo>
                    <a:lnTo>
                      <a:pt x="864" y="261"/>
                    </a:lnTo>
                    <a:lnTo>
                      <a:pt x="864" y="275"/>
                    </a:lnTo>
                    <a:lnTo>
                      <a:pt x="864" y="284"/>
                    </a:lnTo>
                    <a:lnTo>
                      <a:pt x="864" y="293"/>
                    </a:lnTo>
                    <a:lnTo>
                      <a:pt x="864" y="302"/>
                    </a:lnTo>
                    <a:lnTo>
                      <a:pt x="868" y="307"/>
                    </a:lnTo>
                    <a:lnTo>
                      <a:pt x="868" y="311"/>
                    </a:lnTo>
                    <a:lnTo>
                      <a:pt x="868" y="316"/>
                    </a:lnTo>
                    <a:lnTo>
                      <a:pt x="868" y="320"/>
                    </a:lnTo>
                    <a:lnTo>
                      <a:pt x="873" y="325"/>
                    </a:lnTo>
                    <a:lnTo>
                      <a:pt x="873" y="325"/>
                    </a:lnTo>
                    <a:lnTo>
                      <a:pt x="873" y="330"/>
                    </a:lnTo>
                    <a:lnTo>
                      <a:pt x="878" y="334"/>
                    </a:lnTo>
                    <a:lnTo>
                      <a:pt x="882" y="343"/>
                    </a:lnTo>
                    <a:lnTo>
                      <a:pt x="882" y="343"/>
                    </a:lnTo>
                    <a:lnTo>
                      <a:pt x="887" y="348"/>
                    </a:lnTo>
                    <a:lnTo>
                      <a:pt x="896" y="357"/>
                    </a:lnTo>
                    <a:lnTo>
                      <a:pt x="896" y="362"/>
                    </a:lnTo>
                    <a:lnTo>
                      <a:pt x="896" y="366"/>
                    </a:lnTo>
                    <a:lnTo>
                      <a:pt x="896" y="366"/>
                    </a:lnTo>
                    <a:lnTo>
                      <a:pt x="896" y="371"/>
                    </a:lnTo>
                    <a:lnTo>
                      <a:pt x="896" y="371"/>
                    </a:lnTo>
                    <a:lnTo>
                      <a:pt x="900" y="375"/>
                    </a:lnTo>
                    <a:lnTo>
                      <a:pt x="900" y="380"/>
                    </a:lnTo>
                    <a:lnTo>
                      <a:pt x="905" y="389"/>
                    </a:lnTo>
                    <a:lnTo>
                      <a:pt x="900" y="412"/>
                    </a:lnTo>
                    <a:lnTo>
                      <a:pt x="900" y="421"/>
                    </a:lnTo>
                    <a:lnTo>
                      <a:pt x="900" y="439"/>
                    </a:lnTo>
                    <a:lnTo>
                      <a:pt x="905" y="453"/>
                    </a:lnTo>
                    <a:lnTo>
                      <a:pt x="905" y="471"/>
                    </a:lnTo>
                    <a:lnTo>
                      <a:pt x="910" y="476"/>
                    </a:lnTo>
                    <a:lnTo>
                      <a:pt x="910" y="480"/>
                    </a:lnTo>
                    <a:lnTo>
                      <a:pt x="910" y="485"/>
                    </a:lnTo>
                    <a:lnTo>
                      <a:pt x="914" y="490"/>
                    </a:lnTo>
                    <a:lnTo>
                      <a:pt x="914" y="494"/>
                    </a:lnTo>
                    <a:lnTo>
                      <a:pt x="923" y="499"/>
                    </a:lnTo>
                    <a:lnTo>
                      <a:pt x="928" y="503"/>
                    </a:lnTo>
                    <a:lnTo>
                      <a:pt x="932" y="503"/>
                    </a:lnTo>
                    <a:lnTo>
                      <a:pt x="937" y="508"/>
                    </a:lnTo>
                    <a:lnTo>
                      <a:pt x="937" y="508"/>
                    </a:lnTo>
                    <a:lnTo>
                      <a:pt x="937" y="512"/>
                    </a:lnTo>
                    <a:lnTo>
                      <a:pt x="942" y="517"/>
                    </a:lnTo>
                    <a:lnTo>
                      <a:pt x="937" y="522"/>
                    </a:lnTo>
                    <a:lnTo>
                      <a:pt x="937" y="526"/>
                    </a:lnTo>
                    <a:lnTo>
                      <a:pt x="937" y="526"/>
                    </a:lnTo>
                    <a:lnTo>
                      <a:pt x="937" y="531"/>
                    </a:lnTo>
                    <a:lnTo>
                      <a:pt x="937" y="535"/>
                    </a:lnTo>
                    <a:lnTo>
                      <a:pt x="932" y="544"/>
                    </a:lnTo>
                    <a:lnTo>
                      <a:pt x="928" y="544"/>
                    </a:lnTo>
                    <a:lnTo>
                      <a:pt x="928" y="549"/>
                    </a:lnTo>
                    <a:lnTo>
                      <a:pt x="928" y="554"/>
                    </a:lnTo>
                    <a:lnTo>
                      <a:pt x="923" y="554"/>
                    </a:lnTo>
                    <a:lnTo>
                      <a:pt x="923" y="558"/>
                    </a:lnTo>
                    <a:lnTo>
                      <a:pt x="923" y="563"/>
                    </a:lnTo>
                    <a:lnTo>
                      <a:pt x="923" y="563"/>
                    </a:lnTo>
                    <a:lnTo>
                      <a:pt x="919" y="567"/>
                    </a:lnTo>
                    <a:lnTo>
                      <a:pt x="919" y="572"/>
                    </a:lnTo>
                    <a:lnTo>
                      <a:pt x="919" y="576"/>
                    </a:lnTo>
                    <a:lnTo>
                      <a:pt x="914" y="576"/>
                    </a:lnTo>
                    <a:lnTo>
                      <a:pt x="914" y="581"/>
                    </a:lnTo>
                    <a:lnTo>
                      <a:pt x="914" y="586"/>
                    </a:lnTo>
                    <a:lnTo>
                      <a:pt x="910" y="586"/>
                    </a:lnTo>
                    <a:lnTo>
                      <a:pt x="905" y="586"/>
                    </a:lnTo>
                    <a:lnTo>
                      <a:pt x="900" y="586"/>
                    </a:lnTo>
                    <a:lnTo>
                      <a:pt x="896" y="590"/>
                    </a:lnTo>
                    <a:lnTo>
                      <a:pt x="896" y="590"/>
                    </a:lnTo>
                    <a:lnTo>
                      <a:pt x="891" y="590"/>
                    </a:lnTo>
                    <a:lnTo>
                      <a:pt x="887" y="595"/>
                    </a:lnTo>
                    <a:lnTo>
                      <a:pt x="882" y="595"/>
                    </a:lnTo>
                    <a:lnTo>
                      <a:pt x="878" y="595"/>
                    </a:lnTo>
                    <a:lnTo>
                      <a:pt x="873" y="599"/>
                    </a:lnTo>
                    <a:lnTo>
                      <a:pt x="873" y="599"/>
                    </a:lnTo>
                    <a:lnTo>
                      <a:pt x="868" y="599"/>
                    </a:lnTo>
                    <a:lnTo>
                      <a:pt x="864" y="604"/>
                    </a:lnTo>
                    <a:lnTo>
                      <a:pt x="855" y="608"/>
                    </a:lnTo>
                    <a:lnTo>
                      <a:pt x="850" y="613"/>
                    </a:lnTo>
                    <a:lnTo>
                      <a:pt x="850" y="618"/>
                    </a:lnTo>
                    <a:lnTo>
                      <a:pt x="850" y="627"/>
                    </a:lnTo>
                    <a:lnTo>
                      <a:pt x="846" y="627"/>
                    </a:lnTo>
                    <a:lnTo>
                      <a:pt x="846" y="631"/>
                    </a:lnTo>
                    <a:lnTo>
                      <a:pt x="846" y="636"/>
                    </a:lnTo>
                    <a:lnTo>
                      <a:pt x="846" y="640"/>
                    </a:lnTo>
                    <a:lnTo>
                      <a:pt x="846" y="645"/>
                    </a:lnTo>
                    <a:lnTo>
                      <a:pt x="846" y="650"/>
                    </a:lnTo>
                    <a:lnTo>
                      <a:pt x="846" y="654"/>
                    </a:lnTo>
                    <a:lnTo>
                      <a:pt x="832" y="650"/>
                    </a:lnTo>
                    <a:lnTo>
                      <a:pt x="827" y="645"/>
                    </a:lnTo>
                    <a:lnTo>
                      <a:pt x="827" y="640"/>
                    </a:lnTo>
                    <a:lnTo>
                      <a:pt x="818" y="631"/>
                    </a:lnTo>
                    <a:lnTo>
                      <a:pt x="814" y="627"/>
                    </a:lnTo>
                    <a:lnTo>
                      <a:pt x="809" y="622"/>
                    </a:lnTo>
                    <a:lnTo>
                      <a:pt x="804" y="618"/>
                    </a:lnTo>
                    <a:lnTo>
                      <a:pt x="804" y="613"/>
                    </a:lnTo>
                    <a:lnTo>
                      <a:pt x="800" y="613"/>
                    </a:lnTo>
                    <a:lnTo>
                      <a:pt x="795" y="613"/>
                    </a:lnTo>
                    <a:lnTo>
                      <a:pt x="791" y="613"/>
                    </a:lnTo>
                    <a:lnTo>
                      <a:pt x="782" y="613"/>
                    </a:lnTo>
                    <a:lnTo>
                      <a:pt x="777" y="613"/>
                    </a:lnTo>
                    <a:lnTo>
                      <a:pt x="777" y="618"/>
                    </a:lnTo>
                    <a:lnTo>
                      <a:pt x="772" y="618"/>
                    </a:lnTo>
                    <a:lnTo>
                      <a:pt x="768" y="622"/>
                    </a:lnTo>
                    <a:lnTo>
                      <a:pt x="763" y="627"/>
                    </a:lnTo>
                    <a:lnTo>
                      <a:pt x="763" y="631"/>
                    </a:lnTo>
                    <a:lnTo>
                      <a:pt x="763" y="631"/>
                    </a:lnTo>
                    <a:lnTo>
                      <a:pt x="759" y="631"/>
                    </a:lnTo>
                    <a:lnTo>
                      <a:pt x="754" y="636"/>
                    </a:lnTo>
                    <a:lnTo>
                      <a:pt x="750" y="640"/>
                    </a:lnTo>
                    <a:lnTo>
                      <a:pt x="745" y="640"/>
                    </a:lnTo>
                    <a:lnTo>
                      <a:pt x="745" y="645"/>
                    </a:lnTo>
                    <a:lnTo>
                      <a:pt x="740" y="645"/>
                    </a:lnTo>
                    <a:lnTo>
                      <a:pt x="740" y="650"/>
                    </a:lnTo>
                    <a:lnTo>
                      <a:pt x="736" y="654"/>
                    </a:lnTo>
                    <a:lnTo>
                      <a:pt x="731" y="654"/>
                    </a:lnTo>
                    <a:lnTo>
                      <a:pt x="731" y="659"/>
                    </a:lnTo>
                    <a:lnTo>
                      <a:pt x="727" y="663"/>
                    </a:lnTo>
                    <a:lnTo>
                      <a:pt x="718" y="672"/>
                    </a:lnTo>
                    <a:lnTo>
                      <a:pt x="718" y="672"/>
                    </a:lnTo>
                    <a:lnTo>
                      <a:pt x="713" y="677"/>
                    </a:lnTo>
                    <a:lnTo>
                      <a:pt x="704" y="682"/>
                    </a:lnTo>
                    <a:lnTo>
                      <a:pt x="699" y="686"/>
                    </a:lnTo>
                    <a:lnTo>
                      <a:pt x="699" y="695"/>
                    </a:lnTo>
                    <a:lnTo>
                      <a:pt x="695" y="695"/>
                    </a:lnTo>
                    <a:lnTo>
                      <a:pt x="686" y="700"/>
                    </a:lnTo>
                    <a:lnTo>
                      <a:pt x="681" y="704"/>
                    </a:lnTo>
                    <a:lnTo>
                      <a:pt x="676" y="704"/>
                    </a:lnTo>
                    <a:lnTo>
                      <a:pt x="672" y="714"/>
                    </a:lnTo>
                    <a:lnTo>
                      <a:pt x="667" y="714"/>
                    </a:lnTo>
                    <a:lnTo>
                      <a:pt x="667" y="718"/>
                    </a:lnTo>
                    <a:lnTo>
                      <a:pt x="663" y="718"/>
                    </a:lnTo>
                    <a:lnTo>
                      <a:pt x="663" y="718"/>
                    </a:lnTo>
                    <a:lnTo>
                      <a:pt x="658" y="723"/>
                    </a:lnTo>
                    <a:lnTo>
                      <a:pt x="658" y="727"/>
                    </a:lnTo>
                    <a:lnTo>
                      <a:pt x="654" y="732"/>
                    </a:lnTo>
                    <a:lnTo>
                      <a:pt x="644" y="736"/>
                    </a:lnTo>
                    <a:lnTo>
                      <a:pt x="635" y="736"/>
                    </a:lnTo>
                    <a:lnTo>
                      <a:pt x="631" y="736"/>
                    </a:lnTo>
                    <a:lnTo>
                      <a:pt x="631" y="736"/>
                    </a:lnTo>
                    <a:lnTo>
                      <a:pt x="626" y="732"/>
                    </a:lnTo>
                    <a:lnTo>
                      <a:pt x="626" y="727"/>
                    </a:lnTo>
                    <a:lnTo>
                      <a:pt x="626" y="723"/>
                    </a:lnTo>
                    <a:lnTo>
                      <a:pt x="622" y="723"/>
                    </a:lnTo>
                    <a:lnTo>
                      <a:pt x="622" y="718"/>
                    </a:lnTo>
                    <a:lnTo>
                      <a:pt x="617" y="714"/>
                    </a:lnTo>
                    <a:lnTo>
                      <a:pt x="612" y="709"/>
                    </a:lnTo>
                    <a:lnTo>
                      <a:pt x="608" y="709"/>
                    </a:lnTo>
                    <a:lnTo>
                      <a:pt x="608" y="714"/>
                    </a:lnTo>
                    <a:lnTo>
                      <a:pt x="608" y="718"/>
                    </a:lnTo>
                    <a:lnTo>
                      <a:pt x="608" y="727"/>
                    </a:lnTo>
                    <a:lnTo>
                      <a:pt x="603" y="732"/>
                    </a:lnTo>
                    <a:lnTo>
                      <a:pt x="603" y="736"/>
                    </a:lnTo>
                    <a:lnTo>
                      <a:pt x="603" y="736"/>
                    </a:lnTo>
                    <a:lnTo>
                      <a:pt x="599" y="741"/>
                    </a:lnTo>
                    <a:lnTo>
                      <a:pt x="599" y="741"/>
                    </a:lnTo>
                    <a:lnTo>
                      <a:pt x="594" y="746"/>
                    </a:lnTo>
                    <a:lnTo>
                      <a:pt x="590" y="746"/>
                    </a:lnTo>
                    <a:lnTo>
                      <a:pt x="585" y="759"/>
                    </a:lnTo>
                    <a:lnTo>
                      <a:pt x="580" y="764"/>
                    </a:lnTo>
                    <a:lnTo>
                      <a:pt x="576" y="764"/>
                    </a:lnTo>
                    <a:lnTo>
                      <a:pt x="576" y="764"/>
                    </a:lnTo>
                    <a:lnTo>
                      <a:pt x="571" y="764"/>
                    </a:lnTo>
                    <a:lnTo>
                      <a:pt x="567" y="773"/>
                    </a:lnTo>
                    <a:lnTo>
                      <a:pt x="567" y="773"/>
                    </a:lnTo>
                    <a:lnTo>
                      <a:pt x="567" y="782"/>
                    </a:lnTo>
                    <a:lnTo>
                      <a:pt x="567" y="791"/>
                    </a:lnTo>
                    <a:lnTo>
                      <a:pt x="562" y="805"/>
                    </a:lnTo>
                    <a:lnTo>
                      <a:pt x="562" y="810"/>
                    </a:lnTo>
                    <a:lnTo>
                      <a:pt x="562" y="814"/>
                    </a:lnTo>
                    <a:lnTo>
                      <a:pt x="558" y="819"/>
                    </a:lnTo>
                    <a:lnTo>
                      <a:pt x="553" y="823"/>
                    </a:lnTo>
                    <a:lnTo>
                      <a:pt x="548" y="823"/>
                    </a:lnTo>
                    <a:lnTo>
                      <a:pt x="544" y="823"/>
                    </a:lnTo>
                    <a:lnTo>
                      <a:pt x="544" y="828"/>
                    </a:lnTo>
                    <a:lnTo>
                      <a:pt x="539" y="828"/>
                    </a:lnTo>
                    <a:lnTo>
                      <a:pt x="530" y="828"/>
                    </a:lnTo>
                    <a:lnTo>
                      <a:pt x="526" y="828"/>
                    </a:lnTo>
                    <a:lnTo>
                      <a:pt x="521" y="828"/>
                    </a:lnTo>
                    <a:lnTo>
                      <a:pt x="516" y="828"/>
                    </a:lnTo>
                    <a:lnTo>
                      <a:pt x="498" y="828"/>
                    </a:lnTo>
                    <a:lnTo>
                      <a:pt x="498" y="823"/>
                    </a:lnTo>
                    <a:lnTo>
                      <a:pt x="498" y="810"/>
                    </a:lnTo>
                    <a:lnTo>
                      <a:pt x="498" y="805"/>
                    </a:lnTo>
                    <a:lnTo>
                      <a:pt x="498" y="800"/>
                    </a:lnTo>
                    <a:lnTo>
                      <a:pt x="498" y="796"/>
                    </a:lnTo>
                    <a:lnTo>
                      <a:pt x="498" y="791"/>
                    </a:lnTo>
                    <a:lnTo>
                      <a:pt x="494" y="782"/>
                    </a:lnTo>
                    <a:lnTo>
                      <a:pt x="494" y="778"/>
                    </a:lnTo>
                    <a:lnTo>
                      <a:pt x="489" y="768"/>
                    </a:lnTo>
                    <a:lnTo>
                      <a:pt x="484" y="755"/>
                    </a:lnTo>
                    <a:lnTo>
                      <a:pt x="484" y="750"/>
                    </a:lnTo>
                    <a:lnTo>
                      <a:pt x="489" y="736"/>
                    </a:lnTo>
                    <a:lnTo>
                      <a:pt x="489" y="732"/>
                    </a:lnTo>
                    <a:lnTo>
                      <a:pt x="489" y="727"/>
                    </a:lnTo>
                    <a:lnTo>
                      <a:pt x="489" y="727"/>
                    </a:lnTo>
                    <a:lnTo>
                      <a:pt x="484" y="723"/>
                    </a:lnTo>
                    <a:lnTo>
                      <a:pt x="484" y="718"/>
                    </a:lnTo>
                    <a:lnTo>
                      <a:pt x="489" y="718"/>
                    </a:lnTo>
                    <a:lnTo>
                      <a:pt x="489" y="714"/>
                    </a:lnTo>
                    <a:lnTo>
                      <a:pt x="489" y="709"/>
                    </a:lnTo>
                    <a:lnTo>
                      <a:pt x="494" y="700"/>
                    </a:lnTo>
                    <a:lnTo>
                      <a:pt x="498" y="695"/>
                    </a:lnTo>
                    <a:lnTo>
                      <a:pt x="498" y="691"/>
                    </a:lnTo>
                    <a:lnTo>
                      <a:pt x="498" y="686"/>
                    </a:lnTo>
                    <a:lnTo>
                      <a:pt x="498" y="682"/>
                    </a:lnTo>
                    <a:lnTo>
                      <a:pt x="503" y="677"/>
                    </a:lnTo>
                    <a:lnTo>
                      <a:pt x="507" y="668"/>
                    </a:lnTo>
                    <a:lnTo>
                      <a:pt x="507" y="663"/>
                    </a:lnTo>
                    <a:lnTo>
                      <a:pt x="507" y="654"/>
                    </a:lnTo>
                    <a:lnTo>
                      <a:pt x="507" y="645"/>
                    </a:lnTo>
                    <a:lnTo>
                      <a:pt x="512" y="640"/>
                    </a:lnTo>
                    <a:lnTo>
                      <a:pt x="512" y="636"/>
                    </a:lnTo>
                    <a:lnTo>
                      <a:pt x="512" y="631"/>
                    </a:lnTo>
                    <a:lnTo>
                      <a:pt x="512" y="631"/>
                    </a:lnTo>
                    <a:lnTo>
                      <a:pt x="516" y="631"/>
                    </a:lnTo>
                    <a:lnTo>
                      <a:pt x="516" y="627"/>
                    </a:lnTo>
                    <a:lnTo>
                      <a:pt x="516" y="622"/>
                    </a:lnTo>
                    <a:lnTo>
                      <a:pt x="521" y="613"/>
                    </a:lnTo>
                    <a:lnTo>
                      <a:pt x="521" y="608"/>
                    </a:lnTo>
                    <a:lnTo>
                      <a:pt x="521" y="599"/>
                    </a:lnTo>
                    <a:lnTo>
                      <a:pt x="521" y="595"/>
                    </a:lnTo>
                    <a:lnTo>
                      <a:pt x="521" y="590"/>
                    </a:lnTo>
                    <a:lnTo>
                      <a:pt x="521" y="586"/>
                    </a:lnTo>
                    <a:lnTo>
                      <a:pt x="521" y="586"/>
                    </a:lnTo>
                    <a:lnTo>
                      <a:pt x="521" y="581"/>
                    </a:lnTo>
                    <a:lnTo>
                      <a:pt x="521" y="576"/>
                    </a:lnTo>
                    <a:lnTo>
                      <a:pt x="516" y="572"/>
                    </a:lnTo>
                    <a:lnTo>
                      <a:pt x="516" y="567"/>
                    </a:lnTo>
                    <a:lnTo>
                      <a:pt x="512" y="567"/>
                    </a:lnTo>
                    <a:lnTo>
                      <a:pt x="512" y="563"/>
                    </a:lnTo>
                    <a:lnTo>
                      <a:pt x="512" y="563"/>
                    </a:lnTo>
                    <a:lnTo>
                      <a:pt x="507" y="558"/>
                    </a:lnTo>
                    <a:lnTo>
                      <a:pt x="507" y="554"/>
                    </a:lnTo>
                    <a:lnTo>
                      <a:pt x="507" y="549"/>
                    </a:lnTo>
                    <a:lnTo>
                      <a:pt x="503" y="549"/>
                    </a:lnTo>
                    <a:lnTo>
                      <a:pt x="503" y="544"/>
                    </a:lnTo>
                    <a:lnTo>
                      <a:pt x="498" y="544"/>
                    </a:lnTo>
                    <a:lnTo>
                      <a:pt x="498" y="544"/>
                    </a:lnTo>
                    <a:lnTo>
                      <a:pt x="489" y="540"/>
                    </a:lnTo>
                    <a:lnTo>
                      <a:pt x="480" y="544"/>
                    </a:lnTo>
                    <a:lnTo>
                      <a:pt x="480" y="544"/>
                    </a:lnTo>
                    <a:lnTo>
                      <a:pt x="475" y="544"/>
                    </a:lnTo>
                    <a:lnTo>
                      <a:pt x="462" y="544"/>
                    </a:lnTo>
                    <a:lnTo>
                      <a:pt x="457" y="544"/>
                    </a:lnTo>
                    <a:lnTo>
                      <a:pt x="457" y="549"/>
                    </a:lnTo>
                    <a:lnTo>
                      <a:pt x="452" y="549"/>
                    </a:lnTo>
                    <a:lnTo>
                      <a:pt x="448" y="549"/>
                    </a:lnTo>
                    <a:lnTo>
                      <a:pt x="443" y="549"/>
                    </a:lnTo>
                    <a:lnTo>
                      <a:pt x="439" y="549"/>
                    </a:lnTo>
                    <a:lnTo>
                      <a:pt x="439" y="544"/>
                    </a:lnTo>
                    <a:lnTo>
                      <a:pt x="434" y="544"/>
                    </a:lnTo>
                    <a:lnTo>
                      <a:pt x="434" y="540"/>
                    </a:lnTo>
                    <a:lnTo>
                      <a:pt x="434" y="531"/>
                    </a:lnTo>
                    <a:lnTo>
                      <a:pt x="430" y="526"/>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Kogi</a:t>
                </a:r>
              </a:p>
            </p:txBody>
          </p:sp>
          <p:sp>
            <p:nvSpPr>
              <p:cNvPr id="209" name="Freeform 29">
                <a:extLst>
                  <a:ext uri="{FF2B5EF4-FFF2-40B4-BE49-F238E27FC236}">
                    <a16:creationId xmlns:a16="http://schemas.microsoft.com/office/drawing/2014/main" id="{36DAB69B-0382-44D0-B6AE-352504E34437}"/>
                  </a:ext>
                </a:extLst>
              </p:cNvPr>
              <p:cNvSpPr>
                <a:spLocks noEditPoints="1"/>
              </p:cNvSpPr>
              <p:nvPr>
                <p:custDataLst>
                  <p:tags r:id="rId26"/>
                </p:custDataLst>
              </p:nvPr>
            </p:nvSpPr>
            <p:spPr bwMode="auto">
              <a:xfrm>
                <a:off x="190130" y="3533104"/>
                <a:ext cx="1761300" cy="1078514"/>
              </a:xfrm>
              <a:custGeom>
                <a:avLst/>
                <a:gdLst/>
                <a:ahLst/>
                <a:cxnLst>
                  <a:cxn ang="0">
                    <a:pos x="681" y="818"/>
                  </a:cxn>
                  <a:cxn ang="0">
                    <a:pos x="403" y="27"/>
                  </a:cxn>
                  <a:cxn ang="0">
                    <a:pos x="448" y="27"/>
                  </a:cxn>
                  <a:cxn ang="0">
                    <a:pos x="471" y="64"/>
                  </a:cxn>
                  <a:cxn ang="0">
                    <a:pos x="489" y="82"/>
                  </a:cxn>
                  <a:cxn ang="0">
                    <a:pos x="531" y="91"/>
                  </a:cxn>
                  <a:cxn ang="0">
                    <a:pos x="576" y="141"/>
                  </a:cxn>
                  <a:cxn ang="0">
                    <a:pos x="654" y="228"/>
                  </a:cxn>
                  <a:cxn ang="0">
                    <a:pos x="727" y="297"/>
                  </a:cxn>
                  <a:cxn ang="0">
                    <a:pos x="773" y="347"/>
                  </a:cxn>
                  <a:cxn ang="0">
                    <a:pos x="841" y="338"/>
                  </a:cxn>
                  <a:cxn ang="0">
                    <a:pos x="905" y="365"/>
                  </a:cxn>
                  <a:cxn ang="0">
                    <a:pos x="947" y="407"/>
                  </a:cxn>
                  <a:cxn ang="0">
                    <a:pos x="1052" y="439"/>
                  </a:cxn>
                  <a:cxn ang="0">
                    <a:pos x="1143" y="489"/>
                  </a:cxn>
                  <a:cxn ang="0">
                    <a:pos x="1230" y="516"/>
                  </a:cxn>
                  <a:cxn ang="0">
                    <a:pos x="1299" y="521"/>
                  </a:cxn>
                  <a:cxn ang="0">
                    <a:pos x="1303" y="562"/>
                  </a:cxn>
                  <a:cxn ang="0">
                    <a:pos x="1285" y="640"/>
                  </a:cxn>
                  <a:cxn ang="0">
                    <a:pos x="1198" y="644"/>
                  </a:cxn>
                  <a:cxn ang="0">
                    <a:pos x="1129" y="635"/>
                  </a:cxn>
                  <a:cxn ang="0">
                    <a:pos x="1075" y="599"/>
                  </a:cxn>
                  <a:cxn ang="0">
                    <a:pos x="1024" y="640"/>
                  </a:cxn>
                  <a:cxn ang="0">
                    <a:pos x="1001" y="686"/>
                  </a:cxn>
                  <a:cxn ang="0">
                    <a:pos x="1043" y="731"/>
                  </a:cxn>
                  <a:cxn ang="0">
                    <a:pos x="1075" y="772"/>
                  </a:cxn>
                  <a:cxn ang="0">
                    <a:pos x="1015" y="759"/>
                  </a:cxn>
                  <a:cxn ang="0">
                    <a:pos x="969" y="800"/>
                  </a:cxn>
                  <a:cxn ang="0">
                    <a:pos x="915" y="772"/>
                  </a:cxn>
                  <a:cxn ang="0">
                    <a:pos x="860" y="772"/>
                  </a:cxn>
                  <a:cxn ang="0">
                    <a:pos x="800" y="768"/>
                  </a:cxn>
                  <a:cxn ang="0">
                    <a:pos x="741" y="772"/>
                  </a:cxn>
                  <a:cxn ang="0">
                    <a:pos x="672" y="745"/>
                  </a:cxn>
                  <a:cxn ang="0">
                    <a:pos x="631" y="681"/>
                  </a:cxn>
                  <a:cxn ang="0">
                    <a:pos x="585" y="599"/>
                  </a:cxn>
                  <a:cxn ang="0">
                    <a:pos x="553" y="544"/>
                  </a:cxn>
                  <a:cxn ang="0">
                    <a:pos x="553" y="480"/>
                  </a:cxn>
                  <a:cxn ang="0">
                    <a:pos x="608" y="420"/>
                  </a:cxn>
                  <a:cxn ang="0">
                    <a:pos x="553" y="434"/>
                  </a:cxn>
                  <a:cxn ang="0">
                    <a:pos x="499" y="407"/>
                  </a:cxn>
                  <a:cxn ang="0">
                    <a:pos x="467" y="356"/>
                  </a:cxn>
                  <a:cxn ang="0">
                    <a:pos x="407" y="347"/>
                  </a:cxn>
                  <a:cxn ang="0">
                    <a:pos x="380" y="402"/>
                  </a:cxn>
                  <a:cxn ang="0">
                    <a:pos x="320" y="439"/>
                  </a:cxn>
                  <a:cxn ang="0">
                    <a:pos x="229" y="475"/>
                  </a:cxn>
                  <a:cxn ang="0">
                    <a:pos x="169" y="489"/>
                  </a:cxn>
                  <a:cxn ang="0">
                    <a:pos x="115" y="512"/>
                  </a:cxn>
                  <a:cxn ang="0">
                    <a:pos x="69" y="553"/>
                  </a:cxn>
                  <a:cxn ang="0">
                    <a:pos x="9" y="558"/>
                  </a:cxn>
                  <a:cxn ang="0">
                    <a:pos x="5" y="503"/>
                  </a:cxn>
                  <a:cxn ang="0">
                    <a:pos x="14" y="462"/>
                  </a:cxn>
                  <a:cxn ang="0">
                    <a:pos x="19" y="430"/>
                  </a:cxn>
                  <a:cxn ang="0">
                    <a:pos x="23" y="402"/>
                  </a:cxn>
                  <a:cxn ang="0">
                    <a:pos x="64" y="379"/>
                  </a:cxn>
                  <a:cxn ang="0">
                    <a:pos x="142" y="361"/>
                  </a:cxn>
                  <a:cxn ang="0">
                    <a:pos x="160" y="269"/>
                  </a:cxn>
                  <a:cxn ang="0">
                    <a:pos x="201" y="183"/>
                  </a:cxn>
                  <a:cxn ang="0">
                    <a:pos x="229" y="123"/>
                  </a:cxn>
                  <a:cxn ang="0">
                    <a:pos x="311" y="77"/>
                  </a:cxn>
                  <a:cxn ang="0">
                    <a:pos x="339" y="4"/>
                  </a:cxn>
                </a:cxnLst>
                <a:rect l="0" t="0" r="r" b="b"/>
                <a:pathLst>
                  <a:path w="1321" h="873">
                    <a:moveTo>
                      <a:pt x="636" y="836"/>
                    </a:moveTo>
                    <a:lnTo>
                      <a:pt x="640" y="836"/>
                    </a:lnTo>
                    <a:lnTo>
                      <a:pt x="640" y="832"/>
                    </a:lnTo>
                    <a:lnTo>
                      <a:pt x="640" y="827"/>
                    </a:lnTo>
                    <a:lnTo>
                      <a:pt x="640" y="827"/>
                    </a:lnTo>
                    <a:lnTo>
                      <a:pt x="640" y="823"/>
                    </a:lnTo>
                    <a:lnTo>
                      <a:pt x="645" y="818"/>
                    </a:lnTo>
                    <a:lnTo>
                      <a:pt x="645" y="818"/>
                    </a:lnTo>
                    <a:lnTo>
                      <a:pt x="649" y="818"/>
                    </a:lnTo>
                    <a:lnTo>
                      <a:pt x="659" y="818"/>
                    </a:lnTo>
                    <a:lnTo>
                      <a:pt x="663" y="818"/>
                    </a:lnTo>
                    <a:lnTo>
                      <a:pt x="663" y="814"/>
                    </a:lnTo>
                    <a:lnTo>
                      <a:pt x="668" y="814"/>
                    </a:lnTo>
                    <a:lnTo>
                      <a:pt x="672" y="809"/>
                    </a:lnTo>
                    <a:lnTo>
                      <a:pt x="672" y="814"/>
                    </a:lnTo>
                    <a:lnTo>
                      <a:pt x="681" y="818"/>
                    </a:lnTo>
                    <a:lnTo>
                      <a:pt x="681" y="832"/>
                    </a:lnTo>
                    <a:lnTo>
                      <a:pt x="681" y="841"/>
                    </a:lnTo>
                    <a:lnTo>
                      <a:pt x="681" y="850"/>
                    </a:lnTo>
                    <a:lnTo>
                      <a:pt x="672" y="855"/>
                    </a:lnTo>
                    <a:lnTo>
                      <a:pt x="663" y="859"/>
                    </a:lnTo>
                    <a:lnTo>
                      <a:pt x="663" y="864"/>
                    </a:lnTo>
                    <a:lnTo>
                      <a:pt x="659" y="868"/>
                    </a:lnTo>
                    <a:lnTo>
                      <a:pt x="654" y="873"/>
                    </a:lnTo>
                    <a:lnTo>
                      <a:pt x="649" y="868"/>
                    </a:lnTo>
                    <a:lnTo>
                      <a:pt x="640" y="859"/>
                    </a:lnTo>
                    <a:lnTo>
                      <a:pt x="640" y="855"/>
                    </a:lnTo>
                    <a:lnTo>
                      <a:pt x="640" y="850"/>
                    </a:lnTo>
                    <a:lnTo>
                      <a:pt x="636" y="841"/>
                    </a:lnTo>
                    <a:lnTo>
                      <a:pt x="636" y="841"/>
                    </a:lnTo>
                    <a:lnTo>
                      <a:pt x="636" y="836"/>
                    </a:lnTo>
                    <a:close/>
                    <a:moveTo>
                      <a:pt x="403" y="27"/>
                    </a:moveTo>
                    <a:lnTo>
                      <a:pt x="407" y="27"/>
                    </a:lnTo>
                    <a:lnTo>
                      <a:pt x="412" y="27"/>
                    </a:lnTo>
                    <a:lnTo>
                      <a:pt x="412" y="27"/>
                    </a:lnTo>
                    <a:lnTo>
                      <a:pt x="416" y="27"/>
                    </a:lnTo>
                    <a:lnTo>
                      <a:pt x="421" y="23"/>
                    </a:lnTo>
                    <a:lnTo>
                      <a:pt x="421" y="18"/>
                    </a:lnTo>
                    <a:lnTo>
                      <a:pt x="421" y="13"/>
                    </a:lnTo>
                    <a:lnTo>
                      <a:pt x="421" y="9"/>
                    </a:lnTo>
                    <a:lnTo>
                      <a:pt x="425" y="9"/>
                    </a:lnTo>
                    <a:lnTo>
                      <a:pt x="425" y="4"/>
                    </a:lnTo>
                    <a:lnTo>
                      <a:pt x="430" y="9"/>
                    </a:lnTo>
                    <a:lnTo>
                      <a:pt x="435" y="13"/>
                    </a:lnTo>
                    <a:lnTo>
                      <a:pt x="439" y="23"/>
                    </a:lnTo>
                    <a:lnTo>
                      <a:pt x="444" y="27"/>
                    </a:lnTo>
                    <a:lnTo>
                      <a:pt x="444" y="27"/>
                    </a:lnTo>
                    <a:lnTo>
                      <a:pt x="448" y="27"/>
                    </a:lnTo>
                    <a:lnTo>
                      <a:pt x="444" y="32"/>
                    </a:lnTo>
                    <a:lnTo>
                      <a:pt x="444" y="36"/>
                    </a:lnTo>
                    <a:lnTo>
                      <a:pt x="439" y="41"/>
                    </a:lnTo>
                    <a:lnTo>
                      <a:pt x="439" y="45"/>
                    </a:lnTo>
                    <a:lnTo>
                      <a:pt x="444" y="50"/>
                    </a:lnTo>
                    <a:lnTo>
                      <a:pt x="448" y="50"/>
                    </a:lnTo>
                    <a:lnTo>
                      <a:pt x="453" y="50"/>
                    </a:lnTo>
                    <a:lnTo>
                      <a:pt x="457" y="45"/>
                    </a:lnTo>
                    <a:lnTo>
                      <a:pt x="462" y="50"/>
                    </a:lnTo>
                    <a:lnTo>
                      <a:pt x="467" y="50"/>
                    </a:lnTo>
                    <a:lnTo>
                      <a:pt x="462" y="50"/>
                    </a:lnTo>
                    <a:lnTo>
                      <a:pt x="462" y="55"/>
                    </a:lnTo>
                    <a:lnTo>
                      <a:pt x="462" y="59"/>
                    </a:lnTo>
                    <a:lnTo>
                      <a:pt x="467" y="59"/>
                    </a:lnTo>
                    <a:lnTo>
                      <a:pt x="467" y="59"/>
                    </a:lnTo>
                    <a:lnTo>
                      <a:pt x="471" y="64"/>
                    </a:lnTo>
                    <a:lnTo>
                      <a:pt x="476" y="64"/>
                    </a:lnTo>
                    <a:lnTo>
                      <a:pt x="476" y="68"/>
                    </a:lnTo>
                    <a:lnTo>
                      <a:pt x="471" y="73"/>
                    </a:lnTo>
                    <a:lnTo>
                      <a:pt x="467" y="73"/>
                    </a:lnTo>
                    <a:lnTo>
                      <a:pt x="462" y="68"/>
                    </a:lnTo>
                    <a:lnTo>
                      <a:pt x="462" y="73"/>
                    </a:lnTo>
                    <a:lnTo>
                      <a:pt x="457" y="73"/>
                    </a:lnTo>
                    <a:lnTo>
                      <a:pt x="462" y="73"/>
                    </a:lnTo>
                    <a:lnTo>
                      <a:pt x="462" y="77"/>
                    </a:lnTo>
                    <a:lnTo>
                      <a:pt x="467" y="77"/>
                    </a:lnTo>
                    <a:lnTo>
                      <a:pt x="467" y="82"/>
                    </a:lnTo>
                    <a:lnTo>
                      <a:pt x="471" y="82"/>
                    </a:lnTo>
                    <a:lnTo>
                      <a:pt x="480" y="82"/>
                    </a:lnTo>
                    <a:lnTo>
                      <a:pt x="485" y="82"/>
                    </a:lnTo>
                    <a:lnTo>
                      <a:pt x="489" y="82"/>
                    </a:lnTo>
                    <a:lnTo>
                      <a:pt x="489" y="82"/>
                    </a:lnTo>
                    <a:lnTo>
                      <a:pt x="489" y="87"/>
                    </a:lnTo>
                    <a:lnTo>
                      <a:pt x="489" y="91"/>
                    </a:lnTo>
                    <a:lnTo>
                      <a:pt x="494" y="96"/>
                    </a:lnTo>
                    <a:lnTo>
                      <a:pt x="499" y="96"/>
                    </a:lnTo>
                    <a:lnTo>
                      <a:pt x="503" y="96"/>
                    </a:lnTo>
                    <a:lnTo>
                      <a:pt x="508" y="96"/>
                    </a:lnTo>
                    <a:lnTo>
                      <a:pt x="512" y="100"/>
                    </a:lnTo>
                    <a:lnTo>
                      <a:pt x="517" y="100"/>
                    </a:lnTo>
                    <a:lnTo>
                      <a:pt x="517" y="96"/>
                    </a:lnTo>
                    <a:lnTo>
                      <a:pt x="517" y="91"/>
                    </a:lnTo>
                    <a:lnTo>
                      <a:pt x="521" y="91"/>
                    </a:lnTo>
                    <a:lnTo>
                      <a:pt x="526" y="91"/>
                    </a:lnTo>
                    <a:lnTo>
                      <a:pt x="526" y="87"/>
                    </a:lnTo>
                    <a:lnTo>
                      <a:pt x="531" y="87"/>
                    </a:lnTo>
                    <a:lnTo>
                      <a:pt x="531" y="91"/>
                    </a:lnTo>
                    <a:lnTo>
                      <a:pt x="531" y="91"/>
                    </a:lnTo>
                    <a:lnTo>
                      <a:pt x="531" y="96"/>
                    </a:lnTo>
                    <a:lnTo>
                      <a:pt x="531" y="96"/>
                    </a:lnTo>
                    <a:lnTo>
                      <a:pt x="540" y="96"/>
                    </a:lnTo>
                    <a:lnTo>
                      <a:pt x="544" y="100"/>
                    </a:lnTo>
                    <a:lnTo>
                      <a:pt x="549" y="109"/>
                    </a:lnTo>
                    <a:lnTo>
                      <a:pt x="549" y="114"/>
                    </a:lnTo>
                    <a:lnTo>
                      <a:pt x="549" y="114"/>
                    </a:lnTo>
                    <a:lnTo>
                      <a:pt x="553" y="114"/>
                    </a:lnTo>
                    <a:lnTo>
                      <a:pt x="553" y="119"/>
                    </a:lnTo>
                    <a:lnTo>
                      <a:pt x="553" y="123"/>
                    </a:lnTo>
                    <a:lnTo>
                      <a:pt x="558" y="128"/>
                    </a:lnTo>
                    <a:lnTo>
                      <a:pt x="563" y="132"/>
                    </a:lnTo>
                    <a:lnTo>
                      <a:pt x="563" y="137"/>
                    </a:lnTo>
                    <a:lnTo>
                      <a:pt x="572" y="137"/>
                    </a:lnTo>
                    <a:lnTo>
                      <a:pt x="572" y="141"/>
                    </a:lnTo>
                    <a:lnTo>
                      <a:pt x="576" y="141"/>
                    </a:lnTo>
                    <a:lnTo>
                      <a:pt x="576" y="146"/>
                    </a:lnTo>
                    <a:lnTo>
                      <a:pt x="585" y="160"/>
                    </a:lnTo>
                    <a:lnTo>
                      <a:pt x="595" y="164"/>
                    </a:lnTo>
                    <a:lnTo>
                      <a:pt x="599" y="169"/>
                    </a:lnTo>
                    <a:lnTo>
                      <a:pt x="599" y="173"/>
                    </a:lnTo>
                    <a:lnTo>
                      <a:pt x="599" y="173"/>
                    </a:lnTo>
                    <a:lnTo>
                      <a:pt x="608" y="183"/>
                    </a:lnTo>
                    <a:lnTo>
                      <a:pt x="613" y="187"/>
                    </a:lnTo>
                    <a:lnTo>
                      <a:pt x="617" y="192"/>
                    </a:lnTo>
                    <a:lnTo>
                      <a:pt x="617" y="196"/>
                    </a:lnTo>
                    <a:lnTo>
                      <a:pt x="627" y="201"/>
                    </a:lnTo>
                    <a:lnTo>
                      <a:pt x="627" y="205"/>
                    </a:lnTo>
                    <a:lnTo>
                      <a:pt x="631" y="205"/>
                    </a:lnTo>
                    <a:lnTo>
                      <a:pt x="640" y="224"/>
                    </a:lnTo>
                    <a:lnTo>
                      <a:pt x="649" y="224"/>
                    </a:lnTo>
                    <a:lnTo>
                      <a:pt x="654" y="228"/>
                    </a:lnTo>
                    <a:lnTo>
                      <a:pt x="654" y="233"/>
                    </a:lnTo>
                    <a:lnTo>
                      <a:pt x="659" y="233"/>
                    </a:lnTo>
                    <a:lnTo>
                      <a:pt x="663" y="242"/>
                    </a:lnTo>
                    <a:lnTo>
                      <a:pt x="663" y="247"/>
                    </a:lnTo>
                    <a:lnTo>
                      <a:pt x="668" y="247"/>
                    </a:lnTo>
                    <a:lnTo>
                      <a:pt x="672" y="247"/>
                    </a:lnTo>
                    <a:lnTo>
                      <a:pt x="677" y="251"/>
                    </a:lnTo>
                    <a:lnTo>
                      <a:pt x="681" y="260"/>
                    </a:lnTo>
                    <a:lnTo>
                      <a:pt x="686" y="265"/>
                    </a:lnTo>
                    <a:lnTo>
                      <a:pt x="695" y="274"/>
                    </a:lnTo>
                    <a:lnTo>
                      <a:pt x="700" y="279"/>
                    </a:lnTo>
                    <a:lnTo>
                      <a:pt x="704" y="283"/>
                    </a:lnTo>
                    <a:lnTo>
                      <a:pt x="713" y="292"/>
                    </a:lnTo>
                    <a:lnTo>
                      <a:pt x="718" y="292"/>
                    </a:lnTo>
                    <a:lnTo>
                      <a:pt x="723" y="292"/>
                    </a:lnTo>
                    <a:lnTo>
                      <a:pt x="727" y="297"/>
                    </a:lnTo>
                    <a:lnTo>
                      <a:pt x="727" y="297"/>
                    </a:lnTo>
                    <a:lnTo>
                      <a:pt x="732" y="297"/>
                    </a:lnTo>
                    <a:lnTo>
                      <a:pt x="732" y="301"/>
                    </a:lnTo>
                    <a:lnTo>
                      <a:pt x="736" y="301"/>
                    </a:lnTo>
                    <a:lnTo>
                      <a:pt x="741" y="301"/>
                    </a:lnTo>
                    <a:lnTo>
                      <a:pt x="750" y="306"/>
                    </a:lnTo>
                    <a:lnTo>
                      <a:pt x="755" y="306"/>
                    </a:lnTo>
                    <a:lnTo>
                      <a:pt x="759" y="311"/>
                    </a:lnTo>
                    <a:lnTo>
                      <a:pt x="764" y="311"/>
                    </a:lnTo>
                    <a:lnTo>
                      <a:pt x="768" y="311"/>
                    </a:lnTo>
                    <a:lnTo>
                      <a:pt x="768" y="315"/>
                    </a:lnTo>
                    <a:lnTo>
                      <a:pt x="768" y="320"/>
                    </a:lnTo>
                    <a:lnTo>
                      <a:pt x="768" y="324"/>
                    </a:lnTo>
                    <a:lnTo>
                      <a:pt x="773" y="338"/>
                    </a:lnTo>
                    <a:lnTo>
                      <a:pt x="773" y="343"/>
                    </a:lnTo>
                    <a:lnTo>
                      <a:pt x="773" y="347"/>
                    </a:lnTo>
                    <a:lnTo>
                      <a:pt x="773" y="352"/>
                    </a:lnTo>
                    <a:lnTo>
                      <a:pt x="773" y="352"/>
                    </a:lnTo>
                    <a:lnTo>
                      <a:pt x="773" y="356"/>
                    </a:lnTo>
                    <a:lnTo>
                      <a:pt x="777" y="356"/>
                    </a:lnTo>
                    <a:lnTo>
                      <a:pt x="782" y="361"/>
                    </a:lnTo>
                    <a:lnTo>
                      <a:pt x="787" y="361"/>
                    </a:lnTo>
                    <a:lnTo>
                      <a:pt x="791" y="361"/>
                    </a:lnTo>
                    <a:lnTo>
                      <a:pt x="796" y="361"/>
                    </a:lnTo>
                    <a:lnTo>
                      <a:pt x="819" y="352"/>
                    </a:lnTo>
                    <a:lnTo>
                      <a:pt x="823" y="352"/>
                    </a:lnTo>
                    <a:lnTo>
                      <a:pt x="828" y="347"/>
                    </a:lnTo>
                    <a:lnTo>
                      <a:pt x="832" y="347"/>
                    </a:lnTo>
                    <a:lnTo>
                      <a:pt x="837" y="347"/>
                    </a:lnTo>
                    <a:lnTo>
                      <a:pt x="837" y="343"/>
                    </a:lnTo>
                    <a:lnTo>
                      <a:pt x="841" y="343"/>
                    </a:lnTo>
                    <a:lnTo>
                      <a:pt x="841" y="338"/>
                    </a:lnTo>
                    <a:lnTo>
                      <a:pt x="846" y="338"/>
                    </a:lnTo>
                    <a:lnTo>
                      <a:pt x="860" y="338"/>
                    </a:lnTo>
                    <a:lnTo>
                      <a:pt x="864" y="338"/>
                    </a:lnTo>
                    <a:lnTo>
                      <a:pt x="869" y="338"/>
                    </a:lnTo>
                    <a:lnTo>
                      <a:pt x="873" y="343"/>
                    </a:lnTo>
                    <a:lnTo>
                      <a:pt x="878" y="343"/>
                    </a:lnTo>
                    <a:lnTo>
                      <a:pt x="883" y="347"/>
                    </a:lnTo>
                    <a:lnTo>
                      <a:pt x="883" y="347"/>
                    </a:lnTo>
                    <a:lnTo>
                      <a:pt x="883" y="352"/>
                    </a:lnTo>
                    <a:lnTo>
                      <a:pt x="887" y="352"/>
                    </a:lnTo>
                    <a:lnTo>
                      <a:pt x="892" y="356"/>
                    </a:lnTo>
                    <a:lnTo>
                      <a:pt x="892" y="356"/>
                    </a:lnTo>
                    <a:lnTo>
                      <a:pt x="896" y="356"/>
                    </a:lnTo>
                    <a:lnTo>
                      <a:pt x="901" y="361"/>
                    </a:lnTo>
                    <a:lnTo>
                      <a:pt x="901" y="365"/>
                    </a:lnTo>
                    <a:lnTo>
                      <a:pt x="905" y="365"/>
                    </a:lnTo>
                    <a:lnTo>
                      <a:pt x="905" y="365"/>
                    </a:lnTo>
                    <a:lnTo>
                      <a:pt x="905" y="370"/>
                    </a:lnTo>
                    <a:lnTo>
                      <a:pt x="910" y="370"/>
                    </a:lnTo>
                    <a:lnTo>
                      <a:pt x="915" y="375"/>
                    </a:lnTo>
                    <a:lnTo>
                      <a:pt x="919" y="379"/>
                    </a:lnTo>
                    <a:lnTo>
                      <a:pt x="924" y="379"/>
                    </a:lnTo>
                    <a:lnTo>
                      <a:pt x="924" y="379"/>
                    </a:lnTo>
                    <a:lnTo>
                      <a:pt x="928" y="379"/>
                    </a:lnTo>
                    <a:lnTo>
                      <a:pt x="928" y="384"/>
                    </a:lnTo>
                    <a:lnTo>
                      <a:pt x="928" y="388"/>
                    </a:lnTo>
                    <a:lnTo>
                      <a:pt x="928" y="393"/>
                    </a:lnTo>
                    <a:lnTo>
                      <a:pt x="933" y="398"/>
                    </a:lnTo>
                    <a:lnTo>
                      <a:pt x="937" y="402"/>
                    </a:lnTo>
                    <a:lnTo>
                      <a:pt x="942" y="402"/>
                    </a:lnTo>
                    <a:lnTo>
                      <a:pt x="947" y="407"/>
                    </a:lnTo>
                    <a:lnTo>
                      <a:pt x="947" y="407"/>
                    </a:lnTo>
                    <a:lnTo>
                      <a:pt x="947" y="411"/>
                    </a:lnTo>
                    <a:lnTo>
                      <a:pt x="951" y="411"/>
                    </a:lnTo>
                    <a:lnTo>
                      <a:pt x="956" y="411"/>
                    </a:lnTo>
                    <a:lnTo>
                      <a:pt x="969" y="411"/>
                    </a:lnTo>
                    <a:lnTo>
                      <a:pt x="983" y="416"/>
                    </a:lnTo>
                    <a:lnTo>
                      <a:pt x="992" y="416"/>
                    </a:lnTo>
                    <a:lnTo>
                      <a:pt x="1001" y="420"/>
                    </a:lnTo>
                    <a:lnTo>
                      <a:pt x="1015" y="420"/>
                    </a:lnTo>
                    <a:lnTo>
                      <a:pt x="1029" y="430"/>
                    </a:lnTo>
                    <a:lnTo>
                      <a:pt x="1033" y="430"/>
                    </a:lnTo>
                    <a:lnTo>
                      <a:pt x="1038" y="434"/>
                    </a:lnTo>
                    <a:lnTo>
                      <a:pt x="1038" y="434"/>
                    </a:lnTo>
                    <a:lnTo>
                      <a:pt x="1043" y="434"/>
                    </a:lnTo>
                    <a:lnTo>
                      <a:pt x="1047" y="439"/>
                    </a:lnTo>
                    <a:lnTo>
                      <a:pt x="1047" y="439"/>
                    </a:lnTo>
                    <a:lnTo>
                      <a:pt x="1052" y="439"/>
                    </a:lnTo>
                    <a:lnTo>
                      <a:pt x="1056" y="443"/>
                    </a:lnTo>
                    <a:lnTo>
                      <a:pt x="1061" y="443"/>
                    </a:lnTo>
                    <a:lnTo>
                      <a:pt x="1079" y="457"/>
                    </a:lnTo>
                    <a:lnTo>
                      <a:pt x="1084" y="466"/>
                    </a:lnTo>
                    <a:lnTo>
                      <a:pt x="1088" y="466"/>
                    </a:lnTo>
                    <a:lnTo>
                      <a:pt x="1093" y="466"/>
                    </a:lnTo>
                    <a:lnTo>
                      <a:pt x="1093" y="471"/>
                    </a:lnTo>
                    <a:lnTo>
                      <a:pt x="1097" y="471"/>
                    </a:lnTo>
                    <a:lnTo>
                      <a:pt x="1102" y="475"/>
                    </a:lnTo>
                    <a:lnTo>
                      <a:pt x="1102" y="475"/>
                    </a:lnTo>
                    <a:lnTo>
                      <a:pt x="1111" y="480"/>
                    </a:lnTo>
                    <a:lnTo>
                      <a:pt x="1120" y="480"/>
                    </a:lnTo>
                    <a:lnTo>
                      <a:pt x="1125" y="480"/>
                    </a:lnTo>
                    <a:lnTo>
                      <a:pt x="1129" y="484"/>
                    </a:lnTo>
                    <a:lnTo>
                      <a:pt x="1139" y="489"/>
                    </a:lnTo>
                    <a:lnTo>
                      <a:pt x="1143" y="489"/>
                    </a:lnTo>
                    <a:lnTo>
                      <a:pt x="1143" y="494"/>
                    </a:lnTo>
                    <a:lnTo>
                      <a:pt x="1148" y="494"/>
                    </a:lnTo>
                    <a:lnTo>
                      <a:pt x="1148" y="498"/>
                    </a:lnTo>
                    <a:lnTo>
                      <a:pt x="1148" y="503"/>
                    </a:lnTo>
                    <a:lnTo>
                      <a:pt x="1148" y="507"/>
                    </a:lnTo>
                    <a:lnTo>
                      <a:pt x="1152" y="507"/>
                    </a:lnTo>
                    <a:lnTo>
                      <a:pt x="1152" y="512"/>
                    </a:lnTo>
                    <a:lnTo>
                      <a:pt x="1157" y="512"/>
                    </a:lnTo>
                    <a:lnTo>
                      <a:pt x="1166" y="512"/>
                    </a:lnTo>
                    <a:lnTo>
                      <a:pt x="1171" y="512"/>
                    </a:lnTo>
                    <a:lnTo>
                      <a:pt x="1175" y="516"/>
                    </a:lnTo>
                    <a:lnTo>
                      <a:pt x="1198" y="516"/>
                    </a:lnTo>
                    <a:lnTo>
                      <a:pt x="1203" y="512"/>
                    </a:lnTo>
                    <a:lnTo>
                      <a:pt x="1216" y="512"/>
                    </a:lnTo>
                    <a:lnTo>
                      <a:pt x="1225" y="516"/>
                    </a:lnTo>
                    <a:lnTo>
                      <a:pt x="1230" y="516"/>
                    </a:lnTo>
                    <a:lnTo>
                      <a:pt x="1239" y="512"/>
                    </a:lnTo>
                    <a:lnTo>
                      <a:pt x="1248" y="512"/>
                    </a:lnTo>
                    <a:lnTo>
                      <a:pt x="1253" y="512"/>
                    </a:lnTo>
                    <a:lnTo>
                      <a:pt x="1257" y="512"/>
                    </a:lnTo>
                    <a:lnTo>
                      <a:pt x="1267" y="507"/>
                    </a:lnTo>
                    <a:lnTo>
                      <a:pt x="1271" y="507"/>
                    </a:lnTo>
                    <a:lnTo>
                      <a:pt x="1276" y="512"/>
                    </a:lnTo>
                    <a:lnTo>
                      <a:pt x="1280" y="512"/>
                    </a:lnTo>
                    <a:lnTo>
                      <a:pt x="1285" y="512"/>
                    </a:lnTo>
                    <a:lnTo>
                      <a:pt x="1285" y="512"/>
                    </a:lnTo>
                    <a:lnTo>
                      <a:pt x="1289" y="512"/>
                    </a:lnTo>
                    <a:lnTo>
                      <a:pt x="1289" y="516"/>
                    </a:lnTo>
                    <a:lnTo>
                      <a:pt x="1294" y="516"/>
                    </a:lnTo>
                    <a:lnTo>
                      <a:pt x="1299" y="516"/>
                    </a:lnTo>
                    <a:lnTo>
                      <a:pt x="1299" y="521"/>
                    </a:lnTo>
                    <a:lnTo>
                      <a:pt x="1299" y="521"/>
                    </a:lnTo>
                    <a:lnTo>
                      <a:pt x="1308" y="526"/>
                    </a:lnTo>
                    <a:lnTo>
                      <a:pt x="1312" y="526"/>
                    </a:lnTo>
                    <a:lnTo>
                      <a:pt x="1317" y="526"/>
                    </a:lnTo>
                    <a:lnTo>
                      <a:pt x="1321" y="526"/>
                    </a:lnTo>
                    <a:lnTo>
                      <a:pt x="1321" y="521"/>
                    </a:lnTo>
                    <a:lnTo>
                      <a:pt x="1321" y="526"/>
                    </a:lnTo>
                    <a:lnTo>
                      <a:pt x="1321" y="530"/>
                    </a:lnTo>
                    <a:lnTo>
                      <a:pt x="1321" y="530"/>
                    </a:lnTo>
                    <a:lnTo>
                      <a:pt x="1321" y="535"/>
                    </a:lnTo>
                    <a:lnTo>
                      <a:pt x="1317" y="539"/>
                    </a:lnTo>
                    <a:lnTo>
                      <a:pt x="1317" y="548"/>
                    </a:lnTo>
                    <a:lnTo>
                      <a:pt x="1312" y="553"/>
                    </a:lnTo>
                    <a:lnTo>
                      <a:pt x="1312" y="553"/>
                    </a:lnTo>
                    <a:lnTo>
                      <a:pt x="1308" y="558"/>
                    </a:lnTo>
                    <a:lnTo>
                      <a:pt x="1308" y="562"/>
                    </a:lnTo>
                    <a:lnTo>
                      <a:pt x="1303" y="562"/>
                    </a:lnTo>
                    <a:lnTo>
                      <a:pt x="1303" y="567"/>
                    </a:lnTo>
                    <a:lnTo>
                      <a:pt x="1299" y="571"/>
                    </a:lnTo>
                    <a:lnTo>
                      <a:pt x="1299" y="576"/>
                    </a:lnTo>
                    <a:lnTo>
                      <a:pt x="1299" y="576"/>
                    </a:lnTo>
                    <a:lnTo>
                      <a:pt x="1299" y="576"/>
                    </a:lnTo>
                    <a:lnTo>
                      <a:pt x="1299" y="580"/>
                    </a:lnTo>
                    <a:lnTo>
                      <a:pt x="1294" y="585"/>
                    </a:lnTo>
                    <a:lnTo>
                      <a:pt x="1294" y="590"/>
                    </a:lnTo>
                    <a:lnTo>
                      <a:pt x="1294" y="599"/>
                    </a:lnTo>
                    <a:lnTo>
                      <a:pt x="1294" y="603"/>
                    </a:lnTo>
                    <a:lnTo>
                      <a:pt x="1294" y="608"/>
                    </a:lnTo>
                    <a:lnTo>
                      <a:pt x="1289" y="612"/>
                    </a:lnTo>
                    <a:lnTo>
                      <a:pt x="1289" y="622"/>
                    </a:lnTo>
                    <a:lnTo>
                      <a:pt x="1289" y="626"/>
                    </a:lnTo>
                    <a:lnTo>
                      <a:pt x="1289" y="640"/>
                    </a:lnTo>
                    <a:lnTo>
                      <a:pt x="1285" y="640"/>
                    </a:lnTo>
                    <a:lnTo>
                      <a:pt x="1285" y="640"/>
                    </a:lnTo>
                    <a:lnTo>
                      <a:pt x="1285" y="644"/>
                    </a:lnTo>
                    <a:lnTo>
                      <a:pt x="1280" y="644"/>
                    </a:lnTo>
                    <a:lnTo>
                      <a:pt x="1276" y="644"/>
                    </a:lnTo>
                    <a:lnTo>
                      <a:pt x="1271" y="644"/>
                    </a:lnTo>
                    <a:lnTo>
                      <a:pt x="1262" y="644"/>
                    </a:lnTo>
                    <a:lnTo>
                      <a:pt x="1257" y="644"/>
                    </a:lnTo>
                    <a:lnTo>
                      <a:pt x="1257" y="644"/>
                    </a:lnTo>
                    <a:lnTo>
                      <a:pt x="1253" y="640"/>
                    </a:lnTo>
                    <a:lnTo>
                      <a:pt x="1244" y="640"/>
                    </a:lnTo>
                    <a:lnTo>
                      <a:pt x="1230" y="640"/>
                    </a:lnTo>
                    <a:lnTo>
                      <a:pt x="1225" y="640"/>
                    </a:lnTo>
                    <a:lnTo>
                      <a:pt x="1221" y="640"/>
                    </a:lnTo>
                    <a:lnTo>
                      <a:pt x="1212" y="640"/>
                    </a:lnTo>
                    <a:lnTo>
                      <a:pt x="1203" y="640"/>
                    </a:lnTo>
                    <a:lnTo>
                      <a:pt x="1198" y="644"/>
                    </a:lnTo>
                    <a:lnTo>
                      <a:pt x="1193" y="644"/>
                    </a:lnTo>
                    <a:lnTo>
                      <a:pt x="1189" y="644"/>
                    </a:lnTo>
                    <a:lnTo>
                      <a:pt x="1189" y="640"/>
                    </a:lnTo>
                    <a:lnTo>
                      <a:pt x="1189" y="640"/>
                    </a:lnTo>
                    <a:lnTo>
                      <a:pt x="1184" y="640"/>
                    </a:lnTo>
                    <a:lnTo>
                      <a:pt x="1180" y="640"/>
                    </a:lnTo>
                    <a:lnTo>
                      <a:pt x="1175" y="640"/>
                    </a:lnTo>
                    <a:lnTo>
                      <a:pt x="1171" y="640"/>
                    </a:lnTo>
                    <a:lnTo>
                      <a:pt x="1157" y="640"/>
                    </a:lnTo>
                    <a:lnTo>
                      <a:pt x="1152" y="640"/>
                    </a:lnTo>
                    <a:lnTo>
                      <a:pt x="1148" y="640"/>
                    </a:lnTo>
                    <a:lnTo>
                      <a:pt x="1143" y="640"/>
                    </a:lnTo>
                    <a:lnTo>
                      <a:pt x="1143" y="635"/>
                    </a:lnTo>
                    <a:lnTo>
                      <a:pt x="1139" y="635"/>
                    </a:lnTo>
                    <a:lnTo>
                      <a:pt x="1134" y="635"/>
                    </a:lnTo>
                    <a:lnTo>
                      <a:pt x="1129" y="635"/>
                    </a:lnTo>
                    <a:lnTo>
                      <a:pt x="1125" y="631"/>
                    </a:lnTo>
                    <a:lnTo>
                      <a:pt x="1120" y="626"/>
                    </a:lnTo>
                    <a:lnTo>
                      <a:pt x="1116" y="626"/>
                    </a:lnTo>
                    <a:lnTo>
                      <a:pt x="1116" y="622"/>
                    </a:lnTo>
                    <a:lnTo>
                      <a:pt x="1111" y="622"/>
                    </a:lnTo>
                    <a:lnTo>
                      <a:pt x="1107" y="622"/>
                    </a:lnTo>
                    <a:lnTo>
                      <a:pt x="1102" y="617"/>
                    </a:lnTo>
                    <a:lnTo>
                      <a:pt x="1102" y="617"/>
                    </a:lnTo>
                    <a:lnTo>
                      <a:pt x="1097" y="612"/>
                    </a:lnTo>
                    <a:lnTo>
                      <a:pt x="1093" y="608"/>
                    </a:lnTo>
                    <a:lnTo>
                      <a:pt x="1088" y="603"/>
                    </a:lnTo>
                    <a:lnTo>
                      <a:pt x="1084" y="603"/>
                    </a:lnTo>
                    <a:lnTo>
                      <a:pt x="1084" y="599"/>
                    </a:lnTo>
                    <a:lnTo>
                      <a:pt x="1079" y="599"/>
                    </a:lnTo>
                    <a:lnTo>
                      <a:pt x="1079" y="599"/>
                    </a:lnTo>
                    <a:lnTo>
                      <a:pt x="1075" y="599"/>
                    </a:lnTo>
                    <a:lnTo>
                      <a:pt x="1070" y="599"/>
                    </a:lnTo>
                    <a:lnTo>
                      <a:pt x="1065" y="599"/>
                    </a:lnTo>
                    <a:lnTo>
                      <a:pt x="1061" y="599"/>
                    </a:lnTo>
                    <a:lnTo>
                      <a:pt x="1056" y="599"/>
                    </a:lnTo>
                    <a:lnTo>
                      <a:pt x="1056" y="599"/>
                    </a:lnTo>
                    <a:lnTo>
                      <a:pt x="1052" y="603"/>
                    </a:lnTo>
                    <a:lnTo>
                      <a:pt x="1047" y="608"/>
                    </a:lnTo>
                    <a:lnTo>
                      <a:pt x="1043" y="608"/>
                    </a:lnTo>
                    <a:lnTo>
                      <a:pt x="1043" y="612"/>
                    </a:lnTo>
                    <a:lnTo>
                      <a:pt x="1038" y="622"/>
                    </a:lnTo>
                    <a:lnTo>
                      <a:pt x="1038" y="622"/>
                    </a:lnTo>
                    <a:lnTo>
                      <a:pt x="1038" y="626"/>
                    </a:lnTo>
                    <a:lnTo>
                      <a:pt x="1033" y="626"/>
                    </a:lnTo>
                    <a:lnTo>
                      <a:pt x="1033" y="631"/>
                    </a:lnTo>
                    <a:lnTo>
                      <a:pt x="1029" y="635"/>
                    </a:lnTo>
                    <a:lnTo>
                      <a:pt x="1024" y="640"/>
                    </a:lnTo>
                    <a:lnTo>
                      <a:pt x="1020" y="640"/>
                    </a:lnTo>
                    <a:lnTo>
                      <a:pt x="1020" y="640"/>
                    </a:lnTo>
                    <a:lnTo>
                      <a:pt x="1015" y="640"/>
                    </a:lnTo>
                    <a:lnTo>
                      <a:pt x="1015" y="644"/>
                    </a:lnTo>
                    <a:lnTo>
                      <a:pt x="1015" y="644"/>
                    </a:lnTo>
                    <a:lnTo>
                      <a:pt x="1015" y="649"/>
                    </a:lnTo>
                    <a:lnTo>
                      <a:pt x="1011" y="649"/>
                    </a:lnTo>
                    <a:lnTo>
                      <a:pt x="1006" y="654"/>
                    </a:lnTo>
                    <a:lnTo>
                      <a:pt x="1001" y="654"/>
                    </a:lnTo>
                    <a:lnTo>
                      <a:pt x="1001" y="658"/>
                    </a:lnTo>
                    <a:lnTo>
                      <a:pt x="1001" y="663"/>
                    </a:lnTo>
                    <a:lnTo>
                      <a:pt x="997" y="663"/>
                    </a:lnTo>
                    <a:lnTo>
                      <a:pt x="997" y="663"/>
                    </a:lnTo>
                    <a:lnTo>
                      <a:pt x="997" y="667"/>
                    </a:lnTo>
                    <a:lnTo>
                      <a:pt x="1001" y="681"/>
                    </a:lnTo>
                    <a:lnTo>
                      <a:pt x="1001" y="686"/>
                    </a:lnTo>
                    <a:lnTo>
                      <a:pt x="1006" y="686"/>
                    </a:lnTo>
                    <a:lnTo>
                      <a:pt x="1006" y="690"/>
                    </a:lnTo>
                    <a:lnTo>
                      <a:pt x="1011" y="695"/>
                    </a:lnTo>
                    <a:lnTo>
                      <a:pt x="1011" y="699"/>
                    </a:lnTo>
                    <a:lnTo>
                      <a:pt x="1015" y="704"/>
                    </a:lnTo>
                    <a:lnTo>
                      <a:pt x="1015" y="704"/>
                    </a:lnTo>
                    <a:lnTo>
                      <a:pt x="1024" y="704"/>
                    </a:lnTo>
                    <a:lnTo>
                      <a:pt x="1029" y="704"/>
                    </a:lnTo>
                    <a:lnTo>
                      <a:pt x="1033" y="704"/>
                    </a:lnTo>
                    <a:lnTo>
                      <a:pt x="1033" y="708"/>
                    </a:lnTo>
                    <a:lnTo>
                      <a:pt x="1038" y="708"/>
                    </a:lnTo>
                    <a:lnTo>
                      <a:pt x="1038" y="713"/>
                    </a:lnTo>
                    <a:lnTo>
                      <a:pt x="1038" y="718"/>
                    </a:lnTo>
                    <a:lnTo>
                      <a:pt x="1038" y="727"/>
                    </a:lnTo>
                    <a:lnTo>
                      <a:pt x="1038" y="731"/>
                    </a:lnTo>
                    <a:lnTo>
                      <a:pt x="1043" y="731"/>
                    </a:lnTo>
                    <a:lnTo>
                      <a:pt x="1043" y="736"/>
                    </a:lnTo>
                    <a:lnTo>
                      <a:pt x="1047" y="736"/>
                    </a:lnTo>
                    <a:lnTo>
                      <a:pt x="1052" y="736"/>
                    </a:lnTo>
                    <a:lnTo>
                      <a:pt x="1056" y="736"/>
                    </a:lnTo>
                    <a:lnTo>
                      <a:pt x="1056" y="736"/>
                    </a:lnTo>
                    <a:lnTo>
                      <a:pt x="1065" y="731"/>
                    </a:lnTo>
                    <a:lnTo>
                      <a:pt x="1070" y="731"/>
                    </a:lnTo>
                    <a:lnTo>
                      <a:pt x="1075" y="731"/>
                    </a:lnTo>
                    <a:lnTo>
                      <a:pt x="1079" y="736"/>
                    </a:lnTo>
                    <a:lnTo>
                      <a:pt x="1079" y="740"/>
                    </a:lnTo>
                    <a:lnTo>
                      <a:pt x="1079" y="745"/>
                    </a:lnTo>
                    <a:lnTo>
                      <a:pt x="1079" y="750"/>
                    </a:lnTo>
                    <a:lnTo>
                      <a:pt x="1079" y="759"/>
                    </a:lnTo>
                    <a:lnTo>
                      <a:pt x="1075" y="763"/>
                    </a:lnTo>
                    <a:lnTo>
                      <a:pt x="1075" y="768"/>
                    </a:lnTo>
                    <a:lnTo>
                      <a:pt x="1075" y="772"/>
                    </a:lnTo>
                    <a:lnTo>
                      <a:pt x="1070" y="772"/>
                    </a:lnTo>
                    <a:lnTo>
                      <a:pt x="1070" y="772"/>
                    </a:lnTo>
                    <a:lnTo>
                      <a:pt x="1065" y="777"/>
                    </a:lnTo>
                    <a:lnTo>
                      <a:pt x="1065" y="772"/>
                    </a:lnTo>
                    <a:lnTo>
                      <a:pt x="1065" y="772"/>
                    </a:lnTo>
                    <a:lnTo>
                      <a:pt x="1061" y="768"/>
                    </a:lnTo>
                    <a:lnTo>
                      <a:pt x="1061" y="763"/>
                    </a:lnTo>
                    <a:lnTo>
                      <a:pt x="1056" y="759"/>
                    </a:lnTo>
                    <a:lnTo>
                      <a:pt x="1056" y="759"/>
                    </a:lnTo>
                    <a:lnTo>
                      <a:pt x="1052" y="759"/>
                    </a:lnTo>
                    <a:lnTo>
                      <a:pt x="1047" y="754"/>
                    </a:lnTo>
                    <a:lnTo>
                      <a:pt x="1043" y="754"/>
                    </a:lnTo>
                    <a:lnTo>
                      <a:pt x="1038" y="754"/>
                    </a:lnTo>
                    <a:lnTo>
                      <a:pt x="1033" y="754"/>
                    </a:lnTo>
                    <a:lnTo>
                      <a:pt x="1029" y="754"/>
                    </a:lnTo>
                    <a:lnTo>
                      <a:pt x="1015" y="759"/>
                    </a:lnTo>
                    <a:lnTo>
                      <a:pt x="1015" y="759"/>
                    </a:lnTo>
                    <a:lnTo>
                      <a:pt x="1015" y="763"/>
                    </a:lnTo>
                    <a:lnTo>
                      <a:pt x="1011" y="768"/>
                    </a:lnTo>
                    <a:lnTo>
                      <a:pt x="1011" y="772"/>
                    </a:lnTo>
                    <a:lnTo>
                      <a:pt x="1011" y="777"/>
                    </a:lnTo>
                    <a:lnTo>
                      <a:pt x="1011" y="782"/>
                    </a:lnTo>
                    <a:lnTo>
                      <a:pt x="1011" y="786"/>
                    </a:lnTo>
                    <a:lnTo>
                      <a:pt x="1006" y="786"/>
                    </a:lnTo>
                    <a:lnTo>
                      <a:pt x="1006" y="791"/>
                    </a:lnTo>
                    <a:lnTo>
                      <a:pt x="1001" y="795"/>
                    </a:lnTo>
                    <a:lnTo>
                      <a:pt x="997" y="795"/>
                    </a:lnTo>
                    <a:lnTo>
                      <a:pt x="992" y="795"/>
                    </a:lnTo>
                    <a:lnTo>
                      <a:pt x="992" y="800"/>
                    </a:lnTo>
                    <a:lnTo>
                      <a:pt x="988" y="800"/>
                    </a:lnTo>
                    <a:lnTo>
                      <a:pt x="979" y="800"/>
                    </a:lnTo>
                    <a:lnTo>
                      <a:pt x="969" y="800"/>
                    </a:lnTo>
                    <a:lnTo>
                      <a:pt x="969" y="795"/>
                    </a:lnTo>
                    <a:lnTo>
                      <a:pt x="965" y="795"/>
                    </a:lnTo>
                    <a:lnTo>
                      <a:pt x="960" y="795"/>
                    </a:lnTo>
                    <a:lnTo>
                      <a:pt x="960" y="795"/>
                    </a:lnTo>
                    <a:lnTo>
                      <a:pt x="956" y="795"/>
                    </a:lnTo>
                    <a:lnTo>
                      <a:pt x="951" y="795"/>
                    </a:lnTo>
                    <a:lnTo>
                      <a:pt x="947" y="791"/>
                    </a:lnTo>
                    <a:lnTo>
                      <a:pt x="947" y="786"/>
                    </a:lnTo>
                    <a:lnTo>
                      <a:pt x="942" y="786"/>
                    </a:lnTo>
                    <a:lnTo>
                      <a:pt x="942" y="782"/>
                    </a:lnTo>
                    <a:lnTo>
                      <a:pt x="937" y="777"/>
                    </a:lnTo>
                    <a:lnTo>
                      <a:pt x="933" y="772"/>
                    </a:lnTo>
                    <a:lnTo>
                      <a:pt x="928" y="772"/>
                    </a:lnTo>
                    <a:lnTo>
                      <a:pt x="924" y="772"/>
                    </a:lnTo>
                    <a:lnTo>
                      <a:pt x="919" y="772"/>
                    </a:lnTo>
                    <a:lnTo>
                      <a:pt x="915" y="772"/>
                    </a:lnTo>
                    <a:lnTo>
                      <a:pt x="915" y="777"/>
                    </a:lnTo>
                    <a:lnTo>
                      <a:pt x="910" y="777"/>
                    </a:lnTo>
                    <a:lnTo>
                      <a:pt x="910" y="782"/>
                    </a:lnTo>
                    <a:lnTo>
                      <a:pt x="905" y="782"/>
                    </a:lnTo>
                    <a:lnTo>
                      <a:pt x="905" y="782"/>
                    </a:lnTo>
                    <a:lnTo>
                      <a:pt x="901" y="782"/>
                    </a:lnTo>
                    <a:lnTo>
                      <a:pt x="896" y="777"/>
                    </a:lnTo>
                    <a:lnTo>
                      <a:pt x="892" y="777"/>
                    </a:lnTo>
                    <a:lnTo>
                      <a:pt x="887" y="772"/>
                    </a:lnTo>
                    <a:lnTo>
                      <a:pt x="883" y="772"/>
                    </a:lnTo>
                    <a:lnTo>
                      <a:pt x="883" y="772"/>
                    </a:lnTo>
                    <a:lnTo>
                      <a:pt x="878" y="772"/>
                    </a:lnTo>
                    <a:lnTo>
                      <a:pt x="864" y="777"/>
                    </a:lnTo>
                    <a:lnTo>
                      <a:pt x="860" y="777"/>
                    </a:lnTo>
                    <a:lnTo>
                      <a:pt x="860" y="777"/>
                    </a:lnTo>
                    <a:lnTo>
                      <a:pt x="860" y="772"/>
                    </a:lnTo>
                    <a:lnTo>
                      <a:pt x="855" y="772"/>
                    </a:lnTo>
                    <a:lnTo>
                      <a:pt x="855" y="772"/>
                    </a:lnTo>
                    <a:lnTo>
                      <a:pt x="851" y="768"/>
                    </a:lnTo>
                    <a:lnTo>
                      <a:pt x="851" y="763"/>
                    </a:lnTo>
                    <a:lnTo>
                      <a:pt x="846" y="759"/>
                    </a:lnTo>
                    <a:lnTo>
                      <a:pt x="841" y="759"/>
                    </a:lnTo>
                    <a:lnTo>
                      <a:pt x="837" y="759"/>
                    </a:lnTo>
                    <a:lnTo>
                      <a:pt x="837" y="754"/>
                    </a:lnTo>
                    <a:lnTo>
                      <a:pt x="828" y="754"/>
                    </a:lnTo>
                    <a:lnTo>
                      <a:pt x="823" y="754"/>
                    </a:lnTo>
                    <a:lnTo>
                      <a:pt x="819" y="754"/>
                    </a:lnTo>
                    <a:lnTo>
                      <a:pt x="819" y="759"/>
                    </a:lnTo>
                    <a:lnTo>
                      <a:pt x="814" y="763"/>
                    </a:lnTo>
                    <a:lnTo>
                      <a:pt x="809" y="763"/>
                    </a:lnTo>
                    <a:lnTo>
                      <a:pt x="805" y="768"/>
                    </a:lnTo>
                    <a:lnTo>
                      <a:pt x="800" y="768"/>
                    </a:lnTo>
                    <a:lnTo>
                      <a:pt x="796" y="763"/>
                    </a:lnTo>
                    <a:lnTo>
                      <a:pt x="796" y="763"/>
                    </a:lnTo>
                    <a:lnTo>
                      <a:pt x="791" y="763"/>
                    </a:lnTo>
                    <a:lnTo>
                      <a:pt x="787" y="763"/>
                    </a:lnTo>
                    <a:lnTo>
                      <a:pt x="782" y="763"/>
                    </a:lnTo>
                    <a:lnTo>
                      <a:pt x="782" y="768"/>
                    </a:lnTo>
                    <a:lnTo>
                      <a:pt x="777" y="768"/>
                    </a:lnTo>
                    <a:lnTo>
                      <a:pt x="773" y="768"/>
                    </a:lnTo>
                    <a:lnTo>
                      <a:pt x="773" y="768"/>
                    </a:lnTo>
                    <a:lnTo>
                      <a:pt x="773" y="772"/>
                    </a:lnTo>
                    <a:lnTo>
                      <a:pt x="768" y="772"/>
                    </a:lnTo>
                    <a:lnTo>
                      <a:pt x="755" y="772"/>
                    </a:lnTo>
                    <a:lnTo>
                      <a:pt x="750" y="772"/>
                    </a:lnTo>
                    <a:lnTo>
                      <a:pt x="750" y="772"/>
                    </a:lnTo>
                    <a:lnTo>
                      <a:pt x="750" y="772"/>
                    </a:lnTo>
                    <a:lnTo>
                      <a:pt x="741" y="772"/>
                    </a:lnTo>
                    <a:lnTo>
                      <a:pt x="736" y="772"/>
                    </a:lnTo>
                    <a:lnTo>
                      <a:pt x="732" y="768"/>
                    </a:lnTo>
                    <a:lnTo>
                      <a:pt x="727" y="772"/>
                    </a:lnTo>
                    <a:lnTo>
                      <a:pt x="727" y="772"/>
                    </a:lnTo>
                    <a:lnTo>
                      <a:pt x="723" y="772"/>
                    </a:lnTo>
                    <a:lnTo>
                      <a:pt x="713" y="772"/>
                    </a:lnTo>
                    <a:lnTo>
                      <a:pt x="709" y="772"/>
                    </a:lnTo>
                    <a:lnTo>
                      <a:pt x="704" y="772"/>
                    </a:lnTo>
                    <a:lnTo>
                      <a:pt x="700" y="772"/>
                    </a:lnTo>
                    <a:lnTo>
                      <a:pt x="691" y="768"/>
                    </a:lnTo>
                    <a:lnTo>
                      <a:pt x="686" y="763"/>
                    </a:lnTo>
                    <a:lnTo>
                      <a:pt x="681" y="759"/>
                    </a:lnTo>
                    <a:lnTo>
                      <a:pt x="677" y="750"/>
                    </a:lnTo>
                    <a:lnTo>
                      <a:pt x="672" y="750"/>
                    </a:lnTo>
                    <a:lnTo>
                      <a:pt x="672" y="750"/>
                    </a:lnTo>
                    <a:lnTo>
                      <a:pt x="672" y="745"/>
                    </a:lnTo>
                    <a:lnTo>
                      <a:pt x="668" y="736"/>
                    </a:lnTo>
                    <a:lnTo>
                      <a:pt x="672" y="731"/>
                    </a:lnTo>
                    <a:lnTo>
                      <a:pt x="668" y="727"/>
                    </a:lnTo>
                    <a:lnTo>
                      <a:pt x="668" y="722"/>
                    </a:lnTo>
                    <a:lnTo>
                      <a:pt x="663" y="718"/>
                    </a:lnTo>
                    <a:lnTo>
                      <a:pt x="663" y="713"/>
                    </a:lnTo>
                    <a:lnTo>
                      <a:pt x="663" y="708"/>
                    </a:lnTo>
                    <a:lnTo>
                      <a:pt x="663" y="708"/>
                    </a:lnTo>
                    <a:lnTo>
                      <a:pt x="659" y="704"/>
                    </a:lnTo>
                    <a:lnTo>
                      <a:pt x="654" y="699"/>
                    </a:lnTo>
                    <a:lnTo>
                      <a:pt x="649" y="699"/>
                    </a:lnTo>
                    <a:lnTo>
                      <a:pt x="645" y="695"/>
                    </a:lnTo>
                    <a:lnTo>
                      <a:pt x="640" y="690"/>
                    </a:lnTo>
                    <a:lnTo>
                      <a:pt x="640" y="686"/>
                    </a:lnTo>
                    <a:lnTo>
                      <a:pt x="640" y="686"/>
                    </a:lnTo>
                    <a:lnTo>
                      <a:pt x="631" y="681"/>
                    </a:lnTo>
                    <a:lnTo>
                      <a:pt x="631" y="676"/>
                    </a:lnTo>
                    <a:lnTo>
                      <a:pt x="627" y="672"/>
                    </a:lnTo>
                    <a:lnTo>
                      <a:pt x="617" y="667"/>
                    </a:lnTo>
                    <a:lnTo>
                      <a:pt x="617" y="663"/>
                    </a:lnTo>
                    <a:lnTo>
                      <a:pt x="617" y="658"/>
                    </a:lnTo>
                    <a:lnTo>
                      <a:pt x="613" y="658"/>
                    </a:lnTo>
                    <a:lnTo>
                      <a:pt x="608" y="649"/>
                    </a:lnTo>
                    <a:lnTo>
                      <a:pt x="608" y="644"/>
                    </a:lnTo>
                    <a:lnTo>
                      <a:pt x="604" y="640"/>
                    </a:lnTo>
                    <a:lnTo>
                      <a:pt x="599" y="635"/>
                    </a:lnTo>
                    <a:lnTo>
                      <a:pt x="599" y="631"/>
                    </a:lnTo>
                    <a:lnTo>
                      <a:pt x="599" y="626"/>
                    </a:lnTo>
                    <a:lnTo>
                      <a:pt x="595" y="622"/>
                    </a:lnTo>
                    <a:lnTo>
                      <a:pt x="590" y="612"/>
                    </a:lnTo>
                    <a:lnTo>
                      <a:pt x="585" y="603"/>
                    </a:lnTo>
                    <a:lnTo>
                      <a:pt x="585" y="599"/>
                    </a:lnTo>
                    <a:lnTo>
                      <a:pt x="581" y="599"/>
                    </a:lnTo>
                    <a:lnTo>
                      <a:pt x="581" y="599"/>
                    </a:lnTo>
                    <a:lnTo>
                      <a:pt x="576" y="594"/>
                    </a:lnTo>
                    <a:lnTo>
                      <a:pt x="576" y="590"/>
                    </a:lnTo>
                    <a:lnTo>
                      <a:pt x="576" y="585"/>
                    </a:lnTo>
                    <a:lnTo>
                      <a:pt x="572" y="580"/>
                    </a:lnTo>
                    <a:lnTo>
                      <a:pt x="572" y="576"/>
                    </a:lnTo>
                    <a:lnTo>
                      <a:pt x="567" y="576"/>
                    </a:lnTo>
                    <a:lnTo>
                      <a:pt x="563" y="567"/>
                    </a:lnTo>
                    <a:lnTo>
                      <a:pt x="558" y="558"/>
                    </a:lnTo>
                    <a:lnTo>
                      <a:pt x="553" y="558"/>
                    </a:lnTo>
                    <a:lnTo>
                      <a:pt x="553" y="553"/>
                    </a:lnTo>
                    <a:lnTo>
                      <a:pt x="553" y="553"/>
                    </a:lnTo>
                    <a:lnTo>
                      <a:pt x="553" y="553"/>
                    </a:lnTo>
                    <a:lnTo>
                      <a:pt x="553" y="548"/>
                    </a:lnTo>
                    <a:lnTo>
                      <a:pt x="553" y="544"/>
                    </a:lnTo>
                    <a:lnTo>
                      <a:pt x="549" y="539"/>
                    </a:lnTo>
                    <a:lnTo>
                      <a:pt x="549" y="535"/>
                    </a:lnTo>
                    <a:lnTo>
                      <a:pt x="544" y="530"/>
                    </a:lnTo>
                    <a:lnTo>
                      <a:pt x="544" y="526"/>
                    </a:lnTo>
                    <a:lnTo>
                      <a:pt x="544" y="521"/>
                    </a:lnTo>
                    <a:lnTo>
                      <a:pt x="544" y="512"/>
                    </a:lnTo>
                    <a:lnTo>
                      <a:pt x="544" y="507"/>
                    </a:lnTo>
                    <a:lnTo>
                      <a:pt x="544" y="503"/>
                    </a:lnTo>
                    <a:lnTo>
                      <a:pt x="544" y="498"/>
                    </a:lnTo>
                    <a:lnTo>
                      <a:pt x="544" y="494"/>
                    </a:lnTo>
                    <a:lnTo>
                      <a:pt x="544" y="489"/>
                    </a:lnTo>
                    <a:lnTo>
                      <a:pt x="549" y="489"/>
                    </a:lnTo>
                    <a:lnTo>
                      <a:pt x="553" y="489"/>
                    </a:lnTo>
                    <a:lnTo>
                      <a:pt x="553" y="484"/>
                    </a:lnTo>
                    <a:lnTo>
                      <a:pt x="553" y="480"/>
                    </a:lnTo>
                    <a:lnTo>
                      <a:pt x="553" y="480"/>
                    </a:lnTo>
                    <a:lnTo>
                      <a:pt x="553" y="475"/>
                    </a:lnTo>
                    <a:lnTo>
                      <a:pt x="558" y="471"/>
                    </a:lnTo>
                    <a:lnTo>
                      <a:pt x="558" y="466"/>
                    </a:lnTo>
                    <a:lnTo>
                      <a:pt x="563" y="466"/>
                    </a:lnTo>
                    <a:lnTo>
                      <a:pt x="567" y="457"/>
                    </a:lnTo>
                    <a:lnTo>
                      <a:pt x="576" y="452"/>
                    </a:lnTo>
                    <a:lnTo>
                      <a:pt x="576" y="448"/>
                    </a:lnTo>
                    <a:lnTo>
                      <a:pt x="576" y="443"/>
                    </a:lnTo>
                    <a:lnTo>
                      <a:pt x="581" y="443"/>
                    </a:lnTo>
                    <a:lnTo>
                      <a:pt x="585" y="443"/>
                    </a:lnTo>
                    <a:lnTo>
                      <a:pt x="599" y="434"/>
                    </a:lnTo>
                    <a:lnTo>
                      <a:pt x="604" y="430"/>
                    </a:lnTo>
                    <a:lnTo>
                      <a:pt x="604" y="425"/>
                    </a:lnTo>
                    <a:lnTo>
                      <a:pt x="608" y="425"/>
                    </a:lnTo>
                    <a:lnTo>
                      <a:pt x="608" y="420"/>
                    </a:lnTo>
                    <a:lnTo>
                      <a:pt x="608" y="420"/>
                    </a:lnTo>
                    <a:lnTo>
                      <a:pt x="608" y="416"/>
                    </a:lnTo>
                    <a:lnTo>
                      <a:pt x="604" y="411"/>
                    </a:lnTo>
                    <a:lnTo>
                      <a:pt x="599" y="407"/>
                    </a:lnTo>
                    <a:lnTo>
                      <a:pt x="599" y="402"/>
                    </a:lnTo>
                    <a:lnTo>
                      <a:pt x="590" y="407"/>
                    </a:lnTo>
                    <a:lnTo>
                      <a:pt x="585" y="407"/>
                    </a:lnTo>
                    <a:lnTo>
                      <a:pt x="585" y="411"/>
                    </a:lnTo>
                    <a:lnTo>
                      <a:pt x="581" y="411"/>
                    </a:lnTo>
                    <a:lnTo>
                      <a:pt x="576" y="411"/>
                    </a:lnTo>
                    <a:lnTo>
                      <a:pt x="576" y="416"/>
                    </a:lnTo>
                    <a:lnTo>
                      <a:pt x="576" y="416"/>
                    </a:lnTo>
                    <a:lnTo>
                      <a:pt x="576" y="420"/>
                    </a:lnTo>
                    <a:lnTo>
                      <a:pt x="567" y="420"/>
                    </a:lnTo>
                    <a:lnTo>
                      <a:pt x="558" y="425"/>
                    </a:lnTo>
                    <a:lnTo>
                      <a:pt x="558" y="430"/>
                    </a:lnTo>
                    <a:lnTo>
                      <a:pt x="553" y="434"/>
                    </a:lnTo>
                    <a:lnTo>
                      <a:pt x="553" y="439"/>
                    </a:lnTo>
                    <a:lnTo>
                      <a:pt x="549" y="439"/>
                    </a:lnTo>
                    <a:lnTo>
                      <a:pt x="544" y="439"/>
                    </a:lnTo>
                    <a:lnTo>
                      <a:pt x="540" y="439"/>
                    </a:lnTo>
                    <a:lnTo>
                      <a:pt x="535" y="434"/>
                    </a:lnTo>
                    <a:lnTo>
                      <a:pt x="531" y="434"/>
                    </a:lnTo>
                    <a:lnTo>
                      <a:pt x="531" y="430"/>
                    </a:lnTo>
                    <a:lnTo>
                      <a:pt x="526" y="430"/>
                    </a:lnTo>
                    <a:lnTo>
                      <a:pt x="521" y="425"/>
                    </a:lnTo>
                    <a:lnTo>
                      <a:pt x="517" y="425"/>
                    </a:lnTo>
                    <a:lnTo>
                      <a:pt x="512" y="420"/>
                    </a:lnTo>
                    <a:lnTo>
                      <a:pt x="512" y="420"/>
                    </a:lnTo>
                    <a:lnTo>
                      <a:pt x="508" y="420"/>
                    </a:lnTo>
                    <a:lnTo>
                      <a:pt x="508" y="416"/>
                    </a:lnTo>
                    <a:lnTo>
                      <a:pt x="503" y="407"/>
                    </a:lnTo>
                    <a:lnTo>
                      <a:pt x="499" y="407"/>
                    </a:lnTo>
                    <a:lnTo>
                      <a:pt x="499" y="402"/>
                    </a:lnTo>
                    <a:lnTo>
                      <a:pt x="494" y="402"/>
                    </a:lnTo>
                    <a:lnTo>
                      <a:pt x="494" y="402"/>
                    </a:lnTo>
                    <a:lnTo>
                      <a:pt x="489" y="398"/>
                    </a:lnTo>
                    <a:lnTo>
                      <a:pt x="485" y="398"/>
                    </a:lnTo>
                    <a:lnTo>
                      <a:pt x="485" y="393"/>
                    </a:lnTo>
                    <a:lnTo>
                      <a:pt x="480" y="393"/>
                    </a:lnTo>
                    <a:lnTo>
                      <a:pt x="476" y="388"/>
                    </a:lnTo>
                    <a:lnTo>
                      <a:pt x="476" y="384"/>
                    </a:lnTo>
                    <a:lnTo>
                      <a:pt x="471" y="379"/>
                    </a:lnTo>
                    <a:lnTo>
                      <a:pt x="476" y="375"/>
                    </a:lnTo>
                    <a:lnTo>
                      <a:pt x="471" y="375"/>
                    </a:lnTo>
                    <a:lnTo>
                      <a:pt x="471" y="370"/>
                    </a:lnTo>
                    <a:lnTo>
                      <a:pt x="467" y="365"/>
                    </a:lnTo>
                    <a:lnTo>
                      <a:pt x="467" y="361"/>
                    </a:lnTo>
                    <a:lnTo>
                      <a:pt x="467" y="356"/>
                    </a:lnTo>
                    <a:lnTo>
                      <a:pt x="467" y="356"/>
                    </a:lnTo>
                    <a:lnTo>
                      <a:pt x="467" y="356"/>
                    </a:lnTo>
                    <a:lnTo>
                      <a:pt x="453" y="347"/>
                    </a:lnTo>
                    <a:lnTo>
                      <a:pt x="448" y="343"/>
                    </a:lnTo>
                    <a:lnTo>
                      <a:pt x="444" y="338"/>
                    </a:lnTo>
                    <a:lnTo>
                      <a:pt x="444" y="338"/>
                    </a:lnTo>
                    <a:lnTo>
                      <a:pt x="435" y="338"/>
                    </a:lnTo>
                    <a:lnTo>
                      <a:pt x="430" y="338"/>
                    </a:lnTo>
                    <a:lnTo>
                      <a:pt x="425" y="338"/>
                    </a:lnTo>
                    <a:lnTo>
                      <a:pt x="421" y="338"/>
                    </a:lnTo>
                    <a:lnTo>
                      <a:pt x="421" y="338"/>
                    </a:lnTo>
                    <a:lnTo>
                      <a:pt x="421" y="343"/>
                    </a:lnTo>
                    <a:lnTo>
                      <a:pt x="416" y="343"/>
                    </a:lnTo>
                    <a:lnTo>
                      <a:pt x="412" y="343"/>
                    </a:lnTo>
                    <a:lnTo>
                      <a:pt x="412" y="347"/>
                    </a:lnTo>
                    <a:lnTo>
                      <a:pt x="407" y="347"/>
                    </a:lnTo>
                    <a:lnTo>
                      <a:pt x="403" y="347"/>
                    </a:lnTo>
                    <a:lnTo>
                      <a:pt x="403" y="352"/>
                    </a:lnTo>
                    <a:lnTo>
                      <a:pt x="398" y="356"/>
                    </a:lnTo>
                    <a:lnTo>
                      <a:pt x="398" y="356"/>
                    </a:lnTo>
                    <a:lnTo>
                      <a:pt x="389" y="361"/>
                    </a:lnTo>
                    <a:lnTo>
                      <a:pt x="389" y="365"/>
                    </a:lnTo>
                    <a:lnTo>
                      <a:pt x="384" y="370"/>
                    </a:lnTo>
                    <a:lnTo>
                      <a:pt x="384" y="375"/>
                    </a:lnTo>
                    <a:lnTo>
                      <a:pt x="384" y="379"/>
                    </a:lnTo>
                    <a:lnTo>
                      <a:pt x="384" y="379"/>
                    </a:lnTo>
                    <a:lnTo>
                      <a:pt x="384" y="384"/>
                    </a:lnTo>
                    <a:lnTo>
                      <a:pt x="384" y="393"/>
                    </a:lnTo>
                    <a:lnTo>
                      <a:pt x="380" y="398"/>
                    </a:lnTo>
                    <a:lnTo>
                      <a:pt x="380" y="402"/>
                    </a:lnTo>
                    <a:lnTo>
                      <a:pt x="380" y="402"/>
                    </a:lnTo>
                    <a:lnTo>
                      <a:pt x="380" y="402"/>
                    </a:lnTo>
                    <a:lnTo>
                      <a:pt x="375" y="407"/>
                    </a:lnTo>
                    <a:lnTo>
                      <a:pt x="371" y="407"/>
                    </a:lnTo>
                    <a:lnTo>
                      <a:pt x="371" y="411"/>
                    </a:lnTo>
                    <a:lnTo>
                      <a:pt x="366" y="411"/>
                    </a:lnTo>
                    <a:lnTo>
                      <a:pt x="366" y="416"/>
                    </a:lnTo>
                    <a:lnTo>
                      <a:pt x="361" y="416"/>
                    </a:lnTo>
                    <a:lnTo>
                      <a:pt x="357" y="416"/>
                    </a:lnTo>
                    <a:lnTo>
                      <a:pt x="357" y="420"/>
                    </a:lnTo>
                    <a:lnTo>
                      <a:pt x="357" y="420"/>
                    </a:lnTo>
                    <a:lnTo>
                      <a:pt x="352" y="420"/>
                    </a:lnTo>
                    <a:lnTo>
                      <a:pt x="348" y="420"/>
                    </a:lnTo>
                    <a:lnTo>
                      <a:pt x="348" y="425"/>
                    </a:lnTo>
                    <a:lnTo>
                      <a:pt x="343" y="425"/>
                    </a:lnTo>
                    <a:lnTo>
                      <a:pt x="339" y="425"/>
                    </a:lnTo>
                    <a:lnTo>
                      <a:pt x="329" y="434"/>
                    </a:lnTo>
                    <a:lnTo>
                      <a:pt x="320" y="439"/>
                    </a:lnTo>
                    <a:lnTo>
                      <a:pt x="307" y="443"/>
                    </a:lnTo>
                    <a:lnTo>
                      <a:pt x="302" y="443"/>
                    </a:lnTo>
                    <a:lnTo>
                      <a:pt x="288" y="443"/>
                    </a:lnTo>
                    <a:lnTo>
                      <a:pt x="288" y="448"/>
                    </a:lnTo>
                    <a:lnTo>
                      <a:pt x="279" y="452"/>
                    </a:lnTo>
                    <a:lnTo>
                      <a:pt x="275" y="452"/>
                    </a:lnTo>
                    <a:lnTo>
                      <a:pt x="270" y="457"/>
                    </a:lnTo>
                    <a:lnTo>
                      <a:pt x="265" y="462"/>
                    </a:lnTo>
                    <a:lnTo>
                      <a:pt x="261" y="462"/>
                    </a:lnTo>
                    <a:lnTo>
                      <a:pt x="256" y="466"/>
                    </a:lnTo>
                    <a:lnTo>
                      <a:pt x="256" y="466"/>
                    </a:lnTo>
                    <a:lnTo>
                      <a:pt x="252" y="466"/>
                    </a:lnTo>
                    <a:lnTo>
                      <a:pt x="247" y="471"/>
                    </a:lnTo>
                    <a:lnTo>
                      <a:pt x="238" y="475"/>
                    </a:lnTo>
                    <a:lnTo>
                      <a:pt x="233" y="475"/>
                    </a:lnTo>
                    <a:lnTo>
                      <a:pt x="229" y="475"/>
                    </a:lnTo>
                    <a:lnTo>
                      <a:pt x="224" y="475"/>
                    </a:lnTo>
                    <a:lnTo>
                      <a:pt x="224" y="475"/>
                    </a:lnTo>
                    <a:lnTo>
                      <a:pt x="220" y="480"/>
                    </a:lnTo>
                    <a:lnTo>
                      <a:pt x="215" y="480"/>
                    </a:lnTo>
                    <a:lnTo>
                      <a:pt x="215" y="484"/>
                    </a:lnTo>
                    <a:lnTo>
                      <a:pt x="206" y="489"/>
                    </a:lnTo>
                    <a:lnTo>
                      <a:pt x="201" y="489"/>
                    </a:lnTo>
                    <a:lnTo>
                      <a:pt x="201" y="489"/>
                    </a:lnTo>
                    <a:lnTo>
                      <a:pt x="197" y="489"/>
                    </a:lnTo>
                    <a:lnTo>
                      <a:pt x="192" y="489"/>
                    </a:lnTo>
                    <a:lnTo>
                      <a:pt x="183" y="489"/>
                    </a:lnTo>
                    <a:lnTo>
                      <a:pt x="179" y="489"/>
                    </a:lnTo>
                    <a:lnTo>
                      <a:pt x="179" y="489"/>
                    </a:lnTo>
                    <a:lnTo>
                      <a:pt x="179" y="489"/>
                    </a:lnTo>
                    <a:lnTo>
                      <a:pt x="174" y="489"/>
                    </a:lnTo>
                    <a:lnTo>
                      <a:pt x="169" y="489"/>
                    </a:lnTo>
                    <a:lnTo>
                      <a:pt x="165" y="489"/>
                    </a:lnTo>
                    <a:lnTo>
                      <a:pt x="160" y="489"/>
                    </a:lnTo>
                    <a:lnTo>
                      <a:pt x="160" y="489"/>
                    </a:lnTo>
                    <a:lnTo>
                      <a:pt x="156" y="489"/>
                    </a:lnTo>
                    <a:lnTo>
                      <a:pt x="151" y="489"/>
                    </a:lnTo>
                    <a:lnTo>
                      <a:pt x="147" y="489"/>
                    </a:lnTo>
                    <a:lnTo>
                      <a:pt x="142" y="489"/>
                    </a:lnTo>
                    <a:lnTo>
                      <a:pt x="137" y="494"/>
                    </a:lnTo>
                    <a:lnTo>
                      <a:pt x="137" y="494"/>
                    </a:lnTo>
                    <a:lnTo>
                      <a:pt x="137" y="498"/>
                    </a:lnTo>
                    <a:lnTo>
                      <a:pt x="133" y="498"/>
                    </a:lnTo>
                    <a:lnTo>
                      <a:pt x="128" y="503"/>
                    </a:lnTo>
                    <a:lnTo>
                      <a:pt x="124" y="503"/>
                    </a:lnTo>
                    <a:lnTo>
                      <a:pt x="119" y="507"/>
                    </a:lnTo>
                    <a:lnTo>
                      <a:pt x="119" y="512"/>
                    </a:lnTo>
                    <a:lnTo>
                      <a:pt x="115" y="512"/>
                    </a:lnTo>
                    <a:lnTo>
                      <a:pt x="115" y="512"/>
                    </a:lnTo>
                    <a:lnTo>
                      <a:pt x="110" y="512"/>
                    </a:lnTo>
                    <a:lnTo>
                      <a:pt x="110" y="516"/>
                    </a:lnTo>
                    <a:lnTo>
                      <a:pt x="105" y="521"/>
                    </a:lnTo>
                    <a:lnTo>
                      <a:pt x="101" y="526"/>
                    </a:lnTo>
                    <a:lnTo>
                      <a:pt x="96" y="526"/>
                    </a:lnTo>
                    <a:lnTo>
                      <a:pt x="92" y="530"/>
                    </a:lnTo>
                    <a:lnTo>
                      <a:pt x="87" y="535"/>
                    </a:lnTo>
                    <a:lnTo>
                      <a:pt x="83" y="535"/>
                    </a:lnTo>
                    <a:lnTo>
                      <a:pt x="78" y="544"/>
                    </a:lnTo>
                    <a:lnTo>
                      <a:pt x="73" y="544"/>
                    </a:lnTo>
                    <a:lnTo>
                      <a:pt x="73" y="548"/>
                    </a:lnTo>
                    <a:lnTo>
                      <a:pt x="69" y="548"/>
                    </a:lnTo>
                    <a:lnTo>
                      <a:pt x="69" y="553"/>
                    </a:lnTo>
                    <a:lnTo>
                      <a:pt x="69" y="553"/>
                    </a:lnTo>
                    <a:lnTo>
                      <a:pt x="69" y="553"/>
                    </a:lnTo>
                    <a:lnTo>
                      <a:pt x="64" y="553"/>
                    </a:lnTo>
                    <a:lnTo>
                      <a:pt x="60" y="558"/>
                    </a:lnTo>
                    <a:lnTo>
                      <a:pt x="55" y="553"/>
                    </a:lnTo>
                    <a:lnTo>
                      <a:pt x="51" y="553"/>
                    </a:lnTo>
                    <a:lnTo>
                      <a:pt x="46" y="553"/>
                    </a:lnTo>
                    <a:lnTo>
                      <a:pt x="37" y="553"/>
                    </a:lnTo>
                    <a:lnTo>
                      <a:pt x="28" y="553"/>
                    </a:lnTo>
                    <a:lnTo>
                      <a:pt x="28" y="553"/>
                    </a:lnTo>
                    <a:lnTo>
                      <a:pt x="23" y="562"/>
                    </a:lnTo>
                    <a:lnTo>
                      <a:pt x="19" y="567"/>
                    </a:lnTo>
                    <a:lnTo>
                      <a:pt x="14" y="571"/>
                    </a:lnTo>
                    <a:lnTo>
                      <a:pt x="9" y="571"/>
                    </a:lnTo>
                    <a:lnTo>
                      <a:pt x="9" y="571"/>
                    </a:lnTo>
                    <a:lnTo>
                      <a:pt x="9" y="567"/>
                    </a:lnTo>
                    <a:lnTo>
                      <a:pt x="9" y="567"/>
                    </a:lnTo>
                    <a:lnTo>
                      <a:pt x="9" y="558"/>
                    </a:lnTo>
                    <a:lnTo>
                      <a:pt x="9" y="553"/>
                    </a:lnTo>
                    <a:lnTo>
                      <a:pt x="9" y="548"/>
                    </a:lnTo>
                    <a:lnTo>
                      <a:pt x="9" y="544"/>
                    </a:lnTo>
                    <a:lnTo>
                      <a:pt x="5" y="544"/>
                    </a:lnTo>
                    <a:lnTo>
                      <a:pt x="5" y="544"/>
                    </a:lnTo>
                    <a:lnTo>
                      <a:pt x="5" y="539"/>
                    </a:lnTo>
                    <a:lnTo>
                      <a:pt x="9" y="539"/>
                    </a:lnTo>
                    <a:lnTo>
                      <a:pt x="9" y="535"/>
                    </a:lnTo>
                    <a:lnTo>
                      <a:pt x="9" y="530"/>
                    </a:lnTo>
                    <a:lnTo>
                      <a:pt x="9" y="526"/>
                    </a:lnTo>
                    <a:lnTo>
                      <a:pt x="9" y="521"/>
                    </a:lnTo>
                    <a:lnTo>
                      <a:pt x="9" y="516"/>
                    </a:lnTo>
                    <a:lnTo>
                      <a:pt x="9" y="512"/>
                    </a:lnTo>
                    <a:lnTo>
                      <a:pt x="9" y="507"/>
                    </a:lnTo>
                    <a:lnTo>
                      <a:pt x="9" y="507"/>
                    </a:lnTo>
                    <a:lnTo>
                      <a:pt x="5" y="503"/>
                    </a:lnTo>
                    <a:lnTo>
                      <a:pt x="5" y="498"/>
                    </a:lnTo>
                    <a:lnTo>
                      <a:pt x="0" y="498"/>
                    </a:lnTo>
                    <a:lnTo>
                      <a:pt x="5" y="494"/>
                    </a:lnTo>
                    <a:lnTo>
                      <a:pt x="5" y="494"/>
                    </a:lnTo>
                    <a:lnTo>
                      <a:pt x="5" y="489"/>
                    </a:lnTo>
                    <a:lnTo>
                      <a:pt x="9" y="489"/>
                    </a:lnTo>
                    <a:lnTo>
                      <a:pt x="14" y="484"/>
                    </a:lnTo>
                    <a:lnTo>
                      <a:pt x="14" y="484"/>
                    </a:lnTo>
                    <a:lnTo>
                      <a:pt x="14" y="484"/>
                    </a:lnTo>
                    <a:lnTo>
                      <a:pt x="14" y="484"/>
                    </a:lnTo>
                    <a:lnTo>
                      <a:pt x="14" y="480"/>
                    </a:lnTo>
                    <a:lnTo>
                      <a:pt x="14" y="475"/>
                    </a:lnTo>
                    <a:lnTo>
                      <a:pt x="14" y="466"/>
                    </a:lnTo>
                    <a:lnTo>
                      <a:pt x="14" y="466"/>
                    </a:lnTo>
                    <a:lnTo>
                      <a:pt x="14" y="466"/>
                    </a:lnTo>
                    <a:lnTo>
                      <a:pt x="14" y="462"/>
                    </a:lnTo>
                    <a:lnTo>
                      <a:pt x="14" y="462"/>
                    </a:lnTo>
                    <a:lnTo>
                      <a:pt x="19" y="462"/>
                    </a:lnTo>
                    <a:lnTo>
                      <a:pt x="19" y="452"/>
                    </a:lnTo>
                    <a:lnTo>
                      <a:pt x="19" y="448"/>
                    </a:lnTo>
                    <a:lnTo>
                      <a:pt x="14" y="448"/>
                    </a:lnTo>
                    <a:lnTo>
                      <a:pt x="14" y="448"/>
                    </a:lnTo>
                    <a:lnTo>
                      <a:pt x="14" y="448"/>
                    </a:lnTo>
                    <a:lnTo>
                      <a:pt x="14" y="448"/>
                    </a:lnTo>
                    <a:lnTo>
                      <a:pt x="14" y="443"/>
                    </a:lnTo>
                    <a:lnTo>
                      <a:pt x="14" y="443"/>
                    </a:lnTo>
                    <a:lnTo>
                      <a:pt x="19" y="443"/>
                    </a:lnTo>
                    <a:lnTo>
                      <a:pt x="19" y="443"/>
                    </a:lnTo>
                    <a:lnTo>
                      <a:pt x="23" y="434"/>
                    </a:lnTo>
                    <a:lnTo>
                      <a:pt x="23" y="430"/>
                    </a:lnTo>
                    <a:lnTo>
                      <a:pt x="19" y="430"/>
                    </a:lnTo>
                    <a:lnTo>
                      <a:pt x="19" y="430"/>
                    </a:lnTo>
                    <a:lnTo>
                      <a:pt x="23" y="425"/>
                    </a:lnTo>
                    <a:lnTo>
                      <a:pt x="23" y="420"/>
                    </a:lnTo>
                    <a:lnTo>
                      <a:pt x="23" y="420"/>
                    </a:lnTo>
                    <a:lnTo>
                      <a:pt x="23" y="420"/>
                    </a:lnTo>
                    <a:lnTo>
                      <a:pt x="23" y="416"/>
                    </a:lnTo>
                    <a:lnTo>
                      <a:pt x="23" y="416"/>
                    </a:lnTo>
                    <a:lnTo>
                      <a:pt x="23" y="416"/>
                    </a:lnTo>
                    <a:lnTo>
                      <a:pt x="23" y="416"/>
                    </a:lnTo>
                    <a:lnTo>
                      <a:pt x="23" y="416"/>
                    </a:lnTo>
                    <a:lnTo>
                      <a:pt x="23" y="411"/>
                    </a:lnTo>
                    <a:lnTo>
                      <a:pt x="23" y="411"/>
                    </a:lnTo>
                    <a:lnTo>
                      <a:pt x="23" y="411"/>
                    </a:lnTo>
                    <a:lnTo>
                      <a:pt x="19" y="407"/>
                    </a:lnTo>
                    <a:lnTo>
                      <a:pt x="19" y="407"/>
                    </a:lnTo>
                    <a:lnTo>
                      <a:pt x="23" y="407"/>
                    </a:lnTo>
                    <a:lnTo>
                      <a:pt x="23" y="402"/>
                    </a:lnTo>
                    <a:lnTo>
                      <a:pt x="23" y="402"/>
                    </a:lnTo>
                    <a:lnTo>
                      <a:pt x="19" y="402"/>
                    </a:lnTo>
                    <a:lnTo>
                      <a:pt x="19" y="402"/>
                    </a:lnTo>
                    <a:lnTo>
                      <a:pt x="19" y="402"/>
                    </a:lnTo>
                    <a:lnTo>
                      <a:pt x="23" y="398"/>
                    </a:lnTo>
                    <a:lnTo>
                      <a:pt x="23" y="398"/>
                    </a:lnTo>
                    <a:lnTo>
                      <a:pt x="23" y="393"/>
                    </a:lnTo>
                    <a:lnTo>
                      <a:pt x="23" y="393"/>
                    </a:lnTo>
                    <a:lnTo>
                      <a:pt x="23" y="393"/>
                    </a:lnTo>
                    <a:lnTo>
                      <a:pt x="23" y="388"/>
                    </a:lnTo>
                    <a:lnTo>
                      <a:pt x="41" y="388"/>
                    </a:lnTo>
                    <a:lnTo>
                      <a:pt x="51" y="388"/>
                    </a:lnTo>
                    <a:lnTo>
                      <a:pt x="55" y="388"/>
                    </a:lnTo>
                    <a:lnTo>
                      <a:pt x="60" y="388"/>
                    </a:lnTo>
                    <a:lnTo>
                      <a:pt x="60" y="384"/>
                    </a:lnTo>
                    <a:lnTo>
                      <a:pt x="64" y="379"/>
                    </a:lnTo>
                    <a:lnTo>
                      <a:pt x="64" y="379"/>
                    </a:lnTo>
                    <a:lnTo>
                      <a:pt x="73" y="379"/>
                    </a:lnTo>
                    <a:lnTo>
                      <a:pt x="87" y="375"/>
                    </a:lnTo>
                    <a:lnTo>
                      <a:pt x="87" y="375"/>
                    </a:lnTo>
                    <a:lnTo>
                      <a:pt x="92" y="379"/>
                    </a:lnTo>
                    <a:lnTo>
                      <a:pt x="101" y="384"/>
                    </a:lnTo>
                    <a:lnTo>
                      <a:pt x="101" y="384"/>
                    </a:lnTo>
                    <a:lnTo>
                      <a:pt x="110" y="384"/>
                    </a:lnTo>
                    <a:lnTo>
                      <a:pt x="110" y="384"/>
                    </a:lnTo>
                    <a:lnTo>
                      <a:pt x="119" y="379"/>
                    </a:lnTo>
                    <a:lnTo>
                      <a:pt x="119" y="379"/>
                    </a:lnTo>
                    <a:lnTo>
                      <a:pt x="124" y="379"/>
                    </a:lnTo>
                    <a:lnTo>
                      <a:pt x="128" y="379"/>
                    </a:lnTo>
                    <a:lnTo>
                      <a:pt x="137" y="375"/>
                    </a:lnTo>
                    <a:lnTo>
                      <a:pt x="137" y="375"/>
                    </a:lnTo>
                    <a:lnTo>
                      <a:pt x="142" y="361"/>
                    </a:lnTo>
                    <a:lnTo>
                      <a:pt x="142" y="352"/>
                    </a:lnTo>
                    <a:lnTo>
                      <a:pt x="151" y="338"/>
                    </a:lnTo>
                    <a:lnTo>
                      <a:pt x="151" y="338"/>
                    </a:lnTo>
                    <a:lnTo>
                      <a:pt x="151" y="329"/>
                    </a:lnTo>
                    <a:lnTo>
                      <a:pt x="151" y="320"/>
                    </a:lnTo>
                    <a:lnTo>
                      <a:pt x="151" y="315"/>
                    </a:lnTo>
                    <a:lnTo>
                      <a:pt x="156" y="315"/>
                    </a:lnTo>
                    <a:lnTo>
                      <a:pt x="160" y="306"/>
                    </a:lnTo>
                    <a:lnTo>
                      <a:pt x="165" y="306"/>
                    </a:lnTo>
                    <a:lnTo>
                      <a:pt x="165" y="301"/>
                    </a:lnTo>
                    <a:lnTo>
                      <a:pt x="165" y="292"/>
                    </a:lnTo>
                    <a:lnTo>
                      <a:pt x="165" y="288"/>
                    </a:lnTo>
                    <a:lnTo>
                      <a:pt x="160" y="283"/>
                    </a:lnTo>
                    <a:lnTo>
                      <a:pt x="165" y="279"/>
                    </a:lnTo>
                    <a:lnTo>
                      <a:pt x="165" y="274"/>
                    </a:lnTo>
                    <a:lnTo>
                      <a:pt x="160" y="269"/>
                    </a:lnTo>
                    <a:lnTo>
                      <a:pt x="156" y="251"/>
                    </a:lnTo>
                    <a:lnTo>
                      <a:pt x="156" y="247"/>
                    </a:lnTo>
                    <a:lnTo>
                      <a:pt x="156" y="237"/>
                    </a:lnTo>
                    <a:lnTo>
                      <a:pt x="160" y="228"/>
                    </a:lnTo>
                    <a:lnTo>
                      <a:pt x="165" y="224"/>
                    </a:lnTo>
                    <a:lnTo>
                      <a:pt x="165" y="224"/>
                    </a:lnTo>
                    <a:lnTo>
                      <a:pt x="174" y="219"/>
                    </a:lnTo>
                    <a:lnTo>
                      <a:pt x="174" y="219"/>
                    </a:lnTo>
                    <a:lnTo>
                      <a:pt x="179" y="215"/>
                    </a:lnTo>
                    <a:lnTo>
                      <a:pt x="183" y="205"/>
                    </a:lnTo>
                    <a:lnTo>
                      <a:pt x="188" y="201"/>
                    </a:lnTo>
                    <a:lnTo>
                      <a:pt x="192" y="196"/>
                    </a:lnTo>
                    <a:lnTo>
                      <a:pt x="192" y="192"/>
                    </a:lnTo>
                    <a:lnTo>
                      <a:pt x="197" y="187"/>
                    </a:lnTo>
                    <a:lnTo>
                      <a:pt x="201" y="183"/>
                    </a:lnTo>
                    <a:lnTo>
                      <a:pt x="201" y="183"/>
                    </a:lnTo>
                    <a:lnTo>
                      <a:pt x="201" y="169"/>
                    </a:lnTo>
                    <a:lnTo>
                      <a:pt x="206" y="164"/>
                    </a:lnTo>
                    <a:lnTo>
                      <a:pt x="206" y="164"/>
                    </a:lnTo>
                    <a:lnTo>
                      <a:pt x="206" y="160"/>
                    </a:lnTo>
                    <a:lnTo>
                      <a:pt x="211" y="160"/>
                    </a:lnTo>
                    <a:lnTo>
                      <a:pt x="215" y="160"/>
                    </a:lnTo>
                    <a:lnTo>
                      <a:pt x="224" y="164"/>
                    </a:lnTo>
                    <a:lnTo>
                      <a:pt x="224" y="164"/>
                    </a:lnTo>
                    <a:lnTo>
                      <a:pt x="233" y="155"/>
                    </a:lnTo>
                    <a:lnTo>
                      <a:pt x="238" y="151"/>
                    </a:lnTo>
                    <a:lnTo>
                      <a:pt x="238" y="146"/>
                    </a:lnTo>
                    <a:lnTo>
                      <a:pt x="238" y="146"/>
                    </a:lnTo>
                    <a:lnTo>
                      <a:pt x="233" y="137"/>
                    </a:lnTo>
                    <a:lnTo>
                      <a:pt x="233" y="137"/>
                    </a:lnTo>
                    <a:lnTo>
                      <a:pt x="229" y="128"/>
                    </a:lnTo>
                    <a:lnTo>
                      <a:pt x="229" y="123"/>
                    </a:lnTo>
                    <a:lnTo>
                      <a:pt x="229" y="119"/>
                    </a:lnTo>
                    <a:lnTo>
                      <a:pt x="229" y="109"/>
                    </a:lnTo>
                    <a:lnTo>
                      <a:pt x="238" y="100"/>
                    </a:lnTo>
                    <a:lnTo>
                      <a:pt x="238" y="100"/>
                    </a:lnTo>
                    <a:lnTo>
                      <a:pt x="247" y="96"/>
                    </a:lnTo>
                    <a:lnTo>
                      <a:pt x="252" y="96"/>
                    </a:lnTo>
                    <a:lnTo>
                      <a:pt x="265" y="91"/>
                    </a:lnTo>
                    <a:lnTo>
                      <a:pt x="279" y="87"/>
                    </a:lnTo>
                    <a:lnTo>
                      <a:pt x="284" y="87"/>
                    </a:lnTo>
                    <a:lnTo>
                      <a:pt x="288" y="87"/>
                    </a:lnTo>
                    <a:lnTo>
                      <a:pt x="293" y="87"/>
                    </a:lnTo>
                    <a:lnTo>
                      <a:pt x="297" y="87"/>
                    </a:lnTo>
                    <a:lnTo>
                      <a:pt x="302" y="87"/>
                    </a:lnTo>
                    <a:lnTo>
                      <a:pt x="307" y="87"/>
                    </a:lnTo>
                    <a:lnTo>
                      <a:pt x="311" y="82"/>
                    </a:lnTo>
                    <a:lnTo>
                      <a:pt x="311" y="77"/>
                    </a:lnTo>
                    <a:lnTo>
                      <a:pt x="311" y="77"/>
                    </a:lnTo>
                    <a:lnTo>
                      <a:pt x="316" y="77"/>
                    </a:lnTo>
                    <a:lnTo>
                      <a:pt x="320" y="73"/>
                    </a:lnTo>
                    <a:lnTo>
                      <a:pt x="320" y="73"/>
                    </a:lnTo>
                    <a:lnTo>
                      <a:pt x="320" y="64"/>
                    </a:lnTo>
                    <a:lnTo>
                      <a:pt x="320" y="59"/>
                    </a:lnTo>
                    <a:lnTo>
                      <a:pt x="329" y="55"/>
                    </a:lnTo>
                    <a:lnTo>
                      <a:pt x="334" y="50"/>
                    </a:lnTo>
                    <a:lnTo>
                      <a:pt x="334" y="41"/>
                    </a:lnTo>
                    <a:lnTo>
                      <a:pt x="339" y="36"/>
                    </a:lnTo>
                    <a:lnTo>
                      <a:pt x="339" y="32"/>
                    </a:lnTo>
                    <a:lnTo>
                      <a:pt x="339" y="27"/>
                    </a:lnTo>
                    <a:lnTo>
                      <a:pt x="339" y="27"/>
                    </a:lnTo>
                    <a:lnTo>
                      <a:pt x="334" y="18"/>
                    </a:lnTo>
                    <a:lnTo>
                      <a:pt x="339" y="9"/>
                    </a:lnTo>
                    <a:lnTo>
                      <a:pt x="339" y="4"/>
                    </a:lnTo>
                    <a:lnTo>
                      <a:pt x="343" y="0"/>
                    </a:lnTo>
                    <a:lnTo>
                      <a:pt x="343" y="0"/>
                    </a:lnTo>
                    <a:lnTo>
                      <a:pt x="343" y="0"/>
                    </a:lnTo>
                    <a:lnTo>
                      <a:pt x="343" y="4"/>
                    </a:lnTo>
                    <a:lnTo>
                      <a:pt x="348" y="4"/>
                    </a:lnTo>
                    <a:lnTo>
                      <a:pt x="352" y="9"/>
                    </a:lnTo>
                    <a:lnTo>
                      <a:pt x="357" y="9"/>
                    </a:lnTo>
                    <a:lnTo>
                      <a:pt x="361" y="9"/>
                    </a:lnTo>
                    <a:lnTo>
                      <a:pt x="380" y="9"/>
                    </a:lnTo>
                    <a:lnTo>
                      <a:pt x="389" y="9"/>
                    </a:lnTo>
                    <a:lnTo>
                      <a:pt x="393" y="13"/>
                    </a:lnTo>
                    <a:lnTo>
                      <a:pt x="398" y="18"/>
                    </a:lnTo>
                    <a:lnTo>
                      <a:pt x="398" y="23"/>
                    </a:lnTo>
                    <a:lnTo>
                      <a:pt x="398" y="27"/>
                    </a:lnTo>
                    <a:lnTo>
                      <a:pt x="403" y="27"/>
                    </a:lnTo>
                    <a:close/>
                  </a:path>
                </a:pathLst>
              </a:custGeom>
              <a:grpFill/>
              <a:ln w="9525" cmpd="sng">
                <a:solidFill>
                  <a:srgbClr val="FFFFFF"/>
                </a:solidFill>
                <a:miter lim="800000"/>
                <a:headEnd/>
                <a:tailEnd/>
              </a:ln>
              <a:effectLst/>
            </p:spPr>
            <p:txBody>
              <a:bodyPr lIns="274320" tIns="9144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Kwara</a:t>
                </a:r>
              </a:p>
            </p:txBody>
          </p:sp>
          <p:sp>
            <p:nvSpPr>
              <p:cNvPr id="210" name="Freeform 31">
                <a:extLst>
                  <a:ext uri="{FF2B5EF4-FFF2-40B4-BE49-F238E27FC236}">
                    <a16:creationId xmlns:a16="http://schemas.microsoft.com/office/drawing/2014/main" id="{1553ED57-51C0-4336-8FA2-B61F8356C10D}"/>
                  </a:ext>
                </a:extLst>
              </p:cNvPr>
              <p:cNvSpPr>
                <a:spLocks/>
              </p:cNvSpPr>
              <p:nvPr>
                <p:custDataLst>
                  <p:tags r:id="rId27"/>
                </p:custDataLst>
              </p:nvPr>
            </p:nvSpPr>
            <p:spPr bwMode="auto">
              <a:xfrm>
                <a:off x="2329159" y="3872635"/>
                <a:ext cx="1377095" cy="751691"/>
              </a:xfrm>
              <a:custGeom>
                <a:avLst/>
                <a:gdLst/>
                <a:ahLst/>
                <a:cxnLst>
                  <a:cxn ang="0">
                    <a:pos x="402" y="9"/>
                  </a:cxn>
                  <a:cxn ang="0">
                    <a:pos x="420" y="50"/>
                  </a:cxn>
                  <a:cxn ang="0">
                    <a:pos x="439" y="82"/>
                  </a:cxn>
                  <a:cxn ang="0">
                    <a:pos x="443" y="146"/>
                  </a:cxn>
                  <a:cxn ang="0">
                    <a:pos x="475" y="128"/>
                  </a:cxn>
                  <a:cxn ang="0">
                    <a:pos x="503" y="101"/>
                  </a:cxn>
                  <a:cxn ang="0">
                    <a:pos x="548" y="114"/>
                  </a:cxn>
                  <a:cxn ang="0">
                    <a:pos x="576" y="146"/>
                  </a:cxn>
                  <a:cxn ang="0">
                    <a:pos x="622" y="137"/>
                  </a:cxn>
                  <a:cxn ang="0">
                    <a:pos x="640" y="96"/>
                  </a:cxn>
                  <a:cxn ang="0">
                    <a:pos x="658" y="64"/>
                  </a:cxn>
                  <a:cxn ang="0">
                    <a:pos x="704" y="128"/>
                  </a:cxn>
                  <a:cxn ang="0">
                    <a:pos x="786" y="128"/>
                  </a:cxn>
                  <a:cxn ang="0">
                    <a:pos x="782" y="192"/>
                  </a:cxn>
                  <a:cxn ang="0">
                    <a:pos x="736" y="261"/>
                  </a:cxn>
                  <a:cxn ang="0">
                    <a:pos x="768" y="325"/>
                  </a:cxn>
                  <a:cxn ang="0">
                    <a:pos x="814" y="352"/>
                  </a:cxn>
                  <a:cxn ang="0">
                    <a:pos x="910" y="343"/>
                  </a:cxn>
                  <a:cxn ang="0">
                    <a:pos x="1033" y="384"/>
                  </a:cxn>
                  <a:cxn ang="0">
                    <a:pos x="1006" y="412"/>
                  </a:cxn>
                  <a:cxn ang="0">
                    <a:pos x="955" y="412"/>
                  </a:cxn>
                  <a:cxn ang="0">
                    <a:pos x="910" y="412"/>
                  </a:cxn>
                  <a:cxn ang="0">
                    <a:pos x="923" y="476"/>
                  </a:cxn>
                  <a:cxn ang="0">
                    <a:pos x="923" y="512"/>
                  </a:cxn>
                  <a:cxn ang="0">
                    <a:pos x="896" y="540"/>
                  </a:cxn>
                  <a:cxn ang="0">
                    <a:pos x="855" y="562"/>
                  </a:cxn>
                  <a:cxn ang="0">
                    <a:pos x="832" y="526"/>
                  </a:cxn>
                  <a:cxn ang="0">
                    <a:pos x="795" y="498"/>
                  </a:cxn>
                  <a:cxn ang="0">
                    <a:pos x="750" y="498"/>
                  </a:cxn>
                  <a:cxn ang="0">
                    <a:pos x="681" y="485"/>
                  </a:cxn>
                  <a:cxn ang="0">
                    <a:pos x="631" y="466"/>
                  </a:cxn>
                  <a:cxn ang="0">
                    <a:pos x="576" y="476"/>
                  </a:cxn>
                  <a:cxn ang="0">
                    <a:pos x="539" y="521"/>
                  </a:cxn>
                  <a:cxn ang="0">
                    <a:pos x="553" y="562"/>
                  </a:cxn>
                  <a:cxn ang="0">
                    <a:pos x="567" y="608"/>
                  </a:cxn>
                  <a:cxn ang="0">
                    <a:pos x="526" y="594"/>
                  </a:cxn>
                  <a:cxn ang="0">
                    <a:pos x="494" y="576"/>
                  </a:cxn>
                  <a:cxn ang="0">
                    <a:pos x="434" y="553"/>
                  </a:cxn>
                  <a:cxn ang="0">
                    <a:pos x="398" y="540"/>
                  </a:cxn>
                  <a:cxn ang="0">
                    <a:pos x="311" y="521"/>
                  </a:cxn>
                  <a:cxn ang="0">
                    <a:pos x="256" y="503"/>
                  </a:cxn>
                  <a:cxn ang="0">
                    <a:pos x="192" y="503"/>
                  </a:cxn>
                  <a:cxn ang="0">
                    <a:pos x="123" y="521"/>
                  </a:cxn>
                  <a:cxn ang="0">
                    <a:pos x="78" y="530"/>
                  </a:cxn>
                  <a:cxn ang="0">
                    <a:pos x="36" y="549"/>
                  </a:cxn>
                  <a:cxn ang="0">
                    <a:pos x="4" y="553"/>
                  </a:cxn>
                  <a:cxn ang="0">
                    <a:pos x="18" y="503"/>
                  </a:cxn>
                  <a:cxn ang="0">
                    <a:pos x="23" y="457"/>
                  </a:cxn>
                  <a:cxn ang="0">
                    <a:pos x="4" y="421"/>
                  </a:cxn>
                  <a:cxn ang="0">
                    <a:pos x="55" y="361"/>
                  </a:cxn>
                  <a:cxn ang="0">
                    <a:pos x="151" y="334"/>
                  </a:cxn>
                  <a:cxn ang="0">
                    <a:pos x="174" y="320"/>
                  </a:cxn>
                  <a:cxn ang="0">
                    <a:pos x="196" y="288"/>
                  </a:cxn>
                  <a:cxn ang="0">
                    <a:pos x="219" y="261"/>
                  </a:cxn>
                  <a:cxn ang="0">
                    <a:pos x="242" y="160"/>
                  </a:cxn>
                  <a:cxn ang="0">
                    <a:pos x="242" y="41"/>
                  </a:cxn>
                  <a:cxn ang="0">
                    <a:pos x="274" y="14"/>
                  </a:cxn>
                  <a:cxn ang="0">
                    <a:pos x="302" y="18"/>
                  </a:cxn>
                  <a:cxn ang="0">
                    <a:pos x="343" y="27"/>
                  </a:cxn>
                </a:cxnLst>
                <a:rect l="0" t="0" r="r" b="b"/>
                <a:pathLst>
                  <a:path w="1033" h="608">
                    <a:moveTo>
                      <a:pt x="370" y="5"/>
                    </a:moveTo>
                    <a:lnTo>
                      <a:pt x="375" y="5"/>
                    </a:lnTo>
                    <a:lnTo>
                      <a:pt x="375" y="5"/>
                    </a:lnTo>
                    <a:lnTo>
                      <a:pt x="379" y="0"/>
                    </a:lnTo>
                    <a:lnTo>
                      <a:pt x="384" y="0"/>
                    </a:lnTo>
                    <a:lnTo>
                      <a:pt x="393" y="0"/>
                    </a:lnTo>
                    <a:lnTo>
                      <a:pt x="398" y="0"/>
                    </a:lnTo>
                    <a:lnTo>
                      <a:pt x="398" y="5"/>
                    </a:lnTo>
                    <a:lnTo>
                      <a:pt x="398" y="5"/>
                    </a:lnTo>
                    <a:lnTo>
                      <a:pt x="402" y="9"/>
                    </a:lnTo>
                    <a:lnTo>
                      <a:pt x="402" y="14"/>
                    </a:lnTo>
                    <a:lnTo>
                      <a:pt x="407" y="14"/>
                    </a:lnTo>
                    <a:lnTo>
                      <a:pt x="407" y="18"/>
                    </a:lnTo>
                    <a:lnTo>
                      <a:pt x="411" y="18"/>
                    </a:lnTo>
                    <a:lnTo>
                      <a:pt x="411" y="27"/>
                    </a:lnTo>
                    <a:lnTo>
                      <a:pt x="416" y="27"/>
                    </a:lnTo>
                    <a:lnTo>
                      <a:pt x="416" y="32"/>
                    </a:lnTo>
                    <a:lnTo>
                      <a:pt x="416" y="37"/>
                    </a:lnTo>
                    <a:lnTo>
                      <a:pt x="416" y="41"/>
                    </a:lnTo>
                    <a:lnTo>
                      <a:pt x="420" y="50"/>
                    </a:lnTo>
                    <a:lnTo>
                      <a:pt x="420" y="55"/>
                    </a:lnTo>
                    <a:lnTo>
                      <a:pt x="425" y="59"/>
                    </a:lnTo>
                    <a:lnTo>
                      <a:pt x="425" y="59"/>
                    </a:lnTo>
                    <a:lnTo>
                      <a:pt x="430" y="59"/>
                    </a:lnTo>
                    <a:lnTo>
                      <a:pt x="430" y="64"/>
                    </a:lnTo>
                    <a:lnTo>
                      <a:pt x="434" y="69"/>
                    </a:lnTo>
                    <a:lnTo>
                      <a:pt x="434" y="73"/>
                    </a:lnTo>
                    <a:lnTo>
                      <a:pt x="439" y="73"/>
                    </a:lnTo>
                    <a:lnTo>
                      <a:pt x="439" y="78"/>
                    </a:lnTo>
                    <a:lnTo>
                      <a:pt x="439" y="82"/>
                    </a:lnTo>
                    <a:lnTo>
                      <a:pt x="439" y="82"/>
                    </a:lnTo>
                    <a:lnTo>
                      <a:pt x="443" y="87"/>
                    </a:lnTo>
                    <a:lnTo>
                      <a:pt x="443" y="91"/>
                    </a:lnTo>
                    <a:lnTo>
                      <a:pt x="443" y="101"/>
                    </a:lnTo>
                    <a:lnTo>
                      <a:pt x="443" y="105"/>
                    </a:lnTo>
                    <a:lnTo>
                      <a:pt x="443" y="110"/>
                    </a:lnTo>
                    <a:lnTo>
                      <a:pt x="439" y="128"/>
                    </a:lnTo>
                    <a:lnTo>
                      <a:pt x="439" y="133"/>
                    </a:lnTo>
                    <a:lnTo>
                      <a:pt x="443" y="146"/>
                    </a:lnTo>
                    <a:lnTo>
                      <a:pt x="443" y="146"/>
                    </a:lnTo>
                    <a:lnTo>
                      <a:pt x="448" y="146"/>
                    </a:lnTo>
                    <a:lnTo>
                      <a:pt x="448" y="146"/>
                    </a:lnTo>
                    <a:lnTo>
                      <a:pt x="452" y="146"/>
                    </a:lnTo>
                    <a:lnTo>
                      <a:pt x="457" y="146"/>
                    </a:lnTo>
                    <a:lnTo>
                      <a:pt x="462" y="142"/>
                    </a:lnTo>
                    <a:lnTo>
                      <a:pt x="462" y="137"/>
                    </a:lnTo>
                    <a:lnTo>
                      <a:pt x="466" y="133"/>
                    </a:lnTo>
                    <a:lnTo>
                      <a:pt x="466" y="128"/>
                    </a:lnTo>
                    <a:lnTo>
                      <a:pt x="471" y="128"/>
                    </a:lnTo>
                    <a:lnTo>
                      <a:pt x="475" y="128"/>
                    </a:lnTo>
                    <a:lnTo>
                      <a:pt x="480" y="124"/>
                    </a:lnTo>
                    <a:lnTo>
                      <a:pt x="480" y="119"/>
                    </a:lnTo>
                    <a:lnTo>
                      <a:pt x="484" y="119"/>
                    </a:lnTo>
                    <a:lnTo>
                      <a:pt x="484" y="114"/>
                    </a:lnTo>
                    <a:lnTo>
                      <a:pt x="484" y="110"/>
                    </a:lnTo>
                    <a:lnTo>
                      <a:pt x="489" y="105"/>
                    </a:lnTo>
                    <a:lnTo>
                      <a:pt x="489" y="105"/>
                    </a:lnTo>
                    <a:lnTo>
                      <a:pt x="494" y="105"/>
                    </a:lnTo>
                    <a:lnTo>
                      <a:pt x="498" y="101"/>
                    </a:lnTo>
                    <a:lnTo>
                      <a:pt x="503" y="101"/>
                    </a:lnTo>
                    <a:lnTo>
                      <a:pt x="507" y="101"/>
                    </a:lnTo>
                    <a:lnTo>
                      <a:pt x="516" y="96"/>
                    </a:lnTo>
                    <a:lnTo>
                      <a:pt x="521" y="101"/>
                    </a:lnTo>
                    <a:lnTo>
                      <a:pt x="530" y="101"/>
                    </a:lnTo>
                    <a:lnTo>
                      <a:pt x="535" y="101"/>
                    </a:lnTo>
                    <a:lnTo>
                      <a:pt x="539" y="101"/>
                    </a:lnTo>
                    <a:lnTo>
                      <a:pt x="544" y="105"/>
                    </a:lnTo>
                    <a:lnTo>
                      <a:pt x="544" y="105"/>
                    </a:lnTo>
                    <a:lnTo>
                      <a:pt x="548" y="110"/>
                    </a:lnTo>
                    <a:lnTo>
                      <a:pt x="548" y="114"/>
                    </a:lnTo>
                    <a:lnTo>
                      <a:pt x="553" y="119"/>
                    </a:lnTo>
                    <a:lnTo>
                      <a:pt x="558" y="124"/>
                    </a:lnTo>
                    <a:lnTo>
                      <a:pt x="558" y="128"/>
                    </a:lnTo>
                    <a:lnTo>
                      <a:pt x="562" y="128"/>
                    </a:lnTo>
                    <a:lnTo>
                      <a:pt x="562" y="133"/>
                    </a:lnTo>
                    <a:lnTo>
                      <a:pt x="567" y="133"/>
                    </a:lnTo>
                    <a:lnTo>
                      <a:pt x="567" y="137"/>
                    </a:lnTo>
                    <a:lnTo>
                      <a:pt x="571" y="137"/>
                    </a:lnTo>
                    <a:lnTo>
                      <a:pt x="571" y="142"/>
                    </a:lnTo>
                    <a:lnTo>
                      <a:pt x="576" y="146"/>
                    </a:lnTo>
                    <a:lnTo>
                      <a:pt x="580" y="146"/>
                    </a:lnTo>
                    <a:lnTo>
                      <a:pt x="585" y="146"/>
                    </a:lnTo>
                    <a:lnTo>
                      <a:pt x="590" y="146"/>
                    </a:lnTo>
                    <a:lnTo>
                      <a:pt x="599" y="146"/>
                    </a:lnTo>
                    <a:lnTo>
                      <a:pt x="603" y="146"/>
                    </a:lnTo>
                    <a:lnTo>
                      <a:pt x="608" y="146"/>
                    </a:lnTo>
                    <a:lnTo>
                      <a:pt x="612" y="146"/>
                    </a:lnTo>
                    <a:lnTo>
                      <a:pt x="617" y="146"/>
                    </a:lnTo>
                    <a:lnTo>
                      <a:pt x="617" y="142"/>
                    </a:lnTo>
                    <a:lnTo>
                      <a:pt x="622" y="137"/>
                    </a:lnTo>
                    <a:lnTo>
                      <a:pt x="626" y="137"/>
                    </a:lnTo>
                    <a:lnTo>
                      <a:pt x="631" y="133"/>
                    </a:lnTo>
                    <a:lnTo>
                      <a:pt x="631" y="128"/>
                    </a:lnTo>
                    <a:lnTo>
                      <a:pt x="631" y="124"/>
                    </a:lnTo>
                    <a:lnTo>
                      <a:pt x="631" y="119"/>
                    </a:lnTo>
                    <a:lnTo>
                      <a:pt x="635" y="114"/>
                    </a:lnTo>
                    <a:lnTo>
                      <a:pt x="635" y="110"/>
                    </a:lnTo>
                    <a:lnTo>
                      <a:pt x="635" y="105"/>
                    </a:lnTo>
                    <a:lnTo>
                      <a:pt x="635" y="101"/>
                    </a:lnTo>
                    <a:lnTo>
                      <a:pt x="640" y="96"/>
                    </a:lnTo>
                    <a:lnTo>
                      <a:pt x="640" y="91"/>
                    </a:lnTo>
                    <a:lnTo>
                      <a:pt x="644" y="87"/>
                    </a:lnTo>
                    <a:lnTo>
                      <a:pt x="644" y="82"/>
                    </a:lnTo>
                    <a:lnTo>
                      <a:pt x="644" y="82"/>
                    </a:lnTo>
                    <a:lnTo>
                      <a:pt x="649" y="78"/>
                    </a:lnTo>
                    <a:lnTo>
                      <a:pt x="649" y="73"/>
                    </a:lnTo>
                    <a:lnTo>
                      <a:pt x="654" y="69"/>
                    </a:lnTo>
                    <a:lnTo>
                      <a:pt x="654" y="64"/>
                    </a:lnTo>
                    <a:lnTo>
                      <a:pt x="658" y="59"/>
                    </a:lnTo>
                    <a:lnTo>
                      <a:pt x="658" y="64"/>
                    </a:lnTo>
                    <a:lnTo>
                      <a:pt x="667" y="69"/>
                    </a:lnTo>
                    <a:lnTo>
                      <a:pt x="676" y="69"/>
                    </a:lnTo>
                    <a:lnTo>
                      <a:pt x="690" y="69"/>
                    </a:lnTo>
                    <a:lnTo>
                      <a:pt x="690" y="78"/>
                    </a:lnTo>
                    <a:lnTo>
                      <a:pt x="695" y="87"/>
                    </a:lnTo>
                    <a:lnTo>
                      <a:pt x="695" y="105"/>
                    </a:lnTo>
                    <a:lnTo>
                      <a:pt x="699" y="105"/>
                    </a:lnTo>
                    <a:lnTo>
                      <a:pt x="704" y="110"/>
                    </a:lnTo>
                    <a:lnTo>
                      <a:pt x="704" y="119"/>
                    </a:lnTo>
                    <a:lnTo>
                      <a:pt x="704" y="128"/>
                    </a:lnTo>
                    <a:lnTo>
                      <a:pt x="708" y="128"/>
                    </a:lnTo>
                    <a:lnTo>
                      <a:pt x="722" y="128"/>
                    </a:lnTo>
                    <a:lnTo>
                      <a:pt x="736" y="128"/>
                    </a:lnTo>
                    <a:lnTo>
                      <a:pt x="745" y="133"/>
                    </a:lnTo>
                    <a:lnTo>
                      <a:pt x="745" y="133"/>
                    </a:lnTo>
                    <a:lnTo>
                      <a:pt x="754" y="133"/>
                    </a:lnTo>
                    <a:lnTo>
                      <a:pt x="763" y="128"/>
                    </a:lnTo>
                    <a:lnTo>
                      <a:pt x="768" y="128"/>
                    </a:lnTo>
                    <a:lnTo>
                      <a:pt x="777" y="128"/>
                    </a:lnTo>
                    <a:lnTo>
                      <a:pt x="786" y="128"/>
                    </a:lnTo>
                    <a:lnTo>
                      <a:pt x="791" y="128"/>
                    </a:lnTo>
                    <a:lnTo>
                      <a:pt x="791" y="128"/>
                    </a:lnTo>
                    <a:lnTo>
                      <a:pt x="795" y="128"/>
                    </a:lnTo>
                    <a:lnTo>
                      <a:pt x="795" y="142"/>
                    </a:lnTo>
                    <a:lnTo>
                      <a:pt x="800" y="146"/>
                    </a:lnTo>
                    <a:lnTo>
                      <a:pt x="795" y="160"/>
                    </a:lnTo>
                    <a:lnTo>
                      <a:pt x="791" y="169"/>
                    </a:lnTo>
                    <a:lnTo>
                      <a:pt x="786" y="183"/>
                    </a:lnTo>
                    <a:lnTo>
                      <a:pt x="786" y="188"/>
                    </a:lnTo>
                    <a:lnTo>
                      <a:pt x="782" y="192"/>
                    </a:lnTo>
                    <a:lnTo>
                      <a:pt x="772" y="197"/>
                    </a:lnTo>
                    <a:lnTo>
                      <a:pt x="768" y="201"/>
                    </a:lnTo>
                    <a:lnTo>
                      <a:pt x="759" y="201"/>
                    </a:lnTo>
                    <a:lnTo>
                      <a:pt x="754" y="215"/>
                    </a:lnTo>
                    <a:lnTo>
                      <a:pt x="754" y="220"/>
                    </a:lnTo>
                    <a:lnTo>
                      <a:pt x="745" y="229"/>
                    </a:lnTo>
                    <a:lnTo>
                      <a:pt x="740" y="233"/>
                    </a:lnTo>
                    <a:lnTo>
                      <a:pt x="731" y="242"/>
                    </a:lnTo>
                    <a:lnTo>
                      <a:pt x="731" y="256"/>
                    </a:lnTo>
                    <a:lnTo>
                      <a:pt x="736" y="261"/>
                    </a:lnTo>
                    <a:lnTo>
                      <a:pt x="745" y="270"/>
                    </a:lnTo>
                    <a:lnTo>
                      <a:pt x="745" y="279"/>
                    </a:lnTo>
                    <a:lnTo>
                      <a:pt x="745" y="279"/>
                    </a:lnTo>
                    <a:lnTo>
                      <a:pt x="750" y="288"/>
                    </a:lnTo>
                    <a:lnTo>
                      <a:pt x="754" y="297"/>
                    </a:lnTo>
                    <a:lnTo>
                      <a:pt x="763" y="297"/>
                    </a:lnTo>
                    <a:lnTo>
                      <a:pt x="768" y="302"/>
                    </a:lnTo>
                    <a:lnTo>
                      <a:pt x="768" y="311"/>
                    </a:lnTo>
                    <a:lnTo>
                      <a:pt x="768" y="320"/>
                    </a:lnTo>
                    <a:lnTo>
                      <a:pt x="768" y="325"/>
                    </a:lnTo>
                    <a:lnTo>
                      <a:pt x="768" y="329"/>
                    </a:lnTo>
                    <a:lnTo>
                      <a:pt x="772" y="329"/>
                    </a:lnTo>
                    <a:lnTo>
                      <a:pt x="782" y="329"/>
                    </a:lnTo>
                    <a:lnTo>
                      <a:pt x="786" y="325"/>
                    </a:lnTo>
                    <a:lnTo>
                      <a:pt x="791" y="329"/>
                    </a:lnTo>
                    <a:lnTo>
                      <a:pt x="795" y="334"/>
                    </a:lnTo>
                    <a:lnTo>
                      <a:pt x="800" y="338"/>
                    </a:lnTo>
                    <a:lnTo>
                      <a:pt x="804" y="343"/>
                    </a:lnTo>
                    <a:lnTo>
                      <a:pt x="809" y="348"/>
                    </a:lnTo>
                    <a:lnTo>
                      <a:pt x="814" y="352"/>
                    </a:lnTo>
                    <a:lnTo>
                      <a:pt x="814" y="352"/>
                    </a:lnTo>
                    <a:lnTo>
                      <a:pt x="818" y="352"/>
                    </a:lnTo>
                    <a:lnTo>
                      <a:pt x="827" y="348"/>
                    </a:lnTo>
                    <a:lnTo>
                      <a:pt x="841" y="348"/>
                    </a:lnTo>
                    <a:lnTo>
                      <a:pt x="859" y="348"/>
                    </a:lnTo>
                    <a:lnTo>
                      <a:pt x="873" y="348"/>
                    </a:lnTo>
                    <a:lnTo>
                      <a:pt x="878" y="348"/>
                    </a:lnTo>
                    <a:lnTo>
                      <a:pt x="882" y="343"/>
                    </a:lnTo>
                    <a:lnTo>
                      <a:pt x="900" y="343"/>
                    </a:lnTo>
                    <a:lnTo>
                      <a:pt x="910" y="343"/>
                    </a:lnTo>
                    <a:lnTo>
                      <a:pt x="919" y="348"/>
                    </a:lnTo>
                    <a:lnTo>
                      <a:pt x="932" y="348"/>
                    </a:lnTo>
                    <a:lnTo>
                      <a:pt x="951" y="357"/>
                    </a:lnTo>
                    <a:lnTo>
                      <a:pt x="969" y="366"/>
                    </a:lnTo>
                    <a:lnTo>
                      <a:pt x="978" y="366"/>
                    </a:lnTo>
                    <a:lnTo>
                      <a:pt x="987" y="375"/>
                    </a:lnTo>
                    <a:lnTo>
                      <a:pt x="996" y="375"/>
                    </a:lnTo>
                    <a:lnTo>
                      <a:pt x="1010" y="380"/>
                    </a:lnTo>
                    <a:lnTo>
                      <a:pt x="1019" y="380"/>
                    </a:lnTo>
                    <a:lnTo>
                      <a:pt x="1033" y="384"/>
                    </a:lnTo>
                    <a:lnTo>
                      <a:pt x="1033" y="389"/>
                    </a:lnTo>
                    <a:lnTo>
                      <a:pt x="1033" y="389"/>
                    </a:lnTo>
                    <a:lnTo>
                      <a:pt x="1024" y="389"/>
                    </a:lnTo>
                    <a:lnTo>
                      <a:pt x="1019" y="389"/>
                    </a:lnTo>
                    <a:lnTo>
                      <a:pt x="1015" y="393"/>
                    </a:lnTo>
                    <a:lnTo>
                      <a:pt x="1010" y="398"/>
                    </a:lnTo>
                    <a:lnTo>
                      <a:pt x="1010" y="402"/>
                    </a:lnTo>
                    <a:lnTo>
                      <a:pt x="1010" y="407"/>
                    </a:lnTo>
                    <a:lnTo>
                      <a:pt x="1010" y="412"/>
                    </a:lnTo>
                    <a:lnTo>
                      <a:pt x="1006" y="412"/>
                    </a:lnTo>
                    <a:lnTo>
                      <a:pt x="1001" y="412"/>
                    </a:lnTo>
                    <a:lnTo>
                      <a:pt x="1001" y="416"/>
                    </a:lnTo>
                    <a:lnTo>
                      <a:pt x="992" y="416"/>
                    </a:lnTo>
                    <a:lnTo>
                      <a:pt x="987" y="416"/>
                    </a:lnTo>
                    <a:lnTo>
                      <a:pt x="978" y="416"/>
                    </a:lnTo>
                    <a:lnTo>
                      <a:pt x="974" y="416"/>
                    </a:lnTo>
                    <a:lnTo>
                      <a:pt x="969" y="416"/>
                    </a:lnTo>
                    <a:lnTo>
                      <a:pt x="964" y="412"/>
                    </a:lnTo>
                    <a:lnTo>
                      <a:pt x="964" y="412"/>
                    </a:lnTo>
                    <a:lnTo>
                      <a:pt x="955" y="412"/>
                    </a:lnTo>
                    <a:lnTo>
                      <a:pt x="951" y="412"/>
                    </a:lnTo>
                    <a:lnTo>
                      <a:pt x="946" y="412"/>
                    </a:lnTo>
                    <a:lnTo>
                      <a:pt x="946" y="407"/>
                    </a:lnTo>
                    <a:lnTo>
                      <a:pt x="942" y="407"/>
                    </a:lnTo>
                    <a:lnTo>
                      <a:pt x="937" y="407"/>
                    </a:lnTo>
                    <a:lnTo>
                      <a:pt x="928" y="402"/>
                    </a:lnTo>
                    <a:lnTo>
                      <a:pt x="923" y="402"/>
                    </a:lnTo>
                    <a:lnTo>
                      <a:pt x="923" y="407"/>
                    </a:lnTo>
                    <a:lnTo>
                      <a:pt x="914" y="407"/>
                    </a:lnTo>
                    <a:lnTo>
                      <a:pt x="910" y="412"/>
                    </a:lnTo>
                    <a:lnTo>
                      <a:pt x="905" y="421"/>
                    </a:lnTo>
                    <a:lnTo>
                      <a:pt x="905" y="434"/>
                    </a:lnTo>
                    <a:lnTo>
                      <a:pt x="910" y="434"/>
                    </a:lnTo>
                    <a:lnTo>
                      <a:pt x="910" y="444"/>
                    </a:lnTo>
                    <a:lnTo>
                      <a:pt x="914" y="453"/>
                    </a:lnTo>
                    <a:lnTo>
                      <a:pt x="914" y="457"/>
                    </a:lnTo>
                    <a:lnTo>
                      <a:pt x="919" y="457"/>
                    </a:lnTo>
                    <a:lnTo>
                      <a:pt x="923" y="462"/>
                    </a:lnTo>
                    <a:lnTo>
                      <a:pt x="923" y="471"/>
                    </a:lnTo>
                    <a:lnTo>
                      <a:pt x="923" y="476"/>
                    </a:lnTo>
                    <a:lnTo>
                      <a:pt x="923" y="476"/>
                    </a:lnTo>
                    <a:lnTo>
                      <a:pt x="928" y="480"/>
                    </a:lnTo>
                    <a:lnTo>
                      <a:pt x="928" y="485"/>
                    </a:lnTo>
                    <a:lnTo>
                      <a:pt x="928" y="489"/>
                    </a:lnTo>
                    <a:lnTo>
                      <a:pt x="928" y="498"/>
                    </a:lnTo>
                    <a:lnTo>
                      <a:pt x="932" y="503"/>
                    </a:lnTo>
                    <a:lnTo>
                      <a:pt x="928" y="503"/>
                    </a:lnTo>
                    <a:lnTo>
                      <a:pt x="928" y="508"/>
                    </a:lnTo>
                    <a:lnTo>
                      <a:pt x="928" y="512"/>
                    </a:lnTo>
                    <a:lnTo>
                      <a:pt x="923" y="512"/>
                    </a:lnTo>
                    <a:lnTo>
                      <a:pt x="923" y="512"/>
                    </a:lnTo>
                    <a:lnTo>
                      <a:pt x="923" y="517"/>
                    </a:lnTo>
                    <a:lnTo>
                      <a:pt x="919" y="521"/>
                    </a:lnTo>
                    <a:lnTo>
                      <a:pt x="914" y="521"/>
                    </a:lnTo>
                    <a:lnTo>
                      <a:pt x="910" y="521"/>
                    </a:lnTo>
                    <a:lnTo>
                      <a:pt x="900" y="530"/>
                    </a:lnTo>
                    <a:lnTo>
                      <a:pt x="900" y="530"/>
                    </a:lnTo>
                    <a:lnTo>
                      <a:pt x="900" y="535"/>
                    </a:lnTo>
                    <a:lnTo>
                      <a:pt x="896" y="535"/>
                    </a:lnTo>
                    <a:lnTo>
                      <a:pt x="896" y="540"/>
                    </a:lnTo>
                    <a:lnTo>
                      <a:pt x="891" y="544"/>
                    </a:lnTo>
                    <a:lnTo>
                      <a:pt x="887" y="544"/>
                    </a:lnTo>
                    <a:lnTo>
                      <a:pt x="887" y="544"/>
                    </a:lnTo>
                    <a:lnTo>
                      <a:pt x="882" y="544"/>
                    </a:lnTo>
                    <a:lnTo>
                      <a:pt x="882" y="549"/>
                    </a:lnTo>
                    <a:lnTo>
                      <a:pt x="878" y="549"/>
                    </a:lnTo>
                    <a:lnTo>
                      <a:pt x="878" y="553"/>
                    </a:lnTo>
                    <a:lnTo>
                      <a:pt x="864" y="562"/>
                    </a:lnTo>
                    <a:lnTo>
                      <a:pt x="855" y="562"/>
                    </a:lnTo>
                    <a:lnTo>
                      <a:pt x="855" y="562"/>
                    </a:lnTo>
                    <a:lnTo>
                      <a:pt x="850" y="562"/>
                    </a:lnTo>
                    <a:lnTo>
                      <a:pt x="846" y="558"/>
                    </a:lnTo>
                    <a:lnTo>
                      <a:pt x="841" y="558"/>
                    </a:lnTo>
                    <a:lnTo>
                      <a:pt x="841" y="553"/>
                    </a:lnTo>
                    <a:lnTo>
                      <a:pt x="841" y="549"/>
                    </a:lnTo>
                    <a:lnTo>
                      <a:pt x="836" y="549"/>
                    </a:lnTo>
                    <a:lnTo>
                      <a:pt x="836" y="544"/>
                    </a:lnTo>
                    <a:lnTo>
                      <a:pt x="836" y="544"/>
                    </a:lnTo>
                    <a:lnTo>
                      <a:pt x="832" y="535"/>
                    </a:lnTo>
                    <a:lnTo>
                      <a:pt x="832" y="526"/>
                    </a:lnTo>
                    <a:lnTo>
                      <a:pt x="827" y="526"/>
                    </a:lnTo>
                    <a:lnTo>
                      <a:pt x="823" y="521"/>
                    </a:lnTo>
                    <a:lnTo>
                      <a:pt x="823" y="517"/>
                    </a:lnTo>
                    <a:lnTo>
                      <a:pt x="818" y="517"/>
                    </a:lnTo>
                    <a:lnTo>
                      <a:pt x="818" y="512"/>
                    </a:lnTo>
                    <a:lnTo>
                      <a:pt x="814" y="512"/>
                    </a:lnTo>
                    <a:lnTo>
                      <a:pt x="814" y="508"/>
                    </a:lnTo>
                    <a:lnTo>
                      <a:pt x="804" y="503"/>
                    </a:lnTo>
                    <a:lnTo>
                      <a:pt x="800" y="498"/>
                    </a:lnTo>
                    <a:lnTo>
                      <a:pt x="795" y="498"/>
                    </a:lnTo>
                    <a:lnTo>
                      <a:pt x="791" y="498"/>
                    </a:lnTo>
                    <a:lnTo>
                      <a:pt x="791" y="498"/>
                    </a:lnTo>
                    <a:lnTo>
                      <a:pt x="786" y="498"/>
                    </a:lnTo>
                    <a:lnTo>
                      <a:pt x="782" y="498"/>
                    </a:lnTo>
                    <a:lnTo>
                      <a:pt x="777" y="503"/>
                    </a:lnTo>
                    <a:lnTo>
                      <a:pt x="768" y="503"/>
                    </a:lnTo>
                    <a:lnTo>
                      <a:pt x="768" y="503"/>
                    </a:lnTo>
                    <a:lnTo>
                      <a:pt x="763" y="503"/>
                    </a:lnTo>
                    <a:lnTo>
                      <a:pt x="759" y="503"/>
                    </a:lnTo>
                    <a:lnTo>
                      <a:pt x="750" y="498"/>
                    </a:lnTo>
                    <a:lnTo>
                      <a:pt x="745" y="498"/>
                    </a:lnTo>
                    <a:lnTo>
                      <a:pt x="731" y="498"/>
                    </a:lnTo>
                    <a:lnTo>
                      <a:pt x="722" y="498"/>
                    </a:lnTo>
                    <a:lnTo>
                      <a:pt x="718" y="498"/>
                    </a:lnTo>
                    <a:lnTo>
                      <a:pt x="708" y="498"/>
                    </a:lnTo>
                    <a:lnTo>
                      <a:pt x="708" y="494"/>
                    </a:lnTo>
                    <a:lnTo>
                      <a:pt x="699" y="494"/>
                    </a:lnTo>
                    <a:lnTo>
                      <a:pt x="695" y="489"/>
                    </a:lnTo>
                    <a:lnTo>
                      <a:pt x="681" y="485"/>
                    </a:lnTo>
                    <a:lnTo>
                      <a:pt x="681" y="485"/>
                    </a:lnTo>
                    <a:lnTo>
                      <a:pt x="676" y="485"/>
                    </a:lnTo>
                    <a:lnTo>
                      <a:pt x="672" y="485"/>
                    </a:lnTo>
                    <a:lnTo>
                      <a:pt x="658" y="476"/>
                    </a:lnTo>
                    <a:lnTo>
                      <a:pt x="654" y="476"/>
                    </a:lnTo>
                    <a:lnTo>
                      <a:pt x="649" y="476"/>
                    </a:lnTo>
                    <a:lnTo>
                      <a:pt x="649" y="476"/>
                    </a:lnTo>
                    <a:lnTo>
                      <a:pt x="640" y="476"/>
                    </a:lnTo>
                    <a:lnTo>
                      <a:pt x="635" y="471"/>
                    </a:lnTo>
                    <a:lnTo>
                      <a:pt x="635" y="471"/>
                    </a:lnTo>
                    <a:lnTo>
                      <a:pt x="631" y="466"/>
                    </a:lnTo>
                    <a:lnTo>
                      <a:pt x="626" y="466"/>
                    </a:lnTo>
                    <a:lnTo>
                      <a:pt x="622" y="462"/>
                    </a:lnTo>
                    <a:lnTo>
                      <a:pt x="617" y="462"/>
                    </a:lnTo>
                    <a:lnTo>
                      <a:pt x="617" y="462"/>
                    </a:lnTo>
                    <a:lnTo>
                      <a:pt x="603" y="466"/>
                    </a:lnTo>
                    <a:lnTo>
                      <a:pt x="599" y="466"/>
                    </a:lnTo>
                    <a:lnTo>
                      <a:pt x="594" y="471"/>
                    </a:lnTo>
                    <a:lnTo>
                      <a:pt x="590" y="476"/>
                    </a:lnTo>
                    <a:lnTo>
                      <a:pt x="585" y="476"/>
                    </a:lnTo>
                    <a:lnTo>
                      <a:pt x="576" y="476"/>
                    </a:lnTo>
                    <a:lnTo>
                      <a:pt x="553" y="498"/>
                    </a:lnTo>
                    <a:lnTo>
                      <a:pt x="548" y="498"/>
                    </a:lnTo>
                    <a:lnTo>
                      <a:pt x="548" y="498"/>
                    </a:lnTo>
                    <a:lnTo>
                      <a:pt x="548" y="503"/>
                    </a:lnTo>
                    <a:lnTo>
                      <a:pt x="548" y="508"/>
                    </a:lnTo>
                    <a:lnTo>
                      <a:pt x="544" y="512"/>
                    </a:lnTo>
                    <a:lnTo>
                      <a:pt x="544" y="517"/>
                    </a:lnTo>
                    <a:lnTo>
                      <a:pt x="544" y="521"/>
                    </a:lnTo>
                    <a:lnTo>
                      <a:pt x="539" y="521"/>
                    </a:lnTo>
                    <a:lnTo>
                      <a:pt x="539" y="521"/>
                    </a:lnTo>
                    <a:lnTo>
                      <a:pt x="539" y="530"/>
                    </a:lnTo>
                    <a:lnTo>
                      <a:pt x="539" y="535"/>
                    </a:lnTo>
                    <a:lnTo>
                      <a:pt x="544" y="540"/>
                    </a:lnTo>
                    <a:lnTo>
                      <a:pt x="544" y="544"/>
                    </a:lnTo>
                    <a:lnTo>
                      <a:pt x="544" y="544"/>
                    </a:lnTo>
                    <a:lnTo>
                      <a:pt x="548" y="544"/>
                    </a:lnTo>
                    <a:lnTo>
                      <a:pt x="548" y="549"/>
                    </a:lnTo>
                    <a:lnTo>
                      <a:pt x="548" y="553"/>
                    </a:lnTo>
                    <a:lnTo>
                      <a:pt x="548" y="562"/>
                    </a:lnTo>
                    <a:lnTo>
                      <a:pt x="553" y="562"/>
                    </a:lnTo>
                    <a:lnTo>
                      <a:pt x="553" y="567"/>
                    </a:lnTo>
                    <a:lnTo>
                      <a:pt x="558" y="572"/>
                    </a:lnTo>
                    <a:lnTo>
                      <a:pt x="558" y="576"/>
                    </a:lnTo>
                    <a:lnTo>
                      <a:pt x="562" y="585"/>
                    </a:lnTo>
                    <a:lnTo>
                      <a:pt x="562" y="585"/>
                    </a:lnTo>
                    <a:lnTo>
                      <a:pt x="567" y="590"/>
                    </a:lnTo>
                    <a:lnTo>
                      <a:pt x="567" y="594"/>
                    </a:lnTo>
                    <a:lnTo>
                      <a:pt x="571" y="599"/>
                    </a:lnTo>
                    <a:lnTo>
                      <a:pt x="571" y="604"/>
                    </a:lnTo>
                    <a:lnTo>
                      <a:pt x="567" y="608"/>
                    </a:lnTo>
                    <a:lnTo>
                      <a:pt x="567" y="608"/>
                    </a:lnTo>
                    <a:lnTo>
                      <a:pt x="562" y="608"/>
                    </a:lnTo>
                    <a:lnTo>
                      <a:pt x="558" y="608"/>
                    </a:lnTo>
                    <a:lnTo>
                      <a:pt x="553" y="608"/>
                    </a:lnTo>
                    <a:lnTo>
                      <a:pt x="548" y="608"/>
                    </a:lnTo>
                    <a:lnTo>
                      <a:pt x="548" y="608"/>
                    </a:lnTo>
                    <a:lnTo>
                      <a:pt x="548" y="604"/>
                    </a:lnTo>
                    <a:lnTo>
                      <a:pt x="535" y="594"/>
                    </a:lnTo>
                    <a:lnTo>
                      <a:pt x="530" y="594"/>
                    </a:lnTo>
                    <a:lnTo>
                      <a:pt x="526" y="594"/>
                    </a:lnTo>
                    <a:lnTo>
                      <a:pt x="526" y="590"/>
                    </a:lnTo>
                    <a:lnTo>
                      <a:pt x="526" y="590"/>
                    </a:lnTo>
                    <a:lnTo>
                      <a:pt x="521" y="585"/>
                    </a:lnTo>
                    <a:lnTo>
                      <a:pt x="516" y="585"/>
                    </a:lnTo>
                    <a:lnTo>
                      <a:pt x="512" y="585"/>
                    </a:lnTo>
                    <a:lnTo>
                      <a:pt x="507" y="585"/>
                    </a:lnTo>
                    <a:lnTo>
                      <a:pt x="507" y="581"/>
                    </a:lnTo>
                    <a:lnTo>
                      <a:pt x="503" y="576"/>
                    </a:lnTo>
                    <a:lnTo>
                      <a:pt x="498" y="576"/>
                    </a:lnTo>
                    <a:lnTo>
                      <a:pt x="494" y="576"/>
                    </a:lnTo>
                    <a:lnTo>
                      <a:pt x="489" y="572"/>
                    </a:lnTo>
                    <a:lnTo>
                      <a:pt x="484" y="572"/>
                    </a:lnTo>
                    <a:lnTo>
                      <a:pt x="475" y="567"/>
                    </a:lnTo>
                    <a:lnTo>
                      <a:pt x="471" y="567"/>
                    </a:lnTo>
                    <a:lnTo>
                      <a:pt x="462" y="567"/>
                    </a:lnTo>
                    <a:lnTo>
                      <a:pt x="462" y="562"/>
                    </a:lnTo>
                    <a:lnTo>
                      <a:pt x="452" y="562"/>
                    </a:lnTo>
                    <a:lnTo>
                      <a:pt x="439" y="553"/>
                    </a:lnTo>
                    <a:lnTo>
                      <a:pt x="439" y="553"/>
                    </a:lnTo>
                    <a:lnTo>
                      <a:pt x="434" y="553"/>
                    </a:lnTo>
                    <a:lnTo>
                      <a:pt x="434" y="549"/>
                    </a:lnTo>
                    <a:lnTo>
                      <a:pt x="430" y="549"/>
                    </a:lnTo>
                    <a:lnTo>
                      <a:pt x="425" y="549"/>
                    </a:lnTo>
                    <a:lnTo>
                      <a:pt x="420" y="544"/>
                    </a:lnTo>
                    <a:lnTo>
                      <a:pt x="416" y="544"/>
                    </a:lnTo>
                    <a:lnTo>
                      <a:pt x="416" y="544"/>
                    </a:lnTo>
                    <a:lnTo>
                      <a:pt x="411" y="544"/>
                    </a:lnTo>
                    <a:lnTo>
                      <a:pt x="407" y="544"/>
                    </a:lnTo>
                    <a:lnTo>
                      <a:pt x="402" y="544"/>
                    </a:lnTo>
                    <a:lnTo>
                      <a:pt x="398" y="540"/>
                    </a:lnTo>
                    <a:lnTo>
                      <a:pt x="388" y="540"/>
                    </a:lnTo>
                    <a:lnTo>
                      <a:pt x="384" y="535"/>
                    </a:lnTo>
                    <a:lnTo>
                      <a:pt x="375" y="530"/>
                    </a:lnTo>
                    <a:lnTo>
                      <a:pt x="370" y="530"/>
                    </a:lnTo>
                    <a:lnTo>
                      <a:pt x="356" y="530"/>
                    </a:lnTo>
                    <a:lnTo>
                      <a:pt x="338" y="526"/>
                    </a:lnTo>
                    <a:lnTo>
                      <a:pt x="329" y="526"/>
                    </a:lnTo>
                    <a:lnTo>
                      <a:pt x="329" y="521"/>
                    </a:lnTo>
                    <a:lnTo>
                      <a:pt x="315" y="521"/>
                    </a:lnTo>
                    <a:lnTo>
                      <a:pt x="311" y="521"/>
                    </a:lnTo>
                    <a:lnTo>
                      <a:pt x="306" y="521"/>
                    </a:lnTo>
                    <a:lnTo>
                      <a:pt x="297" y="517"/>
                    </a:lnTo>
                    <a:lnTo>
                      <a:pt x="292" y="517"/>
                    </a:lnTo>
                    <a:lnTo>
                      <a:pt x="288" y="512"/>
                    </a:lnTo>
                    <a:lnTo>
                      <a:pt x="279" y="512"/>
                    </a:lnTo>
                    <a:lnTo>
                      <a:pt x="274" y="508"/>
                    </a:lnTo>
                    <a:lnTo>
                      <a:pt x="270" y="508"/>
                    </a:lnTo>
                    <a:lnTo>
                      <a:pt x="265" y="508"/>
                    </a:lnTo>
                    <a:lnTo>
                      <a:pt x="260" y="503"/>
                    </a:lnTo>
                    <a:lnTo>
                      <a:pt x="256" y="503"/>
                    </a:lnTo>
                    <a:lnTo>
                      <a:pt x="247" y="503"/>
                    </a:lnTo>
                    <a:lnTo>
                      <a:pt x="242" y="503"/>
                    </a:lnTo>
                    <a:lnTo>
                      <a:pt x="228" y="498"/>
                    </a:lnTo>
                    <a:lnTo>
                      <a:pt x="219" y="498"/>
                    </a:lnTo>
                    <a:lnTo>
                      <a:pt x="219" y="498"/>
                    </a:lnTo>
                    <a:lnTo>
                      <a:pt x="215" y="498"/>
                    </a:lnTo>
                    <a:lnTo>
                      <a:pt x="210" y="503"/>
                    </a:lnTo>
                    <a:lnTo>
                      <a:pt x="206" y="503"/>
                    </a:lnTo>
                    <a:lnTo>
                      <a:pt x="201" y="503"/>
                    </a:lnTo>
                    <a:lnTo>
                      <a:pt x="192" y="503"/>
                    </a:lnTo>
                    <a:lnTo>
                      <a:pt x="183" y="503"/>
                    </a:lnTo>
                    <a:lnTo>
                      <a:pt x="178" y="503"/>
                    </a:lnTo>
                    <a:lnTo>
                      <a:pt x="169" y="508"/>
                    </a:lnTo>
                    <a:lnTo>
                      <a:pt x="160" y="508"/>
                    </a:lnTo>
                    <a:lnTo>
                      <a:pt x="155" y="512"/>
                    </a:lnTo>
                    <a:lnTo>
                      <a:pt x="151" y="512"/>
                    </a:lnTo>
                    <a:lnTo>
                      <a:pt x="146" y="512"/>
                    </a:lnTo>
                    <a:lnTo>
                      <a:pt x="132" y="517"/>
                    </a:lnTo>
                    <a:lnTo>
                      <a:pt x="128" y="517"/>
                    </a:lnTo>
                    <a:lnTo>
                      <a:pt x="123" y="521"/>
                    </a:lnTo>
                    <a:lnTo>
                      <a:pt x="119" y="521"/>
                    </a:lnTo>
                    <a:lnTo>
                      <a:pt x="110" y="521"/>
                    </a:lnTo>
                    <a:lnTo>
                      <a:pt x="105" y="521"/>
                    </a:lnTo>
                    <a:lnTo>
                      <a:pt x="100" y="526"/>
                    </a:lnTo>
                    <a:lnTo>
                      <a:pt x="91" y="526"/>
                    </a:lnTo>
                    <a:lnTo>
                      <a:pt x="91" y="526"/>
                    </a:lnTo>
                    <a:lnTo>
                      <a:pt x="91" y="530"/>
                    </a:lnTo>
                    <a:lnTo>
                      <a:pt x="87" y="530"/>
                    </a:lnTo>
                    <a:lnTo>
                      <a:pt x="82" y="530"/>
                    </a:lnTo>
                    <a:lnTo>
                      <a:pt x="78" y="530"/>
                    </a:lnTo>
                    <a:lnTo>
                      <a:pt x="78" y="535"/>
                    </a:lnTo>
                    <a:lnTo>
                      <a:pt x="68" y="535"/>
                    </a:lnTo>
                    <a:lnTo>
                      <a:pt x="64" y="535"/>
                    </a:lnTo>
                    <a:lnTo>
                      <a:pt x="64" y="540"/>
                    </a:lnTo>
                    <a:lnTo>
                      <a:pt x="59" y="540"/>
                    </a:lnTo>
                    <a:lnTo>
                      <a:pt x="55" y="540"/>
                    </a:lnTo>
                    <a:lnTo>
                      <a:pt x="46" y="544"/>
                    </a:lnTo>
                    <a:lnTo>
                      <a:pt x="46" y="544"/>
                    </a:lnTo>
                    <a:lnTo>
                      <a:pt x="41" y="544"/>
                    </a:lnTo>
                    <a:lnTo>
                      <a:pt x="36" y="549"/>
                    </a:lnTo>
                    <a:lnTo>
                      <a:pt x="32" y="549"/>
                    </a:lnTo>
                    <a:lnTo>
                      <a:pt x="27" y="553"/>
                    </a:lnTo>
                    <a:lnTo>
                      <a:pt x="23" y="553"/>
                    </a:lnTo>
                    <a:lnTo>
                      <a:pt x="23" y="558"/>
                    </a:lnTo>
                    <a:lnTo>
                      <a:pt x="18" y="562"/>
                    </a:lnTo>
                    <a:lnTo>
                      <a:pt x="9" y="567"/>
                    </a:lnTo>
                    <a:lnTo>
                      <a:pt x="4" y="567"/>
                    </a:lnTo>
                    <a:lnTo>
                      <a:pt x="4" y="562"/>
                    </a:lnTo>
                    <a:lnTo>
                      <a:pt x="4" y="558"/>
                    </a:lnTo>
                    <a:lnTo>
                      <a:pt x="4" y="553"/>
                    </a:lnTo>
                    <a:lnTo>
                      <a:pt x="4" y="549"/>
                    </a:lnTo>
                    <a:lnTo>
                      <a:pt x="4" y="540"/>
                    </a:lnTo>
                    <a:lnTo>
                      <a:pt x="9" y="530"/>
                    </a:lnTo>
                    <a:lnTo>
                      <a:pt x="9" y="521"/>
                    </a:lnTo>
                    <a:lnTo>
                      <a:pt x="14" y="521"/>
                    </a:lnTo>
                    <a:lnTo>
                      <a:pt x="14" y="517"/>
                    </a:lnTo>
                    <a:lnTo>
                      <a:pt x="14" y="512"/>
                    </a:lnTo>
                    <a:lnTo>
                      <a:pt x="14" y="508"/>
                    </a:lnTo>
                    <a:lnTo>
                      <a:pt x="14" y="503"/>
                    </a:lnTo>
                    <a:lnTo>
                      <a:pt x="18" y="503"/>
                    </a:lnTo>
                    <a:lnTo>
                      <a:pt x="18" y="498"/>
                    </a:lnTo>
                    <a:lnTo>
                      <a:pt x="18" y="498"/>
                    </a:lnTo>
                    <a:lnTo>
                      <a:pt x="23" y="494"/>
                    </a:lnTo>
                    <a:lnTo>
                      <a:pt x="23" y="485"/>
                    </a:lnTo>
                    <a:lnTo>
                      <a:pt x="18" y="480"/>
                    </a:lnTo>
                    <a:lnTo>
                      <a:pt x="18" y="476"/>
                    </a:lnTo>
                    <a:lnTo>
                      <a:pt x="18" y="476"/>
                    </a:lnTo>
                    <a:lnTo>
                      <a:pt x="18" y="471"/>
                    </a:lnTo>
                    <a:lnTo>
                      <a:pt x="23" y="462"/>
                    </a:lnTo>
                    <a:lnTo>
                      <a:pt x="23" y="457"/>
                    </a:lnTo>
                    <a:lnTo>
                      <a:pt x="23" y="457"/>
                    </a:lnTo>
                    <a:lnTo>
                      <a:pt x="23" y="457"/>
                    </a:lnTo>
                    <a:lnTo>
                      <a:pt x="23" y="453"/>
                    </a:lnTo>
                    <a:lnTo>
                      <a:pt x="18" y="448"/>
                    </a:lnTo>
                    <a:lnTo>
                      <a:pt x="14" y="444"/>
                    </a:lnTo>
                    <a:lnTo>
                      <a:pt x="14" y="439"/>
                    </a:lnTo>
                    <a:lnTo>
                      <a:pt x="9" y="434"/>
                    </a:lnTo>
                    <a:lnTo>
                      <a:pt x="9" y="434"/>
                    </a:lnTo>
                    <a:lnTo>
                      <a:pt x="9" y="425"/>
                    </a:lnTo>
                    <a:lnTo>
                      <a:pt x="4" y="421"/>
                    </a:lnTo>
                    <a:lnTo>
                      <a:pt x="0" y="412"/>
                    </a:lnTo>
                    <a:lnTo>
                      <a:pt x="0" y="407"/>
                    </a:lnTo>
                    <a:lnTo>
                      <a:pt x="4" y="398"/>
                    </a:lnTo>
                    <a:lnTo>
                      <a:pt x="9" y="384"/>
                    </a:lnTo>
                    <a:lnTo>
                      <a:pt x="18" y="375"/>
                    </a:lnTo>
                    <a:lnTo>
                      <a:pt x="23" y="370"/>
                    </a:lnTo>
                    <a:lnTo>
                      <a:pt x="27" y="361"/>
                    </a:lnTo>
                    <a:lnTo>
                      <a:pt x="46" y="361"/>
                    </a:lnTo>
                    <a:lnTo>
                      <a:pt x="46" y="361"/>
                    </a:lnTo>
                    <a:lnTo>
                      <a:pt x="55" y="361"/>
                    </a:lnTo>
                    <a:lnTo>
                      <a:pt x="68" y="357"/>
                    </a:lnTo>
                    <a:lnTo>
                      <a:pt x="82" y="357"/>
                    </a:lnTo>
                    <a:lnTo>
                      <a:pt x="87" y="357"/>
                    </a:lnTo>
                    <a:lnTo>
                      <a:pt x="91" y="352"/>
                    </a:lnTo>
                    <a:lnTo>
                      <a:pt x="114" y="348"/>
                    </a:lnTo>
                    <a:lnTo>
                      <a:pt x="119" y="348"/>
                    </a:lnTo>
                    <a:lnTo>
                      <a:pt x="132" y="343"/>
                    </a:lnTo>
                    <a:lnTo>
                      <a:pt x="137" y="338"/>
                    </a:lnTo>
                    <a:lnTo>
                      <a:pt x="142" y="334"/>
                    </a:lnTo>
                    <a:lnTo>
                      <a:pt x="151" y="334"/>
                    </a:lnTo>
                    <a:lnTo>
                      <a:pt x="151" y="329"/>
                    </a:lnTo>
                    <a:lnTo>
                      <a:pt x="155" y="329"/>
                    </a:lnTo>
                    <a:lnTo>
                      <a:pt x="155" y="329"/>
                    </a:lnTo>
                    <a:lnTo>
                      <a:pt x="155" y="325"/>
                    </a:lnTo>
                    <a:lnTo>
                      <a:pt x="160" y="325"/>
                    </a:lnTo>
                    <a:lnTo>
                      <a:pt x="160" y="325"/>
                    </a:lnTo>
                    <a:lnTo>
                      <a:pt x="164" y="325"/>
                    </a:lnTo>
                    <a:lnTo>
                      <a:pt x="169" y="325"/>
                    </a:lnTo>
                    <a:lnTo>
                      <a:pt x="169" y="320"/>
                    </a:lnTo>
                    <a:lnTo>
                      <a:pt x="174" y="320"/>
                    </a:lnTo>
                    <a:lnTo>
                      <a:pt x="178" y="316"/>
                    </a:lnTo>
                    <a:lnTo>
                      <a:pt x="178" y="311"/>
                    </a:lnTo>
                    <a:lnTo>
                      <a:pt x="183" y="306"/>
                    </a:lnTo>
                    <a:lnTo>
                      <a:pt x="187" y="306"/>
                    </a:lnTo>
                    <a:lnTo>
                      <a:pt x="192" y="302"/>
                    </a:lnTo>
                    <a:lnTo>
                      <a:pt x="192" y="302"/>
                    </a:lnTo>
                    <a:lnTo>
                      <a:pt x="196" y="297"/>
                    </a:lnTo>
                    <a:lnTo>
                      <a:pt x="196" y="293"/>
                    </a:lnTo>
                    <a:lnTo>
                      <a:pt x="196" y="293"/>
                    </a:lnTo>
                    <a:lnTo>
                      <a:pt x="196" y="288"/>
                    </a:lnTo>
                    <a:lnTo>
                      <a:pt x="201" y="288"/>
                    </a:lnTo>
                    <a:lnTo>
                      <a:pt x="201" y="284"/>
                    </a:lnTo>
                    <a:lnTo>
                      <a:pt x="206" y="284"/>
                    </a:lnTo>
                    <a:lnTo>
                      <a:pt x="206" y="279"/>
                    </a:lnTo>
                    <a:lnTo>
                      <a:pt x="210" y="279"/>
                    </a:lnTo>
                    <a:lnTo>
                      <a:pt x="215" y="274"/>
                    </a:lnTo>
                    <a:lnTo>
                      <a:pt x="215" y="270"/>
                    </a:lnTo>
                    <a:lnTo>
                      <a:pt x="219" y="270"/>
                    </a:lnTo>
                    <a:lnTo>
                      <a:pt x="219" y="265"/>
                    </a:lnTo>
                    <a:lnTo>
                      <a:pt x="219" y="261"/>
                    </a:lnTo>
                    <a:lnTo>
                      <a:pt x="224" y="256"/>
                    </a:lnTo>
                    <a:lnTo>
                      <a:pt x="238" y="233"/>
                    </a:lnTo>
                    <a:lnTo>
                      <a:pt x="238" y="224"/>
                    </a:lnTo>
                    <a:lnTo>
                      <a:pt x="238" y="215"/>
                    </a:lnTo>
                    <a:lnTo>
                      <a:pt x="238" y="210"/>
                    </a:lnTo>
                    <a:lnTo>
                      <a:pt x="238" y="206"/>
                    </a:lnTo>
                    <a:lnTo>
                      <a:pt x="242" y="192"/>
                    </a:lnTo>
                    <a:lnTo>
                      <a:pt x="242" y="183"/>
                    </a:lnTo>
                    <a:lnTo>
                      <a:pt x="242" y="169"/>
                    </a:lnTo>
                    <a:lnTo>
                      <a:pt x="242" y="160"/>
                    </a:lnTo>
                    <a:lnTo>
                      <a:pt x="242" y="146"/>
                    </a:lnTo>
                    <a:lnTo>
                      <a:pt x="242" y="142"/>
                    </a:lnTo>
                    <a:lnTo>
                      <a:pt x="242" y="128"/>
                    </a:lnTo>
                    <a:lnTo>
                      <a:pt x="242" y="110"/>
                    </a:lnTo>
                    <a:lnTo>
                      <a:pt x="242" y="73"/>
                    </a:lnTo>
                    <a:lnTo>
                      <a:pt x="242" y="59"/>
                    </a:lnTo>
                    <a:lnTo>
                      <a:pt x="242" y="59"/>
                    </a:lnTo>
                    <a:lnTo>
                      <a:pt x="242" y="50"/>
                    </a:lnTo>
                    <a:lnTo>
                      <a:pt x="242" y="46"/>
                    </a:lnTo>
                    <a:lnTo>
                      <a:pt x="242" y="41"/>
                    </a:lnTo>
                    <a:lnTo>
                      <a:pt x="247" y="37"/>
                    </a:lnTo>
                    <a:lnTo>
                      <a:pt x="251" y="37"/>
                    </a:lnTo>
                    <a:lnTo>
                      <a:pt x="256" y="32"/>
                    </a:lnTo>
                    <a:lnTo>
                      <a:pt x="265" y="27"/>
                    </a:lnTo>
                    <a:lnTo>
                      <a:pt x="270" y="23"/>
                    </a:lnTo>
                    <a:lnTo>
                      <a:pt x="260" y="18"/>
                    </a:lnTo>
                    <a:lnTo>
                      <a:pt x="265" y="14"/>
                    </a:lnTo>
                    <a:lnTo>
                      <a:pt x="265" y="14"/>
                    </a:lnTo>
                    <a:lnTo>
                      <a:pt x="270" y="14"/>
                    </a:lnTo>
                    <a:lnTo>
                      <a:pt x="274" y="14"/>
                    </a:lnTo>
                    <a:lnTo>
                      <a:pt x="274" y="9"/>
                    </a:lnTo>
                    <a:lnTo>
                      <a:pt x="279" y="9"/>
                    </a:lnTo>
                    <a:lnTo>
                      <a:pt x="283" y="9"/>
                    </a:lnTo>
                    <a:lnTo>
                      <a:pt x="288" y="9"/>
                    </a:lnTo>
                    <a:lnTo>
                      <a:pt x="288" y="9"/>
                    </a:lnTo>
                    <a:lnTo>
                      <a:pt x="292" y="14"/>
                    </a:lnTo>
                    <a:lnTo>
                      <a:pt x="292" y="18"/>
                    </a:lnTo>
                    <a:lnTo>
                      <a:pt x="292" y="18"/>
                    </a:lnTo>
                    <a:lnTo>
                      <a:pt x="297" y="23"/>
                    </a:lnTo>
                    <a:lnTo>
                      <a:pt x="302" y="18"/>
                    </a:lnTo>
                    <a:lnTo>
                      <a:pt x="306" y="18"/>
                    </a:lnTo>
                    <a:lnTo>
                      <a:pt x="306" y="18"/>
                    </a:lnTo>
                    <a:lnTo>
                      <a:pt x="311" y="18"/>
                    </a:lnTo>
                    <a:lnTo>
                      <a:pt x="315" y="23"/>
                    </a:lnTo>
                    <a:lnTo>
                      <a:pt x="320" y="23"/>
                    </a:lnTo>
                    <a:lnTo>
                      <a:pt x="320" y="27"/>
                    </a:lnTo>
                    <a:lnTo>
                      <a:pt x="329" y="27"/>
                    </a:lnTo>
                    <a:lnTo>
                      <a:pt x="329" y="32"/>
                    </a:lnTo>
                    <a:lnTo>
                      <a:pt x="334" y="32"/>
                    </a:lnTo>
                    <a:lnTo>
                      <a:pt x="343" y="27"/>
                    </a:lnTo>
                    <a:lnTo>
                      <a:pt x="352" y="23"/>
                    </a:lnTo>
                    <a:lnTo>
                      <a:pt x="352" y="18"/>
                    </a:lnTo>
                    <a:lnTo>
                      <a:pt x="356" y="18"/>
                    </a:lnTo>
                    <a:lnTo>
                      <a:pt x="356" y="14"/>
                    </a:lnTo>
                    <a:lnTo>
                      <a:pt x="361" y="14"/>
                    </a:lnTo>
                    <a:lnTo>
                      <a:pt x="361" y="9"/>
                    </a:lnTo>
                    <a:lnTo>
                      <a:pt x="366" y="9"/>
                    </a:lnTo>
                    <a:lnTo>
                      <a:pt x="366" y="5"/>
                    </a:lnTo>
                    <a:lnTo>
                      <a:pt x="370" y="5"/>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Nassarawa</a:t>
                </a:r>
              </a:p>
            </p:txBody>
          </p:sp>
          <p:sp>
            <p:nvSpPr>
              <p:cNvPr id="211" name="Freeform 32">
                <a:extLst>
                  <a:ext uri="{FF2B5EF4-FFF2-40B4-BE49-F238E27FC236}">
                    <a16:creationId xmlns:a16="http://schemas.microsoft.com/office/drawing/2014/main" id="{D2F660F2-B7D7-4C70-87D9-A557DE110DE0}"/>
                  </a:ext>
                </a:extLst>
              </p:cNvPr>
              <p:cNvSpPr>
                <a:spLocks/>
              </p:cNvSpPr>
              <p:nvPr>
                <p:custDataLst>
                  <p:tags r:id="rId28"/>
                </p:custDataLst>
              </p:nvPr>
            </p:nvSpPr>
            <p:spPr bwMode="auto">
              <a:xfrm>
                <a:off x="623979" y="2944821"/>
                <a:ext cx="1936136" cy="1470702"/>
              </a:xfrm>
              <a:custGeom>
                <a:avLst/>
                <a:gdLst/>
                <a:ahLst/>
                <a:cxnLst>
                  <a:cxn ang="0">
                    <a:pos x="910" y="110"/>
                  </a:cxn>
                  <a:cxn ang="0">
                    <a:pos x="969" y="151"/>
                  </a:cxn>
                  <a:cxn ang="0">
                    <a:pos x="964" y="229"/>
                  </a:cxn>
                  <a:cxn ang="0">
                    <a:pos x="969" y="307"/>
                  </a:cxn>
                  <a:cxn ang="0">
                    <a:pos x="978" y="371"/>
                  </a:cxn>
                  <a:cxn ang="0">
                    <a:pos x="1033" y="339"/>
                  </a:cxn>
                  <a:cxn ang="0">
                    <a:pos x="1092" y="293"/>
                  </a:cxn>
                  <a:cxn ang="0">
                    <a:pos x="1152" y="307"/>
                  </a:cxn>
                  <a:cxn ang="0">
                    <a:pos x="1225" y="275"/>
                  </a:cxn>
                  <a:cxn ang="0">
                    <a:pos x="1266" y="316"/>
                  </a:cxn>
                  <a:cxn ang="0">
                    <a:pos x="1303" y="380"/>
                  </a:cxn>
                  <a:cxn ang="0">
                    <a:pos x="1284" y="439"/>
                  </a:cxn>
                  <a:cxn ang="0">
                    <a:pos x="1280" y="489"/>
                  </a:cxn>
                  <a:cxn ang="0">
                    <a:pos x="1371" y="503"/>
                  </a:cxn>
                  <a:cxn ang="0">
                    <a:pos x="1412" y="581"/>
                  </a:cxn>
                  <a:cxn ang="0">
                    <a:pos x="1408" y="617"/>
                  </a:cxn>
                  <a:cxn ang="0">
                    <a:pos x="1431" y="659"/>
                  </a:cxn>
                  <a:cxn ang="0">
                    <a:pos x="1385" y="713"/>
                  </a:cxn>
                  <a:cxn ang="0">
                    <a:pos x="1403" y="773"/>
                  </a:cxn>
                  <a:cxn ang="0">
                    <a:pos x="1303" y="809"/>
                  </a:cxn>
                  <a:cxn ang="0">
                    <a:pos x="1216" y="1148"/>
                  </a:cxn>
                  <a:cxn ang="0">
                    <a:pos x="1170" y="1171"/>
                  </a:cxn>
                  <a:cxn ang="0">
                    <a:pos x="1111" y="1120"/>
                  </a:cxn>
                  <a:cxn ang="0">
                    <a:pos x="1079" y="1052"/>
                  </a:cxn>
                  <a:cxn ang="0">
                    <a:pos x="1019" y="997"/>
                  </a:cxn>
                  <a:cxn ang="0">
                    <a:pos x="951" y="988"/>
                  </a:cxn>
                  <a:cxn ang="0">
                    <a:pos x="823" y="979"/>
                  </a:cxn>
                  <a:cxn ang="0">
                    <a:pos x="736" y="919"/>
                  </a:cxn>
                  <a:cxn ang="0">
                    <a:pos x="617" y="878"/>
                  </a:cxn>
                  <a:cxn ang="0">
                    <a:pos x="567" y="832"/>
                  </a:cxn>
                  <a:cxn ang="0">
                    <a:pos x="471" y="837"/>
                  </a:cxn>
                  <a:cxn ang="0">
                    <a:pos x="416" y="777"/>
                  </a:cxn>
                  <a:cxn ang="0">
                    <a:pos x="334" y="709"/>
                  </a:cxn>
                  <a:cxn ang="0">
                    <a:pos x="247" y="617"/>
                  </a:cxn>
                  <a:cxn ang="0">
                    <a:pos x="201" y="567"/>
                  </a:cxn>
                  <a:cxn ang="0">
                    <a:pos x="137" y="553"/>
                  </a:cxn>
                  <a:cxn ang="0">
                    <a:pos x="123" y="526"/>
                  </a:cxn>
                  <a:cxn ang="0">
                    <a:pos x="87" y="503"/>
                  </a:cxn>
                  <a:cxn ang="0">
                    <a:pos x="23" y="471"/>
                  </a:cxn>
                  <a:cxn ang="0">
                    <a:pos x="0" y="403"/>
                  </a:cxn>
                  <a:cxn ang="0">
                    <a:pos x="73" y="352"/>
                  </a:cxn>
                  <a:cxn ang="0">
                    <a:pos x="96" y="238"/>
                  </a:cxn>
                  <a:cxn ang="0">
                    <a:pos x="64" y="128"/>
                  </a:cxn>
                  <a:cxn ang="0">
                    <a:pos x="91" y="110"/>
                  </a:cxn>
                  <a:cxn ang="0">
                    <a:pos x="174" y="137"/>
                  </a:cxn>
                  <a:cxn ang="0">
                    <a:pos x="260" y="133"/>
                  </a:cxn>
                  <a:cxn ang="0">
                    <a:pos x="306" y="174"/>
                  </a:cxn>
                  <a:cxn ang="0">
                    <a:pos x="388" y="188"/>
                  </a:cxn>
                  <a:cxn ang="0">
                    <a:pos x="430" y="243"/>
                  </a:cxn>
                  <a:cxn ang="0">
                    <a:pos x="384" y="288"/>
                  </a:cxn>
                  <a:cxn ang="0">
                    <a:pos x="343" y="371"/>
                  </a:cxn>
                  <a:cxn ang="0">
                    <a:pos x="370" y="444"/>
                  </a:cxn>
                  <a:cxn ang="0">
                    <a:pos x="425" y="412"/>
                  </a:cxn>
                  <a:cxn ang="0">
                    <a:pos x="507" y="403"/>
                  </a:cxn>
                  <a:cxn ang="0">
                    <a:pos x="480" y="334"/>
                  </a:cxn>
                  <a:cxn ang="0">
                    <a:pos x="494" y="238"/>
                  </a:cxn>
                  <a:cxn ang="0">
                    <a:pos x="580" y="220"/>
                  </a:cxn>
                  <a:cxn ang="0">
                    <a:pos x="558" y="174"/>
                  </a:cxn>
                  <a:cxn ang="0">
                    <a:pos x="512" y="101"/>
                  </a:cxn>
                  <a:cxn ang="0">
                    <a:pos x="443" y="51"/>
                  </a:cxn>
                  <a:cxn ang="0">
                    <a:pos x="494" y="14"/>
                  </a:cxn>
                  <a:cxn ang="0">
                    <a:pos x="667" y="14"/>
                  </a:cxn>
                  <a:cxn ang="0">
                    <a:pos x="708" y="128"/>
                  </a:cxn>
                </a:cxnLst>
                <a:rect l="0" t="0" r="r" b="b"/>
                <a:pathLst>
                  <a:path w="1454" h="1189">
                    <a:moveTo>
                      <a:pt x="804" y="142"/>
                    </a:moveTo>
                    <a:lnTo>
                      <a:pt x="809" y="142"/>
                    </a:lnTo>
                    <a:lnTo>
                      <a:pt x="818" y="142"/>
                    </a:lnTo>
                    <a:lnTo>
                      <a:pt x="823" y="142"/>
                    </a:lnTo>
                    <a:lnTo>
                      <a:pt x="832" y="142"/>
                    </a:lnTo>
                    <a:lnTo>
                      <a:pt x="850" y="137"/>
                    </a:lnTo>
                    <a:lnTo>
                      <a:pt x="868" y="128"/>
                    </a:lnTo>
                    <a:lnTo>
                      <a:pt x="873" y="128"/>
                    </a:lnTo>
                    <a:lnTo>
                      <a:pt x="878" y="128"/>
                    </a:lnTo>
                    <a:lnTo>
                      <a:pt x="882" y="128"/>
                    </a:lnTo>
                    <a:lnTo>
                      <a:pt x="887" y="128"/>
                    </a:lnTo>
                    <a:lnTo>
                      <a:pt x="887" y="124"/>
                    </a:lnTo>
                    <a:lnTo>
                      <a:pt x="891" y="124"/>
                    </a:lnTo>
                    <a:lnTo>
                      <a:pt x="896" y="119"/>
                    </a:lnTo>
                    <a:lnTo>
                      <a:pt x="900" y="119"/>
                    </a:lnTo>
                    <a:lnTo>
                      <a:pt x="900" y="115"/>
                    </a:lnTo>
                    <a:lnTo>
                      <a:pt x="905" y="115"/>
                    </a:lnTo>
                    <a:lnTo>
                      <a:pt x="910" y="110"/>
                    </a:lnTo>
                    <a:lnTo>
                      <a:pt x="910" y="110"/>
                    </a:lnTo>
                    <a:lnTo>
                      <a:pt x="914" y="105"/>
                    </a:lnTo>
                    <a:lnTo>
                      <a:pt x="923" y="101"/>
                    </a:lnTo>
                    <a:lnTo>
                      <a:pt x="923" y="96"/>
                    </a:lnTo>
                    <a:lnTo>
                      <a:pt x="928" y="96"/>
                    </a:lnTo>
                    <a:lnTo>
                      <a:pt x="932" y="96"/>
                    </a:lnTo>
                    <a:lnTo>
                      <a:pt x="932" y="96"/>
                    </a:lnTo>
                    <a:lnTo>
                      <a:pt x="932" y="101"/>
                    </a:lnTo>
                    <a:lnTo>
                      <a:pt x="937" y="101"/>
                    </a:lnTo>
                    <a:lnTo>
                      <a:pt x="937" y="105"/>
                    </a:lnTo>
                    <a:lnTo>
                      <a:pt x="946" y="115"/>
                    </a:lnTo>
                    <a:lnTo>
                      <a:pt x="951" y="119"/>
                    </a:lnTo>
                    <a:lnTo>
                      <a:pt x="951" y="124"/>
                    </a:lnTo>
                    <a:lnTo>
                      <a:pt x="951" y="128"/>
                    </a:lnTo>
                    <a:lnTo>
                      <a:pt x="955" y="128"/>
                    </a:lnTo>
                    <a:lnTo>
                      <a:pt x="955" y="133"/>
                    </a:lnTo>
                    <a:lnTo>
                      <a:pt x="960" y="137"/>
                    </a:lnTo>
                    <a:lnTo>
                      <a:pt x="960" y="142"/>
                    </a:lnTo>
                    <a:lnTo>
                      <a:pt x="964" y="142"/>
                    </a:lnTo>
                    <a:lnTo>
                      <a:pt x="969" y="151"/>
                    </a:lnTo>
                    <a:lnTo>
                      <a:pt x="974" y="151"/>
                    </a:lnTo>
                    <a:lnTo>
                      <a:pt x="974" y="156"/>
                    </a:lnTo>
                    <a:lnTo>
                      <a:pt x="974" y="160"/>
                    </a:lnTo>
                    <a:lnTo>
                      <a:pt x="978" y="160"/>
                    </a:lnTo>
                    <a:lnTo>
                      <a:pt x="978" y="169"/>
                    </a:lnTo>
                    <a:lnTo>
                      <a:pt x="983" y="174"/>
                    </a:lnTo>
                    <a:lnTo>
                      <a:pt x="983" y="174"/>
                    </a:lnTo>
                    <a:lnTo>
                      <a:pt x="983" y="179"/>
                    </a:lnTo>
                    <a:lnTo>
                      <a:pt x="987" y="188"/>
                    </a:lnTo>
                    <a:lnTo>
                      <a:pt x="983" y="188"/>
                    </a:lnTo>
                    <a:lnTo>
                      <a:pt x="974" y="197"/>
                    </a:lnTo>
                    <a:lnTo>
                      <a:pt x="974" y="197"/>
                    </a:lnTo>
                    <a:lnTo>
                      <a:pt x="974" y="201"/>
                    </a:lnTo>
                    <a:lnTo>
                      <a:pt x="969" y="215"/>
                    </a:lnTo>
                    <a:lnTo>
                      <a:pt x="969" y="220"/>
                    </a:lnTo>
                    <a:lnTo>
                      <a:pt x="969" y="220"/>
                    </a:lnTo>
                    <a:lnTo>
                      <a:pt x="964" y="220"/>
                    </a:lnTo>
                    <a:lnTo>
                      <a:pt x="964" y="224"/>
                    </a:lnTo>
                    <a:lnTo>
                      <a:pt x="964" y="229"/>
                    </a:lnTo>
                    <a:lnTo>
                      <a:pt x="964" y="233"/>
                    </a:lnTo>
                    <a:lnTo>
                      <a:pt x="964" y="238"/>
                    </a:lnTo>
                    <a:lnTo>
                      <a:pt x="960" y="238"/>
                    </a:lnTo>
                    <a:lnTo>
                      <a:pt x="960" y="243"/>
                    </a:lnTo>
                    <a:lnTo>
                      <a:pt x="960" y="247"/>
                    </a:lnTo>
                    <a:lnTo>
                      <a:pt x="960" y="252"/>
                    </a:lnTo>
                    <a:lnTo>
                      <a:pt x="964" y="252"/>
                    </a:lnTo>
                    <a:lnTo>
                      <a:pt x="964" y="256"/>
                    </a:lnTo>
                    <a:lnTo>
                      <a:pt x="969" y="261"/>
                    </a:lnTo>
                    <a:lnTo>
                      <a:pt x="969" y="261"/>
                    </a:lnTo>
                    <a:lnTo>
                      <a:pt x="974" y="261"/>
                    </a:lnTo>
                    <a:lnTo>
                      <a:pt x="974" y="265"/>
                    </a:lnTo>
                    <a:lnTo>
                      <a:pt x="974" y="275"/>
                    </a:lnTo>
                    <a:lnTo>
                      <a:pt x="969" y="279"/>
                    </a:lnTo>
                    <a:lnTo>
                      <a:pt x="969" y="284"/>
                    </a:lnTo>
                    <a:lnTo>
                      <a:pt x="974" y="293"/>
                    </a:lnTo>
                    <a:lnTo>
                      <a:pt x="974" y="302"/>
                    </a:lnTo>
                    <a:lnTo>
                      <a:pt x="969" y="302"/>
                    </a:lnTo>
                    <a:lnTo>
                      <a:pt x="969" y="307"/>
                    </a:lnTo>
                    <a:lnTo>
                      <a:pt x="960" y="316"/>
                    </a:lnTo>
                    <a:lnTo>
                      <a:pt x="960" y="320"/>
                    </a:lnTo>
                    <a:lnTo>
                      <a:pt x="955" y="325"/>
                    </a:lnTo>
                    <a:lnTo>
                      <a:pt x="955" y="329"/>
                    </a:lnTo>
                    <a:lnTo>
                      <a:pt x="955" y="329"/>
                    </a:lnTo>
                    <a:lnTo>
                      <a:pt x="955" y="334"/>
                    </a:lnTo>
                    <a:lnTo>
                      <a:pt x="955" y="339"/>
                    </a:lnTo>
                    <a:lnTo>
                      <a:pt x="955" y="343"/>
                    </a:lnTo>
                    <a:lnTo>
                      <a:pt x="960" y="343"/>
                    </a:lnTo>
                    <a:lnTo>
                      <a:pt x="964" y="348"/>
                    </a:lnTo>
                    <a:lnTo>
                      <a:pt x="969" y="348"/>
                    </a:lnTo>
                    <a:lnTo>
                      <a:pt x="974" y="348"/>
                    </a:lnTo>
                    <a:lnTo>
                      <a:pt x="974" y="348"/>
                    </a:lnTo>
                    <a:lnTo>
                      <a:pt x="974" y="348"/>
                    </a:lnTo>
                    <a:lnTo>
                      <a:pt x="974" y="352"/>
                    </a:lnTo>
                    <a:lnTo>
                      <a:pt x="974" y="357"/>
                    </a:lnTo>
                    <a:lnTo>
                      <a:pt x="974" y="361"/>
                    </a:lnTo>
                    <a:lnTo>
                      <a:pt x="978" y="371"/>
                    </a:lnTo>
                    <a:lnTo>
                      <a:pt x="978" y="371"/>
                    </a:lnTo>
                    <a:lnTo>
                      <a:pt x="983" y="371"/>
                    </a:lnTo>
                    <a:lnTo>
                      <a:pt x="987" y="371"/>
                    </a:lnTo>
                    <a:lnTo>
                      <a:pt x="992" y="375"/>
                    </a:lnTo>
                    <a:lnTo>
                      <a:pt x="996" y="375"/>
                    </a:lnTo>
                    <a:lnTo>
                      <a:pt x="1001" y="375"/>
                    </a:lnTo>
                    <a:lnTo>
                      <a:pt x="1001" y="371"/>
                    </a:lnTo>
                    <a:lnTo>
                      <a:pt x="1006" y="371"/>
                    </a:lnTo>
                    <a:lnTo>
                      <a:pt x="1010" y="371"/>
                    </a:lnTo>
                    <a:lnTo>
                      <a:pt x="1010" y="366"/>
                    </a:lnTo>
                    <a:lnTo>
                      <a:pt x="1015" y="366"/>
                    </a:lnTo>
                    <a:lnTo>
                      <a:pt x="1019" y="357"/>
                    </a:lnTo>
                    <a:lnTo>
                      <a:pt x="1019" y="357"/>
                    </a:lnTo>
                    <a:lnTo>
                      <a:pt x="1019" y="352"/>
                    </a:lnTo>
                    <a:lnTo>
                      <a:pt x="1019" y="348"/>
                    </a:lnTo>
                    <a:lnTo>
                      <a:pt x="1024" y="348"/>
                    </a:lnTo>
                    <a:lnTo>
                      <a:pt x="1024" y="348"/>
                    </a:lnTo>
                    <a:lnTo>
                      <a:pt x="1028" y="343"/>
                    </a:lnTo>
                    <a:lnTo>
                      <a:pt x="1028" y="339"/>
                    </a:lnTo>
                    <a:lnTo>
                      <a:pt x="1033" y="339"/>
                    </a:lnTo>
                    <a:lnTo>
                      <a:pt x="1038" y="334"/>
                    </a:lnTo>
                    <a:lnTo>
                      <a:pt x="1042" y="334"/>
                    </a:lnTo>
                    <a:lnTo>
                      <a:pt x="1042" y="329"/>
                    </a:lnTo>
                    <a:lnTo>
                      <a:pt x="1042" y="329"/>
                    </a:lnTo>
                    <a:lnTo>
                      <a:pt x="1042" y="329"/>
                    </a:lnTo>
                    <a:lnTo>
                      <a:pt x="1047" y="329"/>
                    </a:lnTo>
                    <a:lnTo>
                      <a:pt x="1047" y="325"/>
                    </a:lnTo>
                    <a:lnTo>
                      <a:pt x="1051" y="325"/>
                    </a:lnTo>
                    <a:lnTo>
                      <a:pt x="1056" y="325"/>
                    </a:lnTo>
                    <a:lnTo>
                      <a:pt x="1056" y="320"/>
                    </a:lnTo>
                    <a:lnTo>
                      <a:pt x="1060" y="316"/>
                    </a:lnTo>
                    <a:lnTo>
                      <a:pt x="1060" y="316"/>
                    </a:lnTo>
                    <a:lnTo>
                      <a:pt x="1074" y="307"/>
                    </a:lnTo>
                    <a:lnTo>
                      <a:pt x="1074" y="302"/>
                    </a:lnTo>
                    <a:lnTo>
                      <a:pt x="1079" y="302"/>
                    </a:lnTo>
                    <a:lnTo>
                      <a:pt x="1083" y="297"/>
                    </a:lnTo>
                    <a:lnTo>
                      <a:pt x="1083" y="297"/>
                    </a:lnTo>
                    <a:lnTo>
                      <a:pt x="1083" y="293"/>
                    </a:lnTo>
                    <a:lnTo>
                      <a:pt x="1092" y="293"/>
                    </a:lnTo>
                    <a:lnTo>
                      <a:pt x="1092" y="288"/>
                    </a:lnTo>
                    <a:lnTo>
                      <a:pt x="1097" y="288"/>
                    </a:lnTo>
                    <a:lnTo>
                      <a:pt x="1102" y="288"/>
                    </a:lnTo>
                    <a:lnTo>
                      <a:pt x="1102" y="284"/>
                    </a:lnTo>
                    <a:lnTo>
                      <a:pt x="1106" y="284"/>
                    </a:lnTo>
                    <a:lnTo>
                      <a:pt x="1106" y="284"/>
                    </a:lnTo>
                    <a:lnTo>
                      <a:pt x="1111" y="288"/>
                    </a:lnTo>
                    <a:lnTo>
                      <a:pt x="1115" y="288"/>
                    </a:lnTo>
                    <a:lnTo>
                      <a:pt x="1115" y="293"/>
                    </a:lnTo>
                    <a:lnTo>
                      <a:pt x="1120" y="293"/>
                    </a:lnTo>
                    <a:lnTo>
                      <a:pt x="1120" y="302"/>
                    </a:lnTo>
                    <a:lnTo>
                      <a:pt x="1124" y="307"/>
                    </a:lnTo>
                    <a:lnTo>
                      <a:pt x="1124" y="307"/>
                    </a:lnTo>
                    <a:lnTo>
                      <a:pt x="1129" y="311"/>
                    </a:lnTo>
                    <a:lnTo>
                      <a:pt x="1129" y="311"/>
                    </a:lnTo>
                    <a:lnTo>
                      <a:pt x="1134" y="307"/>
                    </a:lnTo>
                    <a:lnTo>
                      <a:pt x="1138" y="307"/>
                    </a:lnTo>
                    <a:lnTo>
                      <a:pt x="1143" y="307"/>
                    </a:lnTo>
                    <a:lnTo>
                      <a:pt x="1152" y="307"/>
                    </a:lnTo>
                    <a:lnTo>
                      <a:pt x="1152" y="307"/>
                    </a:lnTo>
                    <a:lnTo>
                      <a:pt x="1152" y="302"/>
                    </a:lnTo>
                    <a:lnTo>
                      <a:pt x="1161" y="302"/>
                    </a:lnTo>
                    <a:lnTo>
                      <a:pt x="1170" y="302"/>
                    </a:lnTo>
                    <a:lnTo>
                      <a:pt x="1170" y="297"/>
                    </a:lnTo>
                    <a:lnTo>
                      <a:pt x="1184" y="297"/>
                    </a:lnTo>
                    <a:lnTo>
                      <a:pt x="1198" y="297"/>
                    </a:lnTo>
                    <a:lnTo>
                      <a:pt x="1198" y="293"/>
                    </a:lnTo>
                    <a:lnTo>
                      <a:pt x="1198" y="288"/>
                    </a:lnTo>
                    <a:lnTo>
                      <a:pt x="1193" y="284"/>
                    </a:lnTo>
                    <a:lnTo>
                      <a:pt x="1193" y="284"/>
                    </a:lnTo>
                    <a:lnTo>
                      <a:pt x="1193" y="279"/>
                    </a:lnTo>
                    <a:lnTo>
                      <a:pt x="1193" y="275"/>
                    </a:lnTo>
                    <a:lnTo>
                      <a:pt x="1198" y="275"/>
                    </a:lnTo>
                    <a:lnTo>
                      <a:pt x="1202" y="270"/>
                    </a:lnTo>
                    <a:lnTo>
                      <a:pt x="1207" y="270"/>
                    </a:lnTo>
                    <a:lnTo>
                      <a:pt x="1211" y="270"/>
                    </a:lnTo>
                    <a:lnTo>
                      <a:pt x="1216" y="270"/>
                    </a:lnTo>
                    <a:lnTo>
                      <a:pt x="1225" y="275"/>
                    </a:lnTo>
                    <a:lnTo>
                      <a:pt x="1234" y="275"/>
                    </a:lnTo>
                    <a:lnTo>
                      <a:pt x="1239" y="279"/>
                    </a:lnTo>
                    <a:lnTo>
                      <a:pt x="1239" y="284"/>
                    </a:lnTo>
                    <a:lnTo>
                      <a:pt x="1239" y="284"/>
                    </a:lnTo>
                    <a:lnTo>
                      <a:pt x="1239" y="284"/>
                    </a:lnTo>
                    <a:lnTo>
                      <a:pt x="1243" y="288"/>
                    </a:lnTo>
                    <a:lnTo>
                      <a:pt x="1243" y="293"/>
                    </a:lnTo>
                    <a:lnTo>
                      <a:pt x="1239" y="297"/>
                    </a:lnTo>
                    <a:lnTo>
                      <a:pt x="1239" y="302"/>
                    </a:lnTo>
                    <a:lnTo>
                      <a:pt x="1239" y="307"/>
                    </a:lnTo>
                    <a:lnTo>
                      <a:pt x="1239" y="307"/>
                    </a:lnTo>
                    <a:lnTo>
                      <a:pt x="1239" y="307"/>
                    </a:lnTo>
                    <a:lnTo>
                      <a:pt x="1239" y="311"/>
                    </a:lnTo>
                    <a:lnTo>
                      <a:pt x="1239" y="316"/>
                    </a:lnTo>
                    <a:lnTo>
                      <a:pt x="1243" y="316"/>
                    </a:lnTo>
                    <a:lnTo>
                      <a:pt x="1248" y="316"/>
                    </a:lnTo>
                    <a:lnTo>
                      <a:pt x="1262" y="316"/>
                    </a:lnTo>
                    <a:lnTo>
                      <a:pt x="1262" y="316"/>
                    </a:lnTo>
                    <a:lnTo>
                      <a:pt x="1266" y="316"/>
                    </a:lnTo>
                    <a:lnTo>
                      <a:pt x="1271" y="316"/>
                    </a:lnTo>
                    <a:lnTo>
                      <a:pt x="1271" y="320"/>
                    </a:lnTo>
                    <a:lnTo>
                      <a:pt x="1275" y="325"/>
                    </a:lnTo>
                    <a:lnTo>
                      <a:pt x="1280" y="329"/>
                    </a:lnTo>
                    <a:lnTo>
                      <a:pt x="1280" y="339"/>
                    </a:lnTo>
                    <a:lnTo>
                      <a:pt x="1280" y="343"/>
                    </a:lnTo>
                    <a:lnTo>
                      <a:pt x="1280" y="348"/>
                    </a:lnTo>
                    <a:lnTo>
                      <a:pt x="1280" y="348"/>
                    </a:lnTo>
                    <a:lnTo>
                      <a:pt x="1275" y="352"/>
                    </a:lnTo>
                    <a:lnTo>
                      <a:pt x="1275" y="357"/>
                    </a:lnTo>
                    <a:lnTo>
                      <a:pt x="1275" y="361"/>
                    </a:lnTo>
                    <a:lnTo>
                      <a:pt x="1271" y="371"/>
                    </a:lnTo>
                    <a:lnTo>
                      <a:pt x="1271" y="371"/>
                    </a:lnTo>
                    <a:lnTo>
                      <a:pt x="1275" y="375"/>
                    </a:lnTo>
                    <a:lnTo>
                      <a:pt x="1280" y="380"/>
                    </a:lnTo>
                    <a:lnTo>
                      <a:pt x="1284" y="380"/>
                    </a:lnTo>
                    <a:lnTo>
                      <a:pt x="1289" y="380"/>
                    </a:lnTo>
                    <a:lnTo>
                      <a:pt x="1298" y="380"/>
                    </a:lnTo>
                    <a:lnTo>
                      <a:pt x="1303" y="380"/>
                    </a:lnTo>
                    <a:lnTo>
                      <a:pt x="1303" y="380"/>
                    </a:lnTo>
                    <a:lnTo>
                      <a:pt x="1307" y="384"/>
                    </a:lnTo>
                    <a:lnTo>
                      <a:pt x="1312" y="389"/>
                    </a:lnTo>
                    <a:lnTo>
                      <a:pt x="1316" y="393"/>
                    </a:lnTo>
                    <a:lnTo>
                      <a:pt x="1316" y="393"/>
                    </a:lnTo>
                    <a:lnTo>
                      <a:pt x="1321" y="393"/>
                    </a:lnTo>
                    <a:lnTo>
                      <a:pt x="1321" y="398"/>
                    </a:lnTo>
                    <a:lnTo>
                      <a:pt x="1321" y="403"/>
                    </a:lnTo>
                    <a:lnTo>
                      <a:pt x="1316" y="407"/>
                    </a:lnTo>
                    <a:lnTo>
                      <a:pt x="1316" y="412"/>
                    </a:lnTo>
                    <a:lnTo>
                      <a:pt x="1316" y="416"/>
                    </a:lnTo>
                    <a:lnTo>
                      <a:pt x="1307" y="416"/>
                    </a:lnTo>
                    <a:lnTo>
                      <a:pt x="1307" y="421"/>
                    </a:lnTo>
                    <a:lnTo>
                      <a:pt x="1303" y="421"/>
                    </a:lnTo>
                    <a:lnTo>
                      <a:pt x="1303" y="425"/>
                    </a:lnTo>
                    <a:lnTo>
                      <a:pt x="1298" y="425"/>
                    </a:lnTo>
                    <a:lnTo>
                      <a:pt x="1289" y="435"/>
                    </a:lnTo>
                    <a:lnTo>
                      <a:pt x="1289" y="439"/>
                    </a:lnTo>
                    <a:lnTo>
                      <a:pt x="1284" y="439"/>
                    </a:lnTo>
                    <a:lnTo>
                      <a:pt x="1280" y="439"/>
                    </a:lnTo>
                    <a:lnTo>
                      <a:pt x="1280" y="444"/>
                    </a:lnTo>
                    <a:lnTo>
                      <a:pt x="1280" y="444"/>
                    </a:lnTo>
                    <a:lnTo>
                      <a:pt x="1280" y="448"/>
                    </a:lnTo>
                    <a:lnTo>
                      <a:pt x="1275" y="448"/>
                    </a:lnTo>
                    <a:lnTo>
                      <a:pt x="1275" y="453"/>
                    </a:lnTo>
                    <a:lnTo>
                      <a:pt x="1271" y="457"/>
                    </a:lnTo>
                    <a:lnTo>
                      <a:pt x="1266" y="457"/>
                    </a:lnTo>
                    <a:lnTo>
                      <a:pt x="1266" y="457"/>
                    </a:lnTo>
                    <a:lnTo>
                      <a:pt x="1262" y="457"/>
                    </a:lnTo>
                    <a:lnTo>
                      <a:pt x="1262" y="462"/>
                    </a:lnTo>
                    <a:lnTo>
                      <a:pt x="1262" y="467"/>
                    </a:lnTo>
                    <a:lnTo>
                      <a:pt x="1262" y="467"/>
                    </a:lnTo>
                    <a:lnTo>
                      <a:pt x="1262" y="471"/>
                    </a:lnTo>
                    <a:lnTo>
                      <a:pt x="1262" y="480"/>
                    </a:lnTo>
                    <a:lnTo>
                      <a:pt x="1266" y="480"/>
                    </a:lnTo>
                    <a:lnTo>
                      <a:pt x="1266" y="480"/>
                    </a:lnTo>
                    <a:lnTo>
                      <a:pt x="1271" y="480"/>
                    </a:lnTo>
                    <a:lnTo>
                      <a:pt x="1280" y="489"/>
                    </a:lnTo>
                    <a:lnTo>
                      <a:pt x="1284" y="494"/>
                    </a:lnTo>
                    <a:lnTo>
                      <a:pt x="1289" y="499"/>
                    </a:lnTo>
                    <a:lnTo>
                      <a:pt x="1294" y="499"/>
                    </a:lnTo>
                    <a:lnTo>
                      <a:pt x="1298" y="499"/>
                    </a:lnTo>
                    <a:lnTo>
                      <a:pt x="1303" y="499"/>
                    </a:lnTo>
                    <a:lnTo>
                      <a:pt x="1303" y="499"/>
                    </a:lnTo>
                    <a:lnTo>
                      <a:pt x="1307" y="499"/>
                    </a:lnTo>
                    <a:lnTo>
                      <a:pt x="1312" y="499"/>
                    </a:lnTo>
                    <a:lnTo>
                      <a:pt x="1321" y="503"/>
                    </a:lnTo>
                    <a:lnTo>
                      <a:pt x="1326" y="503"/>
                    </a:lnTo>
                    <a:lnTo>
                      <a:pt x="1326" y="503"/>
                    </a:lnTo>
                    <a:lnTo>
                      <a:pt x="1330" y="503"/>
                    </a:lnTo>
                    <a:lnTo>
                      <a:pt x="1339" y="503"/>
                    </a:lnTo>
                    <a:lnTo>
                      <a:pt x="1344" y="508"/>
                    </a:lnTo>
                    <a:lnTo>
                      <a:pt x="1348" y="508"/>
                    </a:lnTo>
                    <a:lnTo>
                      <a:pt x="1358" y="508"/>
                    </a:lnTo>
                    <a:lnTo>
                      <a:pt x="1367" y="503"/>
                    </a:lnTo>
                    <a:lnTo>
                      <a:pt x="1371" y="503"/>
                    </a:lnTo>
                    <a:lnTo>
                      <a:pt x="1371" y="503"/>
                    </a:lnTo>
                    <a:lnTo>
                      <a:pt x="1380" y="503"/>
                    </a:lnTo>
                    <a:lnTo>
                      <a:pt x="1390" y="503"/>
                    </a:lnTo>
                    <a:lnTo>
                      <a:pt x="1394" y="503"/>
                    </a:lnTo>
                    <a:lnTo>
                      <a:pt x="1399" y="503"/>
                    </a:lnTo>
                    <a:lnTo>
                      <a:pt x="1403" y="503"/>
                    </a:lnTo>
                    <a:lnTo>
                      <a:pt x="1408" y="508"/>
                    </a:lnTo>
                    <a:lnTo>
                      <a:pt x="1408" y="512"/>
                    </a:lnTo>
                    <a:lnTo>
                      <a:pt x="1412" y="512"/>
                    </a:lnTo>
                    <a:lnTo>
                      <a:pt x="1412" y="517"/>
                    </a:lnTo>
                    <a:lnTo>
                      <a:pt x="1412" y="521"/>
                    </a:lnTo>
                    <a:lnTo>
                      <a:pt x="1412" y="526"/>
                    </a:lnTo>
                    <a:lnTo>
                      <a:pt x="1408" y="535"/>
                    </a:lnTo>
                    <a:lnTo>
                      <a:pt x="1408" y="540"/>
                    </a:lnTo>
                    <a:lnTo>
                      <a:pt x="1408" y="544"/>
                    </a:lnTo>
                    <a:lnTo>
                      <a:pt x="1412" y="549"/>
                    </a:lnTo>
                    <a:lnTo>
                      <a:pt x="1412" y="558"/>
                    </a:lnTo>
                    <a:lnTo>
                      <a:pt x="1412" y="563"/>
                    </a:lnTo>
                    <a:lnTo>
                      <a:pt x="1412" y="572"/>
                    </a:lnTo>
                    <a:lnTo>
                      <a:pt x="1412" y="581"/>
                    </a:lnTo>
                    <a:lnTo>
                      <a:pt x="1412" y="585"/>
                    </a:lnTo>
                    <a:lnTo>
                      <a:pt x="1412" y="590"/>
                    </a:lnTo>
                    <a:lnTo>
                      <a:pt x="1408" y="590"/>
                    </a:lnTo>
                    <a:lnTo>
                      <a:pt x="1403" y="595"/>
                    </a:lnTo>
                    <a:lnTo>
                      <a:pt x="1399" y="595"/>
                    </a:lnTo>
                    <a:lnTo>
                      <a:pt x="1394" y="599"/>
                    </a:lnTo>
                    <a:lnTo>
                      <a:pt x="1390" y="599"/>
                    </a:lnTo>
                    <a:lnTo>
                      <a:pt x="1390" y="604"/>
                    </a:lnTo>
                    <a:lnTo>
                      <a:pt x="1385" y="604"/>
                    </a:lnTo>
                    <a:lnTo>
                      <a:pt x="1385" y="608"/>
                    </a:lnTo>
                    <a:lnTo>
                      <a:pt x="1380" y="608"/>
                    </a:lnTo>
                    <a:lnTo>
                      <a:pt x="1380" y="613"/>
                    </a:lnTo>
                    <a:lnTo>
                      <a:pt x="1385" y="613"/>
                    </a:lnTo>
                    <a:lnTo>
                      <a:pt x="1390" y="617"/>
                    </a:lnTo>
                    <a:lnTo>
                      <a:pt x="1390" y="617"/>
                    </a:lnTo>
                    <a:lnTo>
                      <a:pt x="1394" y="617"/>
                    </a:lnTo>
                    <a:lnTo>
                      <a:pt x="1399" y="617"/>
                    </a:lnTo>
                    <a:lnTo>
                      <a:pt x="1403" y="617"/>
                    </a:lnTo>
                    <a:lnTo>
                      <a:pt x="1408" y="617"/>
                    </a:lnTo>
                    <a:lnTo>
                      <a:pt x="1408" y="622"/>
                    </a:lnTo>
                    <a:lnTo>
                      <a:pt x="1412" y="622"/>
                    </a:lnTo>
                    <a:lnTo>
                      <a:pt x="1412" y="627"/>
                    </a:lnTo>
                    <a:lnTo>
                      <a:pt x="1408" y="627"/>
                    </a:lnTo>
                    <a:lnTo>
                      <a:pt x="1408" y="631"/>
                    </a:lnTo>
                    <a:lnTo>
                      <a:pt x="1403" y="636"/>
                    </a:lnTo>
                    <a:lnTo>
                      <a:pt x="1403" y="636"/>
                    </a:lnTo>
                    <a:lnTo>
                      <a:pt x="1403" y="640"/>
                    </a:lnTo>
                    <a:lnTo>
                      <a:pt x="1408" y="645"/>
                    </a:lnTo>
                    <a:lnTo>
                      <a:pt x="1412" y="645"/>
                    </a:lnTo>
                    <a:lnTo>
                      <a:pt x="1412" y="645"/>
                    </a:lnTo>
                    <a:lnTo>
                      <a:pt x="1412" y="649"/>
                    </a:lnTo>
                    <a:lnTo>
                      <a:pt x="1417" y="649"/>
                    </a:lnTo>
                    <a:lnTo>
                      <a:pt x="1417" y="654"/>
                    </a:lnTo>
                    <a:lnTo>
                      <a:pt x="1422" y="654"/>
                    </a:lnTo>
                    <a:lnTo>
                      <a:pt x="1426" y="654"/>
                    </a:lnTo>
                    <a:lnTo>
                      <a:pt x="1426" y="659"/>
                    </a:lnTo>
                    <a:lnTo>
                      <a:pt x="1431" y="659"/>
                    </a:lnTo>
                    <a:lnTo>
                      <a:pt x="1431" y="659"/>
                    </a:lnTo>
                    <a:lnTo>
                      <a:pt x="1426" y="663"/>
                    </a:lnTo>
                    <a:lnTo>
                      <a:pt x="1422" y="663"/>
                    </a:lnTo>
                    <a:lnTo>
                      <a:pt x="1422" y="668"/>
                    </a:lnTo>
                    <a:lnTo>
                      <a:pt x="1417" y="668"/>
                    </a:lnTo>
                    <a:lnTo>
                      <a:pt x="1417" y="672"/>
                    </a:lnTo>
                    <a:lnTo>
                      <a:pt x="1412" y="677"/>
                    </a:lnTo>
                    <a:lnTo>
                      <a:pt x="1412" y="677"/>
                    </a:lnTo>
                    <a:lnTo>
                      <a:pt x="1412" y="681"/>
                    </a:lnTo>
                    <a:lnTo>
                      <a:pt x="1412" y="686"/>
                    </a:lnTo>
                    <a:lnTo>
                      <a:pt x="1408" y="691"/>
                    </a:lnTo>
                    <a:lnTo>
                      <a:pt x="1403" y="695"/>
                    </a:lnTo>
                    <a:lnTo>
                      <a:pt x="1403" y="700"/>
                    </a:lnTo>
                    <a:lnTo>
                      <a:pt x="1399" y="700"/>
                    </a:lnTo>
                    <a:lnTo>
                      <a:pt x="1394" y="700"/>
                    </a:lnTo>
                    <a:lnTo>
                      <a:pt x="1390" y="704"/>
                    </a:lnTo>
                    <a:lnTo>
                      <a:pt x="1390" y="704"/>
                    </a:lnTo>
                    <a:lnTo>
                      <a:pt x="1390" y="709"/>
                    </a:lnTo>
                    <a:lnTo>
                      <a:pt x="1385" y="709"/>
                    </a:lnTo>
                    <a:lnTo>
                      <a:pt x="1385" y="713"/>
                    </a:lnTo>
                    <a:lnTo>
                      <a:pt x="1380" y="718"/>
                    </a:lnTo>
                    <a:lnTo>
                      <a:pt x="1380" y="723"/>
                    </a:lnTo>
                    <a:lnTo>
                      <a:pt x="1380" y="727"/>
                    </a:lnTo>
                    <a:lnTo>
                      <a:pt x="1380" y="732"/>
                    </a:lnTo>
                    <a:lnTo>
                      <a:pt x="1385" y="736"/>
                    </a:lnTo>
                    <a:lnTo>
                      <a:pt x="1385" y="741"/>
                    </a:lnTo>
                    <a:lnTo>
                      <a:pt x="1390" y="745"/>
                    </a:lnTo>
                    <a:lnTo>
                      <a:pt x="1390" y="745"/>
                    </a:lnTo>
                    <a:lnTo>
                      <a:pt x="1399" y="741"/>
                    </a:lnTo>
                    <a:lnTo>
                      <a:pt x="1403" y="741"/>
                    </a:lnTo>
                    <a:lnTo>
                      <a:pt x="1408" y="745"/>
                    </a:lnTo>
                    <a:lnTo>
                      <a:pt x="1408" y="745"/>
                    </a:lnTo>
                    <a:lnTo>
                      <a:pt x="1408" y="750"/>
                    </a:lnTo>
                    <a:lnTo>
                      <a:pt x="1399" y="759"/>
                    </a:lnTo>
                    <a:lnTo>
                      <a:pt x="1399" y="764"/>
                    </a:lnTo>
                    <a:lnTo>
                      <a:pt x="1394" y="764"/>
                    </a:lnTo>
                    <a:lnTo>
                      <a:pt x="1394" y="768"/>
                    </a:lnTo>
                    <a:lnTo>
                      <a:pt x="1399" y="768"/>
                    </a:lnTo>
                    <a:lnTo>
                      <a:pt x="1403" y="773"/>
                    </a:lnTo>
                    <a:lnTo>
                      <a:pt x="1408" y="773"/>
                    </a:lnTo>
                    <a:lnTo>
                      <a:pt x="1412" y="773"/>
                    </a:lnTo>
                    <a:lnTo>
                      <a:pt x="1417" y="768"/>
                    </a:lnTo>
                    <a:lnTo>
                      <a:pt x="1426" y="768"/>
                    </a:lnTo>
                    <a:lnTo>
                      <a:pt x="1431" y="768"/>
                    </a:lnTo>
                    <a:lnTo>
                      <a:pt x="1435" y="768"/>
                    </a:lnTo>
                    <a:lnTo>
                      <a:pt x="1435" y="768"/>
                    </a:lnTo>
                    <a:lnTo>
                      <a:pt x="1435" y="764"/>
                    </a:lnTo>
                    <a:lnTo>
                      <a:pt x="1440" y="764"/>
                    </a:lnTo>
                    <a:lnTo>
                      <a:pt x="1444" y="764"/>
                    </a:lnTo>
                    <a:lnTo>
                      <a:pt x="1454" y="764"/>
                    </a:lnTo>
                    <a:lnTo>
                      <a:pt x="1454" y="768"/>
                    </a:lnTo>
                    <a:lnTo>
                      <a:pt x="1449" y="768"/>
                    </a:lnTo>
                    <a:lnTo>
                      <a:pt x="1440" y="777"/>
                    </a:lnTo>
                    <a:lnTo>
                      <a:pt x="1376" y="860"/>
                    </a:lnTo>
                    <a:lnTo>
                      <a:pt x="1371" y="855"/>
                    </a:lnTo>
                    <a:lnTo>
                      <a:pt x="1353" y="841"/>
                    </a:lnTo>
                    <a:lnTo>
                      <a:pt x="1307" y="809"/>
                    </a:lnTo>
                    <a:lnTo>
                      <a:pt x="1303" y="809"/>
                    </a:lnTo>
                    <a:lnTo>
                      <a:pt x="1284" y="809"/>
                    </a:lnTo>
                    <a:lnTo>
                      <a:pt x="1252" y="805"/>
                    </a:lnTo>
                    <a:lnTo>
                      <a:pt x="1225" y="809"/>
                    </a:lnTo>
                    <a:lnTo>
                      <a:pt x="1225" y="832"/>
                    </a:lnTo>
                    <a:lnTo>
                      <a:pt x="1216" y="938"/>
                    </a:lnTo>
                    <a:lnTo>
                      <a:pt x="1216" y="1111"/>
                    </a:lnTo>
                    <a:lnTo>
                      <a:pt x="1239" y="1111"/>
                    </a:lnTo>
                    <a:lnTo>
                      <a:pt x="1239" y="1116"/>
                    </a:lnTo>
                    <a:lnTo>
                      <a:pt x="1239" y="1120"/>
                    </a:lnTo>
                    <a:lnTo>
                      <a:pt x="1239" y="1125"/>
                    </a:lnTo>
                    <a:lnTo>
                      <a:pt x="1234" y="1125"/>
                    </a:lnTo>
                    <a:lnTo>
                      <a:pt x="1234" y="1130"/>
                    </a:lnTo>
                    <a:lnTo>
                      <a:pt x="1230" y="1134"/>
                    </a:lnTo>
                    <a:lnTo>
                      <a:pt x="1230" y="1139"/>
                    </a:lnTo>
                    <a:lnTo>
                      <a:pt x="1225" y="1139"/>
                    </a:lnTo>
                    <a:lnTo>
                      <a:pt x="1220" y="1139"/>
                    </a:lnTo>
                    <a:lnTo>
                      <a:pt x="1220" y="1143"/>
                    </a:lnTo>
                    <a:lnTo>
                      <a:pt x="1216" y="1143"/>
                    </a:lnTo>
                    <a:lnTo>
                      <a:pt x="1216" y="1148"/>
                    </a:lnTo>
                    <a:lnTo>
                      <a:pt x="1216" y="1157"/>
                    </a:lnTo>
                    <a:lnTo>
                      <a:pt x="1216" y="1162"/>
                    </a:lnTo>
                    <a:lnTo>
                      <a:pt x="1211" y="1166"/>
                    </a:lnTo>
                    <a:lnTo>
                      <a:pt x="1207" y="1166"/>
                    </a:lnTo>
                    <a:lnTo>
                      <a:pt x="1207" y="1171"/>
                    </a:lnTo>
                    <a:lnTo>
                      <a:pt x="1202" y="1175"/>
                    </a:lnTo>
                    <a:lnTo>
                      <a:pt x="1202" y="1180"/>
                    </a:lnTo>
                    <a:lnTo>
                      <a:pt x="1198" y="1180"/>
                    </a:lnTo>
                    <a:lnTo>
                      <a:pt x="1198" y="1184"/>
                    </a:lnTo>
                    <a:lnTo>
                      <a:pt x="1193" y="1184"/>
                    </a:lnTo>
                    <a:lnTo>
                      <a:pt x="1193" y="1184"/>
                    </a:lnTo>
                    <a:lnTo>
                      <a:pt x="1188" y="1189"/>
                    </a:lnTo>
                    <a:lnTo>
                      <a:pt x="1184" y="1184"/>
                    </a:lnTo>
                    <a:lnTo>
                      <a:pt x="1179" y="1184"/>
                    </a:lnTo>
                    <a:lnTo>
                      <a:pt x="1175" y="1180"/>
                    </a:lnTo>
                    <a:lnTo>
                      <a:pt x="1170" y="1180"/>
                    </a:lnTo>
                    <a:lnTo>
                      <a:pt x="1170" y="1175"/>
                    </a:lnTo>
                    <a:lnTo>
                      <a:pt x="1170" y="1171"/>
                    </a:lnTo>
                    <a:lnTo>
                      <a:pt x="1170" y="1171"/>
                    </a:lnTo>
                    <a:lnTo>
                      <a:pt x="1170" y="1166"/>
                    </a:lnTo>
                    <a:lnTo>
                      <a:pt x="1166" y="1162"/>
                    </a:lnTo>
                    <a:lnTo>
                      <a:pt x="1161" y="1162"/>
                    </a:lnTo>
                    <a:lnTo>
                      <a:pt x="1156" y="1157"/>
                    </a:lnTo>
                    <a:lnTo>
                      <a:pt x="1152" y="1152"/>
                    </a:lnTo>
                    <a:lnTo>
                      <a:pt x="1152" y="1148"/>
                    </a:lnTo>
                    <a:lnTo>
                      <a:pt x="1152" y="1148"/>
                    </a:lnTo>
                    <a:lnTo>
                      <a:pt x="1147" y="1143"/>
                    </a:lnTo>
                    <a:lnTo>
                      <a:pt x="1143" y="1143"/>
                    </a:lnTo>
                    <a:lnTo>
                      <a:pt x="1143" y="1139"/>
                    </a:lnTo>
                    <a:lnTo>
                      <a:pt x="1138" y="1139"/>
                    </a:lnTo>
                    <a:lnTo>
                      <a:pt x="1134" y="1139"/>
                    </a:lnTo>
                    <a:lnTo>
                      <a:pt x="1134" y="1139"/>
                    </a:lnTo>
                    <a:lnTo>
                      <a:pt x="1129" y="1134"/>
                    </a:lnTo>
                    <a:lnTo>
                      <a:pt x="1124" y="1134"/>
                    </a:lnTo>
                    <a:lnTo>
                      <a:pt x="1124" y="1130"/>
                    </a:lnTo>
                    <a:lnTo>
                      <a:pt x="1120" y="1130"/>
                    </a:lnTo>
                    <a:lnTo>
                      <a:pt x="1120" y="1125"/>
                    </a:lnTo>
                    <a:lnTo>
                      <a:pt x="1111" y="1120"/>
                    </a:lnTo>
                    <a:lnTo>
                      <a:pt x="1111" y="1116"/>
                    </a:lnTo>
                    <a:lnTo>
                      <a:pt x="1106" y="1116"/>
                    </a:lnTo>
                    <a:lnTo>
                      <a:pt x="1106" y="1116"/>
                    </a:lnTo>
                    <a:lnTo>
                      <a:pt x="1106" y="1116"/>
                    </a:lnTo>
                    <a:lnTo>
                      <a:pt x="1102" y="1111"/>
                    </a:lnTo>
                    <a:lnTo>
                      <a:pt x="1097" y="1107"/>
                    </a:lnTo>
                    <a:lnTo>
                      <a:pt x="1092" y="1107"/>
                    </a:lnTo>
                    <a:lnTo>
                      <a:pt x="1092" y="1102"/>
                    </a:lnTo>
                    <a:lnTo>
                      <a:pt x="1088" y="1098"/>
                    </a:lnTo>
                    <a:lnTo>
                      <a:pt x="1088" y="1098"/>
                    </a:lnTo>
                    <a:lnTo>
                      <a:pt x="1083" y="1084"/>
                    </a:lnTo>
                    <a:lnTo>
                      <a:pt x="1083" y="1079"/>
                    </a:lnTo>
                    <a:lnTo>
                      <a:pt x="1083" y="1075"/>
                    </a:lnTo>
                    <a:lnTo>
                      <a:pt x="1083" y="1075"/>
                    </a:lnTo>
                    <a:lnTo>
                      <a:pt x="1083" y="1066"/>
                    </a:lnTo>
                    <a:lnTo>
                      <a:pt x="1079" y="1066"/>
                    </a:lnTo>
                    <a:lnTo>
                      <a:pt x="1079" y="1061"/>
                    </a:lnTo>
                    <a:lnTo>
                      <a:pt x="1079" y="1052"/>
                    </a:lnTo>
                    <a:lnTo>
                      <a:pt x="1079" y="1052"/>
                    </a:lnTo>
                    <a:lnTo>
                      <a:pt x="1074" y="1047"/>
                    </a:lnTo>
                    <a:lnTo>
                      <a:pt x="1070" y="1043"/>
                    </a:lnTo>
                    <a:lnTo>
                      <a:pt x="1070" y="1038"/>
                    </a:lnTo>
                    <a:lnTo>
                      <a:pt x="1065" y="1034"/>
                    </a:lnTo>
                    <a:lnTo>
                      <a:pt x="1065" y="1029"/>
                    </a:lnTo>
                    <a:lnTo>
                      <a:pt x="1065" y="1029"/>
                    </a:lnTo>
                    <a:lnTo>
                      <a:pt x="1060" y="1024"/>
                    </a:lnTo>
                    <a:lnTo>
                      <a:pt x="1060" y="1020"/>
                    </a:lnTo>
                    <a:lnTo>
                      <a:pt x="1060" y="1015"/>
                    </a:lnTo>
                    <a:lnTo>
                      <a:pt x="1056" y="1011"/>
                    </a:lnTo>
                    <a:lnTo>
                      <a:pt x="1051" y="1011"/>
                    </a:lnTo>
                    <a:lnTo>
                      <a:pt x="1047" y="1006"/>
                    </a:lnTo>
                    <a:lnTo>
                      <a:pt x="1047" y="1006"/>
                    </a:lnTo>
                    <a:lnTo>
                      <a:pt x="1042" y="1006"/>
                    </a:lnTo>
                    <a:lnTo>
                      <a:pt x="1042" y="1002"/>
                    </a:lnTo>
                    <a:lnTo>
                      <a:pt x="1038" y="1002"/>
                    </a:lnTo>
                    <a:lnTo>
                      <a:pt x="1028" y="997"/>
                    </a:lnTo>
                    <a:lnTo>
                      <a:pt x="1024" y="997"/>
                    </a:lnTo>
                    <a:lnTo>
                      <a:pt x="1019" y="997"/>
                    </a:lnTo>
                    <a:lnTo>
                      <a:pt x="1019" y="992"/>
                    </a:lnTo>
                    <a:lnTo>
                      <a:pt x="1015" y="992"/>
                    </a:lnTo>
                    <a:lnTo>
                      <a:pt x="1010" y="997"/>
                    </a:lnTo>
                    <a:lnTo>
                      <a:pt x="996" y="1002"/>
                    </a:lnTo>
                    <a:lnTo>
                      <a:pt x="996" y="997"/>
                    </a:lnTo>
                    <a:lnTo>
                      <a:pt x="996" y="1002"/>
                    </a:lnTo>
                    <a:lnTo>
                      <a:pt x="992" y="1002"/>
                    </a:lnTo>
                    <a:lnTo>
                      <a:pt x="987" y="1002"/>
                    </a:lnTo>
                    <a:lnTo>
                      <a:pt x="983" y="1002"/>
                    </a:lnTo>
                    <a:lnTo>
                      <a:pt x="974" y="997"/>
                    </a:lnTo>
                    <a:lnTo>
                      <a:pt x="974" y="997"/>
                    </a:lnTo>
                    <a:lnTo>
                      <a:pt x="974" y="992"/>
                    </a:lnTo>
                    <a:lnTo>
                      <a:pt x="969" y="992"/>
                    </a:lnTo>
                    <a:lnTo>
                      <a:pt x="964" y="992"/>
                    </a:lnTo>
                    <a:lnTo>
                      <a:pt x="964" y="988"/>
                    </a:lnTo>
                    <a:lnTo>
                      <a:pt x="960" y="988"/>
                    </a:lnTo>
                    <a:lnTo>
                      <a:pt x="960" y="988"/>
                    </a:lnTo>
                    <a:lnTo>
                      <a:pt x="955" y="988"/>
                    </a:lnTo>
                    <a:lnTo>
                      <a:pt x="951" y="988"/>
                    </a:lnTo>
                    <a:lnTo>
                      <a:pt x="946" y="983"/>
                    </a:lnTo>
                    <a:lnTo>
                      <a:pt x="942" y="983"/>
                    </a:lnTo>
                    <a:lnTo>
                      <a:pt x="932" y="988"/>
                    </a:lnTo>
                    <a:lnTo>
                      <a:pt x="928" y="988"/>
                    </a:lnTo>
                    <a:lnTo>
                      <a:pt x="923" y="988"/>
                    </a:lnTo>
                    <a:lnTo>
                      <a:pt x="914" y="988"/>
                    </a:lnTo>
                    <a:lnTo>
                      <a:pt x="905" y="992"/>
                    </a:lnTo>
                    <a:lnTo>
                      <a:pt x="900" y="992"/>
                    </a:lnTo>
                    <a:lnTo>
                      <a:pt x="891" y="988"/>
                    </a:lnTo>
                    <a:lnTo>
                      <a:pt x="878" y="988"/>
                    </a:lnTo>
                    <a:lnTo>
                      <a:pt x="873" y="992"/>
                    </a:lnTo>
                    <a:lnTo>
                      <a:pt x="850" y="992"/>
                    </a:lnTo>
                    <a:lnTo>
                      <a:pt x="846" y="988"/>
                    </a:lnTo>
                    <a:lnTo>
                      <a:pt x="841" y="988"/>
                    </a:lnTo>
                    <a:lnTo>
                      <a:pt x="832" y="988"/>
                    </a:lnTo>
                    <a:lnTo>
                      <a:pt x="827" y="988"/>
                    </a:lnTo>
                    <a:lnTo>
                      <a:pt x="827" y="983"/>
                    </a:lnTo>
                    <a:lnTo>
                      <a:pt x="823" y="983"/>
                    </a:lnTo>
                    <a:lnTo>
                      <a:pt x="823" y="979"/>
                    </a:lnTo>
                    <a:lnTo>
                      <a:pt x="823" y="974"/>
                    </a:lnTo>
                    <a:lnTo>
                      <a:pt x="823" y="970"/>
                    </a:lnTo>
                    <a:lnTo>
                      <a:pt x="818" y="970"/>
                    </a:lnTo>
                    <a:lnTo>
                      <a:pt x="818" y="965"/>
                    </a:lnTo>
                    <a:lnTo>
                      <a:pt x="814" y="965"/>
                    </a:lnTo>
                    <a:lnTo>
                      <a:pt x="804" y="960"/>
                    </a:lnTo>
                    <a:lnTo>
                      <a:pt x="804" y="960"/>
                    </a:lnTo>
                    <a:lnTo>
                      <a:pt x="800" y="956"/>
                    </a:lnTo>
                    <a:lnTo>
                      <a:pt x="795" y="956"/>
                    </a:lnTo>
                    <a:lnTo>
                      <a:pt x="786" y="956"/>
                    </a:lnTo>
                    <a:lnTo>
                      <a:pt x="777" y="951"/>
                    </a:lnTo>
                    <a:lnTo>
                      <a:pt x="777" y="951"/>
                    </a:lnTo>
                    <a:lnTo>
                      <a:pt x="772" y="947"/>
                    </a:lnTo>
                    <a:lnTo>
                      <a:pt x="768" y="947"/>
                    </a:lnTo>
                    <a:lnTo>
                      <a:pt x="768" y="942"/>
                    </a:lnTo>
                    <a:lnTo>
                      <a:pt x="763" y="942"/>
                    </a:lnTo>
                    <a:lnTo>
                      <a:pt x="759" y="942"/>
                    </a:lnTo>
                    <a:lnTo>
                      <a:pt x="754" y="933"/>
                    </a:lnTo>
                    <a:lnTo>
                      <a:pt x="736" y="919"/>
                    </a:lnTo>
                    <a:lnTo>
                      <a:pt x="731" y="919"/>
                    </a:lnTo>
                    <a:lnTo>
                      <a:pt x="727" y="915"/>
                    </a:lnTo>
                    <a:lnTo>
                      <a:pt x="722" y="915"/>
                    </a:lnTo>
                    <a:lnTo>
                      <a:pt x="718" y="910"/>
                    </a:lnTo>
                    <a:lnTo>
                      <a:pt x="713" y="910"/>
                    </a:lnTo>
                    <a:lnTo>
                      <a:pt x="713" y="910"/>
                    </a:lnTo>
                    <a:lnTo>
                      <a:pt x="708" y="906"/>
                    </a:lnTo>
                    <a:lnTo>
                      <a:pt x="704" y="906"/>
                    </a:lnTo>
                    <a:lnTo>
                      <a:pt x="690" y="896"/>
                    </a:lnTo>
                    <a:lnTo>
                      <a:pt x="676" y="896"/>
                    </a:lnTo>
                    <a:lnTo>
                      <a:pt x="667" y="892"/>
                    </a:lnTo>
                    <a:lnTo>
                      <a:pt x="658" y="892"/>
                    </a:lnTo>
                    <a:lnTo>
                      <a:pt x="644" y="887"/>
                    </a:lnTo>
                    <a:lnTo>
                      <a:pt x="631" y="887"/>
                    </a:lnTo>
                    <a:lnTo>
                      <a:pt x="626" y="887"/>
                    </a:lnTo>
                    <a:lnTo>
                      <a:pt x="622" y="887"/>
                    </a:lnTo>
                    <a:lnTo>
                      <a:pt x="622" y="883"/>
                    </a:lnTo>
                    <a:lnTo>
                      <a:pt x="622" y="883"/>
                    </a:lnTo>
                    <a:lnTo>
                      <a:pt x="617" y="878"/>
                    </a:lnTo>
                    <a:lnTo>
                      <a:pt x="612" y="878"/>
                    </a:lnTo>
                    <a:lnTo>
                      <a:pt x="608" y="874"/>
                    </a:lnTo>
                    <a:lnTo>
                      <a:pt x="603" y="869"/>
                    </a:lnTo>
                    <a:lnTo>
                      <a:pt x="603" y="864"/>
                    </a:lnTo>
                    <a:lnTo>
                      <a:pt x="603" y="860"/>
                    </a:lnTo>
                    <a:lnTo>
                      <a:pt x="603" y="855"/>
                    </a:lnTo>
                    <a:lnTo>
                      <a:pt x="599" y="855"/>
                    </a:lnTo>
                    <a:lnTo>
                      <a:pt x="599" y="855"/>
                    </a:lnTo>
                    <a:lnTo>
                      <a:pt x="594" y="855"/>
                    </a:lnTo>
                    <a:lnTo>
                      <a:pt x="590" y="851"/>
                    </a:lnTo>
                    <a:lnTo>
                      <a:pt x="585" y="846"/>
                    </a:lnTo>
                    <a:lnTo>
                      <a:pt x="580" y="846"/>
                    </a:lnTo>
                    <a:lnTo>
                      <a:pt x="580" y="841"/>
                    </a:lnTo>
                    <a:lnTo>
                      <a:pt x="580" y="841"/>
                    </a:lnTo>
                    <a:lnTo>
                      <a:pt x="576" y="841"/>
                    </a:lnTo>
                    <a:lnTo>
                      <a:pt x="576" y="837"/>
                    </a:lnTo>
                    <a:lnTo>
                      <a:pt x="571" y="832"/>
                    </a:lnTo>
                    <a:lnTo>
                      <a:pt x="567" y="832"/>
                    </a:lnTo>
                    <a:lnTo>
                      <a:pt x="567" y="832"/>
                    </a:lnTo>
                    <a:lnTo>
                      <a:pt x="562" y="828"/>
                    </a:lnTo>
                    <a:lnTo>
                      <a:pt x="558" y="828"/>
                    </a:lnTo>
                    <a:lnTo>
                      <a:pt x="558" y="823"/>
                    </a:lnTo>
                    <a:lnTo>
                      <a:pt x="558" y="823"/>
                    </a:lnTo>
                    <a:lnTo>
                      <a:pt x="553" y="819"/>
                    </a:lnTo>
                    <a:lnTo>
                      <a:pt x="548" y="819"/>
                    </a:lnTo>
                    <a:lnTo>
                      <a:pt x="544" y="814"/>
                    </a:lnTo>
                    <a:lnTo>
                      <a:pt x="539" y="814"/>
                    </a:lnTo>
                    <a:lnTo>
                      <a:pt x="535" y="814"/>
                    </a:lnTo>
                    <a:lnTo>
                      <a:pt x="521" y="814"/>
                    </a:lnTo>
                    <a:lnTo>
                      <a:pt x="516" y="814"/>
                    </a:lnTo>
                    <a:lnTo>
                      <a:pt x="516" y="819"/>
                    </a:lnTo>
                    <a:lnTo>
                      <a:pt x="512" y="819"/>
                    </a:lnTo>
                    <a:lnTo>
                      <a:pt x="512" y="823"/>
                    </a:lnTo>
                    <a:lnTo>
                      <a:pt x="507" y="823"/>
                    </a:lnTo>
                    <a:lnTo>
                      <a:pt x="503" y="823"/>
                    </a:lnTo>
                    <a:lnTo>
                      <a:pt x="498" y="828"/>
                    </a:lnTo>
                    <a:lnTo>
                      <a:pt x="494" y="828"/>
                    </a:lnTo>
                    <a:lnTo>
                      <a:pt x="471" y="837"/>
                    </a:lnTo>
                    <a:lnTo>
                      <a:pt x="466" y="837"/>
                    </a:lnTo>
                    <a:lnTo>
                      <a:pt x="462" y="837"/>
                    </a:lnTo>
                    <a:lnTo>
                      <a:pt x="457" y="837"/>
                    </a:lnTo>
                    <a:lnTo>
                      <a:pt x="452" y="832"/>
                    </a:lnTo>
                    <a:lnTo>
                      <a:pt x="448" y="832"/>
                    </a:lnTo>
                    <a:lnTo>
                      <a:pt x="448" y="828"/>
                    </a:lnTo>
                    <a:lnTo>
                      <a:pt x="448" y="828"/>
                    </a:lnTo>
                    <a:lnTo>
                      <a:pt x="448" y="823"/>
                    </a:lnTo>
                    <a:lnTo>
                      <a:pt x="448" y="819"/>
                    </a:lnTo>
                    <a:lnTo>
                      <a:pt x="448" y="814"/>
                    </a:lnTo>
                    <a:lnTo>
                      <a:pt x="443" y="800"/>
                    </a:lnTo>
                    <a:lnTo>
                      <a:pt x="443" y="796"/>
                    </a:lnTo>
                    <a:lnTo>
                      <a:pt x="443" y="791"/>
                    </a:lnTo>
                    <a:lnTo>
                      <a:pt x="443" y="787"/>
                    </a:lnTo>
                    <a:lnTo>
                      <a:pt x="439" y="787"/>
                    </a:lnTo>
                    <a:lnTo>
                      <a:pt x="434" y="787"/>
                    </a:lnTo>
                    <a:lnTo>
                      <a:pt x="430" y="782"/>
                    </a:lnTo>
                    <a:lnTo>
                      <a:pt x="425" y="782"/>
                    </a:lnTo>
                    <a:lnTo>
                      <a:pt x="416" y="777"/>
                    </a:lnTo>
                    <a:lnTo>
                      <a:pt x="411" y="777"/>
                    </a:lnTo>
                    <a:lnTo>
                      <a:pt x="407" y="777"/>
                    </a:lnTo>
                    <a:lnTo>
                      <a:pt x="407" y="773"/>
                    </a:lnTo>
                    <a:lnTo>
                      <a:pt x="402" y="773"/>
                    </a:lnTo>
                    <a:lnTo>
                      <a:pt x="402" y="773"/>
                    </a:lnTo>
                    <a:lnTo>
                      <a:pt x="398" y="768"/>
                    </a:lnTo>
                    <a:lnTo>
                      <a:pt x="393" y="768"/>
                    </a:lnTo>
                    <a:lnTo>
                      <a:pt x="388" y="768"/>
                    </a:lnTo>
                    <a:lnTo>
                      <a:pt x="379" y="759"/>
                    </a:lnTo>
                    <a:lnTo>
                      <a:pt x="375" y="755"/>
                    </a:lnTo>
                    <a:lnTo>
                      <a:pt x="370" y="750"/>
                    </a:lnTo>
                    <a:lnTo>
                      <a:pt x="361" y="741"/>
                    </a:lnTo>
                    <a:lnTo>
                      <a:pt x="356" y="736"/>
                    </a:lnTo>
                    <a:lnTo>
                      <a:pt x="352" y="727"/>
                    </a:lnTo>
                    <a:lnTo>
                      <a:pt x="347" y="723"/>
                    </a:lnTo>
                    <a:lnTo>
                      <a:pt x="343" y="723"/>
                    </a:lnTo>
                    <a:lnTo>
                      <a:pt x="338" y="723"/>
                    </a:lnTo>
                    <a:lnTo>
                      <a:pt x="338" y="718"/>
                    </a:lnTo>
                    <a:lnTo>
                      <a:pt x="334" y="709"/>
                    </a:lnTo>
                    <a:lnTo>
                      <a:pt x="329" y="709"/>
                    </a:lnTo>
                    <a:lnTo>
                      <a:pt x="329" y="704"/>
                    </a:lnTo>
                    <a:lnTo>
                      <a:pt x="324" y="700"/>
                    </a:lnTo>
                    <a:lnTo>
                      <a:pt x="315" y="700"/>
                    </a:lnTo>
                    <a:lnTo>
                      <a:pt x="306" y="681"/>
                    </a:lnTo>
                    <a:lnTo>
                      <a:pt x="302" y="681"/>
                    </a:lnTo>
                    <a:lnTo>
                      <a:pt x="302" y="677"/>
                    </a:lnTo>
                    <a:lnTo>
                      <a:pt x="292" y="672"/>
                    </a:lnTo>
                    <a:lnTo>
                      <a:pt x="292" y="668"/>
                    </a:lnTo>
                    <a:lnTo>
                      <a:pt x="288" y="663"/>
                    </a:lnTo>
                    <a:lnTo>
                      <a:pt x="283" y="659"/>
                    </a:lnTo>
                    <a:lnTo>
                      <a:pt x="274" y="649"/>
                    </a:lnTo>
                    <a:lnTo>
                      <a:pt x="274" y="649"/>
                    </a:lnTo>
                    <a:lnTo>
                      <a:pt x="274" y="645"/>
                    </a:lnTo>
                    <a:lnTo>
                      <a:pt x="270" y="640"/>
                    </a:lnTo>
                    <a:lnTo>
                      <a:pt x="260" y="636"/>
                    </a:lnTo>
                    <a:lnTo>
                      <a:pt x="251" y="622"/>
                    </a:lnTo>
                    <a:lnTo>
                      <a:pt x="251" y="617"/>
                    </a:lnTo>
                    <a:lnTo>
                      <a:pt x="247" y="617"/>
                    </a:lnTo>
                    <a:lnTo>
                      <a:pt x="247" y="613"/>
                    </a:lnTo>
                    <a:lnTo>
                      <a:pt x="238" y="613"/>
                    </a:lnTo>
                    <a:lnTo>
                      <a:pt x="238" y="608"/>
                    </a:lnTo>
                    <a:lnTo>
                      <a:pt x="233" y="604"/>
                    </a:lnTo>
                    <a:lnTo>
                      <a:pt x="228" y="599"/>
                    </a:lnTo>
                    <a:lnTo>
                      <a:pt x="228" y="595"/>
                    </a:lnTo>
                    <a:lnTo>
                      <a:pt x="228" y="590"/>
                    </a:lnTo>
                    <a:lnTo>
                      <a:pt x="224" y="590"/>
                    </a:lnTo>
                    <a:lnTo>
                      <a:pt x="224" y="590"/>
                    </a:lnTo>
                    <a:lnTo>
                      <a:pt x="224" y="585"/>
                    </a:lnTo>
                    <a:lnTo>
                      <a:pt x="219" y="576"/>
                    </a:lnTo>
                    <a:lnTo>
                      <a:pt x="215" y="572"/>
                    </a:lnTo>
                    <a:lnTo>
                      <a:pt x="206" y="572"/>
                    </a:lnTo>
                    <a:lnTo>
                      <a:pt x="206" y="572"/>
                    </a:lnTo>
                    <a:lnTo>
                      <a:pt x="206" y="567"/>
                    </a:lnTo>
                    <a:lnTo>
                      <a:pt x="206" y="567"/>
                    </a:lnTo>
                    <a:lnTo>
                      <a:pt x="206" y="563"/>
                    </a:lnTo>
                    <a:lnTo>
                      <a:pt x="201" y="563"/>
                    </a:lnTo>
                    <a:lnTo>
                      <a:pt x="201" y="567"/>
                    </a:lnTo>
                    <a:lnTo>
                      <a:pt x="196" y="567"/>
                    </a:lnTo>
                    <a:lnTo>
                      <a:pt x="192" y="567"/>
                    </a:lnTo>
                    <a:lnTo>
                      <a:pt x="192" y="572"/>
                    </a:lnTo>
                    <a:lnTo>
                      <a:pt x="192" y="576"/>
                    </a:lnTo>
                    <a:lnTo>
                      <a:pt x="187" y="576"/>
                    </a:lnTo>
                    <a:lnTo>
                      <a:pt x="183" y="572"/>
                    </a:lnTo>
                    <a:lnTo>
                      <a:pt x="178" y="572"/>
                    </a:lnTo>
                    <a:lnTo>
                      <a:pt x="174" y="572"/>
                    </a:lnTo>
                    <a:lnTo>
                      <a:pt x="169" y="572"/>
                    </a:lnTo>
                    <a:lnTo>
                      <a:pt x="164" y="567"/>
                    </a:lnTo>
                    <a:lnTo>
                      <a:pt x="164" y="563"/>
                    </a:lnTo>
                    <a:lnTo>
                      <a:pt x="164" y="558"/>
                    </a:lnTo>
                    <a:lnTo>
                      <a:pt x="164" y="558"/>
                    </a:lnTo>
                    <a:lnTo>
                      <a:pt x="160" y="558"/>
                    </a:lnTo>
                    <a:lnTo>
                      <a:pt x="155" y="558"/>
                    </a:lnTo>
                    <a:lnTo>
                      <a:pt x="146" y="558"/>
                    </a:lnTo>
                    <a:lnTo>
                      <a:pt x="142" y="558"/>
                    </a:lnTo>
                    <a:lnTo>
                      <a:pt x="142" y="553"/>
                    </a:lnTo>
                    <a:lnTo>
                      <a:pt x="137" y="553"/>
                    </a:lnTo>
                    <a:lnTo>
                      <a:pt x="137" y="549"/>
                    </a:lnTo>
                    <a:lnTo>
                      <a:pt x="132" y="549"/>
                    </a:lnTo>
                    <a:lnTo>
                      <a:pt x="137" y="549"/>
                    </a:lnTo>
                    <a:lnTo>
                      <a:pt x="137" y="544"/>
                    </a:lnTo>
                    <a:lnTo>
                      <a:pt x="142" y="549"/>
                    </a:lnTo>
                    <a:lnTo>
                      <a:pt x="146" y="549"/>
                    </a:lnTo>
                    <a:lnTo>
                      <a:pt x="151" y="544"/>
                    </a:lnTo>
                    <a:lnTo>
                      <a:pt x="151" y="540"/>
                    </a:lnTo>
                    <a:lnTo>
                      <a:pt x="146" y="540"/>
                    </a:lnTo>
                    <a:lnTo>
                      <a:pt x="142" y="535"/>
                    </a:lnTo>
                    <a:lnTo>
                      <a:pt x="142" y="535"/>
                    </a:lnTo>
                    <a:lnTo>
                      <a:pt x="137" y="535"/>
                    </a:lnTo>
                    <a:lnTo>
                      <a:pt x="137" y="531"/>
                    </a:lnTo>
                    <a:lnTo>
                      <a:pt x="137" y="526"/>
                    </a:lnTo>
                    <a:lnTo>
                      <a:pt x="142" y="526"/>
                    </a:lnTo>
                    <a:lnTo>
                      <a:pt x="137" y="526"/>
                    </a:lnTo>
                    <a:lnTo>
                      <a:pt x="132" y="521"/>
                    </a:lnTo>
                    <a:lnTo>
                      <a:pt x="128" y="526"/>
                    </a:lnTo>
                    <a:lnTo>
                      <a:pt x="123" y="526"/>
                    </a:lnTo>
                    <a:lnTo>
                      <a:pt x="119" y="526"/>
                    </a:lnTo>
                    <a:lnTo>
                      <a:pt x="114" y="521"/>
                    </a:lnTo>
                    <a:lnTo>
                      <a:pt x="114" y="517"/>
                    </a:lnTo>
                    <a:lnTo>
                      <a:pt x="119" y="512"/>
                    </a:lnTo>
                    <a:lnTo>
                      <a:pt x="119" y="508"/>
                    </a:lnTo>
                    <a:lnTo>
                      <a:pt x="123" y="503"/>
                    </a:lnTo>
                    <a:lnTo>
                      <a:pt x="119" y="503"/>
                    </a:lnTo>
                    <a:lnTo>
                      <a:pt x="119" y="503"/>
                    </a:lnTo>
                    <a:lnTo>
                      <a:pt x="114" y="499"/>
                    </a:lnTo>
                    <a:lnTo>
                      <a:pt x="110" y="489"/>
                    </a:lnTo>
                    <a:lnTo>
                      <a:pt x="105" y="485"/>
                    </a:lnTo>
                    <a:lnTo>
                      <a:pt x="100" y="480"/>
                    </a:lnTo>
                    <a:lnTo>
                      <a:pt x="100" y="485"/>
                    </a:lnTo>
                    <a:lnTo>
                      <a:pt x="96" y="485"/>
                    </a:lnTo>
                    <a:lnTo>
                      <a:pt x="96" y="489"/>
                    </a:lnTo>
                    <a:lnTo>
                      <a:pt x="96" y="494"/>
                    </a:lnTo>
                    <a:lnTo>
                      <a:pt x="96" y="499"/>
                    </a:lnTo>
                    <a:lnTo>
                      <a:pt x="91" y="503"/>
                    </a:lnTo>
                    <a:lnTo>
                      <a:pt x="87" y="503"/>
                    </a:lnTo>
                    <a:lnTo>
                      <a:pt x="87" y="503"/>
                    </a:lnTo>
                    <a:lnTo>
                      <a:pt x="82" y="503"/>
                    </a:lnTo>
                    <a:lnTo>
                      <a:pt x="78" y="503"/>
                    </a:lnTo>
                    <a:lnTo>
                      <a:pt x="73" y="503"/>
                    </a:lnTo>
                    <a:lnTo>
                      <a:pt x="73" y="499"/>
                    </a:lnTo>
                    <a:lnTo>
                      <a:pt x="73" y="494"/>
                    </a:lnTo>
                    <a:lnTo>
                      <a:pt x="68" y="489"/>
                    </a:lnTo>
                    <a:lnTo>
                      <a:pt x="64" y="485"/>
                    </a:lnTo>
                    <a:lnTo>
                      <a:pt x="55" y="485"/>
                    </a:lnTo>
                    <a:lnTo>
                      <a:pt x="36" y="485"/>
                    </a:lnTo>
                    <a:lnTo>
                      <a:pt x="32" y="485"/>
                    </a:lnTo>
                    <a:lnTo>
                      <a:pt x="27" y="485"/>
                    </a:lnTo>
                    <a:lnTo>
                      <a:pt x="23" y="480"/>
                    </a:lnTo>
                    <a:lnTo>
                      <a:pt x="18" y="480"/>
                    </a:lnTo>
                    <a:lnTo>
                      <a:pt x="18" y="476"/>
                    </a:lnTo>
                    <a:lnTo>
                      <a:pt x="18" y="476"/>
                    </a:lnTo>
                    <a:lnTo>
                      <a:pt x="18" y="476"/>
                    </a:lnTo>
                    <a:lnTo>
                      <a:pt x="18" y="476"/>
                    </a:lnTo>
                    <a:lnTo>
                      <a:pt x="23" y="471"/>
                    </a:lnTo>
                    <a:lnTo>
                      <a:pt x="23" y="471"/>
                    </a:lnTo>
                    <a:lnTo>
                      <a:pt x="23" y="471"/>
                    </a:lnTo>
                    <a:lnTo>
                      <a:pt x="27" y="471"/>
                    </a:lnTo>
                    <a:lnTo>
                      <a:pt x="32" y="467"/>
                    </a:lnTo>
                    <a:lnTo>
                      <a:pt x="32" y="462"/>
                    </a:lnTo>
                    <a:lnTo>
                      <a:pt x="36" y="453"/>
                    </a:lnTo>
                    <a:lnTo>
                      <a:pt x="36" y="453"/>
                    </a:lnTo>
                    <a:lnTo>
                      <a:pt x="36" y="448"/>
                    </a:lnTo>
                    <a:lnTo>
                      <a:pt x="36" y="444"/>
                    </a:lnTo>
                    <a:lnTo>
                      <a:pt x="36" y="439"/>
                    </a:lnTo>
                    <a:lnTo>
                      <a:pt x="36" y="439"/>
                    </a:lnTo>
                    <a:lnTo>
                      <a:pt x="27" y="439"/>
                    </a:lnTo>
                    <a:lnTo>
                      <a:pt x="23" y="439"/>
                    </a:lnTo>
                    <a:lnTo>
                      <a:pt x="18" y="430"/>
                    </a:lnTo>
                    <a:lnTo>
                      <a:pt x="14" y="425"/>
                    </a:lnTo>
                    <a:lnTo>
                      <a:pt x="4" y="416"/>
                    </a:lnTo>
                    <a:lnTo>
                      <a:pt x="4" y="412"/>
                    </a:lnTo>
                    <a:lnTo>
                      <a:pt x="0" y="403"/>
                    </a:lnTo>
                    <a:lnTo>
                      <a:pt x="0" y="403"/>
                    </a:lnTo>
                    <a:lnTo>
                      <a:pt x="9" y="384"/>
                    </a:lnTo>
                    <a:lnTo>
                      <a:pt x="14" y="375"/>
                    </a:lnTo>
                    <a:lnTo>
                      <a:pt x="18" y="366"/>
                    </a:lnTo>
                    <a:lnTo>
                      <a:pt x="18" y="366"/>
                    </a:lnTo>
                    <a:lnTo>
                      <a:pt x="18" y="361"/>
                    </a:lnTo>
                    <a:lnTo>
                      <a:pt x="18" y="357"/>
                    </a:lnTo>
                    <a:lnTo>
                      <a:pt x="18" y="352"/>
                    </a:lnTo>
                    <a:lnTo>
                      <a:pt x="18" y="352"/>
                    </a:lnTo>
                    <a:lnTo>
                      <a:pt x="23" y="348"/>
                    </a:lnTo>
                    <a:lnTo>
                      <a:pt x="23" y="343"/>
                    </a:lnTo>
                    <a:lnTo>
                      <a:pt x="32" y="343"/>
                    </a:lnTo>
                    <a:lnTo>
                      <a:pt x="41" y="334"/>
                    </a:lnTo>
                    <a:lnTo>
                      <a:pt x="41" y="339"/>
                    </a:lnTo>
                    <a:lnTo>
                      <a:pt x="50" y="343"/>
                    </a:lnTo>
                    <a:lnTo>
                      <a:pt x="55" y="343"/>
                    </a:lnTo>
                    <a:lnTo>
                      <a:pt x="64" y="348"/>
                    </a:lnTo>
                    <a:lnTo>
                      <a:pt x="68" y="352"/>
                    </a:lnTo>
                    <a:lnTo>
                      <a:pt x="73" y="352"/>
                    </a:lnTo>
                    <a:lnTo>
                      <a:pt x="73" y="352"/>
                    </a:lnTo>
                    <a:lnTo>
                      <a:pt x="78" y="357"/>
                    </a:lnTo>
                    <a:lnTo>
                      <a:pt x="82" y="343"/>
                    </a:lnTo>
                    <a:lnTo>
                      <a:pt x="82" y="334"/>
                    </a:lnTo>
                    <a:lnTo>
                      <a:pt x="82" y="329"/>
                    </a:lnTo>
                    <a:lnTo>
                      <a:pt x="82" y="325"/>
                    </a:lnTo>
                    <a:lnTo>
                      <a:pt x="87" y="320"/>
                    </a:lnTo>
                    <a:lnTo>
                      <a:pt x="87" y="311"/>
                    </a:lnTo>
                    <a:lnTo>
                      <a:pt x="91" y="307"/>
                    </a:lnTo>
                    <a:lnTo>
                      <a:pt x="96" y="293"/>
                    </a:lnTo>
                    <a:lnTo>
                      <a:pt x="100" y="288"/>
                    </a:lnTo>
                    <a:lnTo>
                      <a:pt x="100" y="284"/>
                    </a:lnTo>
                    <a:lnTo>
                      <a:pt x="100" y="279"/>
                    </a:lnTo>
                    <a:lnTo>
                      <a:pt x="100" y="275"/>
                    </a:lnTo>
                    <a:lnTo>
                      <a:pt x="100" y="261"/>
                    </a:lnTo>
                    <a:lnTo>
                      <a:pt x="100" y="256"/>
                    </a:lnTo>
                    <a:lnTo>
                      <a:pt x="100" y="256"/>
                    </a:lnTo>
                    <a:lnTo>
                      <a:pt x="100" y="247"/>
                    </a:lnTo>
                    <a:lnTo>
                      <a:pt x="100" y="243"/>
                    </a:lnTo>
                    <a:lnTo>
                      <a:pt x="96" y="238"/>
                    </a:lnTo>
                    <a:lnTo>
                      <a:pt x="87" y="233"/>
                    </a:lnTo>
                    <a:lnTo>
                      <a:pt x="82" y="229"/>
                    </a:lnTo>
                    <a:lnTo>
                      <a:pt x="78" y="224"/>
                    </a:lnTo>
                    <a:lnTo>
                      <a:pt x="73" y="215"/>
                    </a:lnTo>
                    <a:lnTo>
                      <a:pt x="73" y="211"/>
                    </a:lnTo>
                    <a:lnTo>
                      <a:pt x="68" y="206"/>
                    </a:lnTo>
                    <a:lnTo>
                      <a:pt x="68" y="201"/>
                    </a:lnTo>
                    <a:lnTo>
                      <a:pt x="64" y="201"/>
                    </a:lnTo>
                    <a:lnTo>
                      <a:pt x="64" y="197"/>
                    </a:lnTo>
                    <a:lnTo>
                      <a:pt x="64" y="192"/>
                    </a:lnTo>
                    <a:lnTo>
                      <a:pt x="64" y="183"/>
                    </a:lnTo>
                    <a:lnTo>
                      <a:pt x="68" y="174"/>
                    </a:lnTo>
                    <a:lnTo>
                      <a:pt x="73" y="169"/>
                    </a:lnTo>
                    <a:lnTo>
                      <a:pt x="73" y="160"/>
                    </a:lnTo>
                    <a:lnTo>
                      <a:pt x="73" y="156"/>
                    </a:lnTo>
                    <a:lnTo>
                      <a:pt x="68" y="151"/>
                    </a:lnTo>
                    <a:lnTo>
                      <a:pt x="68" y="147"/>
                    </a:lnTo>
                    <a:lnTo>
                      <a:pt x="68" y="133"/>
                    </a:lnTo>
                    <a:lnTo>
                      <a:pt x="64" y="128"/>
                    </a:lnTo>
                    <a:lnTo>
                      <a:pt x="59" y="124"/>
                    </a:lnTo>
                    <a:lnTo>
                      <a:pt x="55" y="124"/>
                    </a:lnTo>
                    <a:lnTo>
                      <a:pt x="50" y="124"/>
                    </a:lnTo>
                    <a:lnTo>
                      <a:pt x="50" y="119"/>
                    </a:lnTo>
                    <a:lnTo>
                      <a:pt x="50" y="119"/>
                    </a:lnTo>
                    <a:lnTo>
                      <a:pt x="55" y="115"/>
                    </a:lnTo>
                    <a:lnTo>
                      <a:pt x="55" y="110"/>
                    </a:lnTo>
                    <a:lnTo>
                      <a:pt x="55" y="105"/>
                    </a:lnTo>
                    <a:lnTo>
                      <a:pt x="55" y="101"/>
                    </a:lnTo>
                    <a:lnTo>
                      <a:pt x="50" y="96"/>
                    </a:lnTo>
                    <a:lnTo>
                      <a:pt x="55" y="96"/>
                    </a:lnTo>
                    <a:lnTo>
                      <a:pt x="64" y="92"/>
                    </a:lnTo>
                    <a:lnTo>
                      <a:pt x="68" y="96"/>
                    </a:lnTo>
                    <a:lnTo>
                      <a:pt x="73" y="101"/>
                    </a:lnTo>
                    <a:lnTo>
                      <a:pt x="78" y="105"/>
                    </a:lnTo>
                    <a:lnTo>
                      <a:pt x="82" y="105"/>
                    </a:lnTo>
                    <a:lnTo>
                      <a:pt x="82" y="110"/>
                    </a:lnTo>
                    <a:lnTo>
                      <a:pt x="87" y="110"/>
                    </a:lnTo>
                    <a:lnTo>
                      <a:pt x="91" y="110"/>
                    </a:lnTo>
                    <a:lnTo>
                      <a:pt x="91" y="110"/>
                    </a:lnTo>
                    <a:lnTo>
                      <a:pt x="96" y="110"/>
                    </a:lnTo>
                    <a:lnTo>
                      <a:pt x="96" y="110"/>
                    </a:lnTo>
                    <a:lnTo>
                      <a:pt x="96" y="115"/>
                    </a:lnTo>
                    <a:lnTo>
                      <a:pt x="100" y="115"/>
                    </a:lnTo>
                    <a:lnTo>
                      <a:pt x="105" y="115"/>
                    </a:lnTo>
                    <a:lnTo>
                      <a:pt x="105" y="119"/>
                    </a:lnTo>
                    <a:lnTo>
                      <a:pt x="110" y="119"/>
                    </a:lnTo>
                    <a:lnTo>
                      <a:pt x="114" y="119"/>
                    </a:lnTo>
                    <a:lnTo>
                      <a:pt x="114" y="124"/>
                    </a:lnTo>
                    <a:lnTo>
                      <a:pt x="119" y="124"/>
                    </a:lnTo>
                    <a:lnTo>
                      <a:pt x="119" y="128"/>
                    </a:lnTo>
                    <a:lnTo>
                      <a:pt x="119" y="128"/>
                    </a:lnTo>
                    <a:lnTo>
                      <a:pt x="128" y="128"/>
                    </a:lnTo>
                    <a:lnTo>
                      <a:pt x="132" y="133"/>
                    </a:lnTo>
                    <a:lnTo>
                      <a:pt x="142" y="137"/>
                    </a:lnTo>
                    <a:lnTo>
                      <a:pt x="160" y="137"/>
                    </a:lnTo>
                    <a:lnTo>
                      <a:pt x="164" y="137"/>
                    </a:lnTo>
                    <a:lnTo>
                      <a:pt x="174" y="137"/>
                    </a:lnTo>
                    <a:lnTo>
                      <a:pt x="178" y="137"/>
                    </a:lnTo>
                    <a:lnTo>
                      <a:pt x="187" y="137"/>
                    </a:lnTo>
                    <a:lnTo>
                      <a:pt x="196" y="137"/>
                    </a:lnTo>
                    <a:lnTo>
                      <a:pt x="201" y="137"/>
                    </a:lnTo>
                    <a:lnTo>
                      <a:pt x="206" y="133"/>
                    </a:lnTo>
                    <a:lnTo>
                      <a:pt x="206" y="128"/>
                    </a:lnTo>
                    <a:lnTo>
                      <a:pt x="210" y="128"/>
                    </a:lnTo>
                    <a:lnTo>
                      <a:pt x="215" y="128"/>
                    </a:lnTo>
                    <a:lnTo>
                      <a:pt x="224" y="128"/>
                    </a:lnTo>
                    <a:lnTo>
                      <a:pt x="228" y="128"/>
                    </a:lnTo>
                    <a:lnTo>
                      <a:pt x="228" y="128"/>
                    </a:lnTo>
                    <a:lnTo>
                      <a:pt x="233" y="128"/>
                    </a:lnTo>
                    <a:lnTo>
                      <a:pt x="233" y="128"/>
                    </a:lnTo>
                    <a:lnTo>
                      <a:pt x="238" y="128"/>
                    </a:lnTo>
                    <a:lnTo>
                      <a:pt x="242" y="133"/>
                    </a:lnTo>
                    <a:lnTo>
                      <a:pt x="247" y="133"/>
                    </a:lnTo>
                    <a:lnTo>
                      <a:pt x="251" y="133"/>
                    </a:lnTo>
                    <a:lnTo>
                      <a:pt x="256" y="133"/>
                    </a:lnTo>
                    <a:lnTo>
                      <a:pt x="260" y="133"/>
                    </a:lnTo>
                    <a:lnTo>
                      <a:pt x="260" y="137"/>
                    </a:lnTo>
                    <a:lnTo>
                      <a:pt x="265" y="137"/>
                    </a:lnTo>
                    <a:lnTo>
                      <a:pt x="270" y="142"/>
                    </a:lnTo>
                    <a:lnTo>
                      <a:pt x="270" y="147"/>
                    </a:lnTo>
                    <a:lnTo>
                      <a:pt x="274" y="151"/>
                    </a:lnTo>
                    <a:lnTo>
                      <a:pt x="274" y="151"/>
                    </a:lnTo>
                    <a:lnTo>
                      <a:pt x="274" y="151"/>
                    </a:lnTo>
                    <a:lnTo>
                      <a:pt x="279" y="151"/>
                    </a:lnTo>
                    <a:lnTo>
                      <a:pt x="279" y="156"/>
                    </a:lnTo>
                    <a:lnTo>
                      <a:pt x="283" y="156"/>
                    </a:lnTo>
                    <a:lnTo>
                      <a:pt x="283" y="160"/>
                    </a:lnTo>
                    <a:lnTo>
                      <a:pt x="288" y="165"/>
                    </a:lnTo>
                    <a:lnTo>
                      <a:pt x="292" y="165"/>
                    </a:lnTo>
                    <a:lnTo>
                      <a:pt x="292" y="169"/>
                    </a:lnTo>
                    <a:lnTo>
                      <a:pt x="292" y="169"/>
                    </a:lnTo>
                    <a:lnTo>
                      <a:pt x="297" y="174"/>
                    </a:lnTo>
                    <a:lnTo>
                      <a:pt x="297" y="174"/>
                    </a:lnTo>
                    <a:lnTo>
                      <a:pt x="302" y="174"/>
                    </a:lnTo>
                    <a:lnTo>
                      <a:pt x="306" y="174"/>
                    </a:lnTo>
                    <a:lnTo>
                      <a:pt x="311" y="179"/>
                    </a:lnTo>
                    <a:lnTo>
                      <a:pt x="315" y="183"/>
                    </a:lnTo>
                    <a:lnTo>
                      <a:pt x="315" y="183"/>
                    </a:lnTo>
                    <a:lnTo>
                      <a:pt x="320" y="188"/>
                    </a:lnTo>
                    <a:lnTo>
                      <a:pt x="334" y="188"/>
                    </a:lnTo>
                    <a:lnTo>
                      <a:pt x="338" y="188"/>
                    </a:lnTo>
                    <a:lnTo>
                      <a:pt x="338" y="188"/>
                    </a:lnTo>
                    <a:lnTo>
                      <a:pt x="343" y="188"/>
                    </a:lnTo>
                    <a:lnTo>
                      <a:pt x="343" y="192"/>
                    </a:lnTo>
                    <a:lnTo>
                      <a:pt x="352" y="197"/>
                    </a:lnTo>
                    <a:lnTo>
                      <a:pt x="356" y="197"/>
                    </a:lnTo>
                    <a:lnTo>
                      <a:pt x="361" y="197"/>
                    </a:lnTo>
                    <a:lnTo>
                      <a:pt x="361" y="197"/>
                    </a:lnTo>
                    <a:lnTo>
                      <a:pt x="366" y="197"/>
                    </a:lnTo>
                    <a:lnTo>
                      <a:pt x="370" y="197"/>
                    </a:lnTo>
                    <a:lnTo>
                      <a:pt x="375" y="197"/>
                    </a:lnTo>
                    <a:lnTo>
                      <a:pt x="379" y="192"/>
                    </a:lnTo>
                    <a:lnTo>
                      <a:pt x="384" y="192"/>
                    </a:lnTo>
                    <a:lnTo>
                      <a:pt x="388" y="188"/>
                    </a:lnTo>
                    <a:lnTo>
                      <a:pt x="393" y="183"/>
                    </a:lnTo>
                    <a:lnTo>
                      <a:pt x="398" y="183"/>
                    </a:lnTo>
                    <a:lnTo>
                      <a:pt x="398" y="179"/>
                    </a:lnTo>
                    <a:lnTo>
                      <a:pt x="402" y="179"/>
                    </a:lnTo>
                    <a:lnTo>
                      <a:pt x="402" y="174"/>
                    </a:lnTo>
                    <a:lnTo>
                      <a:pt x="407" y="174"/>
                    </a:lnTo>
                    <a:lnTo>
                      <a:pt x="411" y="174"/>
                    </a:lnTo>
                    <a:lnTo>
                      <a:pt x="420" y="174"/>
                    </a:lnTo>
                    <a:lnTo>
                      <a:pt x="425" y="174"/>
                    </a:lnTo>
                    <a:lnTo>
                      <a:pt x="425" y="174"/>
                    </a:lnTo>
                    <a:lnTo>
                      <a:pt x="425" y="174"/>
                    </a:lnTo>
                    <a:lnTo>
                      <a:pt x="430" y="174"/>
                    </a:lnTo>
                    <a:lnTo>
                      <a:pt x="430" y="179"/>
                    </a:lnTo>
                    <a:lnTo>
                      <a:pt x="430" y="188"/>
                    </a:lnTo>
                    <a:lnTo>
                      <a:pt x="434" y="192"/>
                    </a:lnTo>
                    <a:lnTo>
                      <a:pt x="434" y="197"/>
                    </a:lnTo>
                    <a:lnTo>
                      <a:pt x="430" y="220"/>
                    </a:lnTo>
                    <a:lnTo>
                      <a:pt x="430" y="238"/>
                    </a:lnTo>
                    <a:lnTo>
                      <a:pt x="430" y="243"/>
                    </a:lnTo>
                    <a:lnTo>
                      <a:pt x="425" y="247"/>
                    </a:lnTo>
                    <a:lnTo>
                      <a:pt x="425" y="252"/>
                    </a:lnTo>
                    <a:lnTo>
                      <a:pt x="425" y="256"/>
                    </a:lnTo>
                    <a:lnTo>
                      <a:pt x="425" y="256"/>
                    </a:lnTo>
                    <a:lnTo>
                      <a:pt x="420" y="261"/>
                    </a:lnTo>
                    <a:lnTo>
                      <a:pt x="420" y="261"/>
                    </a:lnTo>
                    <a:lnTo>
                      <a:pt x="416" y="261"/>
                    </a:lnTo>
                    <a:lnTo>
                      <a:pt x="411" y="270"/>
                    </a:lnTo>
                    <a:lnTo>
                      <a:pt x="407" y="270"/>
                    </a:lnTo>
                    <a:lnTo>
                      <a:pt x="407" y="275"/>
                    </a:lnTo>
                    <a:lnTo>
                      <a:pt x="402" y="275"/>
                    </a:lnTo>
                    <a:lnTo>
                      <a:pt x="402" y="275"/>
                    </a:lnTo>
                    <a:lnTo>
                      <a:pt x="402" y="279"/>
                    </a:lnTo>
                    <a:lnTo>
                      <a:pt x="398" y="279"/>
                    </a:lnTo>
                    <a:lnTo>
                      <a:pt x="393" y="284"/>
                    </a:lnTo>
                    <a:lnTo>
                      <a:pt x="388" y="284"/>
                    </a:lnTo>
                    <a:lnTo>
                      <a:pt x="388" y="284"/>
                    </a:lnTo>
                    <a:lnTo>
                      <a:pt x="384" y="284"/>
                    </a:lnTo>
                    <a:lnTo>
                      <a:pt x="384" y="288"/>
                    </a:lnTo>
                    <a:lnTo>
                      <a:pt x="379" y="288"/>
                    </a:lnTo>
                    <a:lnTo>
                      <a:pt x="375" y="297"/>
                    </a:lnTo>
                    <a:lnTo>
                      <a:pt x="370" y="297"/>
                    </a:lnTo>
                    <a:lnTo>
                      <a:pt x="366" y="297"/>
                    </a:lnTo>
                    <a:lnTo>
                      <a:pt x="366" y="302"/>
                    </a:lnTo>
                    <a:lnTo>
                      <a:pt x="361" y="302"/>
                    </a:lnTo>
                    <a:lnTo>
                      <a:pt x="361" y="307"/>
                    </a:lnTo>
                    <a:lnTo>
                      <a:pt x="356" y="311"/>
                    </a:lnTo>
                    <a:lnTo>
                      <a:pt x="356" y="316"/>
                    </a:lnTo>
                    <a:lnTo>
                      <a:pt x="352" y="316"/>
                    </a:lnTo>
                    <a:lnTo>
                      <a:pt x="352" y="320"/>
                    </a:lnTo>
                    <a:lnTo>
                      <a:pt x="347" y="320"/>
                    </a:lnTo>
                    <a:lnTo>
                      <a:pt x="347" y="325"/>
                    </a:lnTo>
                    <a:lnTo>
                      <a:pt x="347" y="329"/>
                    </a:lnTo>
                    <a:lnTo>
                      <a:pt x="347" y="329"/>
                    </a:lnTo>
                    <a:lnTo>
                      <a:pt x="343" y="348"/>
                    </a:lnTo>
                    <a:lnTo>
                      <a:pt x="343" y="348"/>
                    </a:lnTo>
                    <a:lnTo>
                      <a:pt x="343" y="361"/>
                    </a:lnTo>
                    <a:lnTo>
                      <a:pt x="343" y="371"/>
                    </a:lnTo>
                    <a:lnTo>
                      <a:pt x="343" y="371"/>
                    </a:lnTo>
                    <a:lnTo>
                      <a:pt x="343" y="375"/>
                    </a:lnTo>
                    <a:lnTo>
                      <a:pt x="347" y="380"/>
                    </a:lnTo>
                    <a:lnTo>
                      <a:pt x="347" y="389"/>
                    </a:lnTo>
                    <a:lnTo>
                      <a:pt x="347" y="393"/>
                    </a:lnTo>
                    <a:lnTo>
                      <a:pt x="352" y="393"/>
                    </a:lnTo>
                    <a:lnTo>
                      <a:pt x="352" y="393"/>
                    </a:lnTo>
                    <a:lnTo>
                      <a:pt x="356" y="398"/>
                    </a:lnTo>
                    <a:lnTo>
                      <a:pt x="361" y="403"/>
                    </a:lnTo>
                    <a:lnTo>
                      <a:pt x="361" y="407"/>
                    </a:lnTo>
                    <a:lnTo>
                      <a:pt x="366" y="412"/>
                    </a:lnTo>
                    <a:lnTo>
                      <a:pt x="370" y="416"/>
                    </a:lnTo>
                    <a:lnTo>
                      <a:pt x="375" y="421"/>
                    </a:lnTo>
                    <a:lnTo>
                      <a:pt x="375" y="425"/>
                    </a:lnTo>
                    <a:lnTo>
                      <a:pt x="375" y="430"/>
                    </a:lnTo>
                    <a:lnTo>
                      <a:pt x="375" y="435"/>
                    </a:lnTo>
                    <a:lnTo>
                      <a:pt x="375" y="439"/>
                    </a:lnTo>
                    <a:lnTo>
                      <a:pt x="370" y="439"/>
                    </a:lnTo>
                    <a:lnTo>
                      <a:pt x="370" y="444"/>
                    </a:lnTo>
                    <a:lnTo>
                      <a:pt x="370" y="448"/>
                    </a:lnTo>
                    <a:lnTo>
                      <a:pt x="375" y="453"/>
                    </a:lnTo>
                    <a:lnTo>
                      <a:pt x="384" y="457"/>
                    </a:lnTo>
                    <a:lnTo>
                      <a:pt x="388" y="457"/>
                    </a:lnTo>
                    <a:lnTo>
                      <a:pt x="393" y="457"/>
                    </a:lnTo>
                    <a:lnTo>
                      <a:pt x="398" y="457"/>
                    </a:lnTo>
                    <a:lnTo>
                      <a:pt x="402" y="457"/>
                    </a:lnTo>
                    <a:lnTo>
                      <a:pt x="411" y="457"/>
                    </a:lnTo>
                    <a:lnTo>
                      <a:pt x="411" y="457"/>
                    </a:lnTo>
                    <a:lnTo>
                      <a:pt x="416" y="453"/>
                    </a:lnTo>
                    <a:lnTo>
                      <a:pt x="420" y="453"/>
                    </a:lnTo>
                    <a:lnTo>
                      <a:pt x="420" y="448"/>
                    </a:lnTo>
                    <a:lnTo>
                      <a:pt x="420" y="439"/>
                    </a:lnTo>
                    <a:lnTo>
                      <a:pt x="420" y="430"/>
                    </a:lnTo>
                    <a:lnTo>
                      <a:pt x="420" y="421"/>
                    </a:lnTo>
                    <a:lnTo>
                      <a:pt x="420" y="416"/>
                    </a:lnTo>
                    <a:lnTo>
                      <a:pt x="420" y="416"/>
                    </a:lnTo>
                    <a:lnTo>
                      <a:pt x="425" y="416"/>
                    </a:lnTo>
                    <a:lnTo>
                      <a:pt x="425" y="412"/>
                    </a:lnTo>
                    <a:lnTo>
                      <a:pt x="425" y="407"/>
                    </a:lnTo>
                    <a:lnTo>
                      <a:pt x="425" y="407"/>
                    </a:lnTo>
                    <a:lnTo>
                      <a:pt x="425" y="403"/>
                    </a:lnTo>
                    <a:lnTo>
                      <a:pt x="430" y="403"/>
                    </a:lnTo>
                    <a:lnTo>
                      <a:pt x="434" y="403"/>
                    </a:lnTo>
                    <a:lnTo>
                      <a:pt x="439" y="403"/>
                    </a:lnTo>
                    <a:lnTo>
                      <a:pt x="443" y="403"/>
                    </a:lnTo>
                    <a:lnTo>
                      <a:pt x="457" y="407"/>
                    </a:lnTo>
                    <a:lnTo>
                      <a:pt x="466" y="412"/>
                    </a:lnTo>
                    <a:lnTo>
                      <a:pt x="471" y="412"/>
                    </a:lnTo>
                    <a:lnTo>
                      <a:pt x="475" y="412"/>
                    </a:lnTo>
                    <a:lnTo>
                      <a:pt x="480" y="412"/>
                    </a:lnTo>
                    <a:lnTo>
                      <a:pt x="484" y="412"/>
                    </a:lnTo>
                    <a:lnTo>
                      <a:pt x="489" y="412"/>
                    </a:lnTo>
                    <a:lnTo>
                      <a:pt x="494" y="412"/>
                    </a:lnTo>
                    <a:lnTo>
                      <a:pt x="494" y="412"/>
                    </a:lnTo>
                    <a:lnTo>
                      <a:pt x="498" y="407"/>
                    </a:lnTo>
                    <a:lnTo>
                      <a:pt x="503" y="403"/>
                    </a:lnTo>
                    <a:lnTo>
                      <a:pt x="507" y="403"/>
                    </a:lnTo>
                    <a:lnTo>
                      <a:pt x="512" y="398"/>
                    </a:lnTo>
                    <a:lnTo>
                      <a:pt x="512" y="393"/>
                    </a:lnTo>
                    <a:lnTo>
                      <a:pt x="512" y="393"/>
                    </a:lnTo>
                    <a:lnTo>
                      <a:pt x="512" y="389"/>
                    </a:lnTo>
                    <a:lnTo>
                      <a:pt x="512" y="384"/>
                    </a:lnTo>
                    <a:lnTo>
                      <a:pt x="512" y="380"/>
                    </a:lnTo>
                    <a:lnTo>
                      <a:pt x="512" y="375"/>
                    </a:lnTo>
                    <a:lnTo>
                      <a:pt x="512" y="371"/>
                    </a:lnTo>
                    <a:lnTo>
                      <a:pt x="512" y="371"/>
                    </a:lnTo>
                    <a:lnTo>
                      <a:pt x="507" y="366"/>
                    </a:lnTo>
                    <a:lnTo>
                      <a:pt x="503" y="361"/>
                    </a:lnTo>
                    <a:lnTo>
                      <a:pt x="503" y="348"/>
                    </a:lnTo>
                    <a:lnTo>
                      <a:pt x="498" y="348"/>
                    </a:lnTo>
                    <a:lnTo>
                      <a:pt x="498" y="348"/>
                    </a:lnTo>
                    <a:lnTo>
                      <a:pt x="498" y="343"/>
                    </a:lnTo>
                    <a:lnTo>
                      <a:pt x="494" y="343"/>
                    </a:lnTo>
                    <a:lnTo>
                      <a:pt x="494" y="339"/>
                    </a:lnTo>
                    <a:lnTo>
                      <a:pt x="489" y="339"/>
                    </a:lnTo>
                    <a:lnTo>
                      <a:pt x="480" y="334"/>
                    </a:lnTo>
                    <a:lnTo>
                      <a:pt x="480" y="329"/>
                    </a:lnTo>
                    <a:lnTo>
                      <a:pt x="480" y="329"/>
                    </a:lnTo>
                    <a:lnTo>
                      <a:pt x="480" y="325"/>
                    </a:lnTo>
                    <a:lnTo>
                      <a:pt x="480" y="320"/>
                    </a:lnTo>
                    <a:lnTo>
                      <a:pt x="480" y="307"/>
                    </a:lnTo>
                    <a:lnTo>
                      <a:pt x="480" y="293"/>
                    </a:lnTo>
                    <a:lnTo>
                      <a:pt x="480" y="284"/>
                    </a:lnTo>
                    <a:lnTo>
                      <a:pt x="480" y="275"/>
                    </a:lnTo>
                    <a:lnTo>
                      <a:pt x="475" y="270"/>
                    </a:lnTo>
                    <a:lnTo>
                      <a:pt x="471" y="261"/>
                    </a:lnTo>
                    <a:lnTo>
                      <a:pt x="471" y="243"/>
                    </a:lnTo>
                    <a:lnTo>
                      <a:pt x="471" y="238"/>
                    </a:lnTo>
                    <a:lnTo>
                      <a:pt x="471" y="233"/>
                    </a:lnTo>
                    <a:lnTo>
                      <a:pt x="471" y="233"/>
                    </a:lnTo>
                    <a:lnTo>
                      <a:pt x="471" y="229"/>
                    </a:lnTo>
                    <a:lnTo>
                      <a:pt x="475" y="229"/>
                    </a:lnTo>
                    <a:lnTo>
                      <a:pt x="480" y="233"/>
                    </a:lnTo>
                    <a:lnTo>
                      <a:pt x="489" y="233"/>
                    </a:lnTo>
                    <a:lnTo>
                      <a:pt x="494" y="238"/>
                    </a:lnTo>
                    <a:lnTo>
                      <a:pt x="494" y="238"/>
                    </a:lnTo>
                    <a:lnTo>
                      <a:pt x="498" y="238"/>
                    </a:lnTo>
                    <a:lnTo>
                      <a:pt x="503" y="238"/>
                    </a:lnTo>
                    <a:lnTo>
                      <a:pt x="512" y="238"/>
                    </a:lnTo>
                    <a:lnTo>
                      <a:pt x="512" y="238"/>
                    </a:lnTo>
                    <a:lnTo>
                      <a:pt x="521" y="238"/>
                    </a:lnTo>
                    <a:lnTo>
                      <a:pt x="526" y="238"/>
                    </a:lnTo>
                    <a:lnTo>
                      <a:pt x="535" y="238"/>
                    </a:lnTo>
                    <a:lnTo>
                      <a:pt x="535" y="233"/>
                    </a:lnTo>
                    <a:lnTo>
                      <a:pt x="539" y="233"/>
                    </a:lnTo>
                    <a:lnTo>
                      <a:pt x="544" y="229"/>
                    </a:lnTo>
                    <a:lnTo>
                      <a:pt x="548" y="229"/>
                    </a:lnTo>
                    <a:lnTo>
                      <a:pt x="553" y="224"/>
                    </a:lnTo>
                    <a:lnTo>
                      <a:pt x="558" y="224"/>
                    </a:lnTo>
                    <a:lnTo>
                      <a:pt x="558" y="224"/>
                    </a:lnTo>
                    <a:lnTo>
                      <a:pt x="562" y="220"/>
                    </a:lnTo>
                    <a:lnTo>
                      <a:pt x="571" y="220"/>
                    </a:lnTo>
                    <a:lnTo>
                      <a:pt x="576" y="220"/>
                    </a:lnTo>
                    <a:lnTo>
                      <a:pt x="580" y="220"/>
                    </a:lnTo>
                    <a:lnTo>
                      <a:pt x="580" y="215"/>
                    </a:lnTo>
                    <a:lnTo>
                      <a:pt x="585" y="215"/>
                    </a:lnTo>
                    <a:lnTo>
                      <a:pt x="590" y="211"/>
                    </a:lnTo>
                    <a:lnTo>
                      <a:pt x="590" y="206"/>
                    </a:lnTo>
                    <a:lnTo>
                      <a:pt x="590" y="201"/>
                    </a:lnTo>
                    <a:lnTo>
                      <a:pt x="590" y="197"/>
                    </a:lnTo>
                    <a:lnTo>
                      <a:pt x="585" y="197"/>
                    </a:lnTo>
                    <a:lnTo>
                      <a:pt x="580" y="197"/>
                    </a:lnTo>
                    <a:lnTo>
                      <a:pt x="580" y="192"/>
                    </a:lnTo>
                    <a:lnTo>
                      <a:pt x="580" y="192"/>
                    </a:lnTo>
                    <a:lnTo>
                      <a:pt x="571" y="192"/>
                    </a:lnTo>
                    <a:lnTo>
                      <a:pt x="571" y="188"/>
                    </a:lnTo>
                    <a:lnTo>
                      <a:pt x="567" y="188"/>
                    </a:lnTo>
                    <a:lnTo>
                      <a:pt x="562" y="188"/>
                    </a:lnTo>
                    <a:lnTo>
                      <a:pt x="558" y="183"/>
                    </a:lnTo>
                    <a:lnTo>
                      <a:pt x="558" y="179"/>
                    </a:lnTo>
                    <a:lnTo>
                      <a:pt x="558" y="174"/>
                    </a:lnTo>
                    <a:lnTo>
                      <a:pt x="558" y="174"/>
                    </a:lnTo>
                    <a:lnTo>
                      <a:pt x="558" y="174"/>
                    </a:lnTo>
                    <a:lnTo>
                      <a:pt x="562" y="174"/>
                    </a:lnTo>
                    <a:lnTo>
                      <a:pt x="567" y="165"/>
                    </a:lnTo>
                    <a:lnTo>
                      <a:pt x="567" y="160"/>
                    </a:lnTo>
                    <a:lnTo>
                      <a:pt x="571" y="156"/>
                    </a:lnTo>
                    <a:lnTo>
                      <a:pt x="571" y="151"/>
                    </a:lnTo>
                    <a:lnTo>
                      <a:pt x="571" y="142"/>
                    </a:lnTo>
                    <a:lnTo>
                      <a:pt x="567" y="133"/>
                    </a:lnTo>
                    <a:lnTo>
                      <a:pt x="562" y="119"/>
                    </a:lnTo>
                    <a:lnTo>
                      <a:pt x="562" y="115"/>
                    </a:lnTo>
                    <a:lnTo>
                      <a:pt x="558" y="110"/>
                    </a:lnTo>
                    <a:lnTo>
                      <a:pt x="558" y="110"/>
                    </a:lnTo>
                    <a:lnTo>
                      <a:pt x="558" y="110"/>
                    </a:lnTo>
                    <a:lnTo>
                      <a:pt x="553" y="110"/>
                    </a:lnTo>
                    <a:lnTo>
                      <a:pt x="553" y="105"/>
                    </a:lnTo>
                    <a:lnTo>
                      <a:pt x="548" y="105"/>
                    </a:lnTo>
                    <a:lnTo>
                      <a:pt x="535" y="101"/>
                    </a:lnTo>
                    <a:lnTo>
                      <a:pt x="526" y="101"/>
                    </a:lnTo>
                    <a:lnTo>
                      <a:pt x="516" y="101"/>
                    </a:lnTo>
                    <a:lnTo>
                      <a:pt x="512" y="101"/>
                    </a:lnTo>
                    <a:lnTo>
                      <a:pt x="512" y="96"/>
                    </a:lnTo>
                    <a:lnTo>
                      <a:pt x="512" y="96"/>
                    </a:lnTo>
                    <a:lnTo>
                      <a:pt x="507" y="92"/>
                    </a:lnTo>
                    <a:lnTo>
                      <a:pt x="503" y="87"/>
                    </a:lnTo>
                    <a:lnTo>
                      <a:pt x="498" y="87"/>
                    </a:lnTo>
                    <a:lnTo>
                      <a:pt x="494" y="87"/>
                    </a:lnTo>
                    <a:lnTo>
                      <a:pt x="494" y="83"/>
                    </a:lnTo>
                    <a:lnTo>
                      <a:pt x="489" y="83"/>
                    </a:lnTo>
                    <a:lnTo>
                      <a:pt x="484" y="78"/>
                    </a:lnTo>
                    <a:lnTo>
                      <a:pt x="480" y="78"/>
                    </a:lnTo>
                    <a:lnTo>
                      <a:pt x="471" y="69"/>
                    </a:lnTo>
                    <a:lnTo>
                      <a:pt x="471" y="69"/>
                    </a:lnTo>
                    <a:lnTo>
                      <a:pt x="466" y="64"/>
                    </a:lnTo>
                    <a:lnTo>
                      <a:pt x="462" y="64"/>
                    </a:lnTo>
                    <a:lnTo>
                      <a:pt x="452" y="60"/>
                    </a:lnTo>
                    <a:lnTo>
                      <a:pt x="448" y="60"/>
                    </a:lnTo>
                    <a:lnTo>
                      <a:pt x="448" y="55"/>
                    </a:lnTo>
                    <a:lnTo>
                      <a:pt x="448" y="55"/>
                    </a:lnTo>
                    <a:lnTo>
                      <a:pt x="443" y="51"/>
                    </a:lnTo>
                    <a:lnTo>
                      <a:pt x="443" y="46"/>
                    </a:lnTo>
                    <a:lnTo>
                      <a:pt x="443" y="41"/>
                    </a:lnTo>
                    <a:lnTo>
                      <a:pt x="443" y="41"/>
                    </a:lnTo>
                    <a:lnTo>
                      <a:pt x="448" y="37"/>
                    </a:lnTo>
                    <a:lnTo>
                      <a:pt x="448" y="37"/>
                    </a:lnTo>
                    <a:lnTo>
                      <a:pt x="457" y="32"/>
                    </a:lnTo>
                    <a:lnTo>
                      <a:pt x="462" y="28"/>
                    </a:lnTo>
                    <a:lnTo>
                      <a:pt x="466" y="28"/>
                    </a:lnTo>
                    <a:lnTo>
                      <a:pt x="471" y="28"/>
                    </a:lnTo>
                    <a:lnTo>
                      <a:pt x="471" y="23"/>
                    </a:lnTo>
                    <a:lnTo>
                      <a:pt x="471" y="23"/>
                    </a:lnTo>
                    <a:lnTo>
                      <a:pt x="471" y="19"/>
                    </a:lnTo>
                    <a:lnTo>
                      <a:pt x="475" y="19"/>
                    </a:lnTo>
                    <a:lnTo>
                      <a:pt x="480" y="19"/>
                    </a:lnTo>
                    <a:lnTo>
                      <a:pt x="484" y="19"/>
                    </a:lnTo>
                    <a:lnTo>
                      <a:pt x="489" y="19"/>
                    </a:lnTo>
                    <a:lnTo>
                      <a:pt x="494" y="19"/>
                    </a:lnTo>
                    <a:lnTo>
                      <a:pt x="494" y="19"/>
                    </a:lnTo>
                    <a:lnTo>
                      <a:pt x="494" y="14"/>
                    </a:lnTo>
                    <a:lnTo>
                      <a:pt x="507" y="14"/>
                    </a:lnTo>
                    <a:lnTo>
                      <a:pt x="535" y="9"/>
                    </a:lnTo>
                    <a:lnTo>
                      <a:pt x="544" y="5"/>
                    </a:lnTo>
                    <a:lnTo>
                      <a:pt x="558" y="5"/>
                    </a:lnTo>
                    <a:lnTo>
                      <a:pt x="562" y="0"/>
                    </a:lnTo>
                    <a:lnTo>
                      <a:pt x="576" y="0"/>
                    </a:lnTo>
                    <a:lnTo>
                      <a:pt x="594" y="0"/>
                    </a:lnTo>
                    <a:lnTo>
                      <a:pt x="608" y="0"/>
                    </a:lnTo>
                    <a:lnTo>
                      <a:pt x="617" y="0"/>
                    </a:lnTo>
                    <a:lnTo>
                      <a:pt x="622" y="0"/>
                    </a:lnTo>
                    <a:lnTo>
                      <a:pt x="626" y="0"/>
                    </a:lnTo>
                    <a:lnTo>
                      <a:pt x="640" y="0"/>
                    </a:lnTo>
                    <a:lnTo>
                      <a:pt x="644" y="0"/>
                    </a:lnTo>
                    <a:lnTo>
                      <a:pt x="644" y="0"/>
                    </a:lnTo>
                    <a:lnTo>
                      <a:pt x="649" y="5"/>
                    </a:lnTo>
                    <a:lnTo>
                      <a:pt x="654" y="5"/>
                    </a:lnTo>
                    <a:lnTo>
                      <a:pt x="663" y="9"/>
                    </a:lnTo>
                    <a:lnTo>
                      <a:pt x="663" y="14"/>
                    </a:lnTo>
                    <a:lnTo>
                      <a:pt x="667" y="14"/>
                    </a:lnTo>
                    <a:lnTo>
                      <a:pt x="667" y="19"/>
                    </a:lnTo>
                    <a:lnTo>
                      <a:pt x="667" y="19"/>
                    </a:lnTo>
                    <a:lnTo>
                      <a:pt x="672" y="28"/>
                    </a:lnTo>
                    <a:lnTo>
                      <a:pt x="672" y="32"/>
                    </a:lnTo>
                    <a:lnTo>
                      <a:pt x="672" y="37"/>
                    </a:lnTo>
                    <a:lnTo>
                      <a:pt x="676" y="41"/>
                    </a:lnTo>
                    <a:lnTo>
                      <a:pt x="676" y="41"/>
                    </a:lnTo>
                    <a:lnTo>
                      <a:pt x="676" y="51"/>
                    </a:lnTo>
                    <a:lnTo>
                      <a:pt x="681" y="55"/>
                    </a:lnTo>
                    <a:lnTo>
                      <a:pt x="681" y="64"/>
                    </a:lnTo>
                    <a:lnTo>
                      <a:pt x="686" y="69"/>
                    </a:lnTo>
                    <a:lnTo>
                      <a:pt x="686" y="83"/>
                    </a:lnTo>
                    <a:lnTo>
                      <a:pt x="690" y="96"/>
                    </a:lnTo>
                    <a:lnTo>
                      <a:pt x="690" y="101"/>
                    </a:lnTo>
                    <a:lnTo>
                      <a:pt x="690" y="105"/>
                    </a:lnTo>
                    <a:lnTo>
                      <a:pt x="695" y="110"/>
                    </a:lnTo>
                    <a:lnTo>
                      <a:pt x="695" y="115"/>
                    </a:lnTo>
                    <a:lnTo>
                      <a:pt x="704" y="124"/>
                    </a:lnTo>
                    <a:lnTo>
                      <a:pt x="708" y="128"/>
                    </a:lnTo>
                    <a:lnTo>
                      <a:pt x="713" y="128"/>
                    </a:lnTo>
                    <a:lnTo>
                      <a:pt x="718" y="128"/>
                    </a:lnTo>
                    <a:lnTo>
                      <a:pt x="722" y="128"/>
                    </a:lnTo>
                    <a:lnTo>
                      <a:pt x="722" y="133"/>
                    </a:lnTo>
                    <a:lnTo>
                      <a:pt x="731" y="133"/>
                    </a:lnTo>
                    <a:lnTo>
                      <a:pt x="731" y="137"/>
                    </a:lnTo>
                    <a:lnTo>
                      <a:pt x="731" y="137"/>
                    </a:lnTo>
                    <a:lnTo>
                      <a:pt x="736" y="137"/>
                    </a:lnTo>
                    <a:lnTo>
                      <a:pt x="745" y="142"/>
                    </a:lnTo>
                    <a:lnTo>
                      <a:pt x="750" y="142"/>
                    </a:lnTo>
                    <a:lnTo>
                      <a:pt x="759" y="142"/>
                    </a:lnTo>
                    <a:lnTo>
                      <a:pt x="772" y="142"/>
                    </a:lnTo>
                    <a:lnTo>
                      <a:pt x="791" y="142"/>
                    </a:lnTo>
                    <a:lnTo>
                      <a:pt x="804" y="142"/>
                    </a:lnTo>
                    <a:close/>
                  </a:path>
                </a:pathLst>
              </a:custGeom>
              <a:solidFill>
                <a:srgbClr val="006301"/>
              </a:solid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Niger</a:t>
                </a:r>
              </a:p>
            </p:txBody>
          </p:sp>
          <p:sp>
            <p:nvSpPr>
              <p:cNvPr id="212" name="Freeform 34">
                <a:extLst>
                  <a:ext uri="{FF2B5EF4-FFF2-40B4-BE49-F238E27FC236}">
                    <a16:creationId xmlns:a16="http://schemas.microsoft.com/office/drawing/2014/main" id="{D4F19DCD-8743-44AA-BD1A-A8D5C4D00757}"/>
                  </a:ext>
                </a:extLst>
              </p:cNvPr>
              <p:cNvSpPr>
                <a:spLocks/>
              </p:cNvSpPr>
              <p:nvPr>
                <p:custDataLst>
                  <p:tags r:id="rId29"/>
                </p:custDataLst>
              </p:nvPr>
            </p:nvSpPr>
            <p:spPr bwMode="auto">
              <a:xfrm>
                <a:off x="1012500" y="4550575"/>
                <a:ext cx="865543" cy="882421"/>
              </a:xfrm>
              <a:custGeom>
                <a:avLst/>
                <a:gdLst/>
                <a:ahLst/>
                <a:cxnLst>
                  <a:cxn ang="0">
                    <a:pos x="74" y="297"/>
                  </a:cxn>
                  <a:cxn ang="0">
                    <a:pos x="96" y="251"/>
                  </a:cxn>
                  <a:cxn ang="0">
                    <a:pos x="133" y="224"/>
                  </a:cxn>
                  <a:cxn ang="0">
                    <a:pos x="174" y="206"/>
                  </a:cxn>
                  <a:cxn ang="0">
                    <a:pos x="179" y="165"/>
                  </a:cxn>
                  <a:cxn ang="0">
                    <a:pos x="211" y="155"/>
                  </a:cxn>
                  <a:cxn ang="0">
                    <a:pos x="234" y="142"/>
                  </a:cxn>
                  <a:cxn ang="0">
                    <a:pos x="279" y="123"/>
                  </a:cxn>
                  <a:cxn ang="0">
                    <a:pos x="334" y="133"/>
                  </a:cxn>
                  <a:cxn ang="0">
                    <a:pos x="375" y="165"/>
                  </a:cxn>
                  <a:cxn ang="0">
                    <a:pos x="426" y="178"/>
                  </a:cxn>
                  <a:cxn ang="0">
                    <a:pos x="462" y="133"/>
                  </a:cxn>
                  <a:cxn ang="0">
                    <a:pos x="476" y="78"/>
                  </a:cxn>
                  <a:cxn ang="0">
                    <a:pos x="549" y="9"/>
                  </a:cxn>
                  <a:cxn ang="0">
                    <a:pos x="599" y="0"/>
                  </a:cxn>
                  <a:cxn ang="0">
                    <a:pos x="604" y="37"/>
                  </a:cxn>
                  <a:cxn ang="0">
                    <a:pos x="627" y="64"/>
                  </a:cxn>
                  <a:cxn ang="0">
                    <a:pos x="640" y="87"/>
                  </a:cxn>
                  <a:cxn ang="0">
                    <a:pos x="613" y="105"/>
                  </a:cxn>
                  <a:cxn ang="0">
                    <a:pos x="622" y="128"/>
                  </a:cxn>
                  <a:cxn ang="0">
                    <a:pos x="618" y="151"/>
                  </a:cxn>
                  <a:cxn ang="0">
                    <a:pos x="608" y="174"/>
                  </a:cxn>
                  <a:cxn ang="0">
                    <a:pos x="595" y="206"/>
                  </a:cxn>
                  <a:cxn ang="0">
                    <a:pos x="586" y="238"/>
                  </a:cxn>
                  <a:cxn ang="0">
                    <a:pos x="567" y="274"/>
                  </a:cxn>
                  <a:cxn ang="0">
                    <a:pos x="549" y="306"/>
                  </a:cxn>
                  <a:cxn ang="0">
                    <a:pos x="540" y="347"/>
                  </a:cxn>
                  <a:cxn ang="0">
                    <a:pos x="531" y="375"/>
                  </a:cxn>
                  <a:cxn ang="0">
                    <a:pos x="503" y="393"/>
                  </a:cxn>
                  <a:cxn ang="0">
                    <a:pos x="480" y="393"/>
                  </a:cxn>
                  <a:cxn ang="0">
                    <a:pos x="458" y="389"/>
                  </a:cxn>
                  <a:cxn ang="0">
                    <a:pos x="448" y="361"/>
                  </a:cxn>
                  <a:cxn ang="0">
                    <a:pos x="458" y="347"/>
                  </a:cxn>
                  <a:cxn ang="0">
                    <a:pos x="407" y="343"/>
                  </a:cxn>
                  <a:cxn ang="0">
                    <a:pos x="334" y="347"/>
                  </a:cxn>
                  <a:cxn ang="0">
                    <a:pos x="320" y="379"/>
                  </a:cxn>
                  <a:cxn ang="0">
                    <a:pos x="302" y="393"/>
                  </a:cxn>
                  <a:cxn ang="0">
                    <a:pos x="288" y="425"/>
                  </a:cxn>
                  <a:cxn ang="0">
                    <a:pos x="307" y="457"/>
                  </a:cxn>
                  <a:cxn ang="0">
                    <a:pos x="298" y="494"/>
                  </a:cxn>
                  <a:cxn ang="0">
                    <a:pos x="279" y="530"/>
                  </a:cxn>
                  <a:cxn ang="0">
                    <a:pos x="256" y="549"/>
                  </a:cxn>
                  <a:cxn ang="0">
                    <a:pos x="261" y="585"/>
                  </a:cxn>
                  <a:cxn ang="0">
                    <a:pos x="288" y="603"/>
                  </a:cxn>
                  <a:cxn ang="0">
                    <a:pos x="279" y="626"/>
                  </a:cxn>
                  <a:cxn ang="0">
                    <a:pos x="266" y="663"/>
                  </a:cxn>
                  <a:cxn ang="0">
                    <a:pos x="252" y="690"/>
                  </a:cxn>
                  <a:cxn ang="0">
                    <a:pos x="202" y="672"/>
                  </a:cxn>
                  <a:cxn ang="0">
                    <a:pos x="151" y="626"/>
                  </a:cxn>
                  <a:cxn ang="0">
                    <a:pos x="69" y="558"/>
                  </a:cxn>
                  <a:cxn ang="0">
                    <a:pos x="87" y="535"/>
                  </a:cxn>
                  <a:cxn ang="0">
                    <a:pos x="55" y="526"/>
                  </a:cxn>
                  <a:cxn ang="0">
                    <a:pos x="64" y="512"/>
                  </a:cxn>
                  <a:cxn ang="0">
                    <a:pos x="87" y="489"/>
                  </a:cxn>
                  <a:cxn ang="0">
                    <a:pos x="87" y="448"/>
                  </a:cxn>
                  <a:cxn ang="0">
                    <a:pos x="74" y="434"/>
                  </a:cxn>
                  <a:cxn ang="0">
                    <a:pos x="46" y="453"/>
                  </a:cxn>
                  <a:cxn ang="0">
                    <a:pos x="0" y="439"/>
                  </a:cxn>
                  <a:cxn ang="0">
                    <a:pos x="10" y="393"/>
                  </a:cxn>
                  <a:cxn ang="0">
                    <a:pos x="64" y="361"/>
                  </a:cxn>
                </a:cxnLst>
                <a:rect l="0" t="0" r="r" b="b"/>
                <a:pathLst>
                  <a:path w="650" h="713">
                    <a:moveTo>
                      <a:pt x="64" y="361"/>
                    </a:moveTo>
                    <a:lnTo>
                      <a:pt x="69" y="357"/>
                    </a:lnTo>
                    <a:lnTo>
                      <a:pt x="69" y="352"/>
                    </a:lnTo>
                    <a:lnTo>
                      <a:pt x="69" y="338"/>
                    </a:lnTo>
                    <a:lnTo>
                      <a:pt x="69" y="325"/>
                    </a:lnTo>
                    <a:lnTo>
                      <a:pt x="69" y="320"/>
                    </a:lnTo>
                    <a:lnTo>
                      <a:pt x="69" y="311"/>
                    </a:lnTo>
                    <a:lnTo>
                      <a:pt x="74" y="297"/>
                    </a:lnTo>
                    <a:lnTo>
                      <a:pt x="78" y="293"/>
                    </a:lnTo>
                    <a:lnTo>
                      <a:pt x="83" y="279"/>
                    </a:lnTo>
                    <a:lnTo>
                      <a:pt x="87" y="274"/>
                    </a:lnTo>
                    <a:lnTo>
                      <a:pt x="87" y="274"/>
                    </a:lnTo>
                    <a:lnTo>
                      <a:pt x="92" y="270"/>
                    </a:lnTo>
                    <a:lnTo>
                      <a:pt x="92" y="265"/>
                    </a:lnTo>
                    <a:lnTo>
                      <a:pt x="92" y="256"/>
                    </a:lnTo>
                    <a:lnTo>
                      <a:pt x="96" y="251"/>
                    </a:lnTo>
                    <a:lnTo>
                      <a:pt x="106" y="247"/>
                    </a:lnTo>
                    <a:lnTo>
                      <a:pt x="110" y="242"/>
                    </a:lnTo>
                    <a:lnTo>
                      <a:pt x="110" y="238"/>
                    </a:lnTo>
                    <a:lnTo>
                      <a:pt x="119" y="233"/>
                    </a:lnTo>
                    <a:lnTo>
                      <a:pt x="124" y="229"/>
                    </a:lnTo>
                    <a:lnTo>
                      <a:pt x="128" y="229"/>
                    </a:lnTo>
                    <a:lnTo>
                      <a:pt x="133" y="229"/>
                    </a:lnTo>
                    <a:lnTo>
                      <a:pt x="133" y="224"/>
                    </a:lnTo>
                    <a:lnTo>
                      <a:pt x="133" y="219"/>
                    </a:lnTo>
                    <a:lnTo>
                      <a:pt x="138" y="219"/>
                    </a:lnTo>
                    <a:lnTo>
                      <a:pt x="142" y="215"/>
                    </a:lnTo>
                    <a:lnTo>
                      <a:pt x="147" y="210"/>
                    </a:lnTo>
                    <a:lnTo>
                      <a:pt x="151" y="210"/>
                    </a:lnTo>
                    <a:lnTo>
                      <a:pt x="160" y="210"/>
                    </a:lnTo>
                    <a:lnTo>
                      <a:pt x="170" y="206"/>
                    </a:lnTo>
                    <a:lnTo>
                      <a:pt x="174" y="206"/>
                    </a:lnTo>
                    <a:lnTo>
                      <a:pt x="179" y="206"/>
                    </a:lnTo>
                    <a:lnTo>
                      <a:pt x="179" y="206"/>
                    </a:lnTo>
                    <a:lnTo>
                      <a:pt x="179" y="201"/>
                    </a:lnTo>
                    <a:lnTo>
                      <a:pt x="179" y="192"/>
                    </a:lnTo>
                    <a:lnTo>
                      <a:pt x="179" y="187"/>
                    </a:lnTo>
                    <a:lnTo>
                      <a:pt x="179" y="183"/>
                    </a:lnTo>
                    <a:lnTo>
                      <a:pt x="179" y="174"/>
                    </a:lnTo>
                    <a:lnTo>
                      <a:pt x="179" y="165"/>
                    </a:lnTo>
                    <a:lnTo>
                      <a:pt x="179" y="165"/>
                    </a:lnTo>
                    <a:lnTo>
                      <a:pt x="179" y="160"/>
                    </a:lnTo>
                    <a:lnTo>
                      <a:pt x="183" y="155"/>
                    </a:lnTo>
                    <a:lnTo>
                      <a:pt x="188" y="155"/>
                    </a:lnTo>
                    <a:lnTo>
                      <a:pt x="192" y="155"/>
                    </a:lnTo>
                    <a:lnTo>
                      <a:pt x="197" y="155"/>
                    </a:lnTo>
                    <a:lnTo>
                      <a:pt x="202" y="155"/>
                    </a:lnTo>
                    <a:lnTo>
                      <a:pt x="211" y="155"/>
                    </a:lnTo>
                    <a:lnTo>
                      <a:pt x="215" y="155"/>
                    </a:lnTo>
                    <a:lnTo>
                      <a:pt x="220" y="151"/>
                    </a:lnTo>
                    <a:lnTo>
                      <a:pt x="224" y="151"/>
                    </a:lnTo>
                    <a:lnTo>
                      <a:pt x="224" y="146"/>
                    </a:lnTo>
                    <a:lnTo>
                      <a:pt x="224" y="142"/>
                    </a:lnTo>
                    <a:lnTo>
                      <a:pt x="224" y="142"/>
                    </a:lnTo>
                    <a:lnTo>
                      <a:pt x="224" y="137"/>
                    </a:lnTo>
                    <a:lnTo>
                      <a:pt x="234" y="142"/>
                    </a:lnTo>
                    <a:lnTo>
                      <a:pt x="238" y="142"/>
                    </a:lnTo>
                    <a:lnTo>
                      <a:pt x="243" y="137"/>
                    </a:lnTo>
                    <a:lnTo>
                      <a:pt x="247" y="137"/>
                    </a:lnTo>
                    <a:lnTo>
                      <a:pt x="252" y="133"/>
                    </a:lnTo>
                    <a:lnTo>
                      <a:pt x="261" y="128"/>
                    </a:lnTo>
                    <a:lnTo>
                      <a:pt x="266" y="123"/>
                    </a:lnTo>
                    <a:lnTo>
                      <a:pt x="270" y="123"/>
                    </a:lnTo>
                    <a:lnTo>
                      <a:pt x="279" y="123"/>
                    </a:lnTo>
                    <a:lnTo>
                      <a:pt x="284" y="123"/>
                    </a:lnTo>
                    <a:lnTo>
                      <a:pt x="288" y="123"/>
                    </a:lnTo>
                    <a:lnTo>
                      <a:pt x="293" y="128"/>
                    </a:lnTo>
                    <a:lnTo>
                      <a:pt x="298" y="128"/>
                    </a:lnTo>
                    <a:lnTo>
                      <a:pt x="311" y="128"/>
                    </a:lnTo>
                    <a:lnTo>
                      <a:pt x="316" y="128"/>
                    </a:lnTo>
                    <a:lnTo>
                      <a:pt x="316" y="133"/>
                    </a:lnTo>
                    <a:lnTo>
                      <a:pt x="334" y="133"/>
                    </a:lnTo>
                    <a:lnTo>
                      <a:pt x="357" y="123"/>
                    </a:lnTo>
                    <a:lnTo>
                      <a:pt x="362" y="123"/>
                    </a:lnTo>
                    <a:lnTo>
                      <a:pt x="362" y="128"/>
                    </a:lnTo>
                    <a:lnTo>
                      <a:pt x="366" y="133"/>
                    </a:lnTo>
                    <a:lnTo>
                      <a:pt x="375" y="142"/>
                    </a:lnTo>
                    <a:lnTo>
                      <a:pt x="375" y="146"/>
                    </a:lnTo>
                    <a:lnTo>
                      <a:pt x="375" y="155"/>
                    </a:lnTo>
                    <a:lnTo>
                      <a:pt x="375" y="165"/>
                    </a:lnTo>
                    <a:lnTo>
                      <a:pt x="375" y="174"/>
                    </a:lnTo>
                    <a:lnTo>
                      <a:pt x="380" y="183"/>
                    </a:lnTo>
                    <a:lnTo>
                      <a:pt x="389" y="187"/>
                    </a:lnTo>
                    <a:lnTo>
                      <a:pt x="394" y="187"/>
                    </a:lnTo>
                    <a:lnTo>
                      <a:pt x="398" y="183"/>
                    </a:lnTo>
                    <a:lnTo>
                      <a:pt x="403" y="183"/>
                    </a:lnTo>
                    <a:lnTo>
                      <a:pt x="416" y="178"/>
                    </a:lnTo>
                    <a:lnTo>
                      <a:pt x="426" y="178"/>
                    </a:lnTo>
                    <a:lnTo>
                      <a:pt x="435" y="174"/>
                    </a:lnTo>
                    <a:lnTo>
                      <a:pt x="439" y="174"/>
                    </a:lnTo>
                    <a:lnTo>
                      <a:pt x="439" y="169"/>
                    </a:lnTo>
                    <a:lnTo>
                      <a:pt x="444" y="165"/>
                    </a:lnTo>
                    <a:lnTo>
                      <a:pt x="448" y="165"/>
                    </a:lnTo>
                    <a:lnTo>
                      <a:pt x="453" y="155"/>
                    </a:lnTo>
                    <a:lnTo>
                      <a:pt x="458" y="142"/>
                    </a:lnTo>
                    <a:lnTo>
                      <a:pt x="462" y="133"/>
                    </a:lnTo>
                    <a:lnTo>
                      <a:pt x="467" y="119"/>
                    </a:lnTo>
                    <a:lnTo>
                      <a:pt x="467" y="110"/>
                    </a:lnTo>
                    <a:lnTo>
                      <a:pt x="467" y="105"/>
                    </a:lnTo>
                    <a:lnTo>
                      <a:pt x="471" y="96"/>
                    </a:lnTo>
                    <a:lnTo>
                      <a:pt x="471" y="96"/>
                    </a:lnTo>
                    <a:lnTo>
                      <a:pt x="467" y="96"/>
                    </a:lnTo>
                    <a:lnTo>
                      <a:pt x="471" y="87"/>
                    </a:lnTo>
                    <a:lnTo>
                      <a:pt x="476" y="78"/>
                    </a:lnTo>
                    <a:lnTo>
                      <a:pt x="476" y="59"/>
                    </a:lnTo>
                    <a:lnTo>
                      <a:pt x="499" y="37"/>
                    </a:lnTo>
                    <a:lnTo>
                      <a:pt x="508" y="32"/>
                    </a:lnTo>
                    <a:lnTo>
                      <a:pt x="517" y="32"/>
                    </a:lnTo>
                    <a:lnTo>
                      <a:pt x="531" y="27"/>
                    </a:lnTo>
                    <a:lnTo>
                      <a:pt x="544" y="23"/>
                    </a:lnTo>
                    <a:lnTo>
                      <a:pt x="549" y="14"/>
                    </a:lnTo>
                    <a:lnTo>
                      <a:pt x="549" y="9"/>
                    </a:lnTo>
                    <a:lnTo>
                      <a:pt x="549" y="5"/>
                    </a:lnTo>
                    <a:lnTo>
                      <a:pt x="549" y="9"/>
                    </a:lnTo>
                    <a:lnTo>
                      <a:pt x="554" y="9"/>
                    </a:lnTo>
                    <a:lnTo>
                      <a:pt x="563" y="9"/>
                    </a:lnTo>
                    <a:lnTo>
                      <a:pt x="572" y="5"/>
                    </a:lnTo>
                    <a:lnTo>
                      <a:pt x="590" y="5"/>
                    </a:lnTo>
                    <a:lnTo>
                      <a:pt x="595" y="0"/>
                    </a:lnTo>
                    <a:lnTo>
                      <a:pt x="599" y="0"/>
                    </a:lnTo>
                    <a:lnTo>
                      <a:pt x="599" y="5"/>
                    </a:lnTo>
                    <a:lnTo>
                      <a:pt x="604" y="9"/>
                    </a:lnTo>
                    <a:lnTo>
                      <a:pt x="599" y="9"/>
                    </a:lnTo>
                    <a:lnTo>
                      <a:pt x="599" y="14"/>
                    </a:lnTo>
                    <a:lnTo>
                      <a:pt x="595" y="27"/>
                    </a:lnTo>
                    <a:lnTo>
                      <a:pt x="595" y="32"/>
                    </a:lnTo>
                    <a:lnTo>
                      <a:pt x="599" y="32"/>
                    </a:lnTo>
                    <a:lnTo>
                      <a:pt x="604" y="37"/>
                    </a:lnTo>
                    <a:lnTo>
                      <a:pt x="604" y="41"/>
                    </a:lnTo>
                    <a:lnTo>
                      <a:pt x="608" y="46"/>
                    </a:lnTo>
                    <a:lnTo>
                      <a:pt x="613" y="50"/>
                    </a:lnTo>
                    <a:lnTo>
                      <a:pt x="613" y="55"/>
                    </a:lnTo>
                    <a:lnTo>
                      <a:pt x="618" y="55"/>
                    </a:lnTo>
                    <a:lnTo>
                      <a:pt x="618" y="55"/>
                    </a:lnTo>
                    <a:lnTo>
                      <a:pt x="618" y="59"/>
                    </a:lnTo>
                    <a:lnTo>
                      <a:pt x="627" y="64"/>
                    </a:lnTo>
                    <a:lnTo>
                      <a:pt x="631" y="69"/>
                    </a:lnTo>
                    <a:lnTo>
                      <a:pt x="636" y="69"/>
                    </a:lnTo>
                    <a:lnTo>
                      <a:pt x="636" y="73"/>
                    </a:lnTo>
                    <a:lnTo>
                      <a:pt x="640" y="78"/>
                    </a:lnTo>
                    <a:lnTo>
                      <a:pt x="650" y="78"/>
                    </a:lnTo>
                    <a:lnTo>
                      <a:pt x="645" y="78"/>
                    </a:lnTo>
                    <a:lnTo>
                      <a:pt x="645" y="82"/>
                    </a:lnTo>
                    <a:lnTo>
                      <a:pt x="640" y="87"/>
                    </a:lnTo>
                    <a:lnTo>
                      <a:pt x="640" y="91"/>
                    </a:lnTo>
                    <a:lnTo>
                      <a:pt x="636" y="96"/>
                    </a:lnTo>
                    <a:lnTo>
                      <a:pt x="636" y="96"/>
                    </a:lnTo>
                    <a:lnTo>
                      <a:pt x="627" y="96"/>
                    </a:lnTo>
                    <a:lnTo>
                      <a:pt x="622" y="96"/>
                    </a:lnTo>
                    <a:lnTo>
                      <a:pt x="618" y="101"/>
                    </a:lnTo>
                    <a:lnTo>
                      <a:pt x="618" y="101"/>
                    </a:lnTo>
                    <a:lnTo>
                      <a:pt x="613" y="105"/>
                    </a:lnTo>
                    <a:lnTo>
                      <a:pt x="613" y="110"/>
                    </a:lnTo>
                    <a:lnTo>
                      <a:pt x="613" y="114"/>
                    </a:lnTo>
                    <a:lnTo>
                      <a:pt x="613" y="119"/>
                    </a:lnTo>
                    <a:lnTo>
                      <a:pt x="618" y="119"/>
                    </a:lnTo>
                    <a:lnTo>
                      <a:pt x="618" y="119"/>
                    </a:lnTo>
                    <a:lnTo>
                      <a:pt x="618" y="119"/>
                    </a:lnTo>
                    <a:lnTo>
                      <a:pt x="622" y="123"/>
                    </a:lnTo>
                    <a:lnTo>
                      <a:pt x="622" y="128"/>
                    </a:lnTo>
                    <a:lnTo>
                      <a:pt x="627" y="128"/>
                    </a:lnTo>
                    <a:lnTo>
                      <a:pt x="627" y="133"/>
                    </a:lnTo>
                    <a:lnTo>
                      <a:pt x="622" y="133"/>
                    </a:lnTo>
                    <a:lnTo>
                      <a:pt x="622" y="137"/>
                    </a:lnTo>
                    <a:lnTo>
                      <a:pt x="622" y="142"/>
                    </a:lnTo>
                    <a:lnTo>
                      <a:pt x="618" y="142"/>
                    </a:lnTo>
                    <a:lnTo>
                      <a:pt x="618" y="146"/>
                    </a:lnTo>
                    <a:lnTo>
                      <a:pt x="618" y="151"/>
                    </a:lnTo>
                    <a:lnTo>
                      <a:pt x="622" y="155"/>
                    </a:lnTo>
                    <a:lnTo>
                      <a:pt x="622" y="160"/>
                    </a:lnTo>
                    <a:lnTo>
                      <a:pt x="622" y="165"/>
                    </a:lnTo>
                    <a:lnTo>
                      <a:pt x="622" y="165"/>
                    </a:lnTo>
                    <a:lnTo>
                      <a:pt x="622" y="169"/>
                    </a:lnTo>
                    <a:lnTo>
                      <a:pt x="618" y="169"/>
                    </a:lnTo>
                    <a:lnTo>
                      <a:pt x="613" y="169"/>
                    </a:lnTo>
                    <a:lnTo>
                      <a:pt x="608" y="174"/>
                    </a:lnTo>
                    <a:lnTo>
                      <a:pt x="604" y="174"/>
                    </a:lnTo>
                    <a:lnTo>
                      <a:pt x="604" y="178"/>
                    </a:lnTo>
                    <a:lnTo>
                      <a:pt x="599" y="183"/>
                    </a:lnTo>
                    <a:lnTo>
                      <a:pt x="599" y="187"/>
                    </a:lnTo>
                    <a:lnTo>
                      <a:pt x="599" y="187"/>
                    </a:lnTo>
                    <a:lnTo>
                      <a:pt x="595" y="197"/>
                    </a:lnTo>
                    <a:lnTo>
                      <a:pt x="595" y="201"/>
                    </a:lnTo>
                    <a:lnTo>
                      <a:pt x="595" y="206"/>
                    </a:lnTo>
                    <a:lnTo>
                      <a:pt x="595" y="206"/>
                    </a:lnTo>
                    <a:lnTo>
                      <a:pt x="590" y="210"/>
                    </a:lnTo>
                    <a:lnTo>
                      <a:pt x="590" y="215"/>
                    </a:lnTo>
                    <a:lnTo>
                      <a:pt x="590" y="219"/>
                    </a:lnTo>
                    <a:lnTo>
                      <a:pt x="590" y="224"/>
                    </a:lnTo>
                    <a:lnTo>
                      <a:pt x="586" y="229"/>
                    </a:lnTo>
                    <a:lnTo>
                      <a:pt x="586" y="233"/>
                    </a:lnTo>
                    <a:lnTo>
                      <a:pt x="586" y="238"/>
                    </a:lnTo>
                    <a:lnTo>
                      <a:pt x="581" y="242"/>
                    </a:lnTo>
                    <a:lnTo>
                      <a:pt x="576" y="251"/>
                    </a:lnTo>
                    <a:lnTo>
                      <a:pt x="576" y="256"/>
                    </a:lnTo>
                    <a:lnTo>
                      <a:pt x="572" y="261"/>
                    </a:lnTo>
                    <a:lnTo>
                      <a:pt x="572" y="265"/>
                    </a:lnTo>
                    <a:lnTo>
                      <a:pt x="572" y="270"/>
                    </a:lnTo>
                    <a:lnTo>
                      <a:pt x="567" y="274"/>
                    </a:lnTo>
                    <a:lnTo>
                      <a:pt x="567" y="274"/>
                    </a:lnTo>
                    <a:lnTo>
                      <a:pt x="563" y="274"/>
                    </a:lnTo>
                    <a:lnTo>
                      <a:pt x="563" y="279"/>
                    </a:lnTo>
                    <a:lnTo>
                      <a:pt x="558" y="279"/>
                    </a:lnTo>
                    <a:lnTo>
                      <a:pt x="558" y="283"/>
                    </a:lnTo>
                    <a:lnTo>
                      <a:pt x="554" y="293"/>
                    </a:lnTo>
                    <a:lnTo>
                      <a:pt x="549" y="297"/>
                    </a:lnTo>
                    <a:lnTo>
                      <a:pt x="549" y="302"/>
                    </a:lnTo>
                    <a:lnTo>
                      <a:pt x="549" y="306"/>
                    </a:lnTo>
                    <a:lnTo>
                      <a:pt x="554" y="315"/>
                    </a:lnTo>
                    <a:lnTo>
                      <a:pt x="554" y="320"/>
                    </a:lnTo>
                    <a:lnTo>
                      <a:pt x="549" y="329"/>
                    </a:lnTo>
                    <a:lnTo>
                      <a:pt x="549" y="334"/>
                    </a:lnTo>
                    <a:lnTo>
                      <a:pt x="544" y="338"/>
                    </a:lnTo>
                    <a:lnTo>
                      <a:pt x="540" y="338"/>
                    </a:lnTo>
                    <a:lnTo>
                      <a:pt x="540" y="343"/>
                    </a:lnTo>
                    <a:lnTo>
                      <a:pt x="540" y="347"/>
                    </a:lnTo>
                    <a:lnTo>
                      <a:pt x="535" y="347"/>
                    </a:lnTo>
                    <a:lnTo>
                      <a:pt x="535" y="352"/>
                    </a:lnTo>
                    <a:lnTo>
                      <a:pt x="531" y="352"/>
                    </a:lnTo>
                    <a:lnTo>
                      <a:pt x="531" y="357"/>
                    </a:lnTo>
                    <a:lnTo>
                      <a:pt x="531" y="361"/>
                    </a:lnTo>
                    <a:lnTo>
                      <a:pt x="531" y="366"/>
                    </a:lnTo>
                    <a:lnTo>
                      <a:pt x="531" y="370"/>
                    </a:lnTo>
                    <a:lnTo>
                      <a:pt x="531" y="375"/>
                    </a:lnTo>
                    <a:lnTo>
                      <a:pt x="531" y="384"/>
                    </a:lnTo>
                    <a:lnTo>
                      <a:pt x="526" y="384"/>
                    </a:lnTo>
                    <a:lnTo>
                      <a:pt x="526" y="384"/>
                    </a:lnTo>
                    <a:lnTo>
                      <a:pt x="517" y="393"/>
                    </a:lnTo>
                    <a:lnTo>
                      <a:pt x="512" y="398"/>
                    </a:lnTo>
                    <a:lnTo>
                      <a:pt x="508" y="398"/>
                    </a:lnTo>
                    <a:lnTo>
                      <a:pt x="508" y="398"/>
                    </a:lnTo>
                    <a:lnTo>
                      <a:pt x="503" y="393"/>
                    </a:lnTo>
                    <a:lnTo>
                      <a:pt x="499" y="393"/>
                    </a:lnTo>
                    <a:lnTo>
                      <a:pt x="499" y="389"/>
                    </a:lnTo>
                    <a:lnTo>
                      <a:pt x="494" y="384"/>
                    </a:lnTo>
                    <a:lnTo>
                      <a:pt x="490" y="384"/>
                    </a:lnTo>
                    <a:lnTo>
                      <a:pt x="485" y="389"/>
                    </a:lnTo>
                    <a:lnTo>
                      <a:pt x="485" y="389"/>
                    </a:lnTo>
                    <a:lnTo>
                      <a:pt x="480" y="389"/>
                    </a:lnTo>
                    <a:lnTo>
                      <a:pt x="480" y="393"/>
                    </a:lnTo>
                    <a:lnTo>
                      <a:pt x="476" y="393"/>
                    </a:lnTo>
                    <a:lnTo>
                      <a:pt x="476" y="398"/>
                    </a:lnTo>
                    <a:lnTo>
                      <a:pt x="471" y="402"/>
                    </a:lnTo>
                    <a:lnTo>
                      <a:pt x="467" y="402"/>
                    </a:lnTo>
                    <a:lnTo>
                      <a:pt x="467" y="407"/>
                    </a:lnTo>
                    <a:lnTo>
                      <a:pt x="462" y="407"/>
                    </a:lnTo>
                    <a:lnTo>
                      <a:pt x="462" y="402"/>
                    </a:lnTo>
                    <a:lnTo>
                      <a:pt x="458" y="389"/>
                    </a:lnTo>
                    <a:lnTo>
                      <a:pt x="458" y="384"/>
                    </a:lnTo>
                    <a:lnTo>
                      <a:pt x="453" y="384"/>
                    </a:lnTo>
                    <a:lnTo>
                      <a:pt x="448" y="379"/>
                    </a:lnTo>
                    <a:lnTo>
                      <a:pt x="448" y="375"/>
                    </a:lnTo>
                    <a:lnTo>
                      <a:pt x="444" y="366"/>
                    </a:lnTo>
                    <a:lnTo>
                      <a:pt x="444" y="361"/>
                    </a:lnTo>
                    <a:lnTo>
                      <a:pt x="444" y="361"/>
                    </a:lnTo>
                    <a:lnTo>
                      <a:pt x="448" y="361"/>
                    </a:lnTo>
                    <a:lnTo>
                      <a:pt x="453" y="361"/>
                    </a:lnTo>
                    <a:lnTo>
                      <a:pt x="462" y="361"/>
                    </a:lnTo>
                    <a:lnTo>
                      <a:pt x="462" y="361"/>
                    </a:lnTo>
                    <a:lnTo>
                      <a:pt x="462" y="357"/>
                    </a:lnTo>
                    <a:lnTo>
                      <a:pt x="462" y="357"/>
                    </a:lnTo>
                    <a:lnTo>
                      <a:pt x="462" y="352"/>
                    </a:lnTo>
                    <a:lnTo>
                      <a:pt x="458" y="352"/>
                    </a:lnTo>
                    <a:lnTo>
                      <a:pt x="458" y="347"/>
                    </a:lnTo>
                    <a:lnTo>
                      <a:pt x="453" y="347"/>
                    </a:lnTo>
                    <a:lnTo>
                      <a:pt x="453" y="343"/>
                    </a:lnTo>
                    <a:lnTo>
                      <a:pt x="448" y="343"/>
                    </a:lnTo>
                    <a:lnTo>
                      <a:pt x="439" y="343"/>
                    </a:lnTo>
                    <a:lnTo>
                      <a:pt x="430" y="343"/>
                    </a:lnTo>
                    <a:lnTo>
                      <a:pt x="421" y="343"/>
                    </a:lnTo>
                    <a:lnTo>
                      <a:pt x="412" y="343"/>
                    </a:lnTo>
                    <a:lnTo>
                      <a:pt x="407" y="343"/>
                    </a:lnTo>
                    <a:lnTo>
                      <a:pt x="398" y="343"/>
                    </a:lnTo>
                    <a:lnTo>
                      <a:pt x="398" y="343"/>
                    </a:lnTo>
                    <a:lnTo>
                      <a:pt x="371" y="338"/>
                    </a:lnTo>
                    <a:lnTo>
                      <a:pt x="352" y="338"/>
                    </a:lnTo>
                    <a:lnTo>
                      <a:pt x="352" y="338"/>
                    </a:lnTo>
                    <a:lnTo>
                      <a:pt x="348" y="338"/>
                    </a:lnTo>
                    <a:lnTo>
                      <a:pt x="343" y="338"/>
                    </a:lnTo>
                    <a:lnTo>
                      <a:pt x="334" y="347"/>
                    </a:lnTo>
                    <a:lnTo>
                      <a:pt x="334" y="352"/>
                    </a:lnTo>
                    <a:lnTo>
                      <a:pt x="330" y="357"/>
                    </a:lnTo>
                    <a:lnTo>
                      <a:pt x="330" y="361"/>
                    </a:lnTo>
                    <a:lnTo>
                      <a:pt x="330" y="361"/>
                    </a:lnTo>
                    <a:lnTo>
                      <a:pt x="325" y="366"/>
                    </a:lnTo>
                    <a:lnTo>
                      <a:pt x="325" y="370"/>
                    </a:lnTo>
                    <a:lnTo>
                      <a:pt x="320" y="370"/>
                    </a:lnTo>
                    <a:lnTo>
                      <a:pt x="320" y="379"/>
                    </a:lnTo>
                    <a:lnTo>
                      <a:pt x="320" y="384"/>
                    </a:lnTo>
                    <a:lnTo>
                      <a:pt x="316" y="384"/>
                    </a:lnTo>
                    <a:lnTo>
                      <a:pt x="311" y="384"/>
                    </a:lnTo>
                    <a:lnTo>
                      <a:pt x="311" y="389"/>
                    </a:lnTo>
                    <a:lnTo>
                      <a:pt x="311" y="389"/>
                    </a:lnTo>
                    <a:lnTo>
                      <a:pt x="307" y="389"/>
                    </a:lnTo>
                    <a:lnTo>
                      <a:pt x="307" y="393"/>
                    </a:lnTo>
                    <a:lnTo>
                      <a:pt x="302" y="393"/>
                    </a:lnTo>
                    <a:lnTo>
                      <a:pt x="302" y="398"/>
                    </a:lnTo>
                    <a:lnTo>
                      <a:pt x="298" y="398"/>
                    </a:lnTo>
                    <a:lnTo>
                      <a:pt x="298" y="402"/>
                    </a:lnTo>
                    <a:lnTo>
                      <a:pt x="298" y="407"/>
                    </a:lnTo>
                    <a:lnTo>
                      <a:pt x="293" y="411"/>
                    </a:lnTo>
                    <a:lnTo>
                      <a:pt x="293" y="421"/>
                    </a:lnTo>
                    <a:lnTo>
                      <a:pt x="293" y="425"/>
                    </a:lnTo>
                    <a:lnTo>
                      <a:pt x="288" y="425"/>
                    </a:lnTo>
                    <a:lnTo>
                      <a:pt x="288" y="439"/>
                    </a:lnTo>
                    <a:lnTo>
                      <a:pt x="288" y="448"/>
                    </a:lnTo>
                    <a:lnTo>
                      <a:pt x="293" y="448"/>
                    </a:lnTo>
                    <a:lnTo>
                      <a:pt x="293" y="453"/>
                    </a:lnTo>
                    <a:lnTo>
                      <a:pt x="298" y="453"/>
                    </a:lnTo>
                    <a:lnTo>
                      <a:pt x="298" y="457"/>
                    </a:lnTo>
                    <a:lnTo>
                      <a:pt x="302" y="457"/>
                    </a:lnTo>
                    <a:lnTo>
                      <a:pt x="307" y="457"/>
                    </a:lnTo>
                    <a:lnTo>
                      <a:pt x="307" y="462"/>
                    </a:lnTo>
                    <a:lnTo>
                      <a:pt x="311" y="466"/>
                    </a:lnTo>
                    <a:lnTo>
                      <a:pt x="307" y="471"/>
                    </a:lnTo>
                    <a:lnTo>
                      <a:pt x="307" y="475"/>
                    </a:lnTo>
                    <a:lnTo>
                      <a:pt x="302" y="480"/>
                    </a:lnTo>
                    <a:lnTo>
                      <a:pt x="302" y="485"/>
                    </a:lnTo>
                    <a:lnTo>
                      <a:pt x="298" y="489"/>
                    </a:lnTo>
                    <a:lnTo>
                      <a:pt x="298" y="494"/>
                    </a:lnTo>
                    <a:lnTo>
                      <a:pt x="293" y="494"/>
                    </a:lnTo>
                    <a:lnTo>
                      <a:pt x="288" y="498"/>
                    </a:lnTo>
                    <a:lnTo>
                      <a:pt x="288" y="503"/>
                    </a:lnTo>
                    <a:lnTo>
                      <a:pt x="288" y="507"/>
                    </a:lnTo>
                    <a:lnTo>
                      <a:pt x="284" y="512"/>
                    </a:lnTo>
                    <a:lnTo>
                      <a:pt x="284" y="517"/>
                    </a:lnTo>
                    <a:lnTo>
                      <a:pt x="284" y="526"/>
                    </a:lnTo>
                    <a:lnTo>
                      <a:pt x="279" y="530"/>
                    </a:lnTo>
                    <a:lnTo>
                      <a:pt x="279" y="535"/>
                    </a:lnTo>
                    <a:lnTo>
                      <a:pt x="275" y="535"/>
                    </a:lnTo>
                    <a:lnTo>
                      <a:pt x="275" y="535"/>
                    </a:lnTo>
                    <a:lnTo>
                      <a:pt x="266" y="535"/>
                    </a:lnTo>
                    <a:lnTo>
                      <a:pt x="261" y="535"/>
                    </a:lnTo>
                    <a:lnTo>
                      <a:pt x="256" y="535"/>
                    </a:lnTo>
                    <a:lnTo>
                      <a:pt x="256" y="539"/>
                    </a:lnTo>
                    <a:lnTo>
                      <a:pt x="256" y="549"/>
                    </a:lnTo>
                    <a:lnTo>
                      <a:pt x="256" y="553"/>
                    </a:lnTo>
                    <a:lnTo>
                      <a:pt x="252" y="558"/>
                    </a:lnTo>
                    <a:lnTo>
                      <a:pt x="252" y="562"/>
                    </a:lnTo>
                    <a:lnTo>
                      <a:pt x="252" y="567"/>
                    </a:lnTo>
                    <a:lnTo>
                      <a:pt x="252" y="571"/>
                    </a:lnTo>
                    <a:lnTo>
                      <a:pt x="252" y="576"/>
                    </a:lnTo>
                    <a:lnTo>
                      <a:pt x="256" y="581"/>
                    </a:lnTo>
                    <a:lnTo>
                      <a:pt x="261" y="585"/>
                    </a:lnTo>
                    <a:lnTo>
                      <a:pt x="266" y="585"/>
                    </a:lnTo>
                    <a:lnTo>
                      <a:pt x="266" y="590"/>
                    </a:lnTo>
                    <a:lnTo>
                      <a:pt x="266" y="590"/>
                    </a:lnTo>
                    <a:lnTo>
                      <a:pt x="266" y="594"/>
                    </a:lnTo>
                    <a:lnTo>
                      <a:pt x="270" y="594"/>
                    </a:lnTo>
                    <a:lnTo>
                      <a:pt x="275" y="594"/>
                    </a:lnTo>
                    <a:lnTo>
                      <a:pt x="284" y="599"/>
                    </a:lnTo>
                    <a:lnTo>
                      <a:pt x="288" y="603"/>
                    </a:lnTo>
                    <a:lnTo>
                      <a:pt x="288" y="603"/>
                    </a:lnTo>
                    <a:lnTo>
                      <a:pt x="293" y="608"/>
                    </a:lnTo>
                    <a:lnTo>
                      <a:pt x="293" y="613"/>
                    </a:lnTo>
                    <a:lnTo>
                      <a:pt x="288" y="617"/>
                    </a:lnTo>
                    <a:lnTo>
                      <a:pt x="288" y="622"/>
                    </a:lnTo>
                    <a:lnTo>
                      <a:pt x="284" y="626"/>
                    </a:lnTo>
                    <a:lnTo>
                      <a:pt x="284" y="626"/>
                    </a:lnTo>
                    <a:lnTo>
                      <a:pt x="279" y="626"/>
                    </a:lnTo>
                    <a:lnTo>
                      <a:pt x="279" y="631"/>
                    </a:lnTo>
                    <a:lnTo>
                      <a:pt x="279" y="635"/>
                    </a:lnTo>
                    <a:lnTo>
                      <a:pt x="275" y="645"/>
                    </a:lnTo>
                    <a:lnTo>
                      <a:pt x="275" y="645"/>
                    </a:lnTo>
                    <a:lnTo>
                      <a:pt x="270" y="645"/>
                    </a:lnTo>
                    <a:lnTo>
                      <a:pt x="270" y="654"/>
                    </a:lnTo>
                    <a:lnTo>
                      <a:pt x="266" y="658"/>
                    </a:lnTo>
                    <a:lnTo>
                      <a:pt x="266" y="663"/>
                    </a:lnTo>
                    <a:lnTo>
                      <a:pt x="266" y="663"/>
                    </a:lnTo>
                    <a:lnTo>
                      <a:pt x="266" y="667"/>
                    </a:lnTo>
                    <a:lnTo>
                      <a:pt x="266" y="667"/>
                    </a:lnTo>
                    <a:lnTo>
                      <a:pt x="261" y="672"/>
                    </a:lnTo>
                    <a:lnTo>
                      <a:pt x="261" y="677"/>
                    </a:lnTo>
                    <a:lnTo>
                      <a:pt x="252" y="681"/>
                    </a:lnTo>
                    <a:lnTo>
                      <a:pt x="252" y="690"/>
                    </a:lnTo>
                    <a:lnTo>
                      <a:pt x="252" y="690"/>
                    </a:lnTo>
                    <a:lnTo>
                      <a:pt x="247" y="699"/>
                    </a:lnTo>
                    <a:lnTo>
                      <a:pt x="238" y="713"/>
                    </a:lnTo>
                    <a:lnTo>
                      <a:pt x="234" y="713"/>
                    </a:lnTo>
                    <a:lnTo>
                      <a:pt x="229" y="709"/>
                    </a:lnTo>
                    <a:lnTo>
                      <a:pt x="220" y="690"/>
                    </a:lnTo>
                    <a:lnTo>
                      <a:pt x="215" y="686"/>
                    </a:lnTo>
                    <a:lnTo>
                      <a:pt x="211" y="681"/>
                    </a:lnTo>
                    <a:lnTo>
                      <a:pt x="202" y="672"/>
                    </a:lnTo>
                    <a:lnTo>
                      <a:pt x="183" y="658"/>
                    </a:lnTo>
                    <a:lnTo>
                      <a:pt x="179" y="654"/>
                    </a:lnTo>
                    <a:lnTo>
                      <a:pt x="170" y="640"/>
                    </a:lnTo>
                    <a:lnTo>
                      <a:pt x="160" y="635"/>
                    </a:lnTo>
                    <a:lnTo>
                      <a:pt x="160" y="635"/>
                    </a:lnTo>
                    <a:lnTo>
                      <a:pt x="156" y="631"/>
                    </a:lnTo>
                    <a:lnTo>
                      <a:pt x="151" y="626"/>
                    </a:lnTo>
                    <a:lnTo>
                      <a:pt x="151" y="626"/>
                    </a:lnTo>
                    <a:lnTo>
                      <a:pt x="128" y="608"/>
                    </a:lnTo>
                    <a:lnTo>
                      <a:pt x="115" y="594"/>
                    </a:lnTo>
                    <a:lnTo>
                      <a:pt x="106" y="585"/>
                    </a:lnTo>
                    <a:lnTo>
                      <a:pt x="96" y="585"/>
                    </a:lnTo>
                    <a:lnTo>
                      <a:pt x="92" y="576"/>
                    </a:lnTo>
                    <a:lnTo>
                      <a:pt x="83" y="571"/>
                    </a:lnTo>
                    <a:lnTo>
                      <a:pt x="78" y="567"/>
                    </a:lnTo>
                    <a:lnTo>
                      <a:pt x="69" y="558"/>
                    </a:lnTo>
                    <a:lnTo>
                      <a:pt x="69" y="558"/>
                    </a:lnTo>
                    <a:lnTo>
                      <a:pt x="69" y="553"/>
                    </a:lnTo>
                    <a:lnTo>
                      <a:pt x="74" y="553"/>
                    </a:lnTo>
                    <a:lnTo>
                      <a:pt x="78" y="553"/>
                    </a:lnTo>
                    <a:lnTo>
                      <a:pt x="87" y="544"/>
                    </a:lnTo>
                    <a:lnTo>
                      <a:pt x="87" y="539"/>
                    </a:lnTo>
                    <a:lnTo>
                      <a:pt x="87" y="535"/>
                    </a:lnTo>
                    <a:lnTo>
                      <a:pt x="87" y="535"/>
                    </a:lnTo>
                    <a:lnTo>
                      <a:pt x="83" y="535"/>
                    </a:lnTo>
                    <a:lnTo>
                      <a:pt x="83" y="530"/>
                    </a:lnTo>
                    <a:lnTo>
                      <a:pt x="78" y="526"/>
                    </a:lnTo>
                    <a:lnTo>
                      <a:pt x="74" y="526"/>
                    </a:lnTo>
                    <a:lnTo>
                      <a:pt x="69" y="526"/>
                    </a:lnTo>
                    <a:lnTo>
                      <a:pt x="64" y="526"/>
                    </a:lnTo>
                    <a:lnTo>
                      <a:pt x="60" y="526"/>
                    </a:lnTo>
                    <a:lnTo>
                      <a:pt x="55" y="526"/>
                    </a:lnTo>
                    <a:lnTo>
                      <a:pt x="46" y="526"/>
                    </a:lnTo>
                    <a:lnTo>
                      <a:pt x="42" y="526"/>
                    </a:lnTo>
                    <a:lnTo>
                      <a:pt x="42" y="521"/>
                    </a:lnTo>
                    <a:lnTo>
                      <a:pt x="42" y="517"/>
                    </a:lnTo>
                    <a:lnTo>
                      <a:pt x="42" y="517"/>
                    </a:lnTo>
                    <a:lnTo>
                      <a:pt x="46" y="517"/>
                    </a:lnTo>
                    <a:lnTo>
                      <a:pt x="51" y="512"/>
                    </a:lnTo>
                    <a:lnTo>
                      <a:pt x="64" y="512"/>
                    </a:lnTo>
                    <a:lnTo>
                      <a:pt x="69" y="507"/>
                    </a:lnTo>
                    <a:lnTo>
                      <a:pt x="69" y="503"/>
                    </a:lnTo>
                    <a:lnTo>
                      <a:pt x="69" y="494"/>
                    </a:lnTo>
                    <a:lnTo>
                      <a:pt x="74" y="494"/>
                    </a:lnTo>
                    <a:lnTo>
                      <a:pt x="78" y="494"/>
                    </a:lnTo>
                    <a:lnTo>
                      <a:pt x="83" y="494"/>
                    </a:lnTo>
                    <a:lnTo>
                      <a:pt x="87" y="494"/>
                    </a:lnTo>
                    <a:lnTo>
                      <a:pt x="87" y="489"/>
                    </a:lnTo>
                    <a:lnTo>
                      <a:pt x="87" y="480"/>
                    </a:lnTo>
                    <a:lnTo>
                      <a:pt x="87" y="475"/>
                    </a:lnTo>
                    <a:lnTo>
                      <a:pt x="83" y="471"/>
                    </a:lnTo>
                    <a:lnTo>
                      <a:pt x="83" y="471"/>
                    </a:lnTo>
                    <a:lnTo>
                      <a:pt x="83" y="457"/>
                    </a:lnTo>
                    <a:lnTo>
                      <a:pt x="87" y="453"/>
                    </a:lnTo>
                    <a:lnTo>
                      <a:pt x="87" y="448"/>
                    </a:lnTo>
                    <a:lnTo>
                      <a:pt x="87" y="448"/>
                    </a:lnTo>
                    <a:lnTo>
                      <a:pt x="87" y="443"/>
                    </a:lnTo>
                    <a:lnTo>
                      <a:pt x="87" y="439"/>
                    </a:lnTo>
                    <a:lnTo>
                      <a:pt x="87" y="434"/>
                    </a:lnTo>
                    <a:lnTo>
                      <a:pt x="83" y="434"/>
                    </a:lnTo>
                    <a:lnTo>
                      <a:pt x="83" y="430"/>
                    </a:lnTo>
                    <a:lnTo>
                      <a:pt x="78" y="430"/>
                    </a:lnTo>
                    <a:lnTo>
                      <a:pt x="74" y="430"/>
                    </a:lnTo>
                    <a:lnTo>
                      <a:pt x="74" y="434"/>
                    </a:lnTo>
                    <a:lnTo>
                      <a:pt x="69" y="439"/>
                    </a:lnTo>
                    <a:lnTo>
                      <a:pt x="69" y="443"/>
                    </a:lnTo>
                    <a:lnTo>
                      <a:pt x="64" y="443"/>
                    </a:lnTo>
                    <a:lnTo>
                      <a:pt x="60" y="448"/>
                    </a:lnTo>
                    <a:lnTo>
                      <a:pt x="55" y="448"/>
                    </a:lnTo>
                    <a:lnTo>
                      <a:pt x="55" y="453"/>
                    </a:lnTo>
                    <a:lnTo>
                      <a:pt x="51" y="453"/>
                    </a:lnTo>
                    <a:lnTo>
                      <a:pt x="46" y="453"/>
                    </a:lnTo>
                    <a:lnTo>
                      <a:pt x="42" y="453"/>
                    </a:lnTo>
                    <a:lnTo>
                      <a:pt x="37" y="453"/>
                    </a:lnTo>
                    <a:lnTo>
                      <a:pt x="32" y="453"/>
                    </a:lnTo>
                    <a:lnTo>
                      <a:pt x="23" y="453"/>
                    </a:lnTo>
                    <a:lnTo>
                      <a:pt x="14" y="448"/>
                    </a:lnTo>
                    <a:lnTo>
                      <a:pt x="10" y="448"/>
                    </a:lnTo>
                    <a:lnTo>
                      <a:pt x="5" y="443"/>
                    </a:lnTo>
                    <a:lnTo>
                      <a:pt x="0" y="439"/>
                    </a:lnTo>
                    <a:lnTo>
                      <a:pt x="0" y="434"/>
                    </a:lnTo>
                    <a:lnTo>
                      <a:pt x="0" y="430"/>
                    </a:lnTo>
                    <a:lnTo>
                      <a:pt x="0" y="425"/>
                    </a:lnTo>
                    <a:lnTo>
                      <a:pt x="0" y="421"/>
                    </a:lnTo>
                    <a:lnTo>
                      <a:pt x="0" y="407"/>
                    </a:lnTo>
                    <a:lnTo>
                      <a:pt x="5" y="402"/>
                    </a:lnTo>
                    <a:lnTo>
                      <a:pt x="5" y="398"/>
                    </a:lnTo>
                    <a:lnTo>
                      <a:pt x="10" y="393"/>
                    </a:lnTo>
                    <a:lnTo>
                      <a:pt x="23" y="384"/>
                    </a:lnTo>
                    <a:lnTo>
                      <a:pt x="28" y="384"/>
                    </a:lnTo>
                    <a:lnTo>
                      <a:pt x="37" y="379"/>
                    </a:lnTo>
                    <a:lnTo>
                      <a:pt x="42" y="375"/>
                    </a:lnTo>
                    <a:lnTo>
                      <a:pt x="46" y="370"/>
                    </a:lnTo>
                    <a:lnTo>
                      <a:pt x="51" y="370"/>
                    </a:lnTo>
                    <a:lnTo>
                      <a:pt x="55" y="366"/>
                    </a:lnTo>
                    <a:lnTo>
                      <a:pt x="64" y="361"/>
                    </a:lnTo>
                    <a:close/>
                  </a:path>
                </a:pathLst>
              </a:custGeom>
              <a:grpFill/>
              <a:ln w="9525" cmpd="sng">
                <a:solidFill>
                  <a:sysClr val="window" lastClr="FFFFFF"/>
                </a:solidFill>
                <a:miter lim="800000"/>
                <a:headEnd/>
                <a:tailEnd/>
              </a:ln>
              <a:effectLst/>
            </p:spPr>
            <p:txBody>
              <a:bodyPr bIns="27432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Ondo</a:t>
                </a:r>
              </a:p>
            </p:txBody>
          </p:sp>
          <p:sp>
            <p:nvSpPr>
              <p:cNvPr id="213" name="Freeform 36">
                <a:extLst>
                  <a:ext uri="{FF2B5EF4-FFF2-40B4-BE49-F238E27FC236}">
                    <a16:creationId xmlns:a16="http://schemas.microsoft.com/office/drawing/2014/main" id="{BAAE7485-DEDC-4A01-8021-822E70089613}"/>
                  </a:ext>
                </a:extLst>
              </p:cNvPr>
              <p:cNvSpPr>
                <a:spLocks/>
              </p:cNvSpPr>
              <p:nvPr>
                <p:custDataLst>
                  <p:tags r:id="rId30"/>
                </p:custDataLst>
              </p:nvPr>
            </p:nvSpPr>
            <p:spPr bwMode="auto">
              <a:xfrm>
                <a:off x="179337" y="3950711"/>
                <a:ext cx="943247" cy="1000439"/>
              </a:xfrm>
              <a:custGeom>
                <a:avLst/>
                <a:gdLst/>
                <a:ahLst/>
                <a:cxnLst>
                  <a:cxn ang="0">
                    <a:pos x="503" y="535"/>
                  </a:cxn>
                  <a:cxn ang="0">
                    <a:pos x="494" y="581"/>
                  </a:cxn>
                  <a:cxn ang="0">
                    <a:pos x="526" y="622"/>
                  </a:cxn>
                  <a:cxn ang="0">
                    <a:pos x="530" y="668"/>
                  </a:cxn>
                  <a:cxn ang="0">
                    <a:pos x="530" y="722"/>
                  </a:cxn>
                  <a:cxn ang="0">
                    <a:pos x="540" y="768"/>
                  </a:cxn>
                  <a:cxn ang="0">
                    <a:pos x="494" y="786"/>
                  </a:cxn>
                  <a:cxn ang="0">
                    <a:pos x="457" y="800"/>
                  </a:cxn>
                  <a:cxn ang="0">
                    <a:pos x="384" y="805"/>
                  </a:cxn>
                  <a:cxn ang="0">
                    <a:pos x="389" y="764"/>
                  </a:cxn>
                  <a:cxn ang="0">
                    <a:pos x="380" y="718"/>
                  </a:cxn>
                  <a:cxn ang="0">
                    <a:pos x="357" y="677"/>
                  </a:cxn>
                  <a:cxn ang="0">
                    <a:pos x="316" y="663"/>
                  </a:cxn>
                  <a:cxn ang="0">
                    <a:pos x="265" y="649"/>
                  </a:cxn>
                  <a:cxn ang="0">
                    <a:pos x="238" y="677"/>
                  </a:cxn>
                  <a:cxn ang="0">
                    <a:pos x="206" y="700"/>
                  </a:cxn>
                  <a:cxn ang="0">
                    <a:pos x="169" y="681"/>
                  </a:cxn>
                  <a:cxn ang="0">
                    <a:pos x="137" y="640"/>
                  </a:cxn>
                  <a:cxn ang="0">
                    <a:pos x="114" y="613"/>
                  </a:cxn>
                  <a:cxn ang="0">
                    <a:pos x="96" y="572"/>
                  </a:cxn>
                  <a:cxn ang="0">
                    <a:pos x="101" y="512"/>
                  </a:cxn>
                  <a:cxn ang="0">
                    <a:pos x="78" y="530"/>
                  </a:cxn>
                  <a:cxn ang="0">
                    <a:pos x="60" y="485"/>
                  </a:cxn>
                  <a:cxn ang="0">
                    <a:pos x="32" y="457"/>
                  </a:cxn>
                  <a:cxn ang="0">
                    <a:pos x="9" y="425"/>
                  </a:cxn>
                  <a:cxn ang="0">
                    <a:pos x="18" y="380"/>
                  </a:cxn>
                  <a:cxn ang="0">
                    <a:pos x="5" y="348"/>
                  </a:cxn>
                  <a:cxn ang="0">
                    <a:pos x="5" y="288"/>
                  </a:cxn>
                  <a:cxn ang="0">
                    <a:pos x="23" y="261"/>
                  </a:cxn>
                  <a:cxn ang="0">
                    <a:pos x="37" y="215"/>
                  </a:cxn>
                  <a:cxn ang="0">
                    <a:pos x="78" y="215"/>
                  </a:cxn>
                  <a:cxn ang="0">
                    <a:pos x="119" y="178"/>
                  </a:cxn>
                  <a:cxn ang="0">
                    <a:pos x="146" y="156"/>
                  </a:cxn>
                  <a:cxn ang="0">
                    <a:pos x="188" y="151"/>
                  </a:cxn>
                  <a:cxn ang="0">
                    <a:pos x="233" y="137"/>
                  </a:cxn>
                  <a:cxn ang="0">
                    <a:pos x="279" y="119"/>
                  </a:cxn>
                  <a:cxn ang="0">
                    <a:pos x="357" y="87"/>
                  </a:cxn>
                  <a:cxn ang="0">
                    <a:pos x="384" y="69"/>
                  </a:cxn>
                  <a:cxn ang="0">
                    <a:pos x="398" y="27"/>
                  </a:cxn>
                  <a:cxn ang="0">
                    <a:pos x="430" y="0"/>
                  </a:cxn>
                  <a:cxn ang="0">
                    <a:pos x="476" y="18"/>
                  </a:cxn>
                  <a:cxn ang="0">
                    <a:pos x="494" y="60"/>
                  </a:cxn>
                  <a:cxn ang="0">
                    <a:pos x="521" y="82"/>
                  </a:cxn>
                  <a:cxn ang="0">
                    <a:pos x="562" y="96"/>
                  </a:cxn>
                  <a:cxn ang="0">
                    <a:pos x="599" y="69"/>
                  </a:cxn>
                  <a:cxn ang="0">
                    <a:pos x="594" y="105"/>
                  </a:cxn>
                  <a:cxn ang="0">
                    <a:pos x="562" y="142"/>
                  </a:cxn>
                  <a:cxn ang="0">
                    <a:pos x="553" y="188"/>
                  </a:cxn>
                  <a:cxn ang="0">
                    <a:pos x="572" y="229"/>
                  </a:cxn>
                  <a:cxn ang="0">
                    <a:pos x="599" y="274"/>
                  </a:cxn>
                  <a:cxn ang="0">
                    <a:pos x="626" y="329"/>
                  </a:cxn>
                  <a:cxn ang="0">
                    <a:pos x="672" y="370"/>
                  </a:cxn>
                  <a:cxn ang="0">
                    <a:pos x="686" y="412"/>
                  </a:cxn>
                  <a:cxn ang="0">
                    <a:pos x="695" y="466"/>
                  </a:cxn>
                  <a:cxn ang="0">
                    <a:pos x="649" y="485"/>
                  </a:cxn>
                  <a:cxn ang="0">
                    <a:pos x="626" y="512"/>
                  </a:cxn>
                  <a:cxn ang="0">
                    <a:pos x="608" y="480"/>
                  </a:cxn>
                  <a:cxn ang="0">
                    <a:pos x="572" y="480"/>
                  </a:cxn>
                  <a:cxn ang="0">
                    <a:pos x="553" y="512"/>
                  </a:cxn>
                </a:cxnLst>
                <a:rect l="0" t="0" r="r" b="b"/>
                <a:pathLst>
                  <a:path w="709" h="809">
                    <a:moveTo>
                      <a:pt x="521" y="508"/>
                    </a:moveTo>
                    <a:lnTo>
                      <a:pt x="517" y="503"/>
                    </a:lnTo>
                    <a:lnTo>
                      <a:pt x="517" y="503"/>
                    </a:lnTo>
                    <a:lnTo>
                      <a:pt x="512" y="503"/>
                    </a:lnTo>
                    <a:lnTo>
                      <a:pt x="508" y="503"/>
                    </a:lnTo>
                    <a:lnTo>
                      <a:pt x="508" y="508"/>
                    </a:lnTo>
                    <a:lnTo>
                      <a:pt x="508" y="512"/>
                    </a:lnTo>
                    <a:lnTo>
                      <a:pt x="508" y="517"/>
                    </a:lnTo>
                    <a:lnTo>
                      <a:pt x="503" y="526"/>
                    </a:lnTo>
                    <a:lnTo>
                      <a:pt x="503" y="530"/>
                    </a:lnTo>
                    <a:lnTo>
                      <a:pt x="503" y="535"/>
                    </a:lnTo>
                    <a:lnTo>
                      <a:pt x="503" y="544"/>
                    </a:lnTo>
                    <a:lnTo>
                      <a:pt x="503" y="544"/>
                    </a:lnTo>
                    <a:lnTo>
                      <a:pt x="503" y="549"/>
                    </a:lnTo>
                    <a:lnTo>
                      <a:pt x="503" y="553"/>
                    </a:lnTo>
                    <a:lnTo>
                      <a:pt x="503" y="558"/>
                    </a:lnTo>
                    <a:lnTo>
                      <a:pt x="498" y="562"/>
                    </a:lnTo>
                    <a:lnTo>
                      <a:pt x="498" y="567"/>
                    </a:lnTo>
                    <a:lnTo>
                      <a:pt x="498" y="567"/>
                    </a:lnTo>
                    <a:lnTo>
                      <a:pt x="494" y="572"/>
                    </a:lnTo>
                    <a:lnTo>
                      <a:pt x="494" y="576"/>
                    </a:lnTo>
                    <a:lnTo>
                      <a:pt x="494" y="581"/>
                    </a:lnTo>
                    <a:lnTo>
                      <a:pt x="494" y="585"/>
                    </a:lnTo>
                    <a:lnTo>
                      <a:pt x="498" y="590"/>
                    </a:lnTo>
                    <a:lnTo>
                      <a:pt x="498" y="590"/>
                    </a:lnTo>
                    <a:lnTo>
                      <a:pt x="503" y="590"/>
                    </a:lnTo>
                    <a:lnTo>
                      <a:pt x="512" y="599"/>
                    </a:lnTo>
                    <a:lnTo>
                      <a:pt x="517" y="604"/>
                    </a:lnTo>
                    <a:lnTo>
                      <a:pt x="517" y="608"/>
                    </a:lnTo>
                    <a:lnTo>
                      <a:pt x="521" y="613"/>
                    </a:lnTo>
                    <a:lnTo>
                      <a:pt x="521" y="613"/>
                    </a:lnTo>
                    <a:lnTo>
                      <a:pt x="526" y="617"/>
                    </a:lnTo>
                    <a:lnTo>
                      <a:pt x="526" y="622"/>
                    </a:lnTo>
                    <a:lnTo>
                      <a:pt x="530" y="626"/>
                    </a:lnTo>
                    <a:lnTo>
                      <a:pt x="530" y="631"/>
                    </a:lnTo>
                    <a:lnTo>
                      <a:pt x="535" y="631"/>
                    </a:lnTo>
                    <a:lnTo>
                      <a:pt x="540" y="636"/>
                    </a:lnTo>
                    <a:lnTo>
                      <a:pt x="540" y="640"/>
                    </a:lnTo>
                    <a:lnTo>
                      <a:pt x="540" y="645"/>
                    </a:lnTo>
                    <a:lnTo>
                      <a:pt x="535" y="654"/>
                    </a:lnTo>
                    <a:lnTo>
                      <a:pt x="535" y="658"/>
                    </a:lnTo>
                    <a:lnTo>
                      <a:pt x="535" y="663"/>
                    </a:lnTo>
                    <a:lnTo>
                      <a:pt x="535" y="668"/>
                    </a:lnTo>
                    <a:lnTo>
                      <a:pt x="530" y="668"/>
                    </a:lnTo>
                    <a:lnTo>
                      <a:pt x="530" y="672"/>
                    </a:lnTo>
                    <a:lnTo>
                      <a:pt x="526" y="677"/>
                    </a:lnTo>
                    <a:lnTo>
                      <a:pt x="526" y="677"/>
                    </a:lnTo>
                    <a:lnTo>
                      <a:pt x="526" y="686"/>
                    </a:lnTo>
                    <a:lnTo>
                      <a:pt x="530" y="700"/>
                    </a:lnTo>
                    <a:lnTo>
                      <a:pt x="535" y="700"/>
                    </a:lnTo>
                    <a:lnTo>
                      <a:pt x="530" y="704"/>
                    </a:lnTo>
                    <a:lnTo>
                      <a:pt x="530" y="709"/>
                    </a:lnTo>
                    <a:lnTo>
                      <a:pt x="530" y="718"/>
                    </a:lnTo>
                    <a:lnTo>
                      <a:pt x="530" y="722"/>
                    </a:lnTo>
                    <a:lnTo>
                      <a:pt x="530" y="722"/>
                    </a:lnTo>
                    <a:lnTo>
                      <a:pt x="535" y="732"/>
                    </a:lnTo>
                    <a:lnTo>
                      <a:pt x="540" y="741"/>
                    </a:lnTo>
                    <a:lnTo>
                      <a:pt x="544" y="750"/>
                    </a:lnTo>
                    <a:lnTo>
                      <a:pt x="544" y="754"/>
                    </a:lnTo>
                    <a:lnTo>
                      <a:pt x="549" y="764"/>
                    </a:lnTo>
                    <a:lnTo>
                      <a:pt x="549" y="768"/>
                    </a:lnTo>
                    <a:lnTo>
                      <a:pt x="544" y="773"/>
                    </a:lnTo>
                    <a:lnTo>
                      <a:pt x="544" y="777"/>
                    </a:lnTo>
                    <a:lnTo>
                      <a:pt x="540" y="782"/>
                    </a:lnTo>
                    <a:lnTo>
                      <a:pt x="540" y="773"/>
                    </a:lnTo>
                    <a:lnTo>
                      <a:pt x="540" y="768"/>
                    </a:lnTo>
                    <a:lnTo>
                      <a:pt x="535" y="768"/>
                    </a:lnTo>
                    <a:lnTo>
                      <a:pt x="530" y="764"/>
                    </a:lnTo>
                    <a:lnTo>
                      <a:pt x="526" y="764"/>
                    </a:lnTo>
                    <a:lnTo>
                      <a:pt x="521" y="764"/>
                    </a:lnTo>
                    <a:lnTo>
                      <a:pt x="517" y="768"/>
                    </a:lnTo>
                    <a:lnTo>
                      <a:pt x="512" y="773"/>
                    </a:lnTo>
                    <a:lnTo>
                      <a:pt x="508" y="777"/>
                    </a:lnTo>
                    <a:lnTo>
                      <a:pt x="503" y="777"/>
                    </a:lnTo>
                    <a:lnTo>
                      <a:pt x="498" y="782"/>
                    </a:lnTo>
                    <a:lnTo>
                      <a:pt x="498" y="786"/>
                    </a:lnTo>
                    <a:lnTo>
                      <a:pt x="494" y="786"/>
                    </a:lnTo>
                    <a:lnTo>
                      <a:pt x="489" y="786"/>
                    </a:lnTo>
                    <a:lnTo>
                      <a:pt x="485" y="786"/>
                    </a:lnTo>
                    <a:lnTo>
                      <a:pt x="485" y="791"/>
                    </a:lnTo>
                    <a:lnTo>
                      <a:pt x="480" y="791"/>
                    </a:lnTo>
                    <a:lnTo>
                      <a:pt x="476" y="791"/>
                    </a:lnTo>
                    <a:lnTo>
                      <a:pt x="476" y="796"/>
                    </a:lnTo>
                    <a:lnTo>
                      <a:pt x="476" y="800"/>
                    </a:lnTo>
                    <a:lnTo>
                      <a:pt x="471" y="800"/>
                    </a:lnTo>
                    <a:lnTo>
                      <a:pt x="466" y="796"/>
                    </a:lnTo>
                    <a:lnTo>
                      <a:pt x="462" y="796"/>
                    </a:lnTo>
                    <a:lnTo>
                      <a:pt x="457" y="800"/>
                    </a:lnTo>
                    <a:lnTo>
                      <a:pt x="453" y="800"/>
                    </a:lnTo>
                    <a:lnTo>
                      <a:pt x="453" y="805"/>
                    </a:lnTo>
                    <a:lnTo>
                      <a:pt x="448" y="805"/>
                    </a:lnTo>
                    <a:lnTo>
                      <a:pt x="434" y="809"/>
                    </a:lnTo>
                    <a:lnTo>
                      <a:pt x="425" y="809"/>
                    </a:lnTo>
                    <a:lnTo>
                      <a:pt x="421" y="809"/>
                    </a:lnTo>
                    <a:lnTo>
                      <a:pt x="412" y="809"/>
                    </a:lnTo>
                    <a:lnTo>
                      <a:pt x="407" y="809"/>
                    </a:lnTo>
                    <a:lnTo>
                      <a:pt x="402" y="809"/>
                    </a:lnTo>
                    <a:lnTo>
                      <a:pt x="389" y="805"/>
                    </a:lnTo>
                    <a:lnTo>
                      <a:pt x="384" y="805"/>
                    </a:lnTo>
                    <a:lnTo>
                      <a:pt x="380" y="805"/>
                    </a:lnTo>
                    <a:lnTo>
                      <a:pt x="375" y="805"/>
                    </a:lnTo>
                    <a:lnTo>
                      <a:pt x="375" y="800"/>
                    </a:lnTo>
                    <a:lnTo>
                      <a:pt x="375" y="796"/>
                    </a:lnTo>
                    <a:lnTo>
                      <a:pt x="380" y="791"/>
                    </a:lnTo>
                    <a:lnTo>
                      <a:pt x="380" y="786"/>
                    </a:lnTo>
                    <a:lnTo>
                      <a:pt x="384" y="786"/>
                    </a:lnTo>
                    <a:lnTo>
                      <a:pt x="389" y="786"/>
                    </a:lnTo>
                    <a:lnTo>
                      <a:pt x="389" y="777"/>
                    </a:lnTo>
                    <a:lnTo>
                      <a:pt x="389" y="768"/>
                    </a:lnTo>
                    <a:lnTo>
                      <a:pt x="389" y="764"/>
                    </a:lnTo>
                    <a:lnTo>
                      <a:pt x="389" y="759"/>
                    </a:lnTo>
                    <a:lnTo>
                      <a:pt x="389" y="754"/>
                    </a:lnTo>
                    <a:lnTo>
                      <a:pt x="389" y="750"/>
                    </a:lnTo>
                    <a:lnTo>
                      <a:pt x="389" y="745"/>
                    </a:lnTo>
                    <a:lnTo>
                      <a:pt x="389" y="741"/>
                    </a:lnTo>
                    <a:lnTo>
                      <a:pt x="389" y="736"/>
                    </a:lnTo>
                    <a:lnTo>
                      <a:pt x="389" y="732"/>
                    </a:lnTo>
                    <a:lnTo>
                      <a:pt x="389" y="722"/>
                    </a:lnTo>
                    <a:lnTo>
                      <a:pt x="384" y="722"/>
                    </a:lnTo>
                    <a:lnTo>
                      <a:pt x="380" y="722"/>
                    </a:lnTo>
                    <a:lnTo>
                      <a:pt x="380" y="718"/>
                    </a:lnTo>
                    <a:lnTo>
                      <a:pt x="375" y="713"/>
                    </a:lnTo>
                    <a:lnTo>
                      <a:pt x="370" y="713"/>
                    </a:lnTo>
                    <a:lnTo>
                      <a:pt x="370" y="709"/>
                    </a:lnTo>
                    <a:lnTo>
                      <a:pt x="366" y="704"/>
                    </a:lnTo>
                    <a:lnTo>
                      <a:pt x="366" y="700"/>
                    </a:lnTo>
                    <a:lnTo>
                      <a:pt x="366" y="695"/>
                    </a:lnTo>
                    <a:lnTo>
                      <a:pt x="366" y="686"/>
                    </a:lnTo>
                    <a:lnTo>
                      <a:pt x="361" y="686"/>
                    </a:lnTo>
                    <a:lnTo>
                      <a:pt x="361" y="681"/>
                    </a:lnTo>
                    <a:lnTo>
                      <a:pt x="361" y="677"/>
                    </a:lnTo>
                    <a:lnTo>
                      <a:pt x="357" y="677"/>
                    </a:lnTo>
                    <a:lnTo>
                      <a:pt x="357" y="677"/>
                    </a:lnTo>
                    <a:lnTo>
                      <a:pt x="352" y="677"/>
                    </a:lnTo>
                    <a:lnTo>
                      <a:pt x="352" y="672"/>
                    </a:lnTo>
                    <a:lnTo>
                      <a:pt x="348" y="672"/>
                    </a:lnTo>
                    <a:lnTo>
                      <a:pt x="343" y="672"/>
                    </a:lnTo>
                    <a:lnTo>
                      <a:pt x="343" y="668"/>
                    </a:lnTo>
                    <a:lnTo>
                      <a:pt x="338" y="668"/>
                    </a:lnTo>
                    <a:lnTo>
                      <a:pt x="329" y="663"/>
                    </a:lnTo>
                    <a:lnTo>
                      <a:pt x="325" y="663"/>
                    </a:lnTo>
                    <a:lnTo>
                      <a:pt x="320" y="663"/>
                    </a:lnTo>
                    <a:lnTo>
                      <a:pt x="316" y="663"/>
                    </a:lnTo>
                    <a:lnTo>
                      <a:pt x="306" y="663"/>
                    </a:lnTo>
                    <a:lnTo>
                      <a:pt x="302" y="663"/>
                    </a:lnTo>
                    <a:lnTo>
                      <a:pt x="293" y="668"/>
                    </a:lnTo>
                    <a:lnTo>
                      <a:pt x="284" y="672"/>
                    </a:lnTo>
                    <a:lnTo>
                      <a:pt x="279" y="672"/>
                    </a:lnTo>
                    <a:lnTo>
                      <a:pt x="279" y="668"/>
                    </a:lnTo>
                    <a:lnTo>
                      <a:pt x="274" y="663"/>
                    </a:lnTo>
                    <a:lnTo>
                      <a:pt x="270" y="658"/>
                    </a:lnTo>
                    <a:lnTo>
                      <a:pt x="270" y="654"/>
                    </a:lnTo>
                    <a:lnTo>
                      <a:pt x="265" y="654"/>
                    </a:lnTo>
                    <a:lnTo>
                      <a:pt x="265" y="649"/>
                    </a:lnTo>
                    <a:lnTo>
                      <a:pt x="261" y="649"/>
                    </a:lnTo>
                    <a:lnTo>
                      <a:pt x="261" y="645"/>
                    </a:lnTo>
                    <a:lnTo>
                      <a:pt x="256" y="645"/>
                    </a:lnTo>
                    <a:lnTo>
                      <a:pt x="256" y="645"/>
                    </a:lnTo>
                    <a:lnTo>
                      <a:pt x="252" y="645"/>
                    </a:lnTo>
                    <a:lnTo>
                      <a:pt x="252" y="649"/>
                    </a:lnTo>
                    <a:lnTo>
                      <a:pt x="247" y="649"/>
                    </a:lnTo>
                    <a:lnTo>
                      <a:pt x="247" y="654"/>
                    </a:lnTo>
                    <a:lnTo>
                      <a:pt x="242" y="658"/>
                    </a:lnTo>
                    <a:lnTo>
                      <a:pt x="242" y="668"/>
                    </a:lnTo>
                    <a:lnTo>
                      <a:pt x="238" y="677"/>
                    </a:lnTo>
                    <a:lnTo>
                      <a:pt x="238" y="677"/>
                    </a:lnTo>
                    <a:lnTo>
                      <a:pt x="233" y="677"/>
                    </a:lnTo>
                    <a:lnTo>
                      <a:pt x="233" y="681"/>
                    </a:lnTo>
                    <a:lnTo>
                      <a:pt x="233" y="686"/>
                    </a:lnTo>
                    <a:lnTo>
                      <a:pt x="229" y="690"/>
                    </a:lnTo>
                    <a:lnTo>
                      <a:pt x="229" y="695"/>
                    </a:lnTo>
                    <a:lnTo>
                      <a:pt x="224" y="695"/>
                    </a:lnTo>
                    <a:lnTo>
                      <a:pt x="220" y="700"/>
                    </a:lnTo>
                    <a:lnTo>
                      <a:pt x="215" y="700"/>
                    </a:lnTo>
                    <a:lnTo>
                      <a:pt x="210" y="700"/>
                    </a:lnTo>
                    <a:lnTo>
                      <a:pt x="206" y="700"/>
                    </a:lnTo>
                    <a:lnTo>
                      <a:pt x="201" y="700"/>
                    </a:lnTo>
                    <a:lnTo>
                      <a:pt x="197" y="700"/>
                    </a:lnTo>
                    <a:lnTo>
                      <a:pt x="188" y="700"/>
                    </a:lnTo>
                    <a:lnTo>
                      <a:pt x="188" y="700"/>
                    </a:lnTo>
                    <a:lnTo>
                      <a:pt x="183" y="700"/>
                    </a:lnTo>
                    <a:lnTo>
                      <a:pt x="174" y="695"/>
                    </a:lnTo>
                    <a:lnTo>
                      <a:pt x="174" y="690"/>
                    </a:lnTo>
                    <a:lnTo>
                      <a:pt x="169" y="690"/>
                    </a:lnTo>
                    <a:lnTo>
                      <a:pt x="169" y="686"/>
                    </a:lnTo>
                    <a:lnTo>
                      <a:pt x="169" y="686"/>
                    </a:lnTo>
                    <a:lnTo>
                      <a:pt x="169" y="681"/>
                    </a:lnTo>
                    <a:lnTo>
                      <a:pt x="165" y="681"/>
                    </a:lnTo>
                    <a:lnTo>
                      <a:pt x="160" y="677"/>
                    </a:lnTo>
                    <a:lnTo>
                      <a:pt x="156" y="672"/>
                    </a:lnTo>
                    <a:lnTo>
                      <a:pt x="151" y="672"/>
                    </a:lnTo>
                    <a:lnTo>
                      <a:pt x="151" y="668"/>
                    </a:lnTo>
                    <a:lnTo>
                      <a:pt x="146" y="663"/>
                    </a:lnTo>
                    <a:lnTo>
                      <a:pt x="146" y="658"/>
                    </a:lnTo>
                    <a:lnTo>
                      <a:pt x="146" y="654"/>
                    </a:lnTo>
                    <a:lnTo>
                      <a:pt x="142" y="649"/>
                    </a:lnTo>
                    <a:lnTo>
                      <a:pt x="137" y="649"/>
                    </a:lnTo>
                    <a:lnTo>
                      <a:pt x="137" y="640"/>
                    </a:lnTo>
                    <a:lnTo>
                      <a:pt x="133" y="640"/>
                    </a:lnTo>
                    <a:lnTo>
                      <a:pt x="133" y="636"/>
                    </a:lnTo>
                    <a:lnTo>
                      <a:pt x="128" y="636"/>
                    </a:lnTo>
                    <a:lnTo>
                      <a:pt x="128" y="631"/>
                    </a:lnTo>
                    <a:lnTo>
                      <a:pt x="124" y="631"/>
                    </a:lnTo>
                    <a:lnTo>
                      <a:pt x="124" y="626"/>
                    </a:lnTo>
                    <a:lnTo>
                      <a:pt x="124" y="626"/>
                    </a:lnTo>
                    <a:lnTo>
                      <a:pt x="124" y="622"/>
                    </a:lnTo>
                    <a:lnTo>
                      <a:pt x="119" y="622"/>
                    </a:lnTo>
                    <a:lnTo>
                      <a:pt x="114" y="617"/>
                    </a:lnTo>
                    <a:lnTo>
                      <a:pt x="114" y="613"/>
                    </a:lnTo>
                    <a:lnTo>
                      <a:pt x="114" y="613"/>
                    </a:lnTo>
                    <a:lnTo>
                      <a:pt x="110" y="613"/>
                    </a:lnTo>
                    <a:lnTo>
                      <a:pt x="105" y="613"/>
                    </a:lnTo>
                    <a:lnTo>
                      <a:pt x="105" y="608"/>
                    </a:lnTo>
                    <a:lnTo>
                      <a:pt x="101" y="604"/>
                    </a:lnTo>
                    <a:lnTo>
                      <a:pt x="101" y="594"/>
                    </a:lnTo>
                    <a:lnTo>
                      <a:pt x="101" y="594"/>
                    </a:lnTo>
                    <a:lnTo>
                      <a:pt x="101" y="590"/>
                    </a:lnTo>
                    <a:lnTo>
                      <a:pt x="101" y="585"/>
                    </a:lnTo>
                    <a:lnTo>
                      <a:pt x="96" y="581"/>
                    </a:lnTo>
                    <a:lnTo>
                      <a:pt x="96" y="572"/>
                    </a:lnTo>
                    <a:lnTo>
                      <a:pt x="96" y="562"/>
                    </a:lnTo>
                    <a:lnTo>
                      <a:pt x="101" y="553"/>
                    </a:lnTo>
                    <a:lnTo>
                      <a:pt x="101" y="549"/>
                    </a:lnTo>
                    <a:lnTo>
                      <a:pt x="101" y="544"/>
                    </a:lnTo>
                    <a:lnTo>
                      <a:pt x="101" y="540"/>
                    </a:lnTo>
                    <a:lnTo>
                      <a:pt x="101" y="535"/>
                    </a:lnTo>
                    <a:lnTo>
                      <a:pt x="101" y="530"/>
                    </a:lnTo>
                    <a:lnTo>
                      <a:pt x="105" y="526"/>
                    </a:lnTo>
                    <a:lnTo>
                      <a:pt x="105" y="521"/>
                    </a:lnTo>
                    <a:lnTo>
                      <a:pt x="105" y="521"/>
                    </a:lnTo>
                    <a:lnTo>
                      <a:pt x="101" y="512"/>
                    </a:lnTo>
                    <a:lnTo>
                      <a:pt x="101" y="508"/>
                    </a:lnTo>
                    <a:lnTo>
                      <a:pt x="101" y="503"/>
                    </a:lnTo>
                    <a:lnTo>
                      <a:pt x="96" y="503"/>
                    </a:lnTo>
                    <a:lnTo>
                      <a:pt x="92" y="503"/>
                    </a:lnTo>
                    <a:lnTo>
                      <a:pt x="87" y="503"/>
                    </a:lnTo>
                    <a:lnTo>
                      <a:pt x="82" y="503"/>
                    </a:lnTo>
                    <a:lnTo>
                      <a:pt x="78" y="508"/>
                    </a:lnTo>
                    <a:lnTo>
                      <a:pt x="78" y="517"/>
                    </a:lnTo>
                    <a:lnTo>
                      <a:pt x="78" y="521"/>
                    </a:lnTo>
                    <a:lnTo>
                      <a:pt x="78" y="521"/>
                    </a:lnTo>
                    <a:lnTo>
                      <a:pt x="78" y="530"/>
                    </a:lnTo>
                    <a:lnTo>
                      <a:pt x="73" y="535"/>
                    </a:lnTo>
                    <a:lnTo>
                      <a:pt x="69" y="535"/>
                    </a:lnTo>
                    <a:lnTo>
                      <a:pt x="64" y="535"/>
                    </a:lnTo>
                    <a:lnTo>
                      <a:pt x="64" y="530"/>
                    </a:lnTo>
                    <a:lnTo>
                      <a:pt x="64" y="526"/>
                    </a:lnTo>
                    <a:lnTo>
                      <a:pt x="60" y="521"/>
                    </a:lnTo>
                    <a:lnTo>
                      <a:pt x="60" y="517"/>
                    </a:lnTo>
                    <a:lnTo>
                      <a:pt x="60" y="512"/>
                    </a:lnTo>
                    <a:lnTo>
                      <a:pt x="60" y="508"/>
                    </a:lnTo>
                    <a:lnTo>
                      <a:pt x="60" y="494"/>
                    </a:lnTo>
                    <a:lnTo>
                      <a:pt x="60" y="485"/>
                    </a:lnTo>
                    <a:lnTo>
                      <a:pt x="60" y="480"/>
                    </a:lnTo>
                    <a:lnTo>
                      <a:pt x="60" y="476"/>
                    </a:lnTo>
                    <a:lnTo>
                      <a:pt x="60" y="471"/>
                    </a:lnTo>
                    <a:lnTo>
                      <a:pt x="60" y="466"/>
                    </a:lnTo>
                    <a:lnTo>
                      <a:pt x="55" y="466"/>
                    </a:lnTo>
                    <a:lnTo>
                      <a:pt x="55" y="462"/>
                    </a:lnTo>
                    <a:lnTo>
                      <a:pt x="46" y="457"/>
                    </a:lnTo>
                    <a:lnTo>
                      <a:pt x="46" y="457"/>
                    </a:lnTo>
                    <a:lnTo>
                      <a:pt x="41" y="457"/>
                    </a:lnTo>
                    <a:lnTo>
                      <a:pt x="37" y="457"/>
                    </a:lnTo>
                    <a:lnTo>
                      <a:pt x="32" y="457"/>
                    </a:lnTo>
                    <a:lnTo>
                      <a:pt x="28" y="457"/>
                    </a:lnTo>
                    <a:lnTo>
                      <a:pt x="18" y="457"/>
                    </a:lnTo>
                    <a:lnTo>
                      <a:pt x="14" y="457"/>
                    </a:lnTo>
                    <a:lnTo>
                      <a:pt x="14" y="457"/>
                    </a:lnTo>
                    <a:lnTo>
                      <a:pt x="9" y="457"/>
                    </a:lnTo>
                    <a:lnTo>
                      <a:pt x="5" y="457"/>
                    </a:lnTo>
                    <a:lnTo>
                      <a:pt x="5" y="453"/>
                    </a:lnTo>
                    <a:lnTo>
                      <a:pt x="5" y="453"/>
                    </a:lnTo>
                    <a:lnTo>
                      <a:pt x="9" y="430"/>
                    </a:lnTo>
                    <a:lnTo>
                      <a:pt x="9" y="430"/>
                    </a:lnTo>
                    <a:lnTo>
                      <a:pt x="9" y="425"/>
                    </a:lnTo>
                    <a:lnTo>
                      <a:pt x="14" y="425"/>
                    </a:lnTo>
                    <a:lnTo>
                      <a:pt x="9" y="421"/>
                    </a:lnTo>
                    <a:lnTo>
                      <a:pt x="9" y="416"/>
                    </a:lnTo>
                    <a:lnTo>
                      <a:pt x="14" y="412"/>
                    </a:lnTo>
                    <a:lnTo>
                      <a:pt x="14" y="407"/>
                    </a:lnTo>
                    <a:lnTo>
                      <a:pt x="14" y="402"/>
                    </a:lnTo>
                    <a:lnTo>
                      <a:pt x="14" y="398"/>
                    </a:lnTo>
                    <a:lnTo>
                      <a:pt x="14" y="398"/>
                    </a:lnTo>
                    <a:lnTo>
                      <a:pt x="18" y="393"/>
                    </a:lnTo>
                    <a:lnTo>
                      <a:pt x="18" y="389"/>
                    </a:lnTo>
                    <a:lnTo>
                      <a:pt x="18" y="380"/>
                    </a:lnTo>
                    <a:lnTo>
                      <a:pt x="18" y="375"/>
                    </a:lnTo>
                    <a:lnTo>
                      <a:pt x="18" y="375"/>
                    </a:lnTo>
                    <a:lnTo>
                      <a:pt x="23" y="370"/>
                    </a:lnTo>
                    <a:lnTo>
                      <a:pt x="23" y="370"/>
                    </a:lnTo>
                    <a:lnTo>
                      <a:pt x="14" y="366"/>
                    </a:lnTo>
                    <a:lnTo>
                      <a:pt x="14" y="366"/>
                    </a:lnTo>
                    <a:lnTo>
                      <a:pt x="14" y="361"/>
                    </a:lnTo>
                    <a:lnTo>
                      <a:pt x="9" y="357"/>
                    </a:lnTo>
                    <a:lnTo>
                      <a:pt x="9" y="357"/>
                    </a:lnTo>
                    <a:lnTo>
                      <a:pt x="5" y="352"/>
                    </a:lnTo>
                    <a:lnTo>
                      <a:pt x="5" y="348"/>
                    </a:lnTo>
                    <a:lnTo>
                      <a:pt x="0" y="334"/>
                    </a:lnTo>
                    <a:lnTo>
                      <a:pt x="0" y="334"/>
                    </a:lnTo>
                    <a:lnTo>
                      <a:pt x="0" y="329"/>
                    </a:lnTo>
                    <a:lnTo>
                      <a:pt x="0" y="320"/>
                    </a:lnTo>
                    <a:lnTo>
                      <a:pt x="0" y="316"/>
                    </a:lnTo>
                    <a:lnTo>
                      <a:pt x="0" y="316"/>
                    </a:lnTo>
                    <a:lnTo>
                      <a:pt x="5" y="311"/>
                    </a:lnTo>
                    <a:lnTo>
                      <a:pt x="5" y="306"/>
                    </a:lnTo>
                    <a:lnTo>
                      <a:pt x="5" y="297"/>
                    </a:lnTo>
                    <a:lnTo>
                      <a:pt x="5" y="293"/>
                    </a:lnTo>
                    <a:lnTo>
                      <a:pt x="5" y="288"/>
                    </a:lnTo>
                    <a:lnTo>
                      <a:pt x="9" y="288"/>
                    </a:lnTo>
                    <a:lnTo>
                      <a:pt x="14" y="288"/>
                    </a:lnTo>
                    <a:lnTo>
                      <a:pt x="14" y="284"/>
                    </a:lnTo>
                    <a:lnTo>
                      <a:pt x="18" y="279"/>
                    </a:lnTo>
                    <a:lnTo>
                      <a:pt x="18" y="279"/>
                    </a:lnTo>
                    <a:lnTo>
                      <a:pt x="18" y="274"/>
                    </a:lnTo>
                    <a:lnTo>
                      <a:pt x="23" y="270"/>
                    </a:lnTo>
                    <a:lnTo>
                      <a:pt x="18" y="265"/>
                    </a:lnTo>
                    <a:lnTo>
                      <a:pt x="18" y="265"/>
                    </a:lnTo>
                    <a:lnTo>
                      <a:pt x="23" y="261"/>
                    </a:lnTo>
                    <a:lnTo>
                      <a:pt x="23" y="261"/>
                    </a:lnTo>
                    <a:lnTo>
                      <a:pt x="23" y="256"/>
                    </a:lnTo>
                    <a:lnTo>
                      <a:pt x="23" y="256"/>
                    </a:lnTo>
                    <a:lnTo>
                      <a:pt x="18" y="252"/>
                    </a:lnTo>
                    <a:lnTo>
                      <a:pt x="18" y="247"/>
                    </a:lnTo>
                    <a:lnTo>
                      <a:pt x="23" y="242"/>
                    </a:lnTo>
                    <a:lnTo>
                      <a:pt x="23" y="238"/>
                    </a:lnTo>
                    <a:lnTo>
                      <a:pt x="18" y="233"/>
                    </a:lnTo>
                    <a:lnTo>
                      <a:pt x="23" y="233"/>
                    </a:lnTo>
                    <a:lnTo>
                      <a:pt x="28" y="229"/>
                    </a:lnTo>
                    <a:lnTo>
                      <a:pt x="32" y="224"/>
                    </a:lnTo>
                    <a:lnTo>
                      <a:pt x="37" y="215"/>
                    </a:lnTo>
                    <a:lnTo>
                      <a:pt x="37" y="215"/>
                    </a:lnTo>
                    <a:lnTo>
                      <a:pt x="46" y="215"/>
                    </a:lnTo>
                    <a:lnTo>
                      <a:pt x="55" y="215"/>
                    </a:lnTo>
                    <a:lnTo>
                      <a:pt x="60" y="215"/>
                    </a:lnTo>
                    <a:lnTo>
                      <a:pt x="64" y="215"/>
                    </a:lnTo>
                    <a:lnTo>
                      <a:pt x="69" y="220"/>
                    </a:lnTo>
                    <a:lnTo>
                      <a:pt x="73" y="215"/>
                    </a:lnTo>
                    <a:lnTo>
                      <a:pt x="78" y="215"/>
                    </a:lnTo>
                    <a:lnTo>
                      <a:pt x="78" y="215"/>
                    </a:lnTo>
                    <a:lnTo>
                      <a:pt x="78" y="215"/>
                    </a:lnTo>
                    <a:lnTo>
                      <a:pt x="78" y="215"/>
                    </a:lnTo>
                    <a:lnTo>
                      <a:pt x="78" y="210"/>
                    </a:lnTo>
                    <a:lnTo>
                      <a:pt x="82" y="210"/>
                    </a:lnTo>
                    <a:lnTo>
                      <a:pt x="82" y="206"/>
                    </a:lnTo>
                    <a:lnTo>
                      <a:pt x="87" y="206"/>
                    </a:lnTo>
                    <a:lnTo>
                      <a:pt x="92" y="197"/>
                    </a:lnTo>
                    <a:lnTo>
                      <a:pt x="96" y="197"/>
                    </a:lnTo>
                    <a:lnTo>
                      <a:pt x="101" y="192"/>
                    </a:lnTo>
                    <a:lnTo>
                      <a:pt x="105" y="188"/>
                    </a:lnTo>
                    <a:lnTo>
                      <a:pt x="110" y="188"/>
                    </a:lnTo>
                    <a:lnTo>
                      <a:pt x="114" y="183"/>
                    </a:lnTo>
                    <a:lnTo>
                      <a:pt x="119" y="178"/>
                    </a:lnTo>
                    <a:lnTo>
                      <a:pt x="119" y="174"/>
                    </a:lnTo>
                    <a:lnTo>
                      <a:pt x="124" y="174"/>
                    </a:lnTo>
                    <a:lnTo>
                      <a:pt x="124" y="174"/>
                    </a:lnTo>
                    <a:lnTo>
                      <a:pt x="128" y="174"/>
                    </a:lnTo>
                    <a:lnTo>
                      <a:pt x="128" y="169"/>
                    </a:lnTo>
                    <a:lnTo>
                      <a:pt x="133" y="165"/>
                    </a:lnTo>
                    <a:lnTo>
                      <a:pt x="137" y="165"/>
                    </a:lnTo>
                    <a:lnTo>
                      <a:pt x="142" y="160"/>
                    </a:lnTo>
                    <a:lnTo>
                      <a:pt x="146" y="160"/>
                    </a:lnTo>
                    <a:lnTo>
                      <a:pt x="146" y="156"/>
                    </a:lnTo>
                    <a:lnTo>
                      <a:pt x="146" y="156"/>
                    </a:lnTo>
                    <a:lnTo>
                      <a:pt x="151" y="151"/>
                    </a:lnTo>
                    <a:lnTo>
                      <a:pt x="156" y="151"/>
                    </a:lnTo>
                    <a:lnTo>
                      <a:pt x="160" y="151"/>
                    </a:lnTo>
                    <a:lnTo>
                      <a:pt x="165" y="151"/>
                    </a:lnTo>
                    <a:lnTo>
                      <a:pt x="169" y="151"/>
                    </a:lnTo>
                    <a:lnTo>
                      <a:pt x="169" y="151"/>
                    </a:lnTo>
                    <a:lnTo>
                      <a:pt x="174" y="151"/>
                    </a:lnTo>
                    <a:lnTo>
                      <a:pt x="178" y="151"/>
                    </a:lnTo>
                    <a:lnTo>
                      <a:pt x="183" y="151"/>
                    </a:lnTo>
                    <a:lnTo>
                      <a:pt x="188" y="151"/>
                    </a:lnTo>
                    <a:lnTo>
                      <a:pt x="188" y="151"/>
                    </a:lnTo>
                    <a:lnTo>
                      <a:pt x="188" y="151"/>
                    </a:lnTo>
                    <a:lnTo>
                      <a:pt x="192" y="151"/>
                    </a:lnTo>
                    <a:lnTo>
                      <a:pt x="201" y="151"/>
                    </a:lnTo>
                    <a:lnTo>
                      <a:pt x="206" y="151"/>
                    </a:lnTo>
                    <a:lnTo>
                      <a:pt x="210" y="151"/>
                    </a:lnTo>
                    <a:lnTo>
                      <a:pt x="210" y="151"/>
                    </a:lnTo>
                    <a:lnTo>
                      <a:pt x="215" y="151"/>
                    </a:lnTo>
                    <a:lnTo>
                      <a:pt x="224" y="146"/>
                    </a:lnTo>
                    <a:lnTo>
                      <a:pt x="224" y="142"/>
                    </a:lnTo>
                    <a:lnTo>
                      <a:pt x="229" y="142"/>
                    </a:lnTo>
                    <a:lnTo>
                      <a:pt x="233" y="137"/>
                    </a:lnTo>
                    <a:lnTo>
                      <a:pt x="233" y="137"/>
                    </a:lnTo>
                    <a:lnTo>
                      <a:pt x="238" y="137"/>
                    </a:lnTo>
                    <a:lnTo>
                      <a:pt x="242" y="137"/>
                    </a:lnTo>
                    <a:lnTo>
                      <a:pt x="247" y="137"/>
                    </a:lnTo>
                    <a:lnTo>
                      <a:pt x="256" y="133"/>
                    </a:lnTo>
                    <a:lnTo>
                      <a:pt x="261" y="128"/>
                    </a:lnTo>
                    <a:lnTo>
                      <a:pt x="265" y="128"/>
                    </a:lnTo>
                    <a:lnTo>
                      <a:pt x="265" y="128"/>
                    </a:lnTo>
                    <a:lnTo>
                      <a:pt x="270" y="124"/>
                    </a:lnTo>
                    <a:lnTo>
                      <a:pt x="274" y="124"/>
                    </a:lnTo>
                    <a:lnTo>
                      <a:pt x="279" y="119"/>
                    </a:lnTo>
                    <a:lnTo>
                      <a:pt x="284" y="114"/>
                    </a:lnTo>
                    <a:lnTo>
                      <a:pt x="288" y="114"/>
                    </a:lnTo>
                    <a:lnTo>
                      <a:pt x="297" y="110"/>
                    </a:lnTo>
                    <a:lnTo>
                      <a:pt x="297" y="105"/>
                    </a:lnTo>
                    <a:lnTo>
                      <a:pt x="311" y="105"/>
                    </a:lnTo>
                    <a:lnTo>
                      <a:pt x="316" y="105"/>
                    </a:lnTo>
                    <a:lnTo>
                      <a:pt x="329" y="101"/>
                    </a:lnTo>
                    <a:lnTo>
                      <a:pt x="338" y="96"/>
                    </a:lnTo>
                    <a:lnTo>
                      <a:pt x="348" y="87"/>
                    </a:lnTo>
                    <a:lnTo>
                      <a:pt x="352" y="87"/>
                    </a:lnTo>
                    <a:lnTo>
                      <a:pt x="357" y="87"/>
                    </a:lnTo>
                    <a:lnTo>
                      <a:pt x="357" y="82"/>
                    </a:lnTo>
                    <a:lnTo>
                      <a:pt x="361" y="82"/>
                    </a:lnTo>
                    <a:lnTo>
                      <a:pt x="366" y="82"/>
                    </a:lnTo>
                    <a:lnTo>
                      <a:pt x="366" y="82"/>
                    </a:lnTo>
                    <a:lnTo>
                      <a:pt x="366" y="78"/>
                    </a:lnTo>
                    <a:lnTo>
                      <a:pt x="370" y="78"/>
                    </a:lnTo>
                    <a:lnTo>
                      <a:pt x="375" y="78"/>
                    </a:lnTo>
                    <a:lnTo>
                      <a:pt x="375" y="73"/>
                    </a:lnTo>
                    <a:lnTo>
                      <a:pt x="380" y="73"/>
                    </a:lnTo>
                    <a:lnTo>
                      <a:pt x="380" y="69"/>
                    </a:lnTo>
                    <a:lnTo>
                      <a:pt x="384" y="69"/>
                    </a:lnTo>
                    <a:lnTo>
                      <a:pt x="389" y="64"/>
                    </a:lnTo>
                    <a:lnTo>
                      <a:pt x="389" y="64"/>
                    </a:lnTo>
                    <a:lnTo>
                      <a:pt x="389" y="64"/>
                    </a:lnTo>
                    <a:lnTo>
                      <a:pt x="389" y="60"/>
                    </a:lnTo>
                    <a:lnTo>
                      <a:pt x="393" y="55"/>
                    </a:lnTo>
                    <a:lnTo>
                      <a:pt x="393" y="46"/>
                    </a:lnTo>
                    <a:lnTo>
                      <a:pt x="393" y="41"/>
                    </a:lnTo>
                    <a:lnTo>
                      <a:pt x="393" y="41"/>
                    </a:lnTo>
                    <a:lnTo>
                      <a:pt x="393" y="37"/>
                    </a:lnTo>
                    <a:lnTo>
                      <a:pt x="393" y="32"/>
                    </a:lnTo>
                    <a:lnTo>
                      <a:pt x="398" y="27"/>
                    </a:lnTo>
                    <a:lnTo>
                      <a:pt x="398" y="23"/>
                    </a:lnTo>
                    <a:lnTo>
                      <a:pt x="407" y="18"/>
                    </a:lnTo>
                    <a:lnTo>
                      <a:pt x="407" y="18"/>
                    </a:lnTo>
                    <a:lnTo>
                      <a:pt x="412" y="14"/>
                    </a:lnTo>
                    <a:lnTo>
                      <a:pt x="412" y="9"/>
                    </a:lnTo>
                    <a:lnTo>
                      <a:pt x="416" y="9"/>
                    </a:lnTo>
                    <a:lnTo>
                      <a:pt x="421" y="9"/>
                    </a:lnTo>
                    <a:lnTo>
                      <a:pt x="421" y="5"/>
                    </a:lnTo>
                    <a:lnTo>
                      <a:pt x="425" y="5"/>
                    </a:lnTo>
                    <a:lnTo>
                      <a:pt x="430" y="5"/>
                    </a:lnTo>
                    <a:lnTo>
                      <a:pt x="430" y="0"/>
                    </a:lnTo>
                    <a:lnTo>
                      <a:pt x="430" y="0"/>
                    </a:lnTo>
                    <a:lnTo>
                      <a:pt x="434" y="0"/>
                    </a:lnTo>
                    <a:lnTo>
                      <a:pt x="439" y="0"/>
                    </a:lnTo>
                    <a:lnTo>
                      <a:pt x="444" y="0"/>
                    </a:lnTo>
                    <a:lnTo>
                      <a:pt x="453" y="0"/>
                    </a:lnTo>
                    <a:lnTo>
                      <a:pt x="453" y="0"/>
                    </a:lnTo>
                    <a:lnTo>
                      <a:pt x="457" y="5"/>
                    </a:lnTo>
                    <a:lnTo>
                      <a:pt x="462" y="9"/>
                    </a:lnTo>
                    <a:lnTo>
                      <a:pt x="476" y="18"/>
                    </a:lnTo>
                    <a:lnTo>
                      <a:pt x="476" y="18"/>
                    </a:lnTo>
                    <a:lnTo>
                      <a:pt x="476" y="18"/>
                    </a:lnTo>
                    <a:lnTo>
                      <a:pt x="476" y="23"/>
                    </a:lnTo>
                    <a:lnTo>
                      <a:pt x="476" y="27"/>
                    </a:lnTo>
                    <a:lnTo>
                      <a:pt x="480" y="32"/>
                    </a:lnTo>
                    <a:lnTo>
                      <a:pt x="480" y="37"/>
                    </a:lnTo>
                    <a:lnTo>
                      <a:pt x="485" y="37"/>
                    </a:lnTo>
                    <a:lnTo>
                      <a:pt x="480" y="41"/>
                    </a:lnTo>
                    <a:lnTo>
                      <a:pt x="485" y="46"/>
                    </a:lnTo>
                    <a:lnTo>
                      <a:pt x="485" y="50"/>
                    </a:lnTo>
                    <a:lnTo>
                      <a:pt x="489" y="55"/>
                    </a:lnTo>
                    <a:lnTo>
                      <a:pt x="494" y="55"/>
                    </a:lnTo>
                    <a:lnTo>
                      <a:pt x="494" y="60"/>
                    </a:lnTo>
                    <a:lnTo>
                      <a:pt x="498" y="60"/>
                    </a:lnTo>
                    <a:lnTo>
                      <a:pt x="498" y="60"/>
                    </a:lnTo>
                    <a:lnTo>
                      <a:pt x="503" y="64"/>
                    </a:lnTo>
                    <a:lnTo>
                      <a:pt x="503" y="64"/>
                    </a:lnTo>
                    <a:lnTo>
                      <a:pt x="508" y="64"/>
                    </a:lnTo>
                    <a:lnTo>
                      <a:pt x="508" y="69"/>
                    </a:lnTo>
                    <a:lnTo>
                      <a:pt x="512" y="69"/>
                    </a:lnTo>
                    <a:lnTo>
                      <a:pt x="517" y="78"/>
                    </a:lnTo>
                    <a:lnTo>
                      <a:pt x="517" y="82"/>
                    </a:lnTo>
                    <a:lnTo>
                      <a:pt x="521" y="82"/>
                    </a:lnTo>
                    <a:lnTo>
                      <a:pt x="521" y="82"/>
                    </a:lnTo>
                    <a:lnTo>
                      <a:pt x="526" y="87"/>
                    </a:lnTo>
                    <a:lnTo>
                      <a:pt x="530" y="87"/>
                    </a:lnTo>
                    <a:lnTo>
                      <a:pt x="535" y="92"/>
                    </a:lnTo>
                    <a:lnTo>
                      <a:pt x="540" y="92"/>
                    </a:lnTo>
                    <a:lnTo>
                      <a:pt x="540" y="96"/>
                    </a:lnTo>
                    <a:lnTo>
                      <a:pt x="544" y="96"/>
                    </a:lnTo>
                    <a:lnTo>
                      <a:pt x="549" y="101"/>
                    </a:lnTo>
                    <a:lnTo>
                      <a:pt x="553" y="101"/>
                    </a:lnTo>
                    <a:lnTo>
                      <a:pt x="558" y="101"/>
                    </a:lnTo>
                    <a:lnTo>
                      <a:pt x="562" y="101"/>
                    </a:lnTo>
                    <a:lnTo>
                      <a:pt x="562" y="96"/>
                    </a:lnTo>
                    <a:lnTo>
                      <a:pt x="567" y="92"/>
                    </a:lnTo>
                    <a:lnTo>
                      <a:pt x="567" y="87"/>
                    </a:lnTo>
                    <a:lnTo>
                      <a:pt x="576" y="82"/>
                    </a:lnTo>
                    <a:lnTo>
                      <a:pt x="585" y="82"/>
                    </a:lnTo>
                    <a:lnTo>
                      <a:pt x="585" y="78"/>
                    </a:lnTo>
                    <a:lnTo>
                      <a:pt x="585" y="78"/>
                    </a:lnTo>
                    <a:lnTo>
                      <a:pt x="585" y="73"/>
                    </a:lnTo>
                    <a:lnTo>
                      <a:pt x="590" y="73"/>
                    </a:lnTo>
                    <a:lnTo>
                      <a:pt x="594" y="73"/>
                    </a:lnTo>
                    <a:lnTo>
                      <a:pt x="594" y="69"/>
                    </a:lnTo>
                    <a:lnTo>
                      <a:pt x="599" y="69"/>
                    </a:lnTo>
                    <a:lnTo>
                      <a:pt x="608" y="64"/>
                    </a:lnTo>
                    <a:lnTo>
                      <a:pt x="608" y="69"/>
                    </a:lnTo>
                    <a:lnTo>
                      <a:pt x="613" y="73"/>
                    </a:lnTo>
                    <a:lnTo>
                      <a:pt x="617" y="78"/>
                    </a:lnTo>
                    <a:lnTo>
                      <a:pt x="617" y="82"/>
                    </a:lnTo>
                    <a:lnTo>
                      <a:pt x="617" y="82"/>
                    </a:lnTo>
                    <a:lnTo>
                      <a:pt x="617" y="87"/>
                    </a:lnTo>
                    <a:lnTo>
                      <a:pt x="613" y="87"/>
                    </a:lnTo>
                    <a:lnTo>
                      <a:pt x="613" y="92"/>
                    </a:lnTo>
                    <a:lnTo>
                      <a:pt x="608" y="96"/>
                    </a:lnTo>
                    <a:lnTo>
                      <a:pt x="594" y="105"/>
                    </a:lnTo>
                    <a:lnTo>
                      <a:pt x="590" y="105"/>
                    </a:lnTo>
                    <a:lnTo>
                      <a:pt x="585" y="105"/>
                    </a:lnTo>
                    <a:lnTo>
                      <a:pt x="585" y="110"/>
                    </a:lnTo>
                    <a:lnTo>
                      <a:pt x="585" y="114"/>
                    </a:lnTo>
                    <a:lnTo>
                      <a:pt x="576" y="119"/>
                    </a:lnTo>
                    <a:lnTo>
                      <a:pt x="572" y="128"/>
                    </a:lnTo>
                    <a:lnTo>
                      <a:pt x="567" y="128"/>
                    </a:lnTo>
                    <a:lnTo>
                      <a:pt x="567" y="133"/>
                    </a:lnTo>
                    <a:lnTo>
                      <a:pt x="562" y="137"/>
                    </a:lnTo>
                    <a:lnTo>
                      <a:pt x="562" y="142"/>
                    </a:lnTo>
                    <a:lnTo>
                      <a:pt x="562" y="142"/>
                    </a:lnTo>
                    <a:lnTo>
                      <a:pt x="562" y="146"/>
                    </a:lnTo>
                    <a:lnTo>
                      <a:pt x="562" y="151"/>
                    </a:lnTo>
                    <a:lnTo>
                      <a:pt x="558" y="151"/>
                    </a:lnTo>
                    <a:lnTo>
                      <a:pt x="553" y="151"/>
                    </a:lnTo>
                    <a:lnTo>
                      <a:pt x="553" y="156"/>
                    </a:lnTo>
                    <a:lnTo>
                      <a:pt x="553" y="160"/>
                    </a:lnTo>
                    <a:lnTo>
                      <a:pt x="553" y="165"/>
                    </a:lnTo>
                    <a:lnTo>
                      <a:pt x="553" y="169"/>
                    </a:lnTo>
                    <a:lnTo>
                      <a:pt x="553" y="174"/>
                    </a:lnTo>
                    <a:lnTo>
                      <a:pt x="553" y="183"/>
                    </a:lnTo>
                    <a:lnTo>
                      <a:pt x="553" y="188"/>
                    </a:lnTo>
                    <a:lnTo>
                      <a:pt x="553" y="192"/>
                    </a:lnTo>
                    <a:lnTo>
                      <a:pt x="558" y="197"/>
                    </a:lnTo>
                    <a:lnTo>
                      <a:pt x="558" y="201"/>
                    </a:lnTo>
                    <a:lnTo>
                      <a:pt x="562" y="206"/>
                    </a:lnTo>
                    <a:lnTo>
                      <a:pt x="562" y="210"/>
                    </a:lnTo>
                    <a:lnTo>
                      <a:pt x="562" y="215"/>
                    </a:lnTo>
                    <a:lnTo>
                      <a:pt x="562" y="215"/>
                    </a:lnTo>
                    <a:lnTo>
                      <a:pt x="562" y="215"/>
                    </a:lnTo>
                    <a:lnTo>
                      <a:pt x="562" y="220"/>
                    </a:lnTo>
                    <a:lnTo>
                      <a:pt x="567" y="220"/>
                    </a:lnTo>
                    <a:lnTo>
                      <a:pt x="572" y="229"/>
                    </a:lnTo>
                    <a:lnTo>
                      <a:pt x="576" y="238"/>
                    </a:lnTo>
                    <a:lnTo>
                      <a:pt x="581" y="238"/>
                    </a:lnTo>
                    <a:lnTo>
                      <a:pt x="581" y="242"/>
                    </a:lnTo>
                    <a:lnTo>
                      <a:pt x="585" y="247"/>
                    </a:lnTo>
                    <a:lnTo>
                      <a:pt x="585" y="252"/>
                    </a:lnTo>
                    <a:lnTo>
                      <a:pt x="585" y="256"/>
                    </a:lnTo>
                    <a:lnTo>
                      <a:pt x="590" y="261"/>
                    </a:lnTo>
                    <a:lnTo>
                      <a:pt x="590" y="261"/>
                    </a:lnTo>
                    <a:lnTo>
                      <a:pt x="594" y="261"/>
                    </a:lnTo>
                    <a:lnTo>
                      <a:pt x="594" y="265"/>
                    </a:lnTo>
                    <a:lnTo>
                      <a:pt x="599" y="274"/>
                    </a:lnTo>
                    <a:lnTo>
                      <a:pt x="604" y="284"/>
                    </a:lnTo>
                    <a:lnTo>
                      <a:pt x="608" y="288"/>
                    </a:lnTo>
                    <a:lnTo>
                      <a:pt x="608" y="293"/>
                    </a:lnTo>
                    <a:lnTo>
                      <a:pt x="608" y="297"/>
                    </a:lnTo>
                    <a:lnTo>
                      <a:pt x="613" y="302"/>
                    </a:lnTo>
                    <a:lnTo>
                      <a:pt x="617" y="306"/>
                    </a:lnTo>
                    <a:lnTo>
                      <a:pt x="617" y="311"/>
                    </a:lnTo>
                    <a:lnTo>
                      <a:pt x="622" y="320"/>
                    </a:lnTo>
                    <a:lnTo>
                      <a:pt x="626" y="320"/>
                    </a:lnTo>
                    <a:lnTo>
                      <a:pt x="626" y="325"/>
                    </a:lnTo>
                    <a:lnTo>
                      <a:pt x="626" y="329"/>
                    </a:lnTo>
                    <a:lnTo>
                      <a:pt x="636" y="334"/>
                    </a:lnTo>
                    <a:lnTo>
                      <a:pt x="640" y="338"/>
                    </a:lnTo>
                    <a:lnTo>
                      <a:pt x="640" y="343"/>
                    </a:lnTo>
                    <a:lnTo>
                      <a:pt x="649" y="348"/>
                    </a:lnTo>
                    <a:lnTo>
                      <a:pt x="649" y="348"/>
                    </a:lnTo>
                    <a:lnTo>
                      <a:pt x="649" y="352"/>
                    </a:lnTo>
                    <a:lnTo>
                      <a:pt x="654" y="357"/>
                    </a:lnTo>
                    <a:lnTo>
                      <a:pt x="658" y="361"/>
                    </a:lnTo>
                    <a:lnTo>
                      <a:pt x="663" y="361"/>
                    </a:lnTo>
                    <a:lnTo>
                      <a:pt x="668" y="366"/>
                    </a:lnTo>
                    <a:lnTo>
                      <a:pt x="672" y="370"/>
                    </a:lnTo>
                    <a:lnTo>
                      <a:pt x="672" y="370"/>
                    </a:lnTo>
                    <a:lnTo>
                      <a:pt x="672" y="375"/>
                    </a:lnTo>
                    <a:lnTo>
                      <a:pt x="672" y="380"/>
                    </a:lnTo>
                    <a:lnTo>
                      <a:pt x="677" y="384"/>
                    </a:lnTo>
                    <a:lnTo>
                      <a:pt x="677" y="389"/>
                    </a:lnTo>
                    <a:lnTo>
                      <a:pt x="681" y="393"/>
                    </a:lnTo>
                    <a:lnTo>
                      <a:pt x="677" y="398"/>
                    </a:lnTo>
                    <a:lnTo>
                      <a:pt x="681" y="407"/>
                    </a:lnTo>
                    <a:lnTo>
                      <a:pt x="681" y="412"/>
                    </a:lnTo>
                    <a:lnTo>
                      <a:pt x="681" y="412"/>
                    </a:lnTo>
                    <a:lnTo>
                      <a:pt x="686" y="412"/>
                    </a:lnTo>
                    <a:lnTo>
                      <a:pt x="690" y="421"/>
                    </a:lnTo>
                    <a:lnTo>
                      <a:pt x="695" y="425"/>
                    </a:lnTo>
                    <a:lnTo>
                      <a:pt x="700" y="430"/>
                    </a:lnTo>
                    <a:lnTo>
                      <a:pt x="709" y="434"/>
                    </a:lnTo>
                    <a:lnTo>
                      <a:pt x="704" y="434"/>
                    </a:lnTo>
                    <a:lnTo>
                      <a:pt x="700" y="434"/>
                    </a:lnTo>
                    <a:lnTo>
                      <a:pt x="695" y="439"/>
                    </a:lnTo>
                    <a:lnTo>
                      <a:pt x="695" y="444"/>
                    </a:lnTo>
                    <a:lnTo>
                      <a:pt x="695" y="448"/>
                    </a:lnTo>
                    <a:lnTo>
                      <a:pt x="695" y="457"/>
                    </a:lnTo>
                    <a:lnTo>
                      <a:pt x="695" y="466"/>
                    </a:lnTo>
                    <a:lnTo>
                      <a:pt x="690" y="466"/>
                    </a:lnTo>
                    <a:lnTo>
                      <a:pt x="686" y="471"/>
                    </a:lnTo>
                    <a:lnTo>
                      <a:pt x="681" y="471"/>
                    </a:lnTo>
                    <a:lnTo>
                      <a:pt x="677" y="476"/>
                    </a:lnTo>
                    <a:lnTo>
                      <a:pt x="672" y="476"/>
                    </a:lnTo>
                    <a:lnTo>
                      <a:pt x="672" y="480"/>
                    </a:lnTo>
                    <a:lnTo>
                      <a:pt x="668" y="480"/>
                    </a:lnTo>
                    <a:lnTo>
                      <a:pt x="658" y="480"/>
                    </a:lnTo>
                    <a:lnTo>
                      <a:pt x="654" y="480"/>
                    </a:lnTo>
                    <a:lnTo>
                      <a:pt x="654" y="480"/>
                    </a:lnTo>
                    <a:lnTo>
                      <a:pt x="649" y="485"/>
                    </a:lnTo>
                    <a:lnTo>
                      <a:pt x="649" y="489"/>
                    </a:lnTo>
                    <a:lnTo>
                      <a:pt x="649" y="489"/>
                    </a:lnTo>
                    <a:lnTo>
                      <a:pt x="649" y="494"/>
                    </a:lnTo>
                    <a:lnTo>
                      <a:pt x="649" y="498"/>
                    </a:lnTo>
                    <a:lnTo>
                      <a:pt x="645" y="498"/>
                    </a:lnTo>
                    <a:lnTo>
                      <a:pt x="640" y="498"/>
                    </a:lnTo>
                    <a:lnTo>
                      <a:pt x="636" y="498"/>
                    </a:lnTo>
                    <a:lnTo>
                      <a:pt x="631" y="503"/>
                    </a:lnTo>
                    <a:lnTo>
                      <a:pt x="626" y="503"/>
                    </a:lnTo>
                    <a:lnTo>
                      <a:pt x="626" y="508"/>
                    </a:lnTo>
                    <a:lnTo>
                      <a:pt x="626" y="512"/>
                    </a:lnTo>
                    <a:lnTo>
                      <a:pt x="622" y="512"/>
                    </a:lnTo>
                    <a:lnTo>
                      <a:pt x="622" y="508"/>
                    </a:lnTo>
                    <a:lnTo>
                      <a:pt x="622" y="503"/>
                    </a:lnTo>
                    <a:lnTo>
                      <a:pt x="617" y="498"/>
                    </a:lnTo>
                    <a:lnTo>
                      <a:pt x="617" y="494"/>
                    </a:lnTo>
                    <a:lnTo>
                      <a:pt x="617" y="489"/>
                    </a:lnTo>
                    <a:lnTo>
                      <a:pt x="613" y="485"/>
                    </a:lnTo>
                    <a:lnTo>
                      <a:pt x="613" y="480"/>
                    </a:lnTo>
                    <a:lnTo>
                      <a:pt x="608" y="480"/>
                    </a:lnTo>
                    <a:lnTo>
                      <a:pt x="608" y="480"/>
                    </a:lnTo>
                    <a:lnTo>
                      <a:pt x="608" y="480"/>
                    </a:lnTo>
                    <a:lnTo>
                      <a:pt x="608" y="480"/>
                    </a:lnTo>
                    <a:lnTo>
                      <a:pt x="604" y="480"/>
                    </a:lnTo>
                    <a:lnTo>
                      <a:pt x="599" y="480"/>
                    </a:lnTo>
                    <a:lnTo>
                      <a:pt x="594" y="476"/>
                    </a:lnTo>
                    <a:lnTo>
                      <a:pt x="590" y="471"/>
                    </a:lnTo>
                    <a:lnTo>
                      <a:pt x="585" y="471"/>
                    </a:lnTo>
                    <a:lnTo>
                      <a:pt x="585" y="471"/>
                    </a:lnTo>
                    <a:lnTo>
                      <a:pt x="581" y="476"/>
                    </a:lnTo>
                    <a:lnTo>
                      <a:pt x="576" y="476"/>
                    </a:lnTo>
                    <a:lnTo>
                      <a:pt x="572" y="480"/>
                    </a:lnTo>
                    <a:lnTo>
                      <a:pt x="572" y="480"/>
                    </a:lnTo>
                    <a:lnTo>
                      <a:pt x="567" y="485"/>
                    </a:lnTo>
                    <a:lnTo>
                      <a:pt x="562" y="485"/>
                    </a:lnTo>
                    <a:lnTo>
                      <a:pt x="562" y="489"/>
                    </a:lnTo>
                    <a:lnTo>
                      <a:pt x="562" y="494"/>
                    </a:lnTo>
                    <a:lnTo>
                      <a:pt x="558" y="494"/>
                    </a:lnTo>
                    <a:lnTo>
                      <a:pt x="558" y="498"/>
                    </a:lnTo>
                    <a:lnTo>
                      <a:pt x="558" y="503"/>
                    </a:lnTo>
                    <a:lnTo>
                      <a:pt x="562" y="503"/>
                    </a:lnTo>
                    <a:lnTo>
                      <a:pt x="562" y="503"/>
                    </a:lnTo>
                    <a:lnTo>
                      <a:pt x="558" y="508"/>
                    </a:lnTo>
                    <a:lnTo>
                      <a:pt x="553" y="512"/>
                    </a:lnTo>
                    <a:lnTo>
                      <a:pt x="549" y="512"/>
                    </a:lnTo>
                    <a:lnTo>
                      <a:pt x="544" y="512"/>
                    </a:lnTo>
                    <a:lnTo>
                      <a:pt x="540" y="517"/>
                    </a:lnTo>
                    <a:lnTo>
                      <a:pt x="535" y="517"/>
                    </a:lnTo>
                    <a:lnTo>
                      <a:pt x="530" y="517"/>
                    </a:lnTo>
                    <a:lnTo>
                      <a:pt x="526" y="517"/>
                    </a:lnTo>
                    <a:lnTo>
                      <a:pt x="521" y="512"/>
                    </a:lnTo>
                    <a:lnTo>
                      <a:pt x="521" y="508"/>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Oyo</a:t>
                </a:r>
              </a:p>
            </p:txBody>
          </p:sp>
          <p:sp>
            <p:nvSpPr>
              <p:cNvPr id="214" name="Freeform 37">
                <a:extLst>
                  <a:ext uri="{FF2B5EF4-FFF2-40B4-BE49-F238E27FC236}">
                    <a16:creationId xmlns:a16="http://schemas.microsoft.com/office/drawing/2014/main" id="{91CE0189-A8E1-4B3B-A387-81B24B43FAEB}"/>
                  </a:ext>
                </a:extLst>
              </p:cNvPr>
              <p:cNvSpPr>
                <a:spLocks/>
              </p:cNvSpPr>
              <p:nvPr>
                <p:custDataLst>
                  <p:tags r:id="rId31"/>
                </p:custDataLst>
              </p:nvPr>
            </p:nvSpPr>
            <p:spPr bwMode="auto">
              <a:xfrm>
                <a:off x="3151528" y="3407820"/>
                <a:ext cx="1053325" cy="944155"/>
              </a:xfrm>
              <a:custGeom>
                <a:avLst/>
                <a:gdLst/>
                <a:ahLst/>
                <a:cxnLst>
                  <a:cxn ang="0">
                    <a:pos x="137" y="508"/>
                  </a:cxn>
                  <a:cxn ang="0">
                    <a:pos x="87" y="485"/>
                  </a:cxn>
                  <a:cxn ang="0">
                    <a:pos x="41" y="439"/>
                  </a:cxn>
                  <a:cxn ang="0">
                    <a:pos x="50" y="412"/>
                  </a:cxn>
                  <a:cxn ang="0">
                    <a:pos x="41" y="389"/>
                  </a:cxn>
                  <a:cxn ang="0">
                    <a:pos x="9" y="361"/>
                  </a:cxn>
                  <a:cxn ang="0">
                    <a:pos x="0" y="320"/>
                  </a:cxn>
                  <a:cxn ang="0">
                    <a:pos x="14" y="274"/>
                  </a:cxn>
                  <a:cxn ang="0">
                    <a:pos x="18" y="238"/>
                  </a:cxn>
                  <a:cxn ang="0">
                    <a:pos x="23" y="178"/>
                  </a:cxn>
                  <a:cxn ang="0">
                    <a:pos x="41" y="146"/>
                  </a:cxn>
                  <a:cxn ang="0">
                    <a:pos x="41" y="87"/>
                  </a:cxn>
                  <a:cxn ang="0">
                    <a:pos x="64" y="64"/>
                  </a:cxn>
                  <a:cxn ang="0">
                    <a:pos x="82" y="18"/>
                  </a:cxn>
                  <a:cxn ang="0">
                    <a:pos x="96" y="9"/>
                  </a:cxn>
                  <a:cxn ang="0">
                    <a:pos x="137" y="18"/>
                  </a:cxn>
                  <a:cxn ang="0">
                    <a:pos x="146" y="55"/>
                  </a:cxn>
                  <a:cxn ang="0">
                    <a:pos x="155" y="82"/>
                  </a:cxn>
                  <a:cxn ang="0">
                    <a:pos x="155" y="146"/>
                  </a:cxn>
                  <a:cxn ang="0">
                    <a:pos x="192" y="133"/>
                  </a:cxn>
                  <a:cxn ang="0">
                    <a:pos x="238" y="151"/>
                  </a:cxn>
                  <a:cxn ang="0">
                    <a:pos x="247" y="183"/>
                  </a:cxn>
                  <a:cxn ang="0">
                    <a:pos x="238" y="215"/>
                  </a:cxn>
                  <a:cxn ang="0">
                    <a:pos x="238" y="256"/>
                  </a:cxn>
                  <a:cxn ang="0">
                    <a:pos x="265" y="261"/>
                  </a:cxn>
                  <a:cxn ang="0">
                    <a:pos x="283" y="297"/>
                  </a:cxn>
                  <a:cxn ang="0">
                    <a:pos x="347" y="320"/>
                  </a:cxn>
                  <a:cxn ang="0">
                    <a:pos x="425" y="316"/>
                  </a:cxn>
                  <a:cxn ang="0">
                    <a:pos x="457" y="302"/>
                  </a:cxn>
                  <a:cxn ang="0">
                    <a:pos x="494" y="270"/>
                  </a:cxn>
                  <a:cxn ang="0">
                    <a:pos x="494" y="247"/>
                  </a:cxn>
                  <a:cxn ang="0">
                    <a:pos x="480" y="229"/>
                  </a:cxn>
                  <a:cxn ang="0">
                    <a:pos x="512" y="215"/>
                  </a:cxn>
                  <a:cxn ang="0">
                    <a:pos x="544" y="229"/>
                  </a:cxn>
                  <a:cxn ang="0">
                    <a:pos x="590" y="247"/>
                  </a:cxn>
                  <a:cxn ang="0">
                    <a:pos x="635" y="265"/>
                  </a:cxn>
                  <a:cxn ang="0">
                    <a:pos x="677" y="284"/>
                  </a:cxn>
                  <a:cxn ang="0">
                    <a:pos x="709" y="302"/>
                  </a:cxn>
                  <a:cxn ang="0">
                    <a:pos x="754" y="338"/>
                  </a:cxn>
                  <a:cxn ang="0">
                    <a:pos x="754" y="366"/>
                  </a:cxn>
                  <a:cxn ang="0">
                    <a:pos x="754" y="421"/>
                  </a:cxn>
                  <a:cxn ang="0">
                    <a:pos x="782" y="503"/>
                  </a:cxn>
                  <a:cxn ang="0">
                    <a:pos x="791" y="531"/>
                  </a:cxn>
                  <a:cxn ang="0">
                    <a:pos x="768" y="558"/>
                  </a:cxn>
                  <a:cxn ang="0">
                    <a:pos x="704" y="567"/>
                  </a:cxn>
                  <a:cxn ang="0">
                    <a:pos x="677" y="595"/>
                  </a:cxn>
                  <a:cxn ang="0">
                    <a:pos x="635" y="631"/>
                  </a:cxn>
                  <a:cxn ang="0">
                    <a:pos x="608" y="654"/>
                  </a:cxn>
                  <a:cxn ang="0">
                    <a:pos x="590" y="677"/>
                  </a:cxn>
                  <a:cxn ang="0">
                    <a:pos x="567" y="691"/>
                  </a:cxn>
                  <a:cxn ang="0">
                    <a:pos x="549" y="704"/>
                  </a:cxn>
                  <a:cxn ang="0">
                    <a:pos x="526" y="723"/>
                  </a:cxn>
                  <a:cxn ang="0">
                    <a:pos x="498" y="741"/>
                  </a:cxn>
                  <a:cxn ang="0">
                    <a:pos x="466" y="755"/>
                  </a:cxn>
                  <a:cxn ang="0">
                    <a:pos x="430" y="764"/>
                  </a:cxn>
                  <a:cxn ang="0">
                    <a:pos x="361" y="741"/>
                  </a:cxn>
                  <a:cxn ang="0">
                    <a:pos x="261" y="723"/>
                  </a:cxn>
                  <a:cxn ang="0">
                    <a:pos x="192" y="723"/>
                  </a:cxn>
                  <a:cxn ang="0">
                    <a:pos x="151" y="704"/>
                  </a:cxn>
                  <a:cxn ang="0">
                    <a:pos x="128" y="654"/>
                  </a:cxn>
                  <a:cxn ang="0">
                    <a:pos x="137" y="595"/>
                  </a:cxn>
                  <a:cxn ang="0">
                    <a:pos x="174" y="544"/>
                  </a:cxn>
                </a:cxnLst>
                <a:rect l="0" t="0" r="r" b="b"/>
                <a:pathLst>
                  <a:path w="791" h="764">
                    <a:moveTo>
                      <a:pt x="178" y="503"/>
                    </a:moveTo>
                    <a:lnTo>
                      <a:pt x="174" y="503"/>
                    </a:lnTo>
                    <a:lnTo>
                      <a:pt x="174" y="503"/>
                    </a:lnTo>
                    <a:lnTo>
                      <a:pt x="169" y="503"/>
                    </a:lnTo>
                    <a:lnTo>
                      <a:pt x="160" y="503"/>
                    </a:lnTo>
                    <a:lnTo>
                      <a:pt x="151" y="503"/>
                    </a:lnTo>
                    <a:lnTo>
                      <a:pt x="146" y="503"/>
                    </a:lnTo>
                    <a:lnTo>
                      <a:pt x="137" y="508"/>
                    </a:lnTo>
                    <a:lnTo>
                      <a:pt x="128" y="508"/>
                    </a:lnTo>
                    <a:lnTo>
                      <a:pt x="128" y="508"/>
                    </a:lnTo>
                    <a:lnTo>
                      <a:pt x="119" y="503"/>
                    </a:lnTo>
                    <a:lnTo>
                      <a:pt x="105" y="503"/>
                    </a:lnTo>
                    <a:lnTo>
                      <a:pt x="91" y="503"/>
                    </a:lnTo>
                    <a:lnTo>
                      <a:pt x="87" y="503"/>
                    </a:lnTo>
                    <a:lnTo>
                      <a:pt x="87" y="494"/>
                    </a:lnTo>
                    <a:lnTo>
                      <a:pt x="87" y="485"/>
                    </a:lnTo>
                    <a:lnTo>
                      <a:pt x="82" y="480"/>
                    </a:lnTo>
                    <a:lnTo>
                      <a:pt x="78" y="480"/>
                    </a:lnTo>
                    <a:lnTo>
                      <a:pt x="78" y="462"/>
                    </a:lnTo>
                    <a:lnTo>
                      <a:pt x="73" y="453"/>
                    </a:lnTo>
                    <a:lnTo>
                      <a:pt x="73" y="444"/>
                    </a:lnTo>
                    <a:lnTo>
                      <a:pt x="59" y="444"/>
                    </a:lnTo>
                    <a:lnTo>
                      <a:pt x="50" y="444"/>
                    </a:lnTo>
                    <a:lnTo>
                      <a:pt x="41" y="439"/>
                    </a:lnTo>
                    <a:lnTo>
                      <a:pt x="41" y="434"/>
                    </a:lnTo>
                    <a:lnTo>
                      <a:pt x="41" y="434"/>
                    </a:lnTo>
                    <a:lnTo>
                      <a:pt x="41" y="430"/>
                    </a:lnTo>
                    <a:lnTo>
                      <a:pt x="41" y="425"/>
                    </a:lnTo>
                    <a:lnTo>
                      <a:pt x="46" y="421"/>
                    </a:lnTo>
                    <a:lnTo>
                      <a:pt x="46" y="416"/>
                    </a:lnTo>
                    <a:lnTo>
                      <a:pt x="50" y="412"/>
                    </a:lnTo>
                    <a:lnTo>
                      <a:pt x="50" y="412"/>
                    </a:lnTo>
                    <a:lnTo>
                      <a:pt x="55" y="407"/>
                    </a:lnTo>
                    <a:lnTo>
                      <a:pt x="55" y="402"/>
                    </a:lnTo>
                    <a:lnTo>
                      <a:pt x="55" y="398"/>
                    </a:lnTo>
                    <a:lnTo>
                      <a:pt x="50" y="393"/>
                    </a:lnTo>
                    <a:lnTo>
                      <a:pt x="46" y="393"/>
                    </a:lnTo>
                    <a:lnTo>
                      <a:pt x="46" y="389"/>
                    </a:lnTo>
                    <a:lnTo>
                      <a:pt x="41" y="389"/>
                    </a:lnTo>
                    <a:lnTo>
                      <a:pt x="41" y="389"/>
                    </a:lnTo>
                    <a:lnTo>
                      <a:pt x="41" y="384"/>
                    </a:lnTo>
                    <a:lnTo>
                      <a:pt x="37" y="384"/>
                    </a:lnTo>
                    <a:lnTo>
                      <a:pt x="32" y="384"/>
                    </a:lnTo>
                    <a:lnTo>
                      <a:pt x="32" y="380"/>
                    </a:lnTo>
                    <a:lnTo>
                      <a:pt x="27" y="380"/>
                    </a:lnTo>
                    <a:lnTo>
                      <a:pt x="18" y="370"/>
                    </a:lnTo>
                    <a:lnTo>
                      <a:pt x="14" y="361"/>
                    </a:lnTo>
                    <a:lnTo>
                      <a:pt x="9" y="361"/>
                    </a:lnTo>
                    <a:lnTo>
                      <a:pt x="9" y="357"/>
                    </a:lnTo>
                    <a:lnTo>
                      <a:pt x="5" y="352"/>
                    </a:lnTo>
                    <a:lnTo>
                      <a:pt x="5" y="348"/>
                    </a:lnTo>
                    <a:lnTo>
                      <a:pt x="0" y="348"/>
                    </a:lnTo>
                    <a:lnTo>
                      <a:pt x="0" y="343"/>
                    </a:lnTo>
                    <a:lnTo>
                      <a:pt x="0" y="338"/>
                    </a:lnTo>
                    <a:lnTo>
                      <a:pt x="0" y="329"/>
                    </a:lnTo>
                    <a:lnTo>
                      <a:pt x="0" y="320"/>
                    </a:lnTo>
                    <a:lnTo>
                      <a:pt x="0" y="311"/>
                    </a:lnTo>
                    <a:lnTo>
                      <a:pt x="0" y="306"/>
                    </a:lnTo>
                    <a:lnTo>
                      <a:pt x="0" y="302"/>
                    </a:lnTo>
                    <a:lnTo>
                      <a:pt x="5" y="297"/>
                    </a:lnTo>
                    <a:lnTo>
                      <a:pt x="5" y="293"/>
                    </a:lnTo>
                    <a:lnTo>
                      <a:pt x="9" y="284"/>
                    </a:lnTo>
                    <a:lnTo>
                      <a:pt x="14" y="279"/>
                    </a:lnTo>
                    <a:lnTo>
                      <a:pt x="14" y="274"/>
                    </a:lnTo>
                    <a:lnTo>
                      <a:pt x="14" y="270"/>
                    </a:lnTo>
                    <a:lnTo>
                      <a:pt x="18" y="265"/>
                    </a:lnTo>
                    <a:lnTo>
                      <a:pt x="18" y="261"/>
                    </a:lnTo>
                    <a:lnTo>
                      <a:pt x="18" y="261"/>
                    </a:lnTo>
                    <a:lnTo>
                      <a:pt x="18" y="256"/>
                    </a:lnTo>
                    <a:lnTo>
                      <a:pt x="18" y="247"/>
                    </a:lnTo>
                    <a:lnTo>
                      <a:pt x="18" y="242"/>
                    </a:lnTo>
                    <a:lnTo>
                      <a:pt x="18" y="238"/>
                    </a:lnTo>
                    <a:lnTo>
                      <a:pt x="18" y="233"/>
                    </a:lnTo>
                    <a:lnTo>
                      <a:pt x="18" y="229"/>
                    </a:lnTo>
                    <a:lnTo>
                      <a:pt x="18" y="206"/>
                    </a:lnTo>
                    <a:lnTo>
                      <a:pt x="18" y="201"/>
                    </a:lnTo>
                    <a:lnTo>
                      <a:pt x="18" y="192"/>
                    </a:lnTo>
                    <a:lnTo>
                      <a:pt x="23" y="188"/>
                    </a:lnTo>
                    <a:lnTo>
                      <a:pt x="23" y="183"/>
                    </a:lnTo>
                    <a:lnTo>
                      <a:pt x="23" y="178"/>
                    </a:lnTo>
                    <a:lnTo>
                      <a:pt x="32" y="174"/>
                    </a:lnTo>
                    <a:lnTo>
                      <a:pt x="32" y="169"/>
                    </a:lnTo>
                    <a:lnTo>
                      <a:pt x="32" y="165"/>
                    </a:lnTo>
                    <a:lnTo>
                      <a:pt x="32" y="160"/>
                    </a:lnTo>
                    <a:lnTo>
                      <a:pt x="37" y="160"/>
                    </a:lnTo>
                    <a:lnTo>
                      <a:pt x="37" y="151"/>
                    </a:lnTo>
                    <a:lnTo>
                      <a:pt x="41" y="151"/>
                    </a:lnTo>
                    <a:lnTo>
                      <a:pt x="41" y="146"/>
                    </a:lnTo>
                    <a:lnTo>
                      <a:pt x="41" y="142"/>
                    </a:lnTo>
                    <a:lnTo>
                      <a:pt x="41" y="137"/>
                    </a:lnTo>
                    <a:lnTo>
                      <a:pt x="41" y="133"/>
                    </a:lnTo>
                    <a:lnTo>
                      <a:pt x="41" y="128"/>
                    </a:lnTo>
                    <a:lnTo>
                      <a:pt x="41" y="124"/>
                    </a:lnTo>
                    <a:lnTo>
                      <a:pt x="41" y="105"/>
                    </a:lnTo>
                    <a:lnTo>
                      <a:pt x="41" y="96"/>
                    </a:lnTo>
                    <a:lnTo>
                      <a:pt x="41" y="87"/>
                    </a:lnTo>
                    <a:lnTo>
                      <a:pt x="41" y="82"/>
                    </a:lnTo>
                    <a:lnTo>
                      <a:pt x="41" y="78"/>
                    </a:lnTo>
                    <a:lnTo>
                      <a:pt x="46" y="73"/>
                    </a:lnTo>
                    <a:lnTo>
                      <a:pt x="50" y="69"/>
                    </a:lnTo>
                    <a:lnTo>
                      <a:pt x="55" y="64"/>
                    </a:lnTo>
                    <a:lnTo>
                      <a:pt x="59" y="64"/>
                    </a:lnTo>
                    <a:lnTo>
                      <a:pt x="59" y="64"/>
                    </a:lnTo>
                    <a:lnTo>
                      <a:pt x="64" y="64"/>
                    </a:lnTo>
                    <a:lnTo>
                      <a:pt x="64" y="60"/>
                    </a:lnTo>
                    <a:lnTo>
                      <a:pt x="69" y="55"/>
                    </a:lnTo>
                    <a:lnTo>
                      <a:pt x="73" y="50"/>
                    </a:lnTo>
                    <a:lnTo>
                      <a:pt x="73" y="46"/>
                    </a:lnTo>
                    <a:lnTo>
                      <a:pt x="78" y="41"/>
                    </a:lnTo>
                    <a:lnTo>
                      <a:pt x="82" y="37"/>
                    </a:lnTo>
                    <a:lnTo>
                      <a:pt x="82" y="32"/>
                    </a:lnTo>
                    <a:lnTo>
                      <a:pt x="82" y="18"/>
                    </a:lnTo>
                    <a:lnTo>
                      <a:pt x="82" y="14"/>
                    </a:lnTo>
                    <a:lnTo>
                      <a:pt x="82" y="5"/>
                    </a:lnTo>
                    <a:lnTo>
                      <a:pt x="78" y="0"/>
                    </a:lnTo>
                    <a:lnTo>
                      <a:pt x="82" y="0"/>
                    </a:lnTo>
                    <a:lnTo>
                      <a:pt x="87" y="0"/>
                    </a:lnTo>
                    <a:lnTo>
                      <a:pt x="87" y="0"/>
                    </a:lnTo>
                    <a:lnTo>
                      <a:pt x="91" y="5"/>
                    </a:lnTo>
                    <a:lnTo>
                      <a:pt x="96" y="9"/>
                    </a:lnTo>
                    <a:lnTo>
                      <a:pt x="110" y="14"/>
                    </a:lnTo>
                    <a:lnTo>
                      <a:pt x="110" y="14"/>
                    </a:lnTo>
                    <a:lnTo>
                      <a:pt x="114" y="14"/>
                    </a:lnTo>
                    <a:lnTo>
                      <a:pt x="119" y="14"/>
                    </a:lnTo>
                    <a:lnTo>
                      <a:pt x="123" y="14"/>
                    </a:lnTo>
                    <a:lnTo>
                      <a:pt x="128" y="14"/>
                    </a:lnTo>
                    <a:lnTo>
                      <a:pt x="133" y="18"/>
                    </a:lnTo>
                    <a:lnTo>
                      <a:pt x="137" y="18"/>
                    </a:lnTo>
                    <a:lnTo>
                      <a:pt x="137" y="18"/>
                    </a:lnTo>
                    <a:lnTo>
                      <a:pt x="142" y="23"/>
                    </a:lnTo>
                    <a:lnTo>
                      <a:pt x="146" y="28"/>
                    </a:lnTo>
                    <a:lnTo>
                      <a:pt x="146" y="32"/>
                    </a:lnTo>
                    <a:lnTo>
                      <a:pt x="146" y="41"/>
                    </a:lnTo>
                    <a:lnTo>
                      <a:pt x="146" y="46"/>
                    </a:lnTo>
                    <a:lnTo>
                      <a:pt x="146" y="50"/>
                    </a:lnTo>
                    <a:lnTo>
                      <a:pt x="146" y="55"/>
                    </a:lnTo>
                    <a:lnTo>
                      <a:pt x="146" y="60"/>
                    </a:lnTo>
                    <a:lnTo>
                      <a:pt x="151" y="64"/>
                    </a:lnTo>
                    <a:lnTo>
                      <a:pt x="151" y="64"/>
                    </a:lnTo>
                    <a:lnTo>
                      <a:pt x="151" y="69"/>
                    </a:lnTo>
                    <a:lnTo>
                      <a:pt x="151" y="73"/>
                    </a:lnTo>
                    <a:lnTo>
                      <a:pt x="151" y="78"/>
                    </a:lnTo>
                    <a:lnTo>
                      <a:pt x="155" y="82"/>
                    </a:lnTo>
                    <a:lnTo>
                      <a:pt x="155" y="82"/>
                    </a:lnTo>
                    <a:lnTo>
                      <a:pt x="155" y="87"/>
                    </a:lnTo>
                    <a:lnTo>
                      <a:pt x="155" y="96"/>
                    </a:lnTo>
                    <a:lnTo>
                      <a:pt x="155" y="101"/>
                    </a:lnTo>
                    <a:lnTo>
                      <a:pt x="155" y="105"/>
                    </a:lnTo>
                    <a:lnTo>
                      <a:pt x="155" y="119"/>
                    </a:lnTo>
                    <a:lnTo>
                      <a:pt x="155" y="133"/>
                    </a:lnTo>
                    <a:lnTo>
                      <a:pt x="155" y="137"/>
                    </a:lnTo>
                    <a:lnTo>
                      <a:pt x="155" y="146"/>
                    </a:lnTo>
                    <a:lnTo>
                      <a:pt x="160" y="151"/>
                    </a:lnTo>
                    <a:lnTo>
                      <a:pt x="160" y="151"/>
                    </a:lnTo>
                    <a:lnTo>
                      <a:pt x="165" y="151"/>
                    </a:lnTo>
                    <a:lnTo>
                      <a:pt x="169" y="151"/>
                    </a:lnTo>
                    <a:lnTo>
                      <a:pt x="174" y="146"/>
                    </a:lnTo>
                    <a:lnTo>
                      <a:pt x="183" y="142"/>
                    </a:lnTo>
                    <a:lnTo>
                      <a:pt x="187" y="137"/>
                    </a:lnTo>
                    <a:lnTo>
                      <a:pt x="192" y="133"/>
                    </a:lnTo>
                    <a:lnTo>
                      <a:pt x="192" y="133"/>
                    </a:lnTo>
                    <a:lnTo>
                      <a:pt x="197" y="133"/>
                    </a:lnTo>
                    <a:lnTo>
                      <a:pt x="206" y="133"/>
                    </a:lnTo>
                    <a:lnTo>
                      <a:pt x="219" y="137"/>
                    </a:lnTo>
                    <a:lnTo>
                      <a:pt x="219" y="137"/>
                    </a:lnTo>
                    <a:lnTo>
                      <a:pt x="224" y="142"/>
                    </a:lnTo>
                    <a:lnTo>
                      <a:pt x="233" y="151"/>
                    </a:lnTo>
                    <a:lnTo>
                      <a:pt x="238" y="151"/>
                    </a:lnTo>
                    <a:lnTo>
                      <a:pt x="238" y="156"/>
                    </a:lnTo>
                    <a:lnTo>
                      <a:pt x="238" y="165"/>
                    </a:lnTo>
                    <a:lnTo>
                      <a:pt x="242" y="169"/>
                    </a:lnTo>
                    <a:lnTo>
                      <a:pt x="242" y="174"/>
                    </a:lnTo>
                    <a:lnTo>
                      <a:pt x="242" y="174"/>
                    </a:lnTo>
                    <a:lnTo>
                      <a:pt x="247" y="174"/>
                    </a:lnTo>
                    <a:lnTo>
                      <a:pt x="247" y="178"/>
                    </a:lnTo>
                    <a:lnTo>
                      <a:pt x="247" y="183"/>
                    </a:lnTo>
                    <a:lnTo>
                      <a:pt x="247" y="188"/>
                    </a:lnTo>
                    <a:lnTo>
                      <a:pt x="247" y="192"/>
                    </a:lnTo>
                    <a:lnTo>
                      <a:pt x="242" y="201"/>
                    </a:lnTo>
                    <a:lnTo>
                      <a:pt x="242" y="206"/>
                    </a:lnTo>
                    <a:lnTo>
                      <a:pt x="238" y="210"/>
                    </a:lnTo>
                    <a:lnTo>
                      <a:pt x="238" y="215"/>
                    </a:lnTo>
                    <a:lnTo>
                      <a:pt x="238" y="215"/>
                    </a:lnTo>
                    <a:lnTo>
                      <a:pt x="238" y="215"/>
                    </a:lnTo>
                    <a:lnTo>
                      <a:pt x="233" y="220"/>
                    </a:lnTo>
                    <a:lnTo>
                      <a:pt x="229" y="233"/>
                    </a:lnTo>
                    <a:lnTo>
                      <a:pt x="229" y="238"/>
                    </a:lnTo>
                    <a:lnTo>
                      <a:pt x="229" y="238"/>
                    </a:lnTo>
                    <a:lnTo>
                      <a:pt x="233" y="247"/>
                    </a:lnTo>
                    <a:lnTo>
                      <a:pt x="233" y="252"/>
                    </a:lnTo>
                    <a:lnTo>
                      <a:pt x="238" y="256"/>
                    </a:lnTo>
                    <a:lnTo>
                      <a:pt x="238" y="256"/>
                    </a:lnTo>
                    <a:lnTo>
                      <a:pt x="242" y="256"/>
                    </a:lnTo>
                    <a:lnTo>
                      <a:pt x="247" y="256"/>
                    </a:lnTo>
                    <a:lnTo>
                      <a:pt x="251" y="256"/>
                    </a:lnTo>
                    <a:lnTo>
                      <a:pt x="256" y="256"/>
                    </a:lnTo>
                    <a:lnTo>
                      <a:pt x="256" y="261"/>
                    </a:lnTo>
                    <a:lnTo>
                      <a:pt x="261" y="261"/>
                    </a:lnTo>
                    <a:lnTo>
                      <a:pt x="261" y="261"/>
                    </a:lnTo>
                    <a:lnTo>
                      <a:pt x="265" y="261"/>
                    </a:lnTo>
                    <a:lnTo>
                      <a:pt x="270" y="270"/>
                    </a:lnTo>
                    <a:lnTo>
                      <a:pt x="274" y="274"/>
                    </a:lnTo>
                    <a:lnTo>
                      <a:pt x="274" y="279"/>
                    </a:lnTo>
                    <a:lnTo>
                      <a:pt x="274" y="284"/>
                    </a:lnTo>
                    <a:lnTo>
                      <a:pt x="279" y="284"/>
                    </a:lnTo>
                    <a:lnTo>
                      <a:pt x="283" y="288"/>
                    </a:lnTo>
                    <a:lnTo>
                      <a:pt x="283" y="293"/>
                    </a:lnTo>
                    <a:lnTo>
                      <a:pt x="283" y="297"/>
                    </a:lnTo>
                    <a:lnTo>
                      <a:pt x="288" y="297"/>
                    </a:lnTo>
                    <a:lnTo>
                      <a:pt x="288" y="302"/>
                    </a:lnTo>
                    <a:lnTo>
                      <a:pt x="293" y="302"/>
                    </a:lnTo>
                    <a:lnTo>
                      <a:pt x="297" y="302"/>
                    </a:lnTo>
                    <a:lnTo>
                      <a:pt x="302" y="302"/>
                    </a:lnTo>
                    <a:lnTo>
                      <a:pt x="306" y="306"/>
                    </a:lnTo>
                    <a:lnTo>
                      <a:pt x="315" y="311"/>
                    </a:lnTo>
                    <a:lnTo>
                      <a:pt x="347" y="320"/>
                    </a:lnTo>
                    <a:lnTo>
                      <a:pt x="347" y="320"/>
                    </a:lnTo>
                    <a:lnTo>
                      <a:pt x="352" y="320"/>
                    </a:lnTo>
                    <a:lnTo>
                      <a:pt x="366" y="320"/>
                    </a:lnTo>
                    <a:lnTo>
                      <a:pt x="370" y="320"/>
                    </a:lnTo>
                    <a:lnTo>
                      <a:pt x="393" y="320"/>
                    </a:lnTo>
                    <a:lnTo>
                      <a:pt x="393" y="320"/>
                    </a:lnTo>
                    <a:lnTo>
                      <a:pt x="411" y="320"/>
                    </a:lnTo>
                    <a:lnTo>
                      <a:pt x="425" y="316"/>
                    </a:lnTo>
                    <a:lnTo>
                      <a:pt x="430" y="316"/>
                    </a:lnTo>
                    <a:lnTo>
                      <a:pt x="439" y="311"/>
                    </a:lnTo>
                    <a:lnTo>
                      <a:pt x="443" y="311"/>
                    </a:lnTo>
                    <a:lnTo>
                      <a:pt x="443" y="306"/>
                    </a:lnTo>
                    <a:lnTo>
                      <a:pt x="448" y="306"/>
                    </a:lnTo>
                    <a:lnTo>
                      <a:pt x="453" y="302"/>
                    </a:lnTo>
                    <a:lnTo>
                      <a:pt x="453" y="302"/>
                    </a:lnTo>
                    <a:lnTo>
                      <a:pt x="457" y="302"/>
                    </a:lnTo>
                    <a:lnTo>
                      <a:pt x="457" y="297"/>
                    </a:lnTo>
                    <a:lnTo>
                      <a:pt x="457" y="288"/>
                    </a:lnTo>
                    <a:lnTo>
                      <a:pt x="457" y="284"/>
                    </a:lnTo>
                    <a:lnTo>
                      <a:pt x="462" y="284"/>
                    </a:lnTo>
                    <a:lnTo>
                      <a:pt x="466" y="279"/>
                    </a:lnTo>
                    <a:lnTo>
                      <a:pt x="475" y="274"/>
                    </a:lnTo>
                    <a:lnTo>
                      <a:pt x="480" y="274"/>
                    </a:lnTo>
                    <a:lnTo>
                      <a:pt x="494" y="270"/>
                    </a:lnTo>
                    <a:lnTo>
                      <a:pt x="498" y="270"/>
                    </a:lnTo>
                    <a:lnTo>
                      <a:pt x="503" y="265"/>
                    </a:lnTo>
                    <a:lnTo>
                      <a:pt x="503" y="261"/>
                    </a:lnTo>
                    <a:lnTo>
                      <a:pt x="503" y="261"/>
                    </a:lnTo>
                    <a:lnTo>
                      <a:pt x="503" y="256"/>
                    </a:lnTo>
                    <a:lnTo>
                      <a:pt x="498" y="252"/>
                    </a:lnTo>
                    <a:lnTo>
                      <a:pt x="498" y="247"/>
                    </a:lnTo>
                    <a:lnTo>
                      <a:pt x="494" y="247"/>
                    </a:lnTo>
                    <a:lnTo>
                      <a:pt x="494" y="242"/>
                    </a:lnTo>
                    <a:lnTo>
                      <a:pt x="489" y="242"/>
                    </a:lnTo>
                    <a:lnTo>
                      <a:pt x="489" y="238"/>
                    </a:lnTo>
                    <a:lnTo>
                      <a:pt x="485" y="238"/>
                    </a:lnTo>
                    <a:lnTo>
                      <a:pt x="485" y="238"/>
                    </a:lnTo>
                    <a:lnTo>
                      <a:pt x="480" y="238"/>
                    </a:lnTo>
                    <a:lnTo>
                      <a:pt x="480" y="233"/>
                    </a:lnTo>
                    <a:lnTo>
                      <a:pt x="480" y="229"/>
                    </a:lnTo>
                    <a:lnTo>
                      <a:pt x="480" y="224"/>
                    </a:lnTo>
                    <a:lnTo>
                      <a:pt x="480" y="220"/>
                    </a:lnTo>
                    <a:lnTo>
                      <a:pt x="485" y="215"/>
                    </a:lnTo>
                    <a:lnTo>
                      <a:pt x="489" y="215"/>
                    </a:lnTo>
                    <a:lnTo>
                      <a:pt x="494" y="215"/>
                    </a:lnTo>
                    <a:lnTo>
                      <a:pt x="503" y="215"/>
                    </a:lnTo>
                    <a:lnTo>
                      <a:pt x="507" y="215"/>
                    </a:lnTo>
                    <a:lnTo>
                      <a:pt x="512" y="215"/>
                    </a:lnTo>
                    <a:lnTo>
                      <a:pt x="512" y="215"/>
                    </a:lnTo>
                    <a:lnTo>
                      <a:pt x="526" y="220"/>
                    </a:lnTo>
                    <a:lnTo>
                      <a:pt x="526" y="220"/>
                    </a:lnTo>
                    <a:lnTo>
                      <a:pt x="530" y="224"/>
                    </a:lnTo>
                    <a:lnTo>
                      <a:pt x="535" y="224"/>
                    </a:lnTo>
                    <a:lnTo>
                      <a:pt x="539" y="224"/>
                    </a:lnTo>
                    <a:lnTo>
                      <a:pt x="539" y="229"/>
                    </a:lnTo>
                    <a:lnTo>
                      <a:pt x="544" y="229"/>
                    </a:lnTo>
                    <a:lnTo>
                      <a:pt x="558" y="229"/>
                    </a:lnTo>
                    <a:lnTo>
                      <a:pt x="567" y="233"/>
                    </a:lnTo>
                    <a:lnTo>
                      <a:pt x="571" y="238"/>
                    </a:lnTo>
                    <a:lnTo>
                      <a:pt x="576" y="238"/>
                    </a:lnTo>
                    <a:lnTo>
                      <a:pt x="581" y="238"/>
                    </a:lnTo>
                    <a:lnTo>
                      <a:pt x="585" y="242"/>
                    </a:lnTo>
                    <a:lnTo>
                      <a:pt x="590" y="242"/>
                    </a:lnTo>
                    <a:lnTo>
                      <a:pt x="590" y="247"/>
                    </a:lnTo>
                    <a:lnTo>
                      <a:pt x="594" y="247"/>
                    </a:lnTo>
                    <a:lnTo>
                      <a:pt x="594" y="252"/>
                    </a:lnTo>
                    <a:lnTo>
                      <a:pt x="599" y="256"/>
                    </a:lnTo>
                    <a:lnTo>
                      <a:pt x="603" y="261"/>
                    </a:lnTo>
                    <a:lnTo>
                      <a:pt x="608" y="261"/>
                    </a:lnTo>
                    <a:lnTo>
                      <a:pt x="613" y="261"/>
                    </a:lnTo>
                    <a:lnTo>
                      <a:pt x="617" y="265"/>
                    </a:lnTo>
                    <a:lnTo>
                      <a:pt x="635" y="265"/>
                    </a:lnTo>
                    <a:lnTo>
                      <a:pt x="645" y="270"/>
                    </a:lnTo>
                    <a:lnTo>
                      <a:pt x="649" y="274"/>
                    </a:lnTo>
                    <a:lnTo>
                      <a:pt x="658" y="274"/>
                    </a:lnTo>
                    <a:lnTo>
                      <a:pt x="663" y="279"/>
                    </a:lnTo>
                    <a:lnTo>
                      <a:pt x="667" y="279"/>
                    </a:lnTo>
                    <a:lnTo>
                      <a:pt x="672" y="284"/>
                    </a:lnTo>
                    <a:lnTo>
                      <a:pt x="677" y="284"/>
                    </a:lnTo>
                    <a:lnTo>
                      <a:pt x="677" y="284"/>
                    </a:lnTo>
                    <a:lnTo>
                      <a:pt x="681" y="288"/>
                    </a:lnTo>
                    <a:lnTo>
                      <a:pt x="686" y="293"/>
                    </a:lnTo>
                    <a:lnTo>
                      <a:pt x="690" y="293"/>
                    </a:lnTo>
                    <a:lnTo>
                      <a:pt x="695" y="297"/>
                    </a:lnTo>
                    <a:lnTo>
                      <a:pt x="699" y="302"/>
                    </a:lnTo>
                    <a:lnTo>
                      <a:pt x="699" y="302"/>
                    </a:lnTo>
                    <a:lnTo>
                      <a:pt x="704" y="302"/>
                    </a:lnTo>
                    <a:lnTo>
                      <a:pt x="709" y="302"/>
                    </a:lnTo>
                    <a:lnTo>
                      <a:pt x="713" y="306"/>
                    </a:lnTo>
                    <a:lnTo>
                      <a:pt x="722" y="311"/>
                    </a:lnTo>
                    <a:lnTo>
                      <a:pt x="727" y="320"/>
                    </a:lnTo>
                    <a:lnTo>
                      <a:pt x="741" y="325"/>
                    </a:lnTo>
                    <a:lnTo>
                      <a:pt x="745" y="329"/>
                    </a:lnTo>
                    <a:lnTo>
                      <a:pt x="745" y="334"/>
                    </a:lnTo>
                    <a:lnTo>
                      <a:pt x="745" y="334"/>
                    </a:lnTo>
                    <a:lnTo>
                      <a:pt x="754" y="338"/>
                    </a:lnTo>
                    <a:lnTo>
                      <a:pt x="759" y="343"/>
                    </a:lnTo>
                    <a:lnTo>
                      <a:pt x="777" y="338"/>
                    </a:lnTo>
                    <a:lnTo>
                      <a:pt x="763" y="348"/>
                    </a:lnTo>
                    <a:lnTo>
                      <a:pt x="763" y="352"/>
                    </a:lnTo>
                    <a:lnTo>
                      <a:pt x="759" y="357"/>
                    </a:lnTo>
                    <a:lnTo>
                      <a:pt x="759" y="361"/>
                    </a:lnTo>
                    <a:lnTo>
                      <a:pt x="759" y="366"/>
                    </a:lnTo>
                    <a:lnTo>
                      <a:pt x="754" y="366"/>
                    </a:lnTo>
                    <a:lnTo>
                      <a:pt x="754" y="370"/>
                    </a:lnTo>
                    <a:lnTo>
                      <a:pt x="754" y="375"/>
                    </a:lnTo>
                    <a:lnTo>
                      <a:pt x="750" y="380"/>
                    </a:lnTo>
                    <a:lnTo>
                      <a:pt x="750" y="384"/>
                    </a:lnTo>
                    <a:lnTo>
                      <a:pt x="750" y="389"/>
                    </a:lnTo>
                    <a:lnTo>
                      <a:pt x="750" y="398"/>
                    </a:lnTo>
                    <a:lnTo>
                      <a:pt x="754" y="407"/>
                    </a:lnTo>
                    <a:lnTo>
                      <a:pt x="754" y="421"/>
                    </a:lnTo>
                    <a:lnTo>
                      <a:pt x="759" y="434"/>
                    </a:lnTo>
                    <a:lnTo>
                      <a:pt x="759" y="448"/>
                    </a:lnTo>
                    <a:lnTo>
                      <a:pt x="763" y="462"/>
                    </a:lnTo>
                    <a:lnTo>
                      <a:pt x="768" y="480"/>
                    </a:lnTo>
                    <a:lnTo>
                      <a:pt x="773" y="489"/>
                    </a:lnTo>
                    <a:lnTo>
                      <a:pt x="777" y="499"/>
                    </a:lnTo>
                    <a:lnTo>
                      <a:pt x="777" y="503"/>
                    </a:lnTo>
                    <a:lnTo>
                      <a:pt x="782" y="503"/>
                    </a:lnTo>
                    <a:lnTo>
                      <a:pt x="782" y="508"/>
                    </a:lnTo>
                    <a:lnTo>
                      <a:pt x="786" y="508"/>
                    </a:lnTo>
                    <a:lnTo>
                      <a:pt x="786" y="512"/>
                    </a:lnTo>
                    <a:lnTo>
                      <a:pt x="786" y="517"/>
                    </a:lnTo>
                    <a:lnTo>
                      <a:pt x="786" y="521"/>
                    </a:lnTo>
                    <a:lnTo>
                      <a:pt x="791" y="521"/>
                    </a:lnTo>
                    <a:lnTo>
                      <a:pt x="791" y="526"/>
                    </a:lnTo>
                    <a:lnTo>
                      <a:pt x="791" y="531"/>
                    </a:lnTo>
                    <a:lnTo>
                      <a:pt x="791" y="540"/>
                    </a:lnTo>
                    <a:lnTo>
                      <a:pt x="786" y="544"/>
                    </a:lnTo>
                    <a:lnTo>
                      <a:pt x="786" y="544"/>
                    </a:lnTo>
                    <a:lnTo>
                      <a:pt x="782" y="549"/>
                    </a:lnTo>
                    <a:lnTo>
                      <a:pt x="777" y="553"/>
                    </a:lnTo>
                    <a:lnTo>
                      <a:pt x="773" y="553"/>
                    </a:lnTo>
                    <a:lnTo>
                      <a:pt x="768" y="558"/>
                    </a:lnTo>
                    <a:lnTo>
                      <a:pt x="768" y="558"/>
                    </a:lnTo>
                    <a:lnTo>
                      <a:pt x="754" y="563"/>
                    </a:lnTo>
                    <a:lnTo>
                      <a:pt x="736" y="563"/>
                    </a:lnTo>
                    <a:lnTo>
                      <a:pt x="727" y="563"/>
                    </a:lnTo>
                    <a:lnTo>
                      <a:pt x="722" y="567"/>
                    </a:lnTo>
                    <a:lnTo>
                      <a:pt x="718" y="567"/>
                    </a:lnTo>
                    <a:lnTo>
                      <a:pt x="713" y="567"/>
                    </a:lnTo>
                    <a:lnTo>
                      <a:pt x="709" y="567"/>
                    </a:lnTo>
                    <a:lnTo>
                      <a:pt x="704" y="567"/>
                    </a:lnTo>
                    <a:lnTo>
                      <a:pt x="704" y="572"/>
                    </a:lnTo>
                    <a:lnTo>
                      <a:pt x="699" y="572"/>
                    </a:lnTo>
                    <a:lnTo>
                      <a:pt x="699" y="576"/>
                    </a:lnTo>
                    <a:lnTo>
                      <a:pt x="695" y="576"/>
                    </a:lnTo>
                    <a:lnTo>
                      <a:pt x="690" y="581"/>
                    </a:lnTo>
                    <a:lnTo>
                      <a:pt x="686" y="585"/>
                    </a:lnTo>
                    <a:lnTo>
                      <a:pt x="677" y="590"/>
                    </a:lnTo>
                    <a:lnTo>
                      <a:pt x="677" y="595"/>
                    </a:lnTo>
                    <a:lnTo>
                      <a:pt x="672" y="595"/>
                    </a:lnTo>
                    <a:lnTo>
                      <a:pt x="667" y="599"/>
                    </a:lnTo>
                    <a:lnTo>
                      <a:pt x="663" y="604"/>
                    </a:lnTo>
                    <a:lnTo>
                      <a:pt x="658" y="613"/>
                    </a:lnTo>
                    <a:lnTo>
                      <a:pt x="649" y="613"/>
                    </a:lnTo>
                    <a:lnTo>
                      <a:pt x="640" y="622"/>
                    </a:lnTo>
                    <a:lnTo>
                      <a:pt x="635" y="627"/>
                    </a:lnTo>
                    <a:lnTo>
                      <a:pt x="635" y="631"/>
                    </a:lnTo>
                    <a:lnTo>
                      <a:pt x="635" y="631"/>
                    </a:lnTo>
                    <a:lnTo>
                      <a:pt x="635" y="631"/>
                    </a:lnTo>
                    <a:lnTo>
                      <a:pt x="631" y="631"/>
                    </a:lnTo>
                    <a:lnTo>
                      <a:pt x="617" y="645"/>
                    </a:lnTo>
                    <a:lnTo>
                      <a:pt x="617" y="649"/>
                    </a:lnTo>
                    <a:lnTo>
                      <a:pt x="613" y="649"/>
                    </a:lnTo>
                    <a:lnTo>
                      <a:pt x="613" y="654"/>
                    </a:lnTo>
                    <a:lnTo>
                      <a:pt x="608" y="654"/>
                    </a:lnTo>
                    <a:lnTo>
                      <a:pt x="608" y="659"/>
                    </a:lnTo>
                    <a:lnTo>
                      <a:pt x="603" y="659"/>
                    </a:lnTo>
                    <a:lnTo>
                      <a:pt x="599" y="663"/>
                    </a:lnTo>
                    <a:lnTo>
                      <a:pt x="599" y="668"/>
                    </a:lnTo>
                    <a:lnTo>
                      <a:pt x="594" y="668"/>
                    </a:lnTo>
                    <a:lnTo>
                      <a:pt x="590" y="668"/>
                    </a:lnTo>
                    <a:lnTo>
                      <a:pt x="590" y="672"/>
                    </a:lnTo>
                    <a:lnTo>
                      <a:pt x="590" y="677"/>
                    </a:lnTo>
                    <a:lnTo>
                      <a:pt x="585" y="677"/>
                    </a:lnTo>
                    <a:lnTo>
                      <a:pt x="585" y="677"/>
                    </a:lnTo>
                    <a:lnTo>
                      <a:pt x="581" y="677"/>
                    </a:lnTo>
                    <a:lnTo>
                      <a:pt x="576" y="681"/>
                    </a:lnTo>
                    <a:lnTo>
                      <a:pt x="576" y="686"/>
                    </a:lnTo>
                    <a:lnTo>
                      <a:pt x="571" y="686"/>
                    </a:lnTo>
                    <a:lnTo>
                      <a:pt x="567" y="686"/>
                    </a:lnTo>
                    <a:lnTo>
                      <a:pt x="567" y="691"/>
                    </a:lnTo>
                    <a:lnTo>
                      <a:pt x="567" y="691"/>
                    </a:lnTo>
                    <a:lnTo>
                      <a:pt x="567" y="695"/>
                    </a:lnTo>
                    <a:lnTo>
                      <a:pt x="562" y="695"/>
                    </a:lnTo>
                    <a:lnTo>
                      <a:pt x="558" y="695"/>
                    </a:lnTo>
                    <a:lnTo>
                      <a:pt x="558" y="700"/>
                    </a:lnTo>
                    <a:lnTo>
                      <a:pt x="553" y="700"/>
                    </a:lnTo>
                    <a:lnTo>
                      <a:pt x="549" y="700"/>
                    </a:lnTo>
                    <a:lnTo>
                      <a:pt x="549" y="704"/>
                    </a:lnTo>
                    <a:lnTo>
                      <a:pt x="544" y="704"/>
                    </a:lnTo>
                    <a:lnTo>
                      <a:pt x="539" y="709"/>
                    </a:lnTo>
                    <a:lnTo>
                      <a:pt x="535" y="709"/>
                    </a:lnTo>
                    <a:lnTo>
                      <a:pt x="535" y="713"/>
                    </a:lnTo>
                    <a:lnTo>
                      <a:pt x="530" y="713"/>
                    </a:lnTo>
                    <a:lnTo>
                      <a:pt x="526" y="718"/>
                    </a:lnTo>
                    <a:lnTo>
                      <a:pt x="526" y="718"/>
                    </a:lnTo>
                    <a:lnTo>
                      <a:pt x="526" y="723"/>
                    </a:lnTo>
                    <a:lnTo>
                      <a:pt x="521" y="723"/>
                    </a:lnTo>
                    <a:lnTo>
                      <a:pt x="517" y="723"/>
                    </a:lnTo>
                    <a:lnTo>
                      <a:pt x="512" y="727"/>
                    </a:lnTo>
                    <a:lnTo>
                      <a:pt x="507" y="732"/>
                    </a:lnTo>
                    <a:lnTo>
                      <a:pt x="503" y="732"/>
                    </a:lnTo>
                    <a:lnTo>
                      <a:pt x="503" y="736"/>
                    </a:lnTo>
                    <a:lnTo>
                      <a:pt x="498" y="736"/>
                    </a:lnTo>
                    <a:lnTo>
                      <a:pt x="498" y="741"/>
                    </a:lnTo>
                    <a:lnTo>
                      <a:pt x="494" y="741"/>
                    </a:lnTo>
                    <a:lnTo>
                      <a:pt x="489" y="741"/>
                    </a:lnTo>
                    <a:lnTo>
                      <a:pt x="485" y="741"/>
                    </a:lnTo>
                    <a:lnTo>
                      <a:pt x="480" y="745"/>
                    </a:lnTo>
                    <a:lnTo>
                      <a:pt x="480" y="745"/>
                    </a:lnTo>
                    <a:lnTo>
                      <a:pt x="471" y="750"/>
                    </a:lnTo>
                    <a:lnTo>
                      <a:pt x="466" y="750"/>
                    </a:lnTo>
                    <a:lnTo>
                      <a:pt x="466" y="755"/>
                    </a:lnTo>
                    <a:lnTo>
                      <a:pt x="462" y="755"/>
                    </a:lnTo>
                    <a:lnTo>
                      <a:pt x="457" y="759"/>
                    </a:lnTo>
                    <a:lnTo>
                      <a:pt x="457" y="759"/>
                    </a:lnTo>
                    <a:lnTo>
                      <a:pt x="448" y="759"/>
                    </a:lnTo>
                    <a:lnTo>
                      <a:pt x="443" y="759"/>
                    </a:lnTo>
                    <a:lnTo>
                      <a:pt x="439" y="764"/>
                    </a:lnTo>
                    <a:lnTo>
                      <a:pt x="439" y="764"/>
                    </a:lnTo>
                    <a:lnTo>
                      <a:pt x="430" y="764"/>
                    </a:lnTo>
                    <a:lnTo>
                      <a:pt x="425" y="764"/>
                    </a:lnTo>
                    <a:lnTo>
                      <a:pt x="416" y="764"/>
                    </a:lnTo>
                    <a:lnTo>
                      <a:pt x="416" y="759"/>
                    </a:lnTo>
                    <a:lnTo>
                      <a:pt x="402" y="755"/>
                    </a:lnTo>
                    <a:lnTo>
                      <a:pt x="393" y="755"/>
                    </a:lnTo>
                    <a:lnTo>
                      <a:pt x="379" y="750"/>
                    </a:lnTo>
                    <a:lnTo>
                      <a:pt x="370" y="750"/>
                    </a:lnTo>
                    <a:lnTo>
                      <a:pt x="361" y="741"/>
                    </a:lnTo>
                    <a:lnTo>
                      <a:pt x="352" y="741"/>
                    </a:lnTo>
                    <a:lnTo>
                      <a:pt x="334" y="732"/>
                    </a:lnTo>
                    <a:lnTo>
                      <a:pt x="315" y="723"/>
                    </a:lnTo>
                    <a:lnTo>
                      <a:pt x="302" y="723"/>
                    </a:lnTo>
                    <a:lnTo>
                      <a:pt x="293" y="718"/>
                    </a:lnTo>
                    <a:lnTo>
                      <a:pt x="283" y="718"/>
                    </a:lnTo>
                    <a:lnTo>
                      <a:pt x="265" y="718"/>
                    </a:lnTo>
                    <a:lnTo>
                      <a:pt x="261" y="723"/>
                    </a:lnTo>
                    <a:lnTo>
                      <a:pt x="256" y="723"/>
                    </a:lnTo>
                    <a:lnTo>
                      <a:pt x="242" y="723"/>
                    </a:lnTo>
                    <a:lnTo>
                      <a:pt x="224" y="723"/>
                    </a:lnTo>
                    <a:lnTo>
                      <a:pt x="210" y="723"/>
                    </a:lnTo>
                    <a:lnTo>
                      <a:pt x="201" y="727"/>
                    </a:lnTo>
                    <a:lnTo>
                      <a:pt x="197" y="727"/>
                    </a:lnTo>
                    <a:lnTo>
                      <a:pt x="197" y="727"/>
                    </a:lnTo>
                    <a:lnTo>
                      <a:pt x="192" y="723"/>
                    </a:lnTo>
                    <a:lnTo>
                      <a:pt x="187" y="718"/>
                    </a:lnTo>
                    <a:lnTo>
                      <a:pt x="183" y="713"/>
                    </a:lnTo>
                    <a:lnTo>
                      <a:pt x="178" y="709"/>
                    </a:lnTo>
                    <a:lnTo>
                      <a:pt x="174" y="704"/>
                    </a:lnTo>
                    <a:lnTo>
                      <a:pt x="169" y="700"/>
                    </a:lnTo>
                    <a:lnTo>
                      <a:pt x="165" y="704"/>
                    </a:lnTo>
                    <a:lnTo>
                      <a:pt x="155" y="704"/>
                    </a:lnTo>
                    <a:lnTo>
                      <a:pt x="151" y="704"/>
                    </a:lnTo>
                    <a:lnTo>
                      <a:pt x="151" y="700"/>
                    </a:lnTo>
                    <a:lnTo>
                      <a:pt x="151" y="695"/>
                    </a:lnTo>
                    <a:lnTo>
                      <a:pt x="151" y="686"/>
                    </a:lnTo>
                    <a:lnTo>
                      <a:pt x="151" y="677"/>
                    </a:lnTo>
                    <a:lnTo>
                      <a:pt x="146" y="672"/>
                    </a:lnTo>
                    <a:lnTo>
                      <a:pt x="137" y="672"/>
                    </a:lnTo>
                    <a:lnTo>
                      <a:pt x="133" y="663"/>
                    </a:lnTo>
                    <a:lnTo>
                      <a:pt x="128" y="654"/>
                    </a:lnTo>
                    <a:lnTo>
                      <a:pt x="128" y="654"/>
                    </a:lnTo>
                    <a:lnTo>
                      <a:pt x="128" y="645"/>
                    </a:lnTo>
                    <a:lnTo>
                      <a:pt x="119" y="636"/>
                    </a:lnTo>
                    <a:lnTo>
                      <a:pt x="114" y="631"/>
                    </a:lnTo>
                    <a:lnTo>
                      <a:pt x="114" y="617"/>
                    </a:lnTo>
                    <a:lnTo>
                      <a:pt x="123" y="608"/>
                    </a:lnTo>
                    <a:lnTo>
                      <a:pt x="128" y="604"/>
                    </a:lnTo>
                    <a:lnTo>
                      <a:pt x="137" y="595"/>
                    </a:lnTo>
                    <a:lnTo>
                      <a:pt x="137" y="590"/>
                    </a:lnTo>
                    <a:lnTo>
                      <a:pt x="142" y="576"/>
                    </a:lnTo>
                    <a:lnTo>
                      <a:pt x="151" y="576"/>
                    </a:lnTo>
                    <a:lnTo>
                      <a:pt x="155" y="572"/>
                    </a:lnTo>
                    <a:lnTo>
                      <a:pt x="165" y="567"/>
                    </a:lnTo>
                    <a:lnTo>
                      <a:pt x="169" y="563"/>
                    </a:lnTo>
                    <a:lnTo>
                      <a:pt x="169" y="558"/>
                    </a:lnTo>
                    <a:lnTo>
                      <a:pt x="174" y="544"/>
                    </a:lnTo>
                    <a:lnTo>
                      <a:pt x="178" y="535"/>
                    </a:lnTo>
                    <a:lnTo>
                      <a:pt x="183" y="521"/>
                    </a:lnTo>
                    <a:lnTo>
                      <a:pt x="178" y="517"/>
                    </a:lnTo>
                    <a:lnTo>
                      <a:pt x="178" y="503"/>
                    </a:lnTo>
                    <a:close/>
                  </a:path>
                </a:pathLst>
              </a:custGeom>
              <a:grpFill/>
              <a:ln w="9525" cmpd="sng">
                <a:solidFill>
                  <a:srgbClr val="FFFFFF"/>
                </a:solidFill>
                <a:miter lim="800000"/>
                <a:headEnd/>
                <a:tailEnd/>
              </a:ln>
              <a:effectLst/>
            </p:spPr>
            <p:txBody>
              <a:bodyPr tIns="27432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Plateau</a:t>
                </a:r>
              </a:p>
            </p:txBody>
          </p:sp>
          <p:sp>
            <p:nvSpPr>
              <p:cNvPr id="215" name="Freeform 38">
                <a:extLst>
                  <a:ext uri="{FF2B5EF4-FFF2-40B4-BE49-F238E27FC236}">
                    <a16:creationId xmlns:a16="http://schemas.microsoft.com/office/drawing/2014/main" id="{527B4BB5-9B3B-4FF4-8EB9-F89B30AD498E}"/>
                  </a:ext>
                </a:extLst>
              </p:cNvPr>
              <p:cNvSpPr>
                <a:spLocks/>
              </p:cNvSpPr>
              <p:nvPr>
                <p:custDataLst>
                  <p:tags r:id="rId32"/>
                </p:custDataLst>
              </p:nvPr>
            </p:nvSpPr>
            <p:spPr bwMode="auto">
              <a:xfrm>
                <a:off x="2000900" y="5491453"/>
                <a:ext cx="628111" cy="666356"/>
              </a:xfrm>
              <a:custGeom>
                <a:avLst/>
                <a:gdLst/>
                <a:ahLst/>
                <a:cxnLst>
                  <a:cxn ang="0">
                    <a:pos x="347" y="338"/>
                  </a:cxn>
                  <a:cxn ang="0">
                    <a:pos x="393" y="338"/>
                  </a:cxn>
                  <a:cxn ang="0">
                    <a:pos x="434" y="347"/>
                  </a:cxn>
                  <a:cxn ang="0">
                    <a:pos x="452" y="370"/>
                  </a:cxn>
                  <a:cxn ang="0">
                    <a:pos x="457" y="398"/>
                  </a:cxn>
                  <a:cxn ang="0">
                    <a:pos x="452" y="439"/>
                  </a:cxn>
                  <a:cxn ang="0">
                    <a:pos x="471" y="471"/>
                  </a:cxn>
                  <a:cxn ang="0">
                    <a:pos x="461" y="489"/>
                  </a:cxn>
                  <a:cxn ang="0">
                    <a:pos x="402" y="498"/>
                  </a:cxn>
                  <a:cxn ang="0">
                    <a:pos x="365" y="498"/>
                  </a:cxn>
                  <a:cxn ang="0">
                    <a:pos x="343" y="507"/>
                  </a:cxn>
                  <a:cxn ang="0">
                    <a:pos x="301" y="517"/>
                  </a:cxn>
                  <a:cxn ang="0">
                    <a:pos x="301" y="507"/>
                  </a:cxn>
                  <a:cxn ang="0">
                    <a:pos x="311" y="489"/>
                  </a:cxn>
                  <a:cxn ang="0">
                    <a:pos x="288" y="485"/>
                  </a:cxn>
                  <a:cxn ang="0">
                    <a:pos x="288" y="489"/>
                  </a:cxn>
                  <a:cxn ang="0">
                    <a:pos x="269" y="494"/>
                  </a:cxn>
                  <a:cxn ang="0">
                    <a:pos x="256" y="494"/>
                  </a:cxn>
                  <a:cxn ang="0">
                    <a:pos x="247" y="498"/>
                  </a:cxn>
                  <a:cxn ang="0">
                    <a:pos x="251" y="517"/>
                  </a:cxn>
                  <a:cxn ang="0">
                    <a:pos x="242" y="521"/>
                  </a:cxn>
                  <a:cxn ang="0">
                    <a:pos x="228" y="521"/>
                  </a:cxn>
                  <a:cxn ang="0">
                    <a:pos x="196" y="526"/>
                  </a:cxn>
                  <a:cxn ang="0">
                    <a:pos x="146" y="530"/>
                  </a:cxn>
                  <a:cxn ang="0">
                    <a:pos x="105" y="539"/>
                  </a:cxn>
                  <a:cxn ang="0">
                    <a:pos x="91" y="535"/>
                  </a:cxn>
                  <a:cxn ang="0">
                    <a:pos x="41" y="530"/>
                  </a:cxn>
                  <a:cxn ang="0">
                    <a:pos x="50" y="485"/>
                  </a:cxn>
                  <a:cxn ang="0">
                    <a:pos x="59" y="448"/>
                  </a:cxn>
                  <a:cxn ang="0">
                    <a:pos x="59" y="411"/>
                  </a:cxn>
                  <a:cxn ang="0">
                    <a:pos x="64" y="384"/>
                  </a:cxn>
                  <a:cxn ang="0">
                    <a:pos x="23" y="379"/>
                  </a:cxn>
                  <a:cxn ang="0">
                    <a:pos x="4" y="338"/>
                  </a:cxn>
                  <a:cxn ang="0">
                    <a:pos x="23" y="302"/>
                  </a:cxn>
                  <a:cxn ang="0">
                    <a:pos x="23" y="270"/>
                  </a:cxn>
                  <a:cxn ang="0">
                    <a:pos x="59" y="224"/>
                  </a:cxn>
                  <a:cxn ang="0">
                    <a:pos x="73" y="183"/>
                  </a:cxn>
                  <a:cxn ang="0">
                    <a:pos x="82" y="142"/>
                  </a:cxn>
                  <a:cxn ang="0">
                    <a:pos x="50" y="133"/>
                  </a:cxn>
                  <a:cxn ang="0">
                    <a:pos x="64" y="78"/>
                  </a:cxn>
                  <a:cxn ang="0">
                    <a:pos x="91" y="14"/>
                  </a:cxn>
                  <a:cxn ang="0">
                    <a:pos x="128" y="37"/>
                  </a:cxn>
                  <a:cxn ang="0">
                    <a:pos x="123" y="64"/>
                  </a:cxn>
                  <a:cxn ang="0">
                    <a:pos x="105" y="110"/>
                  </a:cxn>
                  <a:cxn ang="0">
                    <a:pos x="155" y="110"/>
                  </a:cxn>
                  <a:cxn ang="0">
                    <a:pos x="151" y="151"/>
                  </a:cxn>
                  <a:cxn ang="0">
                    <a:pos x="146" y="169"/>
                  </a:cxn>
                  <a:cxn ang="0">
                    <a:pos x="169" y="192"/>
                  </a:cxn>
                  <a:cxn ang="0">
                    <a:pos x="196" y="210"/>
                  </a:cxn>
                  <a:cxn ang="0">
                    <a:pos x="242" y="210"/>
                  </a:cxn>
                  <a:cxn ang="0">
                    <a:pos x="288" y="215"/>
                  </a:cxn>
                  <a:cxn ang="0">
                    <a:pos x="311" y="210"/>
                  </a:cxn>
                  <a:cxn ang="0">
                    <a:pos x="347" y="224"/>
                  </a:cxn>
                  <a:cxn ang="0">
                    <a:pos x="347" y="274"/>
                  </a:cxn>
                  <a:cxn ang="0">
                    <a:pos x="324" y="293"/>
                  </a:cxn>
                  <a:cxn ang="0">
                    <a:pos x="311" y="311"/>
                  </a:cxn>
                </a:cxnLst>
                <a:rect l="0" t="0" r="r" b="b"/>
                <a:pathLst>
                  <a:path w="471" h="539">
                    <a:moveTo>
                      <a:pt x="315" y="334"/>
                    </a:moveTo>
                    <a:lnTo>
                      <a:pt x="320" y="338"/>
                    </a:lnTo>
                    <a:lnTo>
                      <a:pt x="324" y="338"/>
                    </a:lnTo>
                    <a:lnTo>
                      <a:pt x="329" y="343"/>
                    </a:lnTo>
                    <a:lnTo>
                      <a:pt x="333" y="343"/>
                    </a:lnTo>
                    <a:lnTo>
                      <a:pt x="343" y="343"/>
                    </a:lnTo>
                    <a:lnTo>
                      <a:pt x="347" y="338"/>
                    </a:lnTo>
                    <a:lnTo>
                      <a:pt x="352" y="338"/>
                    </a:lnTo>
                    <a:lnTo>
                      <a:pt x="361" y="338"/>
                    </a:lnTo>
                    <a:lnTo>
                      <a:pt x="365" y="338"/>
                    </a:lnTo>
                    <a:lnTo>
                      <a:pt x="375" y="338"/>
                    </a:lnTo>
                    <a:lnTo>
                      <a:pt x="384" y="338"/>
                    </a:lnTo>
                    <a:lnTo>
                      <a:pt x="388" y="338"/>
                    </a:lnTo>
                    <a:lnTo>
                      <a:pt x="393" y="338"/>
                    </a:lnTo>
                    <a:lnTo>
                      <a:pt x="402" y="338"/>
                    </a:lnTo>
                    <a:lnTo>
                      <a:pt x="411" y="343"/>
                    </a:lnTo>
                    <a:lnTo>
                      <a:pt x="411" y="338"/>
                    </a:lnTo>
                    <a:lnTo>
                      <a:pt x="420" y="343"/>
                    </a:lnTo>
                    <a:lnTo>
                      <a:pt x="429" y="347"/>
                    </a:lnTo>
                    <a:lnTo>
                      <a:pt x="429" y="347"/>
                    </a:lnTo>
                    <a:lnTo>
                      <a:pt x="434" y="347"/>
                    </a:lnTo>
                    <a:lnTo>
                      <a:pt x="434" y="352"/>
                    </a:lnTo>
                    <a:lnTo>
                      <a:pt x="439" y="352"/>
                    </a:lnTo>
                    <a:lnTo>
                      <a:pt x="439" y="357"/>
                    </a:lnTo>
                    <a:lnTo>
                      <a:pt x="443" y="357"/>
                    </a:lnTo>
                    <a:lnTo>
                      <a:pt x="448" y="361"/>
                    </a:lnTo>
                    <a:lnTo>
                      <a:pt x="448" y="361"/>
                    </a:lnTo>
                    <a:lnTo>
                      <a:pt x="452" y="370"/>
                    </a:lnTo>
                    <a:lnTo>
                      <a:pt x="452" y="375"/>
                    </a:lnTo>
                    <a:lnTo>
                      <a:pt x="457" y="379"/>
                    </a:lnTo>
                    <a:lnTo>
                      <a:pt x="457" y="384"/>
                    </a:lnTo>
                    <a:lnTo>
                      <a:pt x="457" y="384"/>
                    </a:lnTo>
                    <a:lnTo>
                      <a:pt x="457" y="389"/>
                    </a:lnTo>
                    <a:lnTo>
                      <a:pt x="457" y="393"/>
                    </a:lnTo>
                    <a:lnTo>
                      <a:pt x="457" y="398"/>
                    </a:lnTo>
                    <a:lnTo>
                      <a:pt x="452" y="402"/>
                    </a:lnTo>
                    <a:lnTo>
                      <a:pt x="452" y="407"/>
                    </a:lnTo>
                    <a:lnTo>
                      <a:pt x="452" y="411"/>
                    </a:lnTo>
                    <a:lnTo>
                      <a:pt x="452" y="421"/>
                    </a:lnTo>
                    <a:lnTo>
                      <a:pt x="452" y="425"/>
                    </a:lnTo>
                    <a:lnTo>
                      <a:pt x="452" y="425"/>
                    </a:lnTo>
                    <a:lnTo>
                      <a:pt x="452" y="439"/>
                    </a:lnTo>
                    <a:lnTo>
                      <a:pt x="457" y="439"/>
                    </a:lnTo>
                    <a:lnTo>
                      <a:pt x="457" y="448"/>
                    </a:lnTo>
                    <a:lnTo>
                      <a:pt x="457" y="453"/>
                    </a:lnTo>
                    <a:lnTo>
                      <a:pt x="457" y="462"/>
                    </a:lnTo>
                    <a:lnTo>
                      <a:pt x="461" y="466"/>
                    </a:lnTo>
                    <a:lnTo>
                      <a:pt x="466" y="471"/>
                    </a:lnTo>
                    <a:lnTo>
                      <a:pt x="471" y="471"/>
                    </a:lnTo>
                    <a:lnTo>
                      <a:pt x="471" y="475"/>
                    </a:lnTo>
                    <a:lnTo>
                      <a:pt x="471" y="475"/>
                    </a:lnTo>
                    <a:lnTo>
                      <a:pt x="466" y="480"/>
                    </a:lnTo>
                    <a:lnTo>
                      <a:pt x="466" y="480"/>
                    </a:lnTo>
                    <a:lnTo>
                      <a:pt x="466" y="489"/>
                    </a:lnTo>
                    <a:lnTo>
                      <a:pt x="466" y="489"/>
                    </a:lnTo>
                    <a:lnTo>
                      <a:pt x="461" y="489"/>
                    </a:lnTo>
                    <a:lnTo>
                      <a:pt x="443" y="489"/>
                    </a:lnTo>
                    <a:lnTo>
                      <a:pt x="434" y="489"/>
                    </a:lnTo>
                    <a:lnTo>
                      <a:pt x="420" y="489"/>
                    </a:lnTo>
                    <a:lnTo>
                      <a:pt x="416" y="494"/>
                    </a:lnTo>
                    <a:lnTo>
                      <a:pt x="411" y="494"/>
                    </a:lnTo>
                    <a:lnTo>
                      <a:pt x="407" y="494"/>
                    </a:lnTo>
                    <a:lnTo>
                      <a:pt x="402" y="498"/>
                    </a:lnTo>
                    <a:lnTo>
                      <a:pt x="397" y="498"/>
                    </a:lnTo>
                    <a:lnTo>
                      <a:pt x="388" y="494"/>
                    </a:lnTo>
                    <a:lnTo>
                      <a:pt x="370" y="494"/>
                    </a:lnTo>
                    <a:lnTo>
                      <a:pt x="370" y="489"/>
                    </a:lnTo>
                    <a:lnTo>
                      <a:pt x="365" y="494"/>
                    </a:lnTo>
                    <a:lnTo>
                      <a:pt x="365" y="494"/>
                    </a:lnTo>
                    <a:lnTo>
                      <a:pt x="365" y="498"/>
                    </a:lnTo>
                    <a:lnTo>
                      <a:pt x="365" y="503"/>
                    </a:lnTo>
                    <a:lnTo>
                      <a:pt x="361" y="503"/>
                    </a:lnTo>
                    <a:lnTo>
                      <a:pt x="352" y="503"/>
                    </a:lnTo>
                    <a:lnTo>
                      <a:pt x="352" y="507"/>
                    </a:lnTo>
                    <a:lnTo>
                      <a:pt x="347" y="507"/>
                    </a:lnTo>
                    <a:lnTo>
                      <a:pt x="343" y="507"/>
                    </a:lnTo>
                    <a:lnTo>
                      <a:pt x="343" y="507"/>
                    </a:lnTo>
                    <a:lnTo>
                      <a:pt x="329" y="512"/>
                    </a:lnTo>
                    <a:lnTo>
                      <a:pt x="329" y="512"/>
                    </a:lnTo>
                    <a:lnTo>
                      <a:pt x="329" y="512"/>
                    </a:lnTo>
                    <a:lnTo>
                      <a:pt x="324" y="517"/>
                    </a:lnTo>
                    <a:lnTo>
                      <a:pt x="320" y="517"/>
                    </a:lnTo>
                    <a:lnTo>
                      <a:pt x="301" y="517"/>
                    </a:lnTo>
                    <a:lnTo>
                      <a:pt x="301" y="517"/>
                    </a:lnTo>
                    <a:lnTo>
                      <a:pt x="297" y="517"/>
                    </a:lnTo>
                    <a:lnTo>
                      <a:pt x="297" y="517"/>
                    </a:lnTo>
                    <a:lnTo>
                      <a:pt x="297" y="512"/>
                    </a:lnTo>
                    <a:lnTo>
                      <a:pt x="297" y="507"/>
                    </a:lnTo>
                    <a:lnTo>
                      <a:pt x="297" y="503"/>
                    </a:lnTo>
                    <a:lnTo>
                      <a:pt x="301" y="507"/>
                    </a:lnTo>
                    <a:lnTo>
                      <a:pt x="301" y="507"/>
                    </a:lnTo>
                    <a:lnTo>
                      <a:pt x="301" y="507"/>
                    </a:lnTo>
                    <a:lnTo>
                      <a:pt x="301" y="507"/>
                    </a:lnTo>
                    <a:lnTo>
                      <a:pt x="301" y="507"/>
                    </a:lnTo>
                    <a:lnTo>
                      <a:pt x="297" y="507"/>
                    </a:lnTo>
                    <a:lnTo>
                      <a:pt x="301" y="503"/>
                    </a:lnTo>
                    <a:lnTo>
                      <a:pt x="306" y="494"/>
                    </a:lnTo>
                    <a:lnTo>
                      <a:pt x="311" y="489"/>
                    </a:lnTo>
                    <a:lnTo>
                      <a:pt x="301" y="485"/>
                    </a:lnTo>
                    <a:lnTo>
                      <a:pt x="301" y="480"/>
                    </a:lnTo>
                    <a:lnTo>
                      <a:pt x="297" y="485"/>
                    </a:lnTo>
                    <a:lnTo>
                      <a:pt x="292" y="485"/>
                    </a:lnTo>
                    <a:lnTo>
                      <a:pt x="292" y="485"/>
                    </a:lnTo>
                    <a:lnTo>
                      <a:pt x="292" y="485"/>
                    </a:lnTo>
                    <a:lnTo>
                      <a:pt x="288" y="485"/>
                    </a:lnTo>
                    <a:lnTo>
                      <a:pt x="288" y="485"/>
                    </a:lnTo>
                    <a:lnTo>
                      <a:pt x="288" y="485"/>
                    </a:lnTo>
                    <a:lnTo>
                      <a:pt x="283" y="485"/>
                    </a:lnTo>
                    <a:lnTo>
                      <a:pt x="283" y="489"/>
                    </a:lnTo>
                    <a:lnTo>
                      <a:pt x="283" y="489"/>
                    </a:lnTo>
                    <a:lnTo>
                      <a:pt x="288" y="489"/>
                    </a:lnTo>
                    <a:lnTo>
                      <a:pt x="288" y="489"/>
                    </a:lnTo>
                    <a:lnTo>
                      <a:pt x="283" y="494"/>
                    </a:lnTo>
                    <a:lnTo>
                      <a:pt x="279" y="489"/>
                    </a:lnTo>
                    <a:lnTo>
                      <a:pt x="279" y="489"/>
                    </a:lnTo>
                    <a:lnTo>
                      <a:pt x="274" y="489"/>
                    </a:lnTo>
                    <a:lnTo>
                      <a:pt x="274" y="494"/>
                    </a:lnTo>
                    <a:lnTo>
                      <a:pt x="274" y="494"/>
                    </a:lnTo>
                    <a:lnTo>
                      <a:pt x="269" y="494"/>
                    </a:lnTo>
                    <a:lnTo>
                      <a:pt x="260" y="498"/>
                    </a:lnTo>
                    <a:lnTo>
                      <a:pt x="260" y="498"/>
                    </a:lnTo>
                    <a:lnTo>
                      <a:pt x="256" y="498"/>
                    </a:lnTo>
                    <a:lnTo>
                      <a:pt x="256" y="494"/>
                    </a:lnTo>
                    <a:lnTo>
                      <a:pt x="256" y="494"/>
                    </a:lnTo>
                    <a:lnTo>
                      <a:pt x="256" y="494"/>
                    </a:lnTo>
                    <a:lnTo>
                      <a:pt x="256" y="494"/>
                    </a:lnTo>
                    <a:lnTo>
                      <a:pt x="251" y="489"/>
                    </a:lnTo>
                    <a:lnTo>
                      <a:pt x="247" y="485"/>
                    </a:lnTo>
                    <a:lnTo>
                      <a:pt x="247" y="485"/>
                    </a:lnTo>
                    <a:lnTo>
                      <a:pt x="242" y="485"/>
                    </a:lnTo>
                    <a:lnTo>
                      <a:pt x="242" y="485"/>
                    </a:lnTo>
                    <a:lnTo>
                      <a:pt x="242" y="489"/>
                    </a:lnTo>
                    <a:lnTo>
                      <a:pt x="247" y="498"/>
                    </a:lnTo>
                    <a:lnTo>
                      <a:pt x="247" y="503"/>
                    </a:lnTo>
                    <a:lnTo>
                      <a:pt x="251" y="507"/>
                    </a:lnTo>
                    <a:lnTo>
                      <a:pt x="251" y="507"/>
                    </a:lnTo>
                    <a:lnTo>
                      <a:pt x="251" y="507"/>
                    </a:lnTo>
                    <a:lnTo>
                      <a:pt x="247" y="517"/>
                    </a:lnTo>
                    <a:lnTo>
                      <a:pt x="247" y="517"/>
                    </a:lnTo>
                    <a:lnTo>
                      <a:pt x="251" y="517"/>
                    </a:lnTo>
                    <a:lnTo>
                      <a:pt x="251" y="512"/>
                    </a:lnTo>
                    <a:lnTo>
                      <a:pt x="251" y="512"/>
                    </a:lnTo>
                    <a:lnTo>
                      <a:pt x="251" y="517"/>
                    </a:lnTo>
                    <a:lnTo>
                      <a:pt x="251" y="517"/>
                    </a:lnTo>
                    <a:lnTo>
                      <a:pt x="247" y="521"/>
                    </a:lnTo>
                    <a:lnTo>
                      <a:pt x="242" y="521"/>
                    </a:lnTo>
                    <a:lnTo>
                      <a:pt x="242" y="521"/>
                    </a:lnTo>
                    <a:lnTo>
                      <a:pt x="237" y="517"/>
                    </a:lnTo>
                    <a:lnTo>
                      <a:pt x="237" y="517"/>
                    </a:lnTo>
                    <a:lnTo>
                      <a:pt x="233" y="517"/>
                    </a:lnTo>
                    <a:lnTo>
                      <a:pt x="237" y="517"/>
                    </a:lnTo>
                    <a:lnTo>
                      <a:pt x="233" y="517"/>
                    </a:lnTo>
                    <a:lnTo>
                      <a:pt x="233" y="521"/>
                    </a:lnTo>
                    <a:lnTo>
                      <a:pt x="228" y="521"/>
                    </a:lnTo>
                    <a:lnTo>
                      <a:pt x="224" y="517"/>
                    </a:lnTo>
                    <a:lnTo>
                      <a:pt x="210" y="517"/>
                    </a:lnTo>
                    <a:lnTo>
                      <a:pt x="196" y="512"/>
                    </a:lnTo>
                    <a:lnTo>
                      <a:pt x="192" y="521"/>
                    </a:lnTo>
                    <a:lnTo>
                      <a:pt x="196" y="521"/>
                    </a:lnTo>
                    <a:lnTo>
                      <a:pt x="196" y="526"/>
                    </a:lnTo>
                    <a:lnTo>
                      <a:pt x="196" y="526"/>
                    </a:lnTo>
                    <a:lnTo>
                      <a:pt x="192" y="526"/>
                    </a:lnTo>
                    <a:lnTo>
                      <a:pt x="187" y="526"/>
                    </a:lnTo>
                    <a:lnTo>
                      <a:pt x="173" y="526"/>
                    </a:lnTo>
                    <a:lnTo>
                      <a:pt x="173" y="526"/>
                    </a:lnTo>
                    <a:lnTo>
                      <a:pt x="164" y="530"/>
                    </a:lnTo>
                    <a:lnTo>
                      <a:pt x="155" y="530"/>
                    </a:lnTo>
                    <a:lnTo>
                      <a:pt x="146" y="530"/>
                    </a:lnTo>
                    <a:lnTo>
                      <a:pt x="146" y="530"/>
                    </a:lnTo>
                    <a:lnTo>
                      <a:pt x="141" y="530"/>
                    </a:lnTo>
                    <a:lnTo>
                      <a:pt x="137" y="530"/>
                    </a:lnTo>
                    <a:lnTo>
                      <a:pt x="137" y="530"/>
                    </a:lnTo>
                    <a:lnTo>
                      <a:pt x="132" y="535"/>
                    </a:lnTo>
                    <a:lnTo>
                      <a:pt x="109" y="535"/>
                    </a:lnTo>
                    <a:lnTo>
                      <a:pt x="105" y="539"/>
                    </a:lnTo>
                    <a:lnTo>
                      <a:pt x="105" y="539"/>
                    </a:lnTo>
                    <a:lnTo>
                      <a:pt x="100" y="539"/>
                    </a:lnTo>
                    <a:lnTo>
                      <a:pt x="100" y="539"/>
                    </a:lnTo>
                    <a:lnTo>
                      <a:pt x="100" y="535"/>
                    </a:lnTo>
                    <a:lnTo>
                      <a:pt x="96" y="535"/>
                    </a:lnTo>
                    <a:lnTo>
                      <a:pt x="91" y="535"/>
                    </a:lnTo>
                    <a:lnTo>
                      <a:pt x="91" y="535"/>
                    </a:lnTo>
                    <a:lnTo>
                      <a:pt x="87" y="539"/>
                    </a:lnTo>
                    <a:lnTo>
                      <a:pt x="73" y="539"/>
                    </a:lnTo>
                    <a:lnTo>
                      <a:pt x="55" y="539"/>
                    </a:lnTo>
                    <a:lnTo>
                      <a:pt x="55" y="539"/>
                    </a:lnTo>
                    <a:lnTo>
                      <a:pt x="50" y="535"/>
                    </a:lnTo>
                    <a:lnTo>
                      <a:pt x="41" y="535"/>
                    </a:lnTo>
                    <a:lnTo>
                      <a:pt x="41" y="530"/>
                    </a:lnTo>
                    <a:lnTo>
                      <a:pt x="36" y="526"/>
                    </a:lnTo>
                    <a:lnTo>
                      <a:pt x="36" y="517"/>
                    </a:lnTo>
                    <a:lnTo>
                      <a:pt x="41" y="512"/>
                    </a:lnTo>
                    <a:lnTo>
                      <a:pt x="45" y="498"/>
                    </a:lnTo>
                    <a:lnTo>
                      <a:pt x="45" y="494"/>
                    </a:lnTo>
                    <a:lnTo>
                      <a:pt x="45" y="489"/>
                    </a:lnTo>
                    <a:lnTo>
                      <a:pt x="50" y="485"/>
                    </a:lnTo>
                    <a:lnTo>
                      <a:pt x="59" y="480"/>
                    </a:lnTo>
                    <a:lnTo>
                      <a:pt x="59" y="471"/>
                    </a:lnTo>
                    <a:lnTo>
                      <a:pt x="59" y="471"/>
                    </a:lnTo>
                    <a:lnTo>
                      <a:pt x="59" y="466"/>
                    </a:lnTo>
                    <a:lnTo>
                      <a:pt x="64" y="457"/>
                    </a:lnTo>
                    <a:lnTo>
                      <a:pt x="59" y="453"/>
                    </a:lnTo>
                    <a:lnTo>
                      <a:pt x="59" y="448"/>
                    </a:lnTo>
                    <a:lnTo>
                      <a:pt x="59" y="448"/>
                    </a:lnTo>
                    <a:lnTo>
                      <a:pt x="55" y="439"/>
                    </a:lnTo>
                    <a:lnTo>
                      <a:pt x="50" y="430"/>
                    </a:lnTo>
                    <a:lnTo>
                      <a:pt x="45" y="425"/>
                    </a:lnTo>
                    <a:lnTo>
                      <a:pt x="50" y="421"/>
                    </a:lnTo>
                    <a:lnTo>
                      <a:pt x="55" y="416"/>
                    </a:lnTo>
                    <a:lnTo>
                      <a:pt x="59" y="411"/>
                    </a:lnTo>
                    <a:lnTo>
                      <a:pt x="68" y="402"/>
                    </a:lnTo>
                    <a:lnTo>
                      <a:pt x="73" y="402"/>
                    </a:lnTo>
                    <a:lnTo>
                      <a:pt x="82" y="393"/>
                    </a:lnTo>
                    <a:lnTo>
                      <a:pt x="91" y="389"/>
                    </a:lnTo>
                    <a:lnTo>
                      <a:pt x="87" y="384"/>
                    </a:lnTo>
                    <a:lnTo>
                      <a:pt x="77" y="384"/>
                    </a:lnTo>
                    <a:lnTo>
                      <a:pt x="64" y="384"/>
                    </a:lnTo>
                    <a:lnTo>
                      <a:pt x="55" y="384"/>
                    </a:lnTo>
                    <a:lnTo>
                      <a:pt x="41" y="389"/>
                    </a:lnTo>
                    <a:lnTo>
                      <a:pt x="32" y="393"/>
                    </a:lnTo>
                    <a:lnTo>
                      <a:pt x="32" y="389"/>
                    </a:lnTo>
                    <a:lnTo>
                      <a:pt x="27" y="384"/>
                    </a:lnTo>
                    <a:lnTo>
                      <a:pt x="23" y="384"/>
                    </a:lnTo>
                    <a:lnTo>
                      <a:pt x="23" y="379"/>
                    </a:lnTo>
                    <a:lnTo>
                      <a:pt x="27" y="375"/>
                    </a:lnTo>
                    <a:lnTo>
                      <a:pt x="23" y="370"/>
                    </a:lnTo>
                    <a:lnTo>
                      <a:pt x="13" y="370"/>
                    </a:lnTo>
                    <a:lnTo>
                      <a:pt x="9" y="361"/>
                    </a:lnTo>
                    <a:lnTo>
                      <a:pt x="0" y="357"/>
                    </a:lnTo>
                    <a:lnTo>
                      <a:pt x="0" y="343"/>
                    </a:lnTo>
                    <a:lnTo>
                      <a:pt x="4" y="338"/>
                    </a:lnTo>
                    <a:lnTo>
                      <a:pt x="13" y="329"/>
                    </a:lnTo>
                    <a:lnTo>
                      <a:pt x="13" y="320"/>
                    </a:lnTo>
                    <a:lnTo>
                      <a:pt x="23" y="315"/>
                    </a:lnTo>
                    <a:lnTo>
                      <a:pt x="23" y="311"/>
                    </a:lnTo>
                    <a:lnTo>
                      <a:pt x="27" y="306"/>
                    </a:lnTo>
                    <a:lnTo>
                      <a:pt x="27" y="302"/>
                    </a:lnTo>
                    <a:lnTo>
                      <a:pt x="23" y="302"/>
                    </a:lnTo>
                    <a:lnTo>
                      <a:pt x="18" y="302"/>
                    </a:lnTo>
                    <a:lnTo>
                      <a:pt x="18" y="297"/>
                    </a:lnTo>
                    <a:lnTo>
                      <a:pt x="13" y="293"/>
                    </a:lnTo>
                    <a:lnTo>
                      <a:pt x="13" y="288"/>
                    </a:lnTo>
                    <a:lnTo>
                      <a:pt x="13" y="279"/>
                    </a:lnTo>
                    <a:lnTo>
                      <a:pt x="18" y="274"/>
                    </a:lnTo>
                    <a:lnTo>
                      <a:pt x="23" y="270"/>
                    </a:lnTo>
                    <a:lnTo>
                      <a:pt x="27" y="256"/>
                    </a:lnTo>
                    <a:lnTo>
                      <a:pt x="36" y="247"/>
                    </a:lnTo>
                    <a:lnTo>
                      <a:pt x="36" y="233"/>
                    </a:lnTo>
                    <a:lnTo>
                      <a:pt x="41" y="229"/>
                    </a:lnTo>
                    <a:lnTo>
                      <a:pt x="45" y="219"/>
                    </a:lnTo>
                    <a:lnTo>
                      <a:pt x="55" y="219"/>
                    </a:lnTo>
                    <a:lnTo>
                      <a:pt x="59" y="224"/>
                    </a:lnTo>
                    <a:lnTo>
                      <a:pt x="73" y="219"/>
                    </a:lnTo>
                    <a:lnTo>
                      <a:pt x="73" y="215"/>
                    </a:lnTo>
                    <a:lnTo>
                      <a:pt x="77" y="206"/>
                    </a:lnTo>
                    <a:lnTo>
                      <a:pt x="77" y="206"/>
                    </a:lnTo>
                    <a:lnTo>
                      <a:pt x="82" y="197"/>
                    </a:lnTo>
                    <a:lnTo>
                      <a:pt x="73" y="192"/>
                    </a:lnTo>
                    <a:lnTo>
                      <a:pt x="73" y="183"/>
                    </a:lnTo>
                    <a:lnTo>
                      <a:pt x="68" y="178"/>
                    </a:lnTo>
                    <a:lnTo>
                      <a:pt x="64" y="169"/>
                    </a:lnTo>
                    <a:lnTo>
                      <a:pt x="68" y="165"/>
                    </a:lnTo>
                    <a:lnTo>
                      <a:pt x="73" y="160"/>
                    </a:lnTo>
                    <a:lnTo>
                      <a:pt x="77" y="151"/>
                    </a:lnTo>
                    <a:lnTo>
                      <a:pt x="82" y="146"/>
                    </a:lnTo>
                    <a:lnTo>
                      <a:pt x="82" y="142"/>
                    </a:lnTo>
                    <a:lnTo>
                      <a:pt x="77" y="142"/>
                    </a:lnTo>
                    <a:lnTo>
                      <a:pt x="68" y="142"/>
                    </a:lnTo>
                    <a:lnTo>
                      <a:pt x="59" y="142"/>
                    </a:lnTo>
                    <a:lnTo>
                      <a:pt x="59" y="142"/>
                    </a:lnTo>
                    <a:lnTo>
                      <a:pt x="55" y="142"/>
                    </a:lnTo>
                    <a:lnTo>
                      <a:pt x="50" y="142"/>
                    </a:lnTo>
                    <a:lnTo>
                      <a:pt x="50" y="133"/>
                    </a:lnTo>
                    <a:lnTo>
                      <a:pt x="50" y="128"/>
                    </a:lnTo>
                    <a:lnTo>
                      <a:pt x="59" y="119"/>
                    </a:lnTo>
                    <a:lnTo>
                      <a:pt x="64" y="119"/>
                    </a:lnTo>
                    <a:lnTo>
                      <a:pt x="68" y="110"/>
                    </a:lnTo>
                    <a:lnTo>
                      <a:pt x="68" y="96"/>
                    </a:lnTo>
                    <a:lnTo>
                      <a:pt x="64" y="87"/>
                    </a:lnTo>
                    <a:lnTo>
                      <a:pt x="64" y="78"/>
                    </a:lnTo>
                    <a:lnTo>
                      <a:pt x="73" y="69"/>
                    </a:lnTo>
                    <a:lnTo>
                      <a:pt x="82" y="59"/>
                    </a:lnTo>
                    <a:lnTo>
                      <a:pt x="87" y="55"/>
                    </a:lnTo>
                    <a:lnTo>
                      <a:pt x="91" y="46"/>
                    </a:lnTo>
                    <a:lnTo>
                      <a:pt x="91" y="32"/>
                    </a:lnTo>
                    <a:lnTo>
                      <a:pt x="91" y="27"/>
                    </a:lnTo>
                    <a:lnTo>
                      <a:pt x="91" y="14"/>
                    </a:lnTo>
                    <a:lnTo>
                      <a:pt x="96" y="9"/>
                    </a:lnTo>
                    <a:lnTo>
                      <a:pt x="105" y="0"/>
                    </a:lnTo>
                    <a:lnTo>
                      <a:pt x="105" y="0"/>
                    </a:lnTo>
                    <a:lnTo>
                      <a:pt x="123" y="5"/>
                    </a:lnTo>
                    <a:lnTo>
                      <a:pt x="128" y="23"/>
                    </a:lnTo>
                    <a:lnTo>
                      <a:pt x="128" y="27"/>
                    </a:lnTo>
                    <a:lnTo>
                      <a:pt x="128" y="37"/>
                    </a:lnTo>
                    <a:lnTo>
                      <a:pt x="123" y="41"/>
                    </a:lnTo>
                    <a:lnTo>
                      <a:pt x="123" y="46"/>
                    </a:lnTo>
                    <a:lnTo>
                      <a:pt x="123" y="50"/>
                    </a:lnTo>
                    <a:lnTo>
                      <a:pt x="123" y="55"/>
                    </a:lnTo>
                    <a:lnTo>
                      <a:pt x="123" y="55"/>
                    </a:lnTo>
                    <a:lnTo>
                      <a:pt x="123" y="59"/>
                    </a:lnTo>
                    <a:lnTo>
                      <a:pt x="123" y="64"/>
                    </a:lnTo>
                    <a:lnTo>
                      <a:pt x="119" y="73"/>
                    </a:lnTo>
                    <a:lnTo>
                      <a:pt x="114" y="82"/>
                    </a:lnTo>
                    <a:lnTo>
                      <a:pt x="114" y="87"/>
                    </a:lnTo>
                    <a:lnTo>
                      <a:pt x="109" y="96"/>
                    </a:lnTo>
                    <a:lnTo>
                      <a:pt x="105" y="101"/>
                    </a:lnTo>
                    <a:lnTo>
                      <a:pt x="105" y="105"/>
                    </a:lnTo>
                    <a:lnTo>
                      <a:pt x="105" y="110"/>
                    </a:lnTo>
                    <a:lnTo>
                      <a:pt x="119" y="110"/>
                    </a:lnTo>
                    <a:lnTo>
                      <a:pt x="123" y="110"/>
                    </a:lnTo>
                    <a:lnTo>
                      <a:pt x="132" y="110"/>
                    </a:lnTo>
                    <a:lnTo>
                      <a:pt x="141" y="114"/>
                    </a:lnTo>
                    <a:lnTo>
                      <a:pt x="146" y="110"/>
                    </a:lnTo>
                    <a:lnTo>
                      <a:pt x="151" y="110"/>
                    </a:lnTo>
                    <a:lnTo>
                      <a:pt x="155" y="110"/>
                    </a:lnTo>
                    <a:lnTo>
                      <a:pt x="160" y="114"/>
                    </a:lnTo>
                    <a:lnTo>
                      <a:pt x="160" y="119"/>
                    </a:lnTo>
                    <a:lnTo>
                      <a:pt x="155" y="119"/>
                    </a:lnTo>
                    <a:lnTo>
                      <a:pt x="151" y="133"/>
                    </a:lnTo>
                    <a:lnTo>
                      <a:pt x="151" y="142"/>
                    </a:lnTo>
                    <a:lnTo>
                      <a:pt x="151" y="142"/>
                    </a:lnTo>
                    <a:lnTo>
                      <a:pt x="151" y="151"/>
                    </a:lnTo>
                    <a:lnTo>
                      <a:pt x="146" y="151"/>
                    </a:lnTo>
                    <a:lnTo>
                      <a:pt x="146" y="155"/>
                    </a:lnTo>
                    <a:lnTo>
                      <a:pt x="146" y="160"/>
                    </a:lnTo>
                    <a:lnTo>
                      <a:pt x="146" y="165"/>
                    </a:lnTo>
                    <a:lnTo>
                      <a:pt x="146" y="165"/>
                    </a:lnTo>
                    <a:lnTo>
                      <a:pt x="146" y="169"/>
                    </a:lnTo>
                    <a:lnTo>
                      <a:pt x="146" y="169"/>
                    </a:lnTo>
                    <a:lnTo>
                      <a:pt x="151" y="174"/>
                    </a:lnTo>
                    <a:lnTo>
                      <a:pt x="155" y="178"/>
                    </a:lnTo>
                    <a:lnTo>
                      <a:pt x="160" y="183"/>
                    </a:lnTo>
                    <a:lnTo>
                      <a:pt x="164" y="183"/>
                    </a:lnTo>
                    <a:lnTo>
                      <a:pt x="164" y="187"/>
                    </a:lnTo>
                    <a:lnTo>
                      <a:pt x="169" y="187"/>
                    </a:lnTo>
                    <a:lnTo>
                      <a:pt x="169" y="192"/>
                    </a:lnTo>
                    <a:lnTo>
                      <a:pt x="169" y="192"/>
                    </a:lnTo>
                    <a:lnTo>
                      <a:pt x="173" y="201"/>
                    </a:lnTo>
                    <a:lnTo>
                      <a:pt x="178" y="206"/>
                    </a:lnTo>
                    <a:lnTo>
                      <a:pt x="183" y="206"/>
                    </a:lnTo>
                    <a:lnTo>
                      <a:pt x="187" y="206"/>
                    </a:lnTo>
                    <a:lnTo>
                      <a:pt x="192" y="206"/>
                    </a:lnTo>
                    <a:lnTo>
                      <a:pt x="196" y="210"/>
                    </a:lnTo>
                    <a:lnTo>
                      <a:pt x="210" y="210"/>
                    </a:lnTo>
                    <a:lnTo>
                      <a:pt x="215" y="210"/>
                    </a:lnTo>
                    <a:lnTo>
                      <a:pt x="215" y="210"/>
                    </a:lnTo>
                    <a:lnTo>
                      <a:pt x="228" y="210"/>
                    </a:lnTo>
                    <a:lnTo>
                      <a:pt x="233" y="210"/>
                    </a:lnTo>
                    <a:lnTo>
                      <a:pt x="237" y="210"/>
                    </a:lnTo>
                    <a:lnTo>
                      <a:pt x="242" y="210"/>
                    </a:lnTo>
                    <a:lnTo>
                      <a:pt x="251" y="210"/>
                    </a:lnTo>
                    <a:lnTo>
                      <a:pt x="260" y="210"/>
                    </a:lnTo>
                    <a:lnTo>
                      <a:pt x="265" y="210"/>
                    </a:lnTo>
                    <a:lnTo>
                      <a:pt x="269" y="210"/>
                    </a:lnTo>
                    <a:lnTo>
                      <a:pt x="274" y="210"/>
                    </a:lnTo>
                    <a:lnTo>
                      <a:pt x="283" y="210"/>
                    </a:lnTo>
                    <a:lnTo>
                      <a:pt x="288" y="215"/>
                    </a:lnTo>
                    <a:lnTo>
                      <a:pt x="288" y="215"/>
                    </a:lnTo>
                    <a:lnTo>
                      <a:pt x="292" y="215"/>
                    </a:lnTo>
                    <a:lnTo>
                      <a:pt x="292" y="210"/>
                    </a:lnTo>
                    <a:lnTo>
                      <a:pt x="301" y="215"/>
                    </a:lnTo>
                    <a:lnTo>
                      <a:pt x="301" y="215"/>
                    </a:lnTo>
                    <a:lnTo>
                      <a:pt x="306" y="210"/>
                    </a:lnTo>
                    <a:lnTo>
                      <a:pt x="311" y="210"/>
                    </a:lnTo>
                    <a:lnTo>
                      <a:pt x="315" y="215"/>
                    </a:lnTo>
                    <a:lnTo>
                      <a:pt x="320" y="215"/>
                    </a:lnTo>
                    <a:lnTo>
                      <a:pt x="329" y="219"/>
                    </a:lnTo>
                    <a:lnTo>
                      <a:pt x="333" y="219"/>
                    </a:lnTo>
                    <a:lnTo>
                      <a:pt x="343" y="215"/>
                    </a:lnTo>
                    <a:lnTo>
                      <a:pt x="347" y="219"/>
                    </a:lnTo>
                    <a:lnTo>
                      <a:pt x="347" y="224"/>
                    </a:lnTo>
                    <a:lnTo>
                      <a:pt x="347" y="229"/>
                    </a:lnTo>
                    <a:lnTo>
                      <a:pt x="347" y="233"/>
                    </a:lnTo>
                    <a:lnTo>
                      <a:pt x="347" y="256"/>
                    </a:lnTo>
                    <a:lnTo>
                      <a:pt x="347" y="261"/>
                    </a:lnTo>
                    <a:lnTo>
                      <a:pt x="347" y="270"/>
                    </a:lnTo>
                    <a:lnTo>
                      <a:pt x="347" y="274"/>
                    </a:lnTo>
                    <a:lnTo>
                      <a:pt x="347" y="274"/>
                    </a:lnTo>
                    <a:lnTo>
                      <a:pt x="343" y="274"/>
                    </a:lnTo>
                    <a:lnTo>
                      <a:pt x="343" y="279"/>
                    </a:lnTo>
                    <a:lnTo>
                      <a:pt x="343" y="283"/>
                    </a:lnTo>
                    <a:lnTo>
                      <a:pt x="343" y="288"/>
                    </a:lnTo>
                    <a:lnTo>
                      <a:pt x="338" y="288"/>
                    </a:lnTo>
                    <a:lnTo>
                      <a:pt x="333" y="293"/>
                    </a:lnTo>
                    <a:lnTo>
                      <a:pt x="324" y="293"/>
                    </a:lnTo>
                    <a:lnTo>
                      <a:pt x="324" y="293"/>
                    </a:lnTo>
                    <a:lnTo>
                      <a:pt x="320" y="293"/>
                    </a:lnTo>
                    <a:lnTo>
                      <a:pt x="315" y="297"/>
                    </a:lnTo>
                    <a:lnTo>
                      <a:pt x="315" y="302"/>
                    </a:lnTo>
                    <a:lnTo>
                      <a:pt x="315" y="302"/>
                    </a:lnTo>
                    <a:lnTo>
                      <a:pt x="315" y="306"/>
                    </a:lnTo>
                    <a:lnTo>
                      <a:pt x="311" y="311"/>
                    </a:lnTo>
                    <a:lnTo>
                      <a:pt x="311" y="315"/>
                    </a:lnTo>
                    <a:lnTo>
                      <a:pt x="306" y="320"/>
                    </a:lnTo>
                    <a:lnTo>
                      <a:pt x="306" y="325"/>
                    </a:lnTo>
                    <a:lnTo>
                      <a:pt x="311" y="329"/>
                    </a:lnTo>
                    <a:lnTo>
                      <a:pt x="311" y="334"/>
                    </a:lnTo>
                    <a:lnTo>
                      <a:pt x="315" y="334"/>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a:ln>
                    <a:noFill/>
                  </a:ln>
                  <a:solidFill>
                    <a:srgbClr val="222223"/>
                  </a:solidFill>
                  <a:effectLst/>
                  <a:uLnTx/>
                  <a:uFillTx/>
                  <a:latin typeface="Calibri"/>
                </a:endParaRPr>
              </a:p>
            </p:txBody>
          </p:sp>
          <p:sp>
            <p:nvSpPr>
              <p:cNvPr id="216" name="Freeform 39">
                <a:extLst>
                  <a:ext uri="{FF2B5EF4-FFF2-40B4-BE49-F238E27FC236}">
                    <a16:creationId xmlns:a16="http://schemas.microsoft.com/office/drawing/2014/main" id="{A200A48D-7278-4F7A-899E-97B2026DBF88}"/>
                  </a:ext>
                </a:extLst>
              </p:cNvPr>
              <p:cNvSpPr>
                <a:spLocks/>
              </p:cNvSpPr>
              <p:nvPr>
                <p:custDataLst>
                  <p:tags r:id="rId33"/>
                </p:custDataLst>
              </p:nvPr>
            </p:nvSpPr>
            <p:spPr bwMode="auto">
              <a:xfrm>
                <a:off x="898102" y="1753736"/>
                <a:ext cx="1370617" cy="875159"/>
              </a:xfrm>
              <a:custGeom>
                <a:avLst/>
                <a:gdLst/>
                <a:ahLst/>
                <a:cxnLst>
                  <a:cxn ang="0">
                    <a:pos x="374" y="617"/>
                  </a:cxn>
                  <a:cxn ang="0">
                    <a:pos x="306" y="635"/>
                  </a:cxn>
                  <a:cxn ang="0">
                    <a:pos x="242" y="676"/>
                  </a:cxn>
                  <a:cxn ang="0">
                    <a:pos x="192" y="704"/>
                  </a:cxn>
                  <a:cxn ang="0">
                    <a:pos x="169" y="690"/>
                  </a:cxn>
                  <a:cxn ang="0">
                    <a:pos x="169" y="608"/>
                  </a:cxn>
                  <a:cxn ang="0">
                    <a:pos x="196" y="557"/>
                  </a:cxn>
                  <a:cxn ang="0">
                    <a:pos x="242" y="567"/>
                  </a:cxn>
                  <a:cxn ang="0">
                    <a:pos x="246" y="489"/>
                  </a:cxn>
                  <a:cxn ang="0">
                    <a:pos x="246" y="443"/>
                  </a:cxn>
                  <a:cxn ang="0">
                    <a:pos x="242" y="384"/>
                  </a:cxn>
                  <a:cxn ang="0">
                    <a:pos x="228" y="361"/>
                  </a:cxn>
                  <a:cxn ang="0">
                    <a:pos x="242" y="329"/>
                  </a:cxn>
                  <a:cxn ang="0">
                    <a:pos x="251" y="297"/>
                  </a:cxn>
                  <a:cxn ang="0">
                    <a:pos x="242" y="283"/>
                  </a:cxn>
                  <a:cxn ang="0">
                    <a:pos x="219" y="301"/>
                  </a:cxn>
                  <a:cxn ang="0">
                    <a:pos x="201" y="311"/>
                  </a:cxn>
                  <a:cxn ang="0">
                    <a:pos x="178" y="301"/>
                  </a:cxn>
                  <a:cxn ang="0">
                    <a:pos x="155" y="292"/>
                  </a:cxn>
                  <a:cxn ang="0">
                    <a:pos x="123" y="283"/>
                  </a:cxn>
                  <a:cxn ang="0">
                    <a:pos x="105" y="260"/>
                  </a:cxn>
                  <a:cxn ang="0">
                    <a:pos x="86" y="256"/>
                  </a:cxn>
                  <a:cxn ang="0">
                    <a:pos x="68" y="237"/>
                  </a:cxn>
                  <a:cxn ang="0">
                    <a:pos x="54" y="247"/>
                  </a:cxn>
                  <a:cxn ang="0">
                    <a:pos x="0" y="215"/>
                  </a:cxn>
                  <a:cxn ang="0">
                    <a:pos x="0" y="160"/>
                  </a:cxn>
                  <a:cxn ang="0">
                    <a:pos x="45" y="141"/>
                  </a:cxn>
                  <a:cxn ang="0">
                    <a:pos x="105" y="91"/>
                  </a:cxn>
                  <a:cxn ang="0">
                    <a:pos x="132" y="68"/>
                  </a:cxn>
                  <a:cxn ang="0">
                    <a:pos x="173" y="64"/>
                  </a:cxn>
                  <a:cxn ang="0">
                    <a:pos x="219" y="55"/>
                  </a:cxn>
                  <a:cxn ang="0">
                    <a:pos x="274" y="45"/>
                  </a:cxn>
                  <a:cxn ang="0">
                    <a:pos x="320" y="55"/>
                  </a:cxn>
                  <a:cxn ang="0">
                    <a:pos x="352" y="55"/>
                  </a:cxn>
                  <a:cxn ang="0">
                    <a:pos x="393" y="55"/>
                  </a:cxn>
                  <a:cxn ang="0">
                    <a:pos x="425" y="55"/>
                  </a:cxn>
                  <a:cxn ang="0">
                    <a:pos x="466" y="18"/>
                  </a:cxn>
                  <a:cxn ang="0">
                    <a:pos x="516" y="4"/>
                  </a:cxn>
                  <a:cxn ang="0">
                    <a:pos x="566" y="18"/>
                  </a:cxn>
                  <a:cxn ang="0">
                    <a:pos x="649" y="50"/>
                  </a:cxn>
                  <a:cxn ang="0">
                    <a:pos x="713" y="68"/>
                  </a:cxn>
                  <a:cxn ang="0">
                    <a:pos x="768" y="96"/>
                  </a:cxn>
                  <a:cxn ang="0">
                    <a:pos x="795" y="87"/>
                  </a:cxn>
                  <a:cxn ang="0">
                    <a:pos x="822" y="87"/>
                  </a:cxn>
                  <a:cxn ang="0">
                    <a:pos x="868" y="109"/>
                  </a:cxn>
                  <a:cxn ang="0">
                    <a:pos x="928" y="164"/>
                  </a:cxn>
                  <a:cxn ang="0">
                    <a:pos x="969" y="210"/>
                  </a:cxn>
                  <a:cxn ang="0">
                    <a:pos x="987" y="237"/>
                  </a:cxn>
                  <a:cxn ang="0">
                    <a:pos x="1010" y="279"/>
                  </a:cxn>
                  <a:cxn ang="0">
                    <a:pos x="850" y="324"/>
                  </a:cxn>
                  <a:cxn ang="0">
                    <a:pos x="749" y="365"/>
                  </a:cxn>
                  <a:cxn ang="0">
                    <a:pos x="722" y="411"/>
                  </a:cxn>
                  <a:cxn ang="0">
                    <a:pos x="635" y="434"/>
                  </a:cxn>
                  <a:cxn ang="0">
                    <a:pos x="571" y="461"/>
                  </a:cxn>
                  <a:cxn ang="0">
                    <a:pos x="516" y="525"/>
                  </a:cxn>
                  <a:cxn ang="0">
                    <a:pos x="534" y="599"/>
                  </a:cxn>
                  <a:cxn ang="0">
                    <a:pos x="461" y="612"/>
                  </a:cxn>
                </a:cxnLst>
                <a:rect l="0" t="0" r="r" b="b"/>
                <a:pathLst>
                  <a:path w="1028" h="708">
                    <a:moveTo>
                      <a:pt x="438" y="612"/>
                    </a:moveTo>
                    <a:lnTo>
                      <a:pt x="434" y="612"/>
                    </a:lnTo>
                    <a:lnTo>
                      <a:pt x="416" y="617"/>
                    </a:lnTo>
                    <a:lnTo>
                      <a:pt x="402" y="617"/>
                    </a:lnTo>
                    <a:lnTo>
                      <a:pt x="388" y="617"/>
                    </a:lnTo>
                    <a:lnTo>
                      <a:pt x="374" y="617"/>
                    </a:lnTo>
                    <a:lnTo>
                      <a:pt x="370" y="617"/>
                    </a:lnTo>
                    <a:lnTo>
                      <a:pt x="361" y="621"/>
                    </a:lnTo>
                    <a:lnTo>
                      <a:pt x="352" y="631"/>
                    </a:lnTo>
                    <a:lnTo>
                      <a:pt x="329" y="635"/>
                    </a:lnTo>
                    <a:lnTo>
                      <a:pt x="320" y="635"/>
                    </a:lnTo>
                    <a:lnTo>
                      <a:pt x="306" y="635"/>
                    </a:lnTo>
                    <a:lnTo>
                      <a:pt x="297" y="635"/>
                    </a:lnTo>
                    <a:lnTo>
                      <a:pt x="283" y="640"/>
                    </a:lnTo>
                    <a:lnTo>
                      <a:pt x="269" y="649"/>
                    </a:lnTo>
                    <a:lnTo>
                      <a:pt x="260" y="653"/>
                    </a:lnTo>
                    <a:lnTo>
                      <a:pt x="246" y="667"/>
                    </a:lnTo>
                    <a:lnTo>
                      <a:pt x="242" y="676"/>
                    </a:lnTo>
                    <a:lnTo>
                      <a:pt x="228" y="685"/>
                    </a:lnTo>
                    <a:lnTo>
                      <a:pt x="219" y="695"/>
                    </a:lnTo>
                    <a:lnTo>
                      <a:pt x="210" y="699"/>
                    </a:lnTo>
                    <a:lnTo>
                      <a:pt x="196" y="699"/>
                    </a:lnTo>
                    <a:lnTo>
                      <a:pt x="196" y="699"/>
                    </a:lnTo>
                    <a:lnTo>
                      <a:pt x="192" y="704"/>
                    </a:lnTo>
                    <a:lnTo>
                      <a:pt x="187" y="708"/>
                    </a:lnTo>
                    <a:lnTo>
                      <a:pt x="178" y="708"/>
                    </a:lnTo>
                    <a:lnTo>
                      <a:pt x="178" y="708"/>
                    </a:lnTo>
                    <a:lnTo>
                      <a:pt x="173" y="708"/>
                    </a:lnTo>
                    <a:lnTo>
                      <a:pt x="169" y="708"/>
                    </a:lnTo>
                    <a:lnTo>
                      <a:pt x="169" y="690"/>
                    </a:lnTo>
                    <a:lnTo>
                      <a:pt x="164" y="676"/>
                    </a:lnTo>
                    <a:lnTo>
                      <a:pt x="164" y="658"/>
                    </a:lnTo>
                    <a:lnTo>
                      <a:pt x="164" y="640"/>
                    </a:lnTo>
                    <a:lnTo>
                      <a:pt x="164" y="621"/>
                    </a:lnTo>
                    <a:lnTo>
                      <a:pt x="169" y="608"/>
                    </a:lnTo>
                    <a:lnTo>
                      <a:pt x="169" y="608"/>
                    </a:lnTo>
                    <a:lnTo>
                      <a:pt x="164" y="589"/>
                    </a:lnTo>
                    <a:lnTo>
                      <a:pt x="169" y="580"/>
                    </a:lnTo>
                    <a:lnTo>
                      <a:pt x="173" y="576"/>
                    </a:lnTo>
                    <a:lnTo>
                      <a:pt x="178" y="567"/>
                    </a:lnTo>
                    <a:lnTo>
                      <a:pt x="187" y="562"/>
                    </a:lnTo>
                    <a:lnTo>
                      <a:pt x="196" y="557"/>
                    </a:lnTo>
                    <a:lnTo>
                      <a:pt x="205" y="553"/>
                    </a:lnTo>
                    <a:lnTo>
                      <a:pt x="219" y="548"/>
                    </a:lnTo>
                    <a:lnTo>
                      <a:pt x="228" y="553"/>
                    </a:lnTo>
                    <a:lnTo>
                      <a:pt x="237" y="562"/>
                    </a:lnTo>
                    <a:lnTo>
                      <a:pt x="242" y="567"/>
                    </a:lnTo>
                    <a:lnTo>
                      <a:pt x="242" y="567"/>
                    </a:lnTo>
                    <a:lnTo>
                      <a:pt x="246" y="562"/>
                    </a:lnTo>
                    <a:lnTo>
                      <a:pt x="246" y="548"/>
                    </a:lnTo>
                    <a:lnTo>
                      <a:pt x="251" y="535"/>
                    </a:lnTo>
                    <a:lnTo>
                      <a:pt x="251" y="521"/>
                    </a:lnTo>
                    <a:lnTo>
                      <a:pt x="251" y="503"/>
                    </a:lnTo>
                    <a:lnTo>
                      <a:pt x="246" y="489"/>
                    </a:lnTo>
                    <a:lnTo>
                      <a:pt x="242" y="480"/>
                    </a:lnTo>
                    <a:lnTo>
                      <a:pt x="242" y="475"/>
                    </a:lnTo>
                    <a:lnTo>
                      <a:pt x="242" y="466"/>
                    </a:lnTo>
                    <a:lnTo>
                      <a:pt x="242" y="457"/>
                    </a:lnTo>
                    <a:lnTo>
                      <a:pt x="242" y="452"/>
                    </a:lnTo>
                    <a:lnTo>
                      <a:pt x="246" y="443"/>
                    </a:lnTo>
                    <a:lnTo>
                      <a:pt x="246" y="434"/>
                    </a:lnTo>
                    <a:lnTo>
                      <a:pt x="251" y="420"/>
                    </a:lnTo>
                    <a:lnTo>
                      <a:pt x="246" y="411"/>
                    </a:lnTo>
                    <a:lnTo>
                      <a:pt x="246" y="397"/>
                    </a:lnTo>
                    <a:lnTo>
                      <a:pt x="246" y="393"/>
                    </a:lnTo>
                    <a:lnTo>
                      <a:pt x="242" y="384"/>
                    </a:lnTo>
                    <a:lnTo>
                      <a:pt x="237" y="379"/>
                    </a:lnTo>
                    <a:lnTo>
                      <a:pt x="233" y="375"/>
                    </a:lnTo>
                    <a:lnTo>
                      <a:pt x="228" y="370"/>
                    </a:lnTo>
                    <a:lnTo>
                      <a:pt x="228" y="370"/>
                    </a:lnTo>
                    <a:lnTo>
                      <a:pt x="228" y="365"/>
                    </a:lnTo>
                    <a:lnTo>
                      <a:pt x="228" y="361"/>
                    </a:lnTo>
                    <a:lnTo>
                      <a:pt x="228" y="356"/>
                    </a:lnTo>
                    <a:lnTo>
                      <a:pt x="233" y="352"/>
                    </a:lnTo>
                    <a:lnTo>
                      <a:pt x="233" y="347"/>
                    </a:lnTo>
                    <a:lnTo>
                      <a:pt x="237" y="347"/>
                    </a:lnTo>
                    <a:lnTo>
                      <a:pt x="242" y="338"/>
                    </a:lnTo>
                    <a:lnTo>
                      <a:pt x="242" y="329"/>
                    </a:lnTo>
                    <a:lnTo>
                      <a:pt x="242" y="324"/>
                    </a:lnTo>
                    <a:lnTo>
                      <a:pt x="242" y="320"/>
                    </a:lnTo>
                    <a:lnTo>
                      <a:pt x="242" y="315"/>
                    </a:lnTo>
                    <a:lnTo>
                      <a:pt x="246" y="306"/>
                    </a:lnTo>
                    <a:lnTo>
                      <a:pt x="251" y="301"/>
                    </a:lnTo>
                    <a:lnTo>
                      <a:pt x="251" y="297"/>
                    </a:lnTo>
                    <a:lnTo>
                      <a:pt x="251" y="292"/>
                    </a:lnTo>
                    <a:lnTo>
                      <a:pt x="251" y="288"/>
                    </a:lnTo>
                    <a:lnTo>
                      <a:pt x="246" y="283"/>
                    </a:lnTo>
                    <a:lnTo>
                      <a:pt x="246" y="283"/>
                    </a:lnTo>
                    <a:lnTo>
                      <a:pt x="242" y="283"/>
                    </a:lnTo>
                    <a:lnTo>
                      <a:pt x="242" y="283"/>
                    </a:lnTo>
                    <a:lnTo>
                      <a:pt x="237" y="283"/>
                    </a:lnTo>
                    <a:lnTo>
                      <a:pt x="228" y="288"/>
                    </a:lnTo>
                    <a:lnTo>
                      <a:pt x="224" y="292"/>
                    </a:lnTo>
                    <a:lnTo>
                      <a:pt x="224" y="297"/>
                    </a:lnTo>
                    <a:lnTo>
                      <a:pt x="219" y="297"/>
                    </a:lnTo>
                    <a:lnTo>
                      <a:pt x="219" y="301"/>
                    </a:lnTo>
                    <a:lnTo>
                      <a:pt x="219" y="306"/>
                    </a:lnTo>
                    <a:lnTo>
                      <a:pt x="219" y="306"/>
                    </a:lnTo>
                    <a:lnTo>
                      <a:pt x="214" y="306"/>
                    </a:lnTo>
                    <a:lnTo>
                      <a:pt x="210" y="311"/>
                    </a:lnTo>
                    <a:lnTo>
                      <a:pt x="205" y="311"/>
                    </a:lnTo>
                    <a:lnTo>
                      <a:pt x="201" y="311"/>
                    </a:lnTo>
                    <a:lnTo>
                      <a:pt x="196" y="311"/>
                    </a:lnTo>
                    <a:lnTo>
                      <a:pt x="192" y="311"/>
                    </a:lnTo>
                    <a:lnTo>
                      <a:pt x="187" y="306"/>
                    </a:lnTo>
                    <a:lnTo>
                      <a:pt x="182" y="306"/>
                    </a:lnTo>
                    <a:lnTo>
                      <a:pt x="178" y="301"/>
                    </a:lnTo>
                    <a:lnTo>
                      <a:pt x="178" y="301"/>
                    </a:lnTo>
                    <a:lnTo>
                      <a:pt x="173" y="297"/>
                    </a:lnTo>
                    <a:lnTo>
                      <a:pt x="169" y="297"/>
                    </a:lnTo>
                    <a:lnTo>
                      <a:pt x="164" y="297"/>
                    </a:lnTo>
                    <a:lnTo>
                      <a:pt x="164" y="292"/>
                    </a:lnTo>
                    <a:lnTo>
                      <a:pt x="160" y="292"/>
                    </a:lnTo>
                    <a:lnTo>
                      <a:pt x="155" y="292"/>
                    </a:lnTo>
                    <a:lnTo>
                      <a:pt x="150" y="288"/>
                    </a:lnTo>
                    <a:lnTo>
                      <a:pt x="146" y="288"/>
                    </a:lnTo>
                    <a:lnTo>
                      <a:pt x="132" y="288"/>
                    </a:lnTo>
                    <a:lnTo>
                      <a:pt x="132" y="283"/>
                    </a:lnTo>
                    <a:lnTo>
                      <a:pt x="128" y="283"/>
                    </a:lnTo>
                    <a:lnTo>
                      <a:pt x="123" y="283"/>
                    </a:lnTo>
                    <a:lnTo>
                      <a:pt x="118" y="283"/>
                    </a:lnTo>
                    <a:lnTo>
                      <a:pt x="114" y="279"/>
                    </a:lnTo>
                    <a:lnTo>
                      <a:pt x="114" y="274"/>
                    </a:lnTo>
                    <a:lnTo>
                      <a:pt x="109" y="274"/>
                    </a:lnTo>
                    <a:lnTo>
                      <a:pt x="109" y="265"/>
                    </a:lnTo>
                    <a:lnTo>
                      <a:pt x="105" y="260"/>
                    </a:lnTo>
                    <a:lnTo>
                      <a:pt x="100" y="260"/>
                    </a:lnTo>
                    <a:lnTo>
                      <a:pt x="100" y="260"/>
                    </a:lnTo>
                    <a:lnTo>
                      <a:pt x="91" y="260"/>
                    </a:lnTo>
                    <a:lnTo>
                      <a:pt x="86" y="260"/>
                    </a:lnTo>
                    <a:lnTo>
                      <a:pt x="86" y="256"/>
                    </a:lnTo>
                    <a:lnTo>
                      <a:pt x="86" y="256"/>
                    </a:lnTo>
                    <a:lnTo>
                      <a:pt x="82" y="251"/>
                    </a:lnTo>
                    <a:lnTo>
                      <a:pt x="82" y="247"/>
                    </a:lnTo>
                    <a:lnTo>
                      <a:pt x="77" y="247"/>
                    </a:lnTo>
                    <a:lnTo>
                      <a:pt x="77" y="242"/>
                    </a:lnTo>
                    <a:lnTo>
                      <a:pt x="73" y="242"/>
                    </a:lnTo>
                    <a:lnTo>
                      <a:pt x="68" y="237"/>
                    </a:lnTo>
                    <a:lnTo>
                      <a:pt x="68" y="242"/>
                    </a:lnTo>
                    <a:lnTo>
                      <a:pt x="68" y="242"/>
                    </a:lnTo>
                    <a:lnTo>
                      <a:pt x="64" y="242"/>
                    </a:lnTo>
                    <a:lnTo>
                      <a:pt x="64" y="247"/>
                    </a:lnTo>
                    <a:lnTo>
                      <a:pt x="59" y="247"/>
                    </a:lnTo>
                    <a:lnTo>
                      <a:pt x="54" y="247"/>
                    </a:lnTo>
                    <a:lnTo>
                      <a:pt x="50" y="247"/>
                    </a:lnTo>
                    <a:lnTo>
                      <a:pt x="41" y="247"/>
                    </a:lnTo>
                    <a:lnTo>
                      <a:pt x="32" y="247"/>
                    </a:lnTo>
                    <a:lnTo>
                      <a:pt x="27" y="247"/>
                    </a:lnTo>
                    <a:lnTo>
                      <a:pt x="0" y="247"/>
                    </a:lnTo>
                    <a:lnTo>
                      <a:pt x="0" y="215"/>
                    </a:lnTo>
                    <a:lnTo>
                      <a:pt x="0" y="210"/>
                    </a:lnTo>
                    <a:lnTo>
                      <a:pt x="0" y="196"/>
                    </a:lnTo>
                    <a:lnTo>
                      <a:pt x="0" y="173"/>
                    </a:lnTo>
                    <a:lnTo>
                      <a:pt x="0" y="169"/>
                    </a:lnTo>
                    <a:lnTo>
                      <a:pt x="0" y="160"/>
                    </a:lnTo>
                    <a:lnTo>
                      <a:pt x="0" y="160"/>
                    </a:lnTo>
                    <a:lnTo>
                      <a:pt x="18" y="160"/>
                    </a:lnTo>
                    <a:lnTo>
                      <a:pt x="22" y="160"/>
                    </a:lnTo>
                    <a:lnTo>
                      <a:pt x="27" y="160"/>
                    </a:lnTo>
                    <a:lnTo>
                      <a:pt x="27" y="160"/>
                    </a:lnTo>
                    <a:lnTo>
                      <a:pt x="32" y="155"/>
                    </a:lnTo>
                    <a:lnTo>
                      <a:pt x="45" y="141"/>
                    </a:lnTo>
                    <a:lnTo>
                      <a:pt x="64" y="128"/>
                    </a:lnTo>
                    <a:lnTo>
                      <a:pt x="68" y="123"/>
                    </a:lnTo>
                    <a:lnTo>
                      <a:pt x="73" y="119"/>
                    </a:lnTo>
                    <a:lnTo>
                      <a:pt x="77" y="119"/>
                    </a:lnTo>
                    <a:lnTo>
                      <a:pt x="86" y="109"/>
                    </a:lnTo>
                    <a:lnTo>
                      <a:pt x="105" y="91"/>
                    </a:lnTo>
                    <a:lnTo>
                      <a:pt x="109" y="91"/>
                    </a:lnTo>
                    <a:lnTo>
                      <a:pt x="118" y="82"/>
                    </a:lnTo>
                    <a:lnTo>
                      <a:pt x="128" y="73"/>
                    </a:lnTo>
                    <a:lnTo>
                      <a:pt x="128" y="73"/>
                    </a:lnTo>
                    <a:lnTo>
                      <a:pt x="132" y="73"/>
                    </a:lnTo>
                    <a:lnTo>
                      <a:pt x="132" y="68"/>
                    </a:lnTo>
                    <a:lnTo>
                      <a:pt x="141" y="68"/>
                    </a:lnTo>
                    <a:lnTo>
                      <a:pt x="155" y="68"/>
                    </a:lnTo>
                    <a:lnTo>
                      <a:pt x="160" y="64"/>
                    </a:lnTo>
                    <a:lnTo>
                      <a:pt x="164" y="64"/>
                    </a:lnTo>
                    <a:lnTo>
                      <a:pt x="169" y="64"/>
                    </a:lnTo>
                    <a:lnTo>
                      <a:pt x="173" y="64"/>
                    </a:lnTo>
                    <a:lnTo>
                      <a:pt x="178" y="64"/>
                    </a:lnTo>
                    <a:lnTo>
                      <a:pt x="178" y="64"/>
                    </a:lnTo>
                    <a:lnTo>
                      <a:pt x="187" y="59"/>
                    </a:lnTo>
                    <a:lnTo>
                      <a:pt x="192" y="59"/>
                    </a:lnTo>
                    <a:lnTo>
                      <a:pt x="205" y="55"/>
                    </a:lnTo>
                    <a:lnTo>
                      <a:pt x="219" y="55"/>
                    </a:lnTo>
                    <a:lnTo>
                      <a:pt x="228" y="55"/>
                    </a:lnTo>
                    <a:lnTo>
                      <a:pt x="233" y="50"/>
                    </a:lnTo>
                    <a:lnTo>
                      <a:pt x="237" y="50"/>
                    </a:lnTo>
                    <a:lnTo>
                      <a:pt x="246" y="50"/>
                    </a:lnTo>
                    <a:lnTo>
                      <a:pt x="251" y="50"/>
                    </a:lnTo>
                    <a:lnTo>
                      <a:pt x="274" y="45"/>
                    </a:lnTo>
                    <a:lnTo>
                      <a:pt x="283" y="41"/>
                    </a:lnTo>
                    <a:lnTo>
                      <a:pt x="283" y="45"/>
                    </a:lnTo>
                    <a:lnTo>
                      <a:pt x="292" y="55"/>
                    </a:lnTo>
                    <a:lnTo>
                      <a:pt x="297" y="55"/>
                    </a:lnTo>
                    <a:lnTo>
                      <a:pt x="310" y="55"/>
                    </a:lnTo>
                    <a:lnTo>
                      <a:pt x="320" y="55"/>
                    </a:lnTo>
                    <a:lnTo>
                      <a:pt x="324" y="59"/>
                    </a:lnTo>
                    <a:lnTo>
                      <a:pt x="329" y="59"/>
                    </a:lnTo>
                    <a:lnTo>
                      <a:pt x="333" y="59"/>
                    </a:lnTo>
                    <a:lnTo>
                      <a:pt x="333" y="59"/>
                    </a:lnTo>
                    <a:lnTo>
                      <a:pt x="342" y="55"/>
                    </a:lnTo>
                    <a:lnTo>
                      <a:pt x="352" y="55"/>
                    </a:lnTo>
                    <a:lnTo>
                      <a:pt x="365" y="55"/>
                    </a:lnTo>
                    <a:lnTo>
                      <a:pt x="370" y="55"/>
                    </a:lnTo>
                    <a:lnTo>
                      <a:pt x="379" y="55"/>
                    </a:lnTo>
                    <a:lnTo>
                      <a:pt x="384" y="55"/>
                    </a:lnTo>
                    <a:lnTo>
                      <a:pt x="388" y="55"/>
                    </a:lnTo>
                    <a:lnTo>
                      <a:pt x="393" y="55"/>
                    </a:lnTo>
                    <a:lnTo>
                      <a:pt x="397" y="55"/>
                    </a:lnTo>
                    <a:lnTo>
                      <a:pt x="397" y="55"/>
                    </a:lnTo>
                    <a:lnTo>
                      <a:pt x="402" y="55"/>
                    </a:lnTo>
                    <a:lnTo>
                      <a:pt x="406" y="55"/>
                    </a:lnTo>
                    <a:lnTo>
                      <a:pt x="420" y="55"/>
                    </a:lnTo>
                    <a:lnTo>
                      <a:pt x="425" y="55"/>
                    </a:lnTo>
                    <a:lnTo>
                      <a:pt x="434" y="55"/>
                    </a:lnTo>
                    <a:lnTo>
                      <a:pt x="438" y="50"/>
                    </a:lnTo>
                    <a:lnTo>
                      <a:pt x="443" y="45"/>
                    </a:lnTo>
                    <a:lnTo>
                      <a:pt x="448" y="36"/>
                    </a:lnTo>
                    <a:lnTo>
                      <a:pt x="461" y="23"/>
                    </a:lnTo>
                    <a:lnTo>
                      <a:pt x="466" y="18"/>
                    </a:lnTo>
                    <a:lnTo>
                      <a:pt x="489" y="13"/>
                    </a:lnTo>
                    <a:lnTo>
                      <a:pt x="498" y="9"/>
                    </a:lnTo>
                    <a:lnTo>
                      <a:pt x="502" y="9"/>
                    </a:lnTo>
                    <a:lnTo>
                      <a:pt x="502" y="9"/>
                    </a:lnTo>
                    <a:lnTo>
                      <a:pt x="502" y="9"/>
                    </a:lnTo>
                    <a:lnTo>
                      <a:pt x="516" y="4"/>
                    </a:lnTo>
                    <a:lnTo>
                      <a:pt x="516" y="4"/>
                    </a:lnTo>
                    <a:lnTo>
                      <a:pt x="530" y="0"/>
                    </a:lnTo>
                    <a:lnTo>
                      <a:pt x="534" y="4"/>
                    </a:lnTo>
                    <a:lnTo>
                      <a:pt x="553" y="9"/>
                    </a:lnTo>
                    <a:lnTo>
                      <a:pt x="562" y="13"/>
                    </a:lnTo>
                    <a:lnTo>
                      <a:pt x="566" y="18"/>
                    </a:lnTo>
                    <a:lnTo>
                      <a:pt x="608" y="36"/>
                    </a:lnTo>
                    <a:lnTo>
                      <a:pt x="608" y="36"/>
                    </a:lnTo>
                    <a:lnTo>
                      <a:pt x="612" y="36"/>
                    </a:lnTo>
                    <a:lnTo>
                      <a:pt x="617" y="36"/>
                    </a:lnTo>
                    <a:lnTo>
                      <a:pt x="635" y="45"/>
                    </a:lnTo>
                    <a:lnTo>
                      <a:pt x="649" y="50"/>
                    </a:lnTo>
                    <a:lnTo>
                      <a:pt x="662" y="55"/>
                    </a:lnTo>
                    <a:lnTo>
                      <a:pt x="667" y="55"/>
                    </a:lnTo>
                    <a:lnTo>
                      <a:pt x="676" y="59"/>
                    </a:lnTo>
                    <a:lnTo>
                      <a:pt x="704" y="68"/>
                    </a:lnTo>
                    <a:lnTo>
                      <a:pt x="704" y="68"/>
                    </a:lnTo>
                    <a:lnTo>
                      <a:pt x="713" y="68"/>
                    </a:lnTo>
                    <a:lnTo>
                      <a:pt x="717" y="73"/>
                    </a:lnTo>
                    <a:lnTo>
                      <a:pt x="726" y="77"/>
                    </a:lnTo>
                    <a:lnTo>
                      <a:pt x="740" y="82"/>
                    </a:lnTo>
                    <a:lnTo>
                      <a:pt x="754" y="91"/>
                    </a:lnTo>
                    <a:lnTo>
                      <a:pt x="763" y="91"/>
                    </a:lnTo>
                    <a:lnTo>
                      <a:pt x="768" y="96"/>
                    </a:lnTo>
                    <a:lnTo>
                      <a:pt x="768" y="96"/>
                    </a:lnTo>
                    <a:lnTo>
                      <a:pt x="768" y="96"/>
                    </a:lnTo>
                    <a:lnTo>
                      <a:pt x="777" y="91"/>
                    </a:lnTo>
                    <a:lnTo>
                      <a:pt x="781" y="91"/>
                    </a:lnTo>
                    <a:lnTo>
                      <a:pt x="786" y="87"/>
                    </a:lnTo>
                    <a:lnTo>
                      <a:pt x="795" y="87"/>
                    </a:lnTo>
                    <a:lnTo>
                      <a:pt x="809" y="87"/>
                    </a:lnTo>
                    <a:lnTo>
                      <a:pt x="809" y="87"/>
                    </a:lnTo>
                    <a:lnTo>
                      <a:pt x="809" y="87"/>
                    </a:lnTo>
                    <a:lnTo>
                      <a:pt x="818" y="87"/>
                    </a:lnTo>
                    <a:lnTo>
                      <a:pt x="822" y="87"/>
                    </a:lnTo>
                    <a:lnTo>
                      <a:pt x="822" y="87"/>
                    </a:lnTo>
                    <a:lnTo>
                      <a:pt x="827" y="91"/>
                    </a:lnTo>
                    <a:lnTo>
                      <a:pt x="827" y="91"/>
                    </a:lnTo>
                    <a:lnTo>
                      <a:pt x="841" y="96"/>
                    </a:lnTo>
                    <a:lnTo>
                      <a:pt x="864" y="109"/>
                    </a:lnTo>
                    <a:lnTo>
                      <a:pt x="868" y="109"/>
                    </a:lnTo>
                    <a:lnTo>
                      <a:pt x="868" y="109"/>
                    </a:lnTo>
                    <a:lnTo>
                      <a:pt x="868" y="109"/>
                    </a:lnTo>
                    <a:lnTo>
                      <a:pt x="873" y="114"/>
                    </a:lnTo>
                    <a:lnTo>
                      <a:pt x="882" y="119"/>
                    </a:lnTo>
                    <a:lnTo>
                      <a:pt x="896" y="137"/>
                    </a:lnTo>
                    <a:lnTo>
                      <a:pt x="923" y="160"/>
                    </a:lnTo>
                    <a:lnTo>
                      <a:pt x="928" y="164"/>
                    </a:lnTo>
                    <a:lnTo>
                      <a:pt x="928" y="169"/>
                    </a:lnTo>
                    <a:lnTo>
                      <a:pt x="950" y="187"/>
                    </a:lnTo>
                    <a:lnTo>
                      <a:pt x="955" y="196"/>
                    </a:lnTo>
                    <a:lnTo>
                      <a:pt x="960" y="201"/>
                    </a:lnTo>
                    <a:lnTo>
                      <a:pt x="964" y="205"/>
                    </a:lnTo>
                    <a:lnTo>
                      <a:pt x="969" y="210"/>
                    </a:lnTo>
                    <a:lnTo>
                      <a:pt x="973" y="215"/>
                    </a:lnTo>
                    <a:lnTo>
                      <a:pt x="973" y="219"/>
                    </a:lnTo>
                    <a:lnTo>
                      <a:pt x="978" y="224"/>
                    </a:lnTo>
                    <a:lnTo>
                      <a:pt x="978" y="228"/>
                    </a:lnTo>
                    <a:lnTo>
                      <a:pt x="982" y="228"/>
                    </a:lnTo>
                    <a:lnTo>
                      <a:pt x="987" y="237"/>
                    </a:lnTo>
                    <a:lnTo>
                      <a:pt x="987" y="242"/>
                    </a:lnTo>
                    <a:lnTo>
                      <a:pt x="992" y="251"/>
                    </a:lnTo>
                    <a:lnTo>
                      <a:pt x="996" y="260"/>
                    </a:lnTo>
                    <a:lnTo>
                      <a:pt x="1010" y="274"/>
                    </a:lnTo>
                    <a:lnTo>
                      <a:pt x="1010" y="279"/>
                    </a:lnTo>
                    <a:lnTo>
                      <a:pt x="1010" y="279"/>
                    </a:lnTo>
                    <a:lnTo>
                      <a:pt x="1014" y="288"/>
                    </a:lnTo>
                    <a:lnTo>
                      <a:pt x="1019" y="292"/>
                    </a:lnTo>
                    <a:lnTo>
                      <a:pt x="1028" y="306"/>
                    </a:lnTo>
                    <a:lnTo>
                      <a:pt x="1019" y="311"/>
                    </a:lnTo>
                    <a:lnTo>
                      <a:pt x="932" y="320"/>
                    </a:lnTo>
                    <a:lnTo>
                      <a:pt x="850" y="324"/>
                    </a:lnTo>
                    <a:lnTo>
                      <a:pt x="790" y="333"/>
                    </a:lnTo>
                    <a:lnTo>
                      <a:pt x="768" y="338"/>
                    </a:lnTo>
                    <a:lnTo>
                      <a:pt x="768" y="338"/>
                    </a:lnTo>
                    <a:lnTo>
                      <a:pt x="768" y="343"/>
                    </a:lnTo>
                    <a:lnTo>
                      <a:pt x="763" y="347"/>
                    </a:lnTo>
                    <a:lnTo>
                      <a:pt x="749" y="365"/>
                    </a:lnTo>
                    <a:lnTo>
                      <a:pt x="745" y="379"/>
                    </a:lnTo>
                    <a:lnTo>
                      <a:pt x="745" y="393"/>
                    </a:lnTo>
                    <a:lnTo>
                      <a:pt x="740" y="393"/>
                    </a:lnTo>
                    <a:lnTo>
                      <a:pt x="731" y="402"/>
                    </a:lnTo>
                    <a:lnTo>
                      <a:pt x="726" y="411"/>
                    </a:lnTo>
                    <a:lnTo>
                      <a:pt x="722" y="411"/>
                    </a:lnTo>
                    <a:lnTo>
                      <a:pt x="704" y="416"/>
                    </a:lnTo>
                    <a:lnTo>
                      <a:pt x="690" y="416"/>
                    </a:lnTo>
                    <a:lnTo>
                      <a:pt x="681" y="425"/>
                    </a:lnTo>
                    <a:lnTo>
                      <a:pt x="662" y="425"/>
                    </a:lnTo>
                    <a:lnTo>
                      <a:pt x="653" y="425"/>
                    </a:lnTo>
                    <a:lnTo>
                      <a:pt x="635" y="434"/>
                    </a:lnTo>
                    <a:lnTo>
                      <a:pt x="621" y="439"/>
                    </a:lnTo>
                    <a:lnTo>
                      <a:pt x="617" y="443"/>
                    </a:lnTo>
                    <a:lnTo>
                      <a:pt x="612" y="443"/>
                    </a:lnTo>
                    <a:lnTo>
                      <a:pt x="598" y="448"/>
                    </a:lnTo>
                    <a:lnTo>
                      <a:pt x="585" y="457"/>
                    </a:lnTo>
                    <a:lnTo>
                      <a:pt x="571" y="461"/>
                    </a:lnTo>
                    <a:lnTo>
                      <a:pt x="553" y="480"/>
                    </a:lnTo>
                    <a:lnTo>
                      <a:pt x="544" y="489"/>
                    </a:lnTo>
                    <a:lnTo>
                      <a:pt x="530" y="498"/>
                    </a:lnTo>
                    <a:lnTo>
                      <a:pt x="521" y="503"/>
                    </a:lnTo>
                    <a:lnTo>
                      <a:pt x="516" y="516"/>
                    </a:lnTo>
                    <a:lnTo>
                      <a:pt x="516" y="525"/>
                    </a:lnTo>
                    <a:lnTo>
                      <a:pt x="525" y="539"/>
                    </a:lnTo>
                    <a:lnTo>
                      <a:pt x="530" y="553"/>
                    </a:lnTo>
                    <a:lnTo>
                      <a:pt x="530" y="576"/>
                    </a:lnTo>
                    <a:lnTo>
                      <a:pt x="534" y="589"/>
                    </a:lnTo>
                    <a:lnTo>
                      <a:pt x="534" y="594"/>
                    </a:lnTo>
                    <a:lnTo>
                      <a:pt x="534" y="599"/>
                    </a:lnTo>
                    <a:lnTo>
                      <a:pt x="525" y="608"/>
                    </a:lnTo>
                    <a:lnTo>
                      <a:pt x="521" y="612"/>
                    </a:lnTo>
                    <a:lnTo>
                      <a:pt x="507" y="612"/>
                    </a:lnTo>
                    <a:lnTo>
                      <a:pt x="489" y="612"/>
                    </a:lnTo>
                    <a:lnTo>
                      <a:pt x="470" y="612"/>
                    </a:lnTo>
                    <a:lnTo>
                      <a:pt x="461" y="612"/>
                    </a:lnTo>
                    <a:lnTo>
                      <a:pt x="448" y="612"/>
                    </a:lnTo>
                    <a:lnTo>
                      <a:pt x="438" y="612"/>
                    </a:lnTo>
                    <a:close/>
                  </a:path>
                </a:pathLst>
              </a:custGeom>
              <a:grp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700" b="1" i="0" u="none" strike="noStrike" kern="0" cap="none" spc="0" normalizeH="0" baseline="0" noProof="0">
                  <a:ln>
                    <a:noFill/>
                  </a:ln>
                  <a:solidFill>
                    <a:srgbClr val="222223"/>
                  </a:solidFill>
                  <a:effectLst/>
                  <a:uLnTx/>
                  <a:uFillTx/>
                  <a:latin typeface="Calibri"/>
                </a:endParaRPr>
              </a:p>
            </p:txBody>
          </p:sp>
          <p:sp>
            <p:nvSpPr>
              <p:cNvPr id="217" name="Freeform 40">
                <a:extLst>
                  <a:ext uri="{FF2B5EF4-FFF2-40B4-BE49-F238E27FC236}">
                    <a16:creationId xmlns:a16="http://schemas.microsoft.com/office/drawing/2014/main" id="{F2AB426C-7817-4DD2-A59C-A9E42F3584F9}"/>
                  </a:ext>
                </a:extLst>
              </p:cNvPr>
              <p:cNvSpPr>
                <a:spLocks/>
              </p:cNvSpPr>
              <p:nvPr>
                <p:custDataLst>
                  <p:tags r:id="rId34"/>
                </p:custDataLst>
              </p:nvPr>
            </p:nvSpPr>
            <p:spPr bwMode="auto">
              <a:xfrm>
                <a:off x="3442920" y="3781852"/>
                <a:ext cx="1370619" cy="1430758"/>
              </a:xfrm>
              <a:custGeom>
                <a:avLst/>
                <a:gdLst/>
                <a:ahLst/>
                <a:cxnLst>
                  <a:cxn ang="0">
                    <a:pos x="924" y="987"/>
                  </a:cxn>
                  <a:cxn ang="0">
                    <a:pos x="910" y="1038"/>
                  </a:cxn>
                  <a:cxn ang="0">
                    <a:pos x="901" y="1079"/>
                  </a:cxn>
                  <a:cxn ang="0">
                    <a:pos x="883" y="1115"/>
                  </a:cxn>
                  <a:cxn ang="0">
                    <a:pos x="842" y="1143"/>
                  </a:cxn>
                  <a:cxn ang="0">
                    <a:pos x="791" y="1143"/>
                  </a:cxn>
                  <a:cxn ang="0">
                    <a:pos x="746" y="1134"/>
                  </a:cxn>
                  <a:cxn ang="0">
                    <a:pos x="718" y="1074"/>
                  </a:cxn>
                  <a:cxn ang="0">
                    <a:pos x="672" y="1083"/>
                  </a:cxn>
                  <a:cxn ang="0">
                    <a:pos x="636" y="1038"/>
                  </a:cxn>
                  <a:cxn ang="0">
                    <a:pos x="631" y="992"/>
                  </a:cxn>
                  <a:cxn ang="0">
                    <a:pos x="599" y="983"/>
                  </a:cxn>
                  <a:cxn ang="0">
                    <a:pos x="558" y="951"/>
                  </a:cxn>
                  <a:cxn ang="0">
                    <a:pos x="526" y="933"/>
                  </a:cxn>
                  <a:cxn ang="0">
                    <a:pos x="508" y="997"/>
                  </a:cxn>
                  <a:cxn ang="0">
                    <a:pos x="416" y="1006"/>
                  </a:cxn>
                  <a:cxn ang="0">
                    <a:pos x="380" y="960"/>
                  </a:cxn>
                  <a:cxn ang="0">
                    <a:pos x="343" y="978"/>
                  </a:cxn>
                  <a:cxn ang="0">
                    <a:pos x="266" y="1056"/>
                  </a:cxn>
                  <a:cxn ang="0">
                    <a:pos x="229" y="1047"/>
                  </a:cxn>
                  <a:cxn ang="0">
                    <a:pos x="220" y="1097"/>
                  </a:cxn>
                  <a:cxn ang="0">
                    <a:pos x="197" y="1152"/>
                  </a:cxn>
                  <a:cxn ang="0">
                    <a:pos x="197" y="1024"/>
                  </a:cxn>
                  <a:cxn ang="0">
                    <a:pos x="220" y="965"/>
                  </a:cxn>
                  <a:cxn ang="0">
                    <a:pos x="275" y="914"/>
                  </a:cxn>
                  <a:cxn ang="0">
                    <a:pos x="284" y="768"/>
                  </a:cxn>
                  <a:cxn ang="0">
                    <a:pos x="220" y="695"/>
                  </a:cxn>
                  <a:cxn ang="0">
                    <a:pos x="165" y="654"/>
                  </a:cxn>
                  <a:cxn ang="0">
                    <a:pos x="42" y="667"/>
                  </a:cxn>
                  <a:cxn ang="0">
                    <a:pos x="5" y="658"/>
                  </a:cxn>
                  <a:cxn ang="0">
                    <a:pos x="46" y="622"/>
                  </a:cxn>
                  <a:cxn ang="0">
                    <a:pos x="92" y="585"/>
                  </a:cxn>
                  <a:cxn ang="0">
                    <a:pos x="74" y="507"/>
                  </a:cxn>
                  <a:cxn ang="0">
                    <a:pos x="133" y="489"/>
                  </a:cxn>
                  <a:cxn ang="0">
                    <a:pos x="197" y="462"/>
                  </a:cxn>
                  <a:cxn ang="0">
                    <a:pos x="270" y="439"/>
                  </a:cxn>
                  <a:cxn ang="0">
                    <a:pos x="320" y="407"/>
                  </a:cxn>
                  <a:cxn ang="0">
                    <a:pos x="366" y="375"/>
                  </a:cxn>
                  <a:cxn ang="0">
                    <a:pos x="416" y="329"/>
                  </a:cxn>
                  <a:cxn ang="0">
                    <a:pos x="480" y="270"/>
                  </a:cxn>
                  <a:cxn ang="0">
                    <a:pos x="567" y="242"/>
                  </a:cxn>
                  <a:cxn ang="0">
                    <a:pos x="540" y="146"/>
                  </a:cxn>
                  <a:cxn ang="0">
                    <a:pos x="558" y="36"/>
                  </a:cxn>
                  <a:cxn ang="0">
                    <a:pos x="627" y="14"/>
                  </a:cxn>
                  <a:cxn ang="0">
                    <a:pos x="746" y="9"/>
                  </a:cxn>
                  <a:cxn ang="0">
                    <a:pos x="842" y="18"/>
                  </a:cxn>
                  <a:cxn ang="0">
                    <a:pos x="892" y="64"/>
                  </a:cxn>
                  <a:cxn ang="0">
                    <a:pos x="942" y="100"/>
                  </a:cxn>
                  <a:cxn ang="0">
                    <a:pos x="965" y="151"/>
                  </a:cxn>
                  <a:cxn ang="0">
                    <a:pos x="1006" y="233"/>
                  </a:cxn>
                  <a:cxn ang="0">
                    <a:pos x="1006" y="311"/>
                  </a:cxn>
                  <a:cxn ang="0">
                    <a:pos x="988" y="398"/>
                  </a:cxn>
                  <a:cxn ang="0">
                    <a:pos x="938" y="443"/>
                  </a:cxn>
                  <a:cxn ang="0">
                    <a:pos x="896" y="498"/>
                  </a:cxn>
                  <a:cxn ang="0">
                    <a:pos x="864" y="539"/>
                  </a:cxn>
                  <a:cxn ang="0">
                    <a:pos x="855" y="594"/>
                  </a:cxn>
                  <a:cxn ang="0">
                    <a:pos x="901" y="658"/>
                  </a:cxn>
                  <a:cxn ang="0">
                    <a:pos x="947" y="622"/>
                  </a:cxn>
                  <a:cxn ang="0">
                    <a:pos x="997" y="672"/>
                  </a:cxn>
                  <a:cxn ang="0">
                    <a:pos x="1015" y="768"/>
                  </a:cxn>
                  <a:cxn ang="0">
                    <a:pos x="997" y="855"/>
                  </a:cxn>
                  <a:cxn ang="0">
                    <a:pos x="1006" y="942"/>
                  </a:cxn>
                </a:cxnLst>
                <a:rect l="0" t="0" r="r" b="b"/>
                <a:pathLst>
                  <a:path w="1029" h="1157">
                    <a:moveTo>
                      <a:pt x="960" y="955"/>
                    </a:moveTo>
                    <a:lnTo>
                      <a:pt x="960" y="955"/>
                    </a:lnTo>
                    <a:lnTo>
                      <a:pt x="956" y="955"/>
                    </a:lnTo>
                    <a:lnTo>
                      <a:pt x="956" y="955"/>
                    </a:lnTo>
                    <a:lnTo>
                      <a:pt x="951" y="960"/>
                    </a:lnTo>
                    <a:lnTo>
                      <a:pt x="947" y="965"/>
                    </a:lnTo>
                    <a:lnTo>
                      <a:pt x="947" y="969"/>
                    </a:lnTo>
                    <a:lnTo>
                      <a:pt x="942" y="969"/>
                    </a:lnTo>
                    <a:lnTo>
                      <a:pt x="942" y="969"/>
                    </a:lnTo>
                    <a:lnTo>
                      <a:pt x="942" y="969"/>
                    </a:lnTo>
                    <a:lnTo>
                      <a:pt x="938" y="969"/>
                    </a:lnTo>
                    <a:lnTo>
                      <a:pt x="933" y="974"/>
                    </a:lnTo>
                    <a:lnTo>
                      <a:pt x="928" y="974"/>
                    </a:lnTo>
                    <a:lnTo>
                      <a:pt x="928" y="978"/>
                    </a:lnTo>
                    <a:lnTo>
                      <a:pt x="928" y="983"/>
                    </a:lnTo>
                    <a:lnTo>
                      <a:pt x="924" y="987"/>
                    </a:lnTo>
                    <a:lnTo>
                      <a:pt x="924" y="997"/>
                    </a:lnTo>
                    <a:lnTo>
                      <a:pt x="924" y="1001"/>
                    </a:lnTo>
                    <a:lnTo>
                      <a:pt x="919" y="1001"/>
                    </a:lnTo>
                    <a:lnTo>
                      <a:pt x="915" y="1001"/>
                    </a:lnTo>
                    <a:lnTo>
                      <a:pt x="910" y="1001"/>
                    </a:lnTo>
                    <a:lnTo>
                      <a:pt x="906" y="1010"/>
                    </a:lnTo>
                    <a:lnTo>
                      <a:pt x="906" y="1015"/>
                    </a:lnTo>
                    <a:lnTo>
                      <a:pt x="901" y="1019"/>
                    </a:lnTo>
                    <a:lnTo>
                      <a:pt x="901" y="1019"/>
                    </a:lnTo>
                    <a:lnTo>
                      <a:pt x="901" y="1024"/>
                    </a:lnTo>
                    <a:lnTo>
                      <a:pt x="906" y="1024"/>
                    </a:lnTo>
                    <a:lnTo>
                      <a:pt x="910" y="1024"/>
                    </a:lnTo>
                    <a:lnTo>
                      <a:pt x="910" y="1024"/>
                    </a:lnTo>
                    <a:lnTo>
                      <a:pt x="910" y="1029"/>
                    </a:lnTo>
                    <a:lnTo>
                      <a:pt x="910" y="1033"/>
                    </a:lnTo>
                    <a:lnTo>
                      <a:pt x="910" y="1038"/>
                    </a:lnTo>
                    <a:lnTo>
                      <a:pt x="915" y="1038"/>
                    </a:lnTo>
                    <a:lnTo>
                      <a:pt x="915" y="1038"/>
                    </a:lnTo>
                    <a:lnTo>
                      <a:pt x="919" y="1042"/>
                    </a:lnTo>
                    <a:lnTo>
                      <a:pt x="910" y="1047"/>
                    </a:lnTo>
                    <a:lnTo>
                      <a:pt x="910" y="1051"/>
                    </a:lnTo>
                    <a:lnTo>
                      <a:pt x="906" y="1051"/>
                    </a:lnTo>
                    <a:lnTo>
                      <a:pt x="910" y="1051"/>
                    </a:lnTo>
                    <a:lnTo>
                      <a:pt x="910" y="1056"/>
                    </a:lnTo>
                    <a:lnTo>
                      <a:pt x="915" y="1061"/>
                    </a:lnTo>
                    <a:lnTo>
                      <a:pt x="915" y="1065"/>
                    </a:lnTo>
                    <a:lnTo>
                      <a:pt x="915" y="1070"/>
                    </a:lnTo>
                    <a:lnTo>
                      <a:pt x="910" y="1070"/>
                    </a:lnTo>
                    <a:lnTo>
                      <a:pt x="906" y="1070"/>
                    </a:lnTo>
                    <a:lnTo>
                      <a:pt x="906" y="1070"/>
                    </a:lnTo>
                    <a:lnTo>
                      <a:pt x="901" y="1074"/>
                    </a:lnTo>
                    <a:lnTo>
                      <a:pt x="901" y="1079"/>
                    </a:lnTo>
                    <a:lnTo>
                      <a:pt x="901" y="1083"/>
                    </a:lnTo>
                    <a:lnTo>
                      <a:pt x="901" y="1088"/>
                    </a:lnTo>
                    <a:lnTo>
                      <a:pt x="901" y="1088"/>
                    </a:lnTo>
                    <a:lnTo>
                      <a:pt x="901" y="1093"/>
                    </a:lnTo>
                    <a:lnTo>
                      <a:pt x="901" y="1093"/>
                    </a:lnTo>
                    <a:lnTo>
                      <a:pt x="896" y="1097"/>
                    </a:lnTo>
                    <a:lnTo>
                      <a:pt x="896" y="1097"/>
                    </a:lnTo>
                    <a:lnTo>
                      <a:pt x="896" y="1097"/>
                    </a:lnTo>
                    <a:lnTo>
                      <a:pt x="892" y="1102"/>
                    </a:lnTo>
                    <a:lnTo>
                      <a:pt x="892" y="1102"/>
                    </a:lnTo>
                    <a:lnTo>
                      <a:pt x="892" y="1102"/>
                    </a:lnTo>
                    <a:lnTo>
                      <a:pt x="887" y="1106"/>
                    </a:lnTo>
                    <a:lnTo>
                      <a:pt x="887" y="1111"/>
                    </a:lnTo>
                    <a:lnTo>
                      <a:pt x="887" y="1115"/>
                    </a:lnTo>
                    <a:lnTo>
                      <a:pt x="883" y="1115"/>
                    </a:lnTo>
                    <a:lnTo>
                      <a:pt x="883" y="1115"/>
                    </a:lnTo>
                    <a:lnTo>
                      <a:pt x="878" y="1115"/>
                    </a:lnTo>
                    <a:lnTo>
                      <a:pt x="878" y="1120"/>
                    </a:lnTo>
                    <a:lnTo>
                      <a:pt x="874" y="1120"/>
                    </a:lnTo>
                    <a:lnTo>
                      <a:pt x="869" y="1120"/>
                    </a:lnTo>
                    <a:lnTo>
                      <a:pt x="864" y="1115"/>
                    </a:lnTo>
                    <a:lnTo>
                      <a:pt x="860" y="1115"/>
                    </a:lnTo>
                    <a:lnTo>
                      <a:pt x="860" y="1120"/>
                    </a:lnTo>
                    <a:lnTo>
                      <a:pt x="855" y="1120"/>
                    </a:lnTo>
                    <a:lnTo>
                      <a:pt x="855" y="1120"/>
                    </a:lnTo>
                    <a:lnTo>
                      <a:pt x="855" y="1120"/>
                    </a:lnTo>
                    <a:lnTo>
                      <a:pt x="851" y="1120"/>
                    </a:lnTo>
                    <a:lnTo>
                      <a:pt x="855" y="1129"/>
                    </a:lnTo>
                    <a:lnTo>
                      <a:pt x="855" y="1138"/>
                    </a:lnTo>
                    <a:lnTo>
                      <a:pt x="851" y="1143"/>
                    </a:lnTo>
                    <a:lnTo>
                      <a:pt x="855" y="1143"/>
                    </a:lnTo>
                    <a:lnTo>
                      <a:pt x="842" y="1143"/>
                    </a:lnTo>
                    <a:lnTo>
                      <a:pt x="837" y="1147"/>
                    </a:lnTo>
                    <a:lnTo>
                      <a:pt x="832" y="1147"/>
                    </a:lnTo>
                    <a:lnTo>
                      <a:pt x="828" y="1147"/>
                    </a:lnTo>
                    <a:lnTo>
                      <a:pt x="823" y="1147"/>
                    </a:lnTo>
                    <a:lnTo>
                      <a:pt x="823" y="1152"/>
                    </a:lnTo>
                    <a:lnTo>
                      <a:pt x="823" y="1152"/>
                    </a:lnTo>
                    <a:lnTo>
                      <a:pt x="823" y="1157"/>
                    </a:lnTo>
                    <a:lnTo>
                      <a:pt x="823" y="1157"/>
                    </a:lnTo>
                    <a:lnTo>
                      <a:pt x="814" y="1152"/>
                    </a:lnTo>
                    <a:lnTo>
                      <a:pt x="814" y="1152"/>
                    </a:lnTo>
                    <a:lnTo>
                      <a:pt x="810" y="1152"/>
                    </a:lnTo>
                    <a:lnTo>
                      <a:pt x="810" y="1147"/>
                    </a:lnTo>
                    <a:lnTo>
                      <a:pt x="800" y="1143"/>
                    </a:lnTo>
                    <a:lnTo>
                      <a:pt x="800" y="1143"/>
                    </a:lnTo>
                    <a:lnTo>
                      <a:pt x="796" y="1143"/>
                    </a:lnTo>
                    <a:lnTo>
                      <a:pt x="791" y="1143"/>
                    </a:lnTo>
                    <a:lnTo>
                      <a:pt x="791" y="1147"/>
                    </a:lnTo>
                    <a:lnTo>
                      <a:pt x="787" y="1147"/>
                    </a:lnTo>
                    <a:lnTo>
                      <a:pt x="782" y="1147"/>
                    </a:lnTo>
                    <a:lnTo>
                      <a:pt x="782" y="1147"/>
                    </a:lnTo>
                    <a:lnTo>
                      <a:pt x="778" y="1143"/>
                    </a:lnTo>
                    <a:lnTo>
                      <a:pt x="773" y="1143"/>
                    </a:lnTo>
                    <a:lnTo>
                      <a:pt x="768" y="1143"/>
                    </a:lnTo>
                    <a:lnTo>
                      <a:pt x="764" y="1143"/>
                    </a:lnTo>
                    <a:lnTo>
                      <a:pt x="764" y="1143"/>
                    </a:lnTo>
                    <a:lnTo>
                      <a:pt x="759" y="1138"/>
                    </a:lnTo>
                    <a:lnTo>
                      <a:pt x="759" y="1138"/>
                    </a:lnTo>
                    <a:lnTo>
                      <a:pt x="759" y="1138"/>
                    </a:lnTo>
                    <a:lnTo>
                      <a:pt x="755" y="1134"/>
                    </a:lnTo>
                    <a:lnTo>
                      <a:pt x="750" y="1134"/>
                    </a:lnTo>
                    <a:lnTo>
                      <a:pt x="750" y="1134"/>
                    </a:lnTo>
                    <a:lnTo>
                      <a:pt x="746" y="1134"/>
                    </a:lnTo>
                    <a:lnTo>
                      <a:pt x="741" y="1138"/>
                    </a:lnTo>
                    <a:lnTo>
                      <a:pt x="741" y="1143"/>
                    </a:lnTo>
                    <a:lnTo>
                      <a:pt x="736" y="1143"/>
                    </a:lnTo>
                    <a:lnTo>
                      <a:pt x="732" y="1143"/>
                    </a:lnTo>
                    <a:lnTo>
                      <a:pt x="732" y="1143"/>
                    </a:lnTo>
                    <a:lnTo>
                      <a:pt x="727" y="1138"/>
                    </a:lnTo>
                    <a:lnTo>
                      <a:pt x="727" y="1138"/>
                    </a:lnTo>
                    <a:lnTo>
                      <a:pt x="727" y="1125"/>
                    </a:lnTo>
                    <a:lnTo>
                      <a:pt x="727" y="1111"/>
                    </a:lnTo>
                    <a:lnTo>
                      <a:pt x="727" y="1102"/>
                    </a:lnTo>
                    <a:lnTo>
                      <a:pt x="732" y="1088"/>
                    </a:lnTo>
                    <a:lnTo>
                      <a:pt x="732" y="1088"/>
                    </a:lnTo>
                    <a:lnTo>
                      <a:pt x="727" y="1083"/>
                    </a:lnTo>
                    <a:lnTo>
                      <a:pt x="723" y="1079"/>
                    </a:lnTo>
                    <a:lnTo>
                      <a:pt x="718" y="1074"/>
                    </a:lnTo>
                    <a:lnTo>
                      <a:pt x="718" y="1074"/>
                    </a:lnTo>
                    <a:lnTo>
                      <a:pt x="718" y="1074"/>
                    </a:lnTo>
                    <a:lnTo>
                      <a:pt x="714" y="1074"/>
                    </a:lnTo>
                    <a:lnTo>
                      <a:pt x="714" y="1074"/>
                    </a:lnTo>
                    <a:lnTo>
                      <a:pt x="709" y="1074"/>
                    </a:lnTo>
                    <a:lnTo>
                      <a:pt x="704" y="1074"/>
                    </a:lnTo>
                    <a:lnTo>
                      <a:pt x="704" y="1074"/>
                    </a:lnTo>
                    <a:lnTo>
                      <a:pt x="700" y="1079"/>
                    </a:lnTo>
                    <a:lnTo>
                      <a:pt x="695" y="1083"/>
                    </a:lnTo>
                    <a:lnTo>
                      <a:pt x="691" y="1088"/>
                    </a:lnTo>
                    <a:lnTo>
                      <a:pt x="686" y="1083"/>
                    </a:lnTo>
                    <a:lnTo>
                      <a:pt x="686" y="1088"/>
                    </a:lnTo>
                    <a:lnTo>
                      <a:pt x="686" y="1088"/>
                    </a:lnTo>
                    <a:lnTo>
                      <a:pt x="682" y="1083"/>
                    </a:lnTo>
                    <a:lnTo>
                      <a:pt x="682" y="1083"/>
                    </a:lnTo>
                    <a:lnTo>
                      <a:pt x="682" y="1088"/>
                    </a:lnTo>
                    <a:lnTo>
                      <a:pt x="672" y="1083"/>
                    </a:lnTo>
                    <a:lnTo>
                      <a:pt x="672" y="1083"/>
                    </a:lnTo>
                    <a:lnTo>
                      <a:pt x="672" y="1088"/>
                    </a:lnTo>
                    <a:lnTo>
                      <a:pt x="659" y="1079"/>
                    </a:lnTo>
                    <a:lnTo>
                      <a:pt x="659" y="1079"/>
                    </a:lnTo>
                    <a:lnTo>
                      <a:pt x="659" y="1065"/>
                    </a:lnTo>
                    <a:lnTo>
                      <a:pt x="659" y="1061"/>
                    </a:lnTo>
                    <a:lnTo>
                      <a:pt x="659" y="1056"/>
                    </a:lnTo>
                    <a:lnTo>
                      <a:pt x="659" y="1056"/>
                    </a:lnTo>
                    <a:lnTo>
                      <a:pt x="654" y="1056"/>
                    </a:lnTo>
                    <a:lnTo>
                      <a:pt x="654" y="1056"/>
                    </a:lnTo>
                    <a:lnTo>
                      <a:pt x="654" y="1056"/>
                    </a:lnTo>
                    <a:lnTo>
                      <a:pt x="654" y="1056"/>
                    </a:lnTo>
                    <a:lnTo>
                      <a:pt x="650" y="1056"/>
                    </a:lnTo>
                    <a:lnTo>
                      <a:pt x="650" y="1056"/>
                    </a:lnTo>
                    <a:lnTo>
                      <a:pt x="645" y="1042"/>
                    </a:lnTo>
                    <a:lnTo>
                      <a:pt x="636" y="1038"/>
                    </a:lnTo>
                    <a:lnTo>
                      <a:pt x="636" y="1042"/>
                    </a:lnTo>
                    <a:lnTo>
                      <a:pt x="636" y="1042"/>
                    </a:lnTo>
                    <a:lnTo>
                      <a:pt x="631" y="1038"/>
                    </a:lnTo>
                    <a:lnTo>
                      <a:pt x="631" y="1038"/>
                    </a:lnTo>
                    <a:lnTo>
                      <a:pt x="627" y="1038"/>
                    </a:lnTo>
                    <a:lnTo>
                      <a:pt x="627" y="1033"/>
                    </a:lnTo>
                    <a:lnTo>
                      <a:pt x="627" y="1029"/>
                    </a:lnTo>
                    <a:lnTo>
                      <a:pt x="622" y="1024"/>
                    </a:lnTo>
                    <a:lnTo>
                      <a:pt x="622" y="1024"/>
                    </a:lnTo>
                    <a:lnTo>
                      <a:pt x="622" y="1024"/>
                    </a:lnTo>
                    <a:lnTo>
                      <a:pt x="622" y="1019"/>
                    </a:lnTo>
                    <a:lnTo>
                      <a:pt x="622" y="1019"/>
                    </a:lnTo>
                    <a:lnTo>
                      <a:pt x="622" y="1019"/>
                    </a:lnTo>
                    <a:lnTo>
                      <a:pt x="622" y="1015"/>
                    </a:lnTo>
                    <a:lnTo>
                      <a:pt x="631" y="992"/>
                    </a:lnTo>
                    <a:lnTo>
                      <a:pt x="631" y="992"/>
                    </a:lnTo>
                    <a:lnTo>
                      <a:pt x="631" y="992"/>
                    </a:lnTo>
                    <a:lnTo>
                      <a:pt x="631" y="992"/>
                    </a:lnTo>
                    <a:lnTo>
                      <a:pt x="622" y="987"/>
                    </a:lnTo>
                    <a:lnTo>
                      <a:pt x="622" y="987"/>
                    </a:lnTo>
                    <a:lnTo>
                      <a:pt x="618" y="983"/>
                    </a:lnTo>
                    <a:lnTo>
                      <a:pt x="618" y="983"/>
                    </a:lnTo>
                    <a:lnTo>
                      <a:pt x="618" y="983"/>
                    </a:lnTo>
                    <a:lnTo>
                      <a:pt x="613" y="983"/>
                    </a:lnTo>
                    <a:lnTo>
                      <a:pt x="613" y="983"/>
                    </a:lnTo>
                    <a:lnTo>
                      <a:pt x="608" y="978"/>
                    </a:lnTo>
                    <a:lnTo>
                      <a:pt x="608" y="978"/>
                    </a:lnTo>
                    <a:lnTo>
                      <a:pt x="608" y="978"/>
                    </a:lnTo>
                    <a:lnTo>
                      <a:pt x="604" y="983"/>
                    </a:lnTo>
                    <a:lnTo>
                      <a:pt x="604" y="983"/>
                    </a:lnTo>
                    <a:lnTo>
                      <a:pt x="604" y="983"/>
                    </a:lnTo>
                    <a:lnTo>
                      <a:pt x="599" y="983"/>
                    </a:lnTo>
                    <a:lnTo>
                      <a:pt x="595" y="978"/>
                    </a:lnTo>
                    <a:lnTo>
                      <a:pt x="595" y="974"/>
                    </a:lnTo>
                    <a:lnTo>
                      <a:pt x="595" y="969"/>
                    </a:lnTo>
                    <a:lnTo>
                      <a:pt x="590" y="969"/>
                    </a:lnTo>
                    <a:lnTo>
                      <a:pt x="586" y="969"/>
                    </a:lnTo>
                    <a:lnTo>
                      <a:pt x="581" y="969"/>
                    </a:lnTo>
                    <a:lnTo>
                      <a:pt x="581" y="965"/>
                    </a:lnTo>
                    <a:lnTo>
                      <a:pt x="576" y="960"/>
                    </a:lnTo>
                    <a:lnTo>
                      <a:pt x="572" y="960"/>
                    </a:lnTo>
                    <a:lnTo>
                      <a:pt x="572" y="960"/>
                    </a:lnTo>
                    <a:lnTo>
                      <a:pt x="572" y="955"/>
                    </a:lnTo>
                    <a:lnTo>
                      <a:pt x="572" y="951"/>
                    </a:lnTo>
                    <a:lnTo>
                      <a:pt x="572" y="951"/>
                    </a:lnTo>
                    <a:lnTo>
                      <a:pt x="563" y="946"/>
                    </a:lnTo>
                    <a:lnTo>
                      <a:pt x="563" y="951"/>
                    </a:lnTo>
                    <a:lnTo>
                      <a:pt x="558" y="951"/>
                    </a:lnTo>
                    <a:lnTo>
                      <a:pt x="554" y="946"/>
                    </a:lnTo>
                    <a:lnTo>
                      <a:pt x="549" y="946"/>
                    </a:lnTo>
                    <a:lnTo>
                      <a:pt x="540" y="937"/>
                    </a:lnTo>
                    <a:lnTo>
                      <a:pt x="540" y="937"/>
                    </a:lnTo>
                    <a:lnTo>
                      <a:pt x="544" y="928"/>
                    </a:lnTo>
                    <a:lnTo>
                      <a:pt x="544" y="928"/>
                    </a:lnTo>
                    <a:lnTo>
                      <a:pt x="540" y="923"/>
                    </a:lnTo>
                    <a:lnTo>
                      <a:pt x="540" y="914"/>
                    </a:lnTo>
                    <a:lnTo>
                      <a:pt x="540" y="910"/>
                    </a:lnTo>
                    <a:lnTo>
                      <a:pt x="535" y="910"/>
                    </a:lnTo>
                    <a:lnTo>
                      <a:pt x="531" y="905"/>
                    </a:lnTo>
                    <a:lnTo>
                      <a:pt x="531" y="905"/>
                    </a:lnTo>
                    <a:lnTo>
                      <a:pt x="531" y="905"/>
                    </a:lnTo>
                    <a:lnTo>
                      <a:pt x="526" y="914"/>
                    </a:lnTo>
                    <a:lnTo>
                      <a:pt x="526" y="923"/>
                    </a:lnTo>
                    <a:lnTo>
                      <a:pt x="526" y="933"/>
                    </a:lnTo>
                    <a:lnTo>
                      <a:pt x="526" y="933"/>
                    </a:lnTo>
                    <a:lnTo>
                      <a:pt x="526" y="933"/>
                    </a:lnTo>
                    <a:lnTo>
                      <a:pt x="526" y="933"/>
                    </a:lnTo>
                    <a:lnTo>
                      <a:pt x="526" y="942"/>
                    </a:lnTo>
                    <a:lnTo>
                      <a:pt x="526" y="946"/>
                    </a:lnTo>
                    <a:lnTo>
                      <a:pt x="526" y="951"/>
                    </a:lnTo>
                    <a:lnTo>
                      <a:pt x="522" y="969"/>
                    </a:lnTo>
                    <a:lnTo>
                      <a:pt x="522" y="969"/>
                    </a:lnTo>
                    <a:lnTo>
                      <a:pt x="522" y="974"/>
                    </a:lnTo>
                    <a:lnTo>
                      <a:pt x="522" y="974"/>
                    </a:lnTo>
                    <a:lnTo>
                      <a:pt x="517" y="978"/>
                    </a:lnTo>
                    <a:lnTo>
                      <a:pt x="517" y="983"/>
                    </a:lnTo>
                    <a:lnTo>
                      <a:pt x="517" y="987"/>
                    </a:lnTo>
                    <a:lnTo>
                      <a:pt x="512" y="992"/>
                    </a:lnTo>
                    <a:lnTo>
                      <a:pt x="512" y="997"/>
                    </a:lnTo>
                    <a:lnTo>
                      <a:pt x="508" y="997"/>
                    </a:lnTo>
                    <a:lnTo>
                      <a:pt x="503" y="997"/>
                    </a:lnTo>
                    <a:lnTo>
                      <a:pt x="503" y="997"/>
                    </a:lnTo>
                    <a:lnTo>
                      <a:pt x="499" y="1001"/>
                    </a:lnTo>
                    <a:lnTo>
                      <a:pt x="499" y="1006"/>
                    </a:lnTo>
                    <a:lnTo>
                      <a:pt x="499" y="1006"/>
                    </a:lnTo>
                    <a:lnTo>
                      <a:pt x="494" y="1006"/>
                    </a:lnTo>
                    <a:lnTo>
                      <a:pt x="490" y="997"/>
                    </a:lnTo>
                    <a:lnTo>
                      <a:pt x="476" y="1001"/>
                    </a:lnTo>
                    <a:lnTo>
                      <a:pt x="476" y="1001"/>
                    </a:lnTo>
                    <a:lnTo>
                      <a:pt x="462" y="1001"/>
                    </a:lnTo>
                    <a:lnTo>
                      <a:pt x="462" y="1001"/>
                    </a:lnTo>
                    <a:lnTo>
                      <a:pt x="453" y="1001"/>
                    </a:lnTo>
                    <a:lnTo>
                      <a:pt x="453" y="1001"/>
                    </a:lnTo>
                    <a:lnTo>
                      <a:pt x="444" y="1001"/>
                    </a:lnTo>
                    <a:lnTo>
                      <a:pt x="444" y="1006"/>
                    </a:lnTo>
                    <a:lnTo>
                      <a:pt x="416" y="1006"/>
                    </a:lnTo>
                    <a:lnTo>
                      <a:pt x="394" y="1010"/>
                    </a:lnTo>
                    <a:lnTo>
                      <a:pt x="394" y="1006"/>
                    </a:lnTo>
                    <a:lnTo>
                      <a:pt x="380" y="987"/>
                    </a:lnTo>
                    <a:lnTo>
                      <a:pt x="380" y="987"/>
                    </a:lnTo>
                    <a:lnTo>
                      <a:pt x="380" y="987"/>
                    </a:lnTo>
                    <a:lnTo>
                      <a:pt x="380" y="983"/>
                    </a:lnTo>
                    <a:lnTo>
                      <a:pt x="384" y="978"/>
                    </a:lnTo>
                    <a:lnTo>
                      <a:pt x="380" y="978"/>
                    </a:lnTo>
                    <a:lnTo>
                      <a:pt x="380" y="974"/>
                    </a:lnTo>
                    <a:lnTo>
                      <a:pt x="380" y="969"/>
                    </a:lnTo>
                    <a:lnTo>
                      <a:pt x="380" y="969"/>
                    </a:lnTo>
                    <a:lnTo>
                      <a:pt x="380" y="969"/>
                    </a:lnTo>
                    <a:lnTo>
                      <a:pt x="380" y="969"/>
                    </a:lnTo>
                    <a:lnTo>
                      <a:pt x="375" y="965"/>
                    </a:lnTo>
                    <a:lnTo>
                      <a:pt x="380" y="965"/>
                    </a:lnTo>
                    <a:lnTo>
                      <a:pt x="380" y="960"/>
                    </a:lnTo>
                    <a:lnTo>
                      <a:pt x="380" y="960"/>
                    </a:lnTo>
                    <a:lnTo>
                      <a:pt x="380" y="960"/>
                    </a:lnTo>
                    <a:lnTo>
                      <a:pt x="375" y="960"/>
                    </a:lnTo>
                    <a:lnTo>
                      <a:pt x="375" y="960"/>
                    </a:lnTo>
                    <a:lnTo>
                      <a:pt x="375" y="955"/>
                    </a:lnTo>
                    <a:lnTo>
                      <a:pt x="375" y="955"/>
                    </a:lnTo>
                    <a:lnTo>
                      <a:pt x="375" y="951"/>
                    </a:lnTo>
                    <a:lnTo>
                      <a:pt x="371" y="951"/>
                    </a:lnTo>
                    <a:lnTo>
                      <a:pt x="366" y="960"/>
                    </a:lnTo>
                    <a:lnTo>
                      <a:pt x="362" y="960"/>
                    </a:lnTo>
                    <a:lnTo>
                      <a:pt x="357" y="965"/>
                    </a:lnTo>
                    <a:lnTo>
                      <a:pt x="357" y="969"/>
                    </a:lnTo>
                    <a:lnTo>
                      <a:pt x="357" y="969"/>
                    </a:lnTo>
                    <a:lnTo>
                      <a:pt x="348" y="974"/>
                    </a:lnTo>
                    <a:lnTo>
                      <a:pt x="343" y="978"/>
                    </a:lnTo>
                    <a:lnTo>
                      <a:pt x="343" y="978"/>
                    </a:lnTo>
                    <a:lnTo>
                      <a:pt x="339" y="983"/>
                    </a:lnTo>
                    <a:lnTo>
                      <a:pt x="334" y="987"/>
                    </a:lnTo>
                    <a:lnTo>
                      <a:pt x="330" y="992"/>
                    </a:lnTo>
                    <a:lnTo>
                      <a:pt x="320" y="997"/>
                    </a:lnTo>
                    <a:lnTo>
                      <a:pt x="316" y="1006"/>
                    </a:lnTo>
                    <a:lnTo>
                      <a:pt x="311" y="1006"/>
                    </a:lnTo>
                    <a:lnTo>
                      <a:pt x="311" y="1006"/>
                    </a:lnTo>
                    <a:lnTo>
                      <a:pt x="302" y="1015"/>
                    </a:lnTo>
                    <a:lnTo>
                      <a:pt x="298" y="1024"/>
                    </a:lnTo>
                    <a:lnTo>
                      <a:pt x="293" y="1024"/>
                    </a:lnTo>
                    <a:lnTo>
                      <a:pt x="293" y="1029"/>
                    </a:lnTo>
                    <a:lnTo>
                      <a:pt x="284" y="1038"/>
                    </a:lnTo>
                    <a:lnTo>
                      <a:pt x="279" y="1038"/>
                    </a:lnTo>
                    <a:lnTo>
                      <a:pt x="275" y="1042"/>
                    </a:lnTo>
                    <a:lnTo>
                      <a:pt x="270" y="1051"/>
                    </a:lnTo>
                    <a:lnTo>
                      <a:pt x="266" y="1056"/>
                    </a:lnTo>
                    <a:lnTo>
                      <a:pt x="261" y="1051"/>
                    </a:lnTo>
                    <a:lnTo>
                      <a:pt x="261" y="1051"/>
                    </a:lnTo>
                    <a:lnTo>
                      <a:pt x="256" y="1051"/>
                    </a:lnTo>
                    <a:lnTo>
                      <a:pt x="247" y="1047"/>
                    </a:lnTo>
                    <a:lnTo>
                      <a:pt x="243" y="1047"/>
                    </a:lnTo>
                    <a:lnTo>
                      <a:pt x="243" y="1047"/>
                    </a:lnTo>
                    <a:lnTo>
                      <a:pt x="238" y="1047"/>
                    </a:lnTo>
                    <a:lnTo>
                      <a:pt x="238" y="1047"/>
                    </a:lnTo>
                    <a:lnTo>
                      <a:pt x="238" y="1047"/>
                    </a:lnTo>
                    <a:lnTo>
                      <a:pt x="238" y="1047"/>
                    </a:lnTo>
                    <a:lnTo>
                      <a:pt x="234" y="1047"/>
                    </a:lnTo>
                    <a:lnTo>
                      <a:pt x="234" y="1047"/>
                    </a:lnTo>
                    <a:lnTo>
                      <a:pt x="234" y="1047"/>
                    </a:lnTo>
                    <a:lnTo>
                      <a:pt x="229" y="1042"/>
                    </a:lnTo>
                    <a:lnTo>
                      <a:pt x="229" y="1047"/>
                    </a:lnTo>
                    <a:lnTo>
                      <a:pt x="229" y="1047"/>
                    </a:lnTo>
                    <a:lnTo>
                      <a:pt x="229" y="1051"/>
                    </a:lnTo>
                    <a:lnTo>
                      <a:pt x="224" y="1056"/>
                    </a:lnTo>
                    <a:lnTo>
                      <a:pt x="229" y="1061"/>
                    </a:lnTo>
                    <a:lnTo>
                      <a:pt x="229" y="1061"/>
                    </a:lnTo>
                    <a:lnTo>
                      <a:pt x="229" y="1061"/>
                    </a:lnTo>
                    <a:lnTo>
                      <a:pt x="224" y="1065"/>
                    </a:lnTo>
                    <a:lnTo>
                      <a:pt x="224" y="1070"/>
                    </a:lnTo>
                    <a:lnTo>
                      <a:pt x="220" y="1074"/>
                    </a:lnTo>
                    <a:lnTo>
                      <a:pt x="220" y="1079"/>
                    </a:lnTo>
                    <a:lnTo>
                      <a:pt x="220" y="1083"/>
                    </a:lnTo>
                    <a:lnTo>
                      <a:pt x="220" y="1083"/>
                    </a:lnTo>
                    <a:lnTo>
                      <a:pt x="220" y="1093"/>
                    </a:lnTo>
                    <a:lnTo>
                      <a:pt x="220" y="1093"/>
                    </a:lnTo>
                    <a:lnTo>
                      <a:pt x="220" y="1093"/>
                    </a:lnTo>
                    <a:lnTo>
                      <a:pt x="220" y="1097"/>
                    </a:lnTo>
                    <a:lnTo>
                      <a:pt x="220" y="1097"/>
                    </a:lnTo>
                    <a:lnTo>
                      <a:pt x="220" y="1097"/>
                    </a:lnTo>
                    <a:lnTo>
                      <a:pt x="215" y="1102"/>
                    </a:lnTo>
                    <a:lnTo>
                      <a:pt x="215" y="1102"/>
                    </a:lnTo>
                    <a:lnTo>
                      <a:pt x="215" y="1106"/>
                    </a:lnTo>
                    <a:lnTo>
                      <a:pt x="215" y="1111"/>
                    </a:lnTo>
                    <a:lnTo>
                      <a:pt x="211" y="1115"/>
                    </a:lnTo>
                    <a:lnTo>
                      <a:pt x="206" y="1129"/>
                    </a:lnTo>
                    <a:lnTo>
                      <a:pt x="206" y="1129"/>
                    </a:lnTo>
                    <a:lnTo>
                      <a:pt x="206" y="1134"/>
                    </a:lnTo>
                    <a:lnTo>
                      <a:pt x="206" y="1134"/>
                    </a:lnTo>
                    <a:lnTo>
                      <a:pt x="202" y="1147"/>
                    </a:lnTo>
                    <a:lnTo>
                      <a:pt x="202" y="1152"/>
                    </a:lnTo>
                    <a:lnTo>
                      <a:pt x="202" y="1152"/>
                    </a:lnTo>
                    <a:lnTo>
                      <a:pt x="202" y="1152"/>
                    </a:lnTo>
                    <a:lnTo>
                      <a:pt x="197" y="1152"/>
                    </a:lnTo>
                    <a:lnTo>
                      <a:pt x="197" y="1152"/>
                    </a:lnTo>
                    <a:lnTo>
                      <a:pt x="197" y="1152"/>
                    </a:lnTo>
                    <a:lnTo>
                      <a:pt x="197" y="1152"/>
                    </a:lnTo>
                    <a:lnTo>
                      <a:pt x="192" y="1152"/>
                    </a:lnTo>
                    <a:lnTo>
                      <a:pt x="192" y="1152"/>
                    </a:lnTo>
                    <a:lnTo>
                      <a:pt x="192" y="1147"/>
                    </a:lnTo>
                    <a:lnTo>
                      <a:pt x="192" y="1143"/>
                    </a:lnTo>
                    <a:lnTo>
                      <a:pt x="197" y="1134"/>
                    </a:lnTo>
                    <a:lnTo>
                      <a:pt x="197" y="1120"/>
                    </a:lnTo>
                    <a:lnTo>
                      <a:pt x="202" y="1102"/>
                    </a:lnTo>
                    <a:lnTo>
                      <a:pt x="202" y="1097"/>
                    </a:lnTo>
                    <a:lnTo>
                      <a:pt x="202" y="1074"/>
                    </a:lnTo>
                    <a:lnTo>
                      <a:pt x="202" y="1065"/>
                    </a:lnTo>
                    <a:lnTo>
                      <a:pt x="202" y="1056"/>
                    </a:lnTo>
                    <a:lnTo>
                      <a:pt x="197" y="1051"/>
                    </a:lnTo>
                    <a:lnTo>
                      <a:pt x="197" y="1047"/>
                    </a:lnTo>
                    <a:lnTo>
                      <a:pt x="197" y="1024"/>
                    </a:lnTo>
                    <a:lnTo>
                      <a:pt x="197" y="1019"/>
                    </a:lnTo>
                    <a:lnTo>
                      <a:pt x="197" y="1019"/>
                    </a:lnTo>
                    <a:lnTo>
                      <a:pt x="197" y="1010"/>
                    </a:lnTo>
                    <a:lnTo>
                      <a:pt x="197" y="1010"/>
                    </a:lnTo>
                    <a:lnTo>
                      <a:pt x="202" y="1010"/>
                    </a:lnTo>
                    <a:lnTo>
                      <a:pt x="202" y="1006"/>
                    </a:lnTo>
                    <a:lnTo>
                      <a:pt x="206" y="1001"/>
                    </a:lnTo>
                    <a:lnTo>
                      <a:pt x="206" y="997"/>
                    </a:lnTo>
                    <a:lnTo>
                      <a:pt x="211" y="997"/>
                    </a:lnTo>
                    <a:lnTo>
                      <a:pt x="211" y="992"/>
                    </a:lnTo>
                    <a:lnTo>
                      <a:pt x="215" y="987"/>
                    </a:lnTo>
                    <a:lnTo>
                      <a:pt x="215" y="987"/>
                    </a:lnTo>
                    <a:lnTo>
                      <a:pt x="220" y="983"/>
                    </a:lnTo>
                    <a:lnTo>
                      <a:pt x="220" y="974"/>
                    </a:lnTo>
                    <a:lnTo>
                      <a:pt x="220" y="969"/>
                    </a:lnTo>
                    <a:lnTo>
                      <a:pt x="220" y="965"/>
                    </a:lnTo>
                    <a:lnTo>
                      <a:pt x="224" y="960"/>
                    </a:lnTo>
                    <a:lnTo>
                      <a:pt x="224" y="951"/>
                    </a:lnTo>
                    <a:lnTo>
                      <a:pt x="229" y="946"/>
                    </a:lnTo>
                    <a:lnTo>
                      <a:pt x="234" y="937"/>
                    </a:lnTo>
                    <a:lnTo>
                      <a:pt x="238" y="937"/>
                    </a:lnTo>
                    <a:lnTo>
                      <a:pt x="238" y="933"/>
                    </a:lnTo>
                    <a:lnTo>
                      <a:pt x="238" y="928"/>
                    </a:lnTo>
                    <a:lnTo>
                      <a:pt x="243" y="928"/>
                    </a:lnTo>
                    <a:lnTo>
                      <a:pt x="247" y="923"/>
                    </a:lnTo>
                    <a:lnTo>
                      <a:pt x="256" y="923"/>
                    </a:lnTo>
                    <a:lnTo>
                      <a:pt x="261" y="923"/>
                    </a:lnTo>
                    <a:lnTo>
                      <a:pt x="261" y="923"/>
                    </a:lnTo>
                    <a:lnTo>
                      <a:pt x="266" y="919"/>
                    </a:lnTo>
                    <a:lnTo>
                      <a:pt x="270" y="919"/>
                    </a:lnTo>
                    <a:lnTo>
                      <a:pt x="270" y="914"/>
                    </a:lnTo>
                    <a:lnTo>
                      <a:pt x="275" y="914"/>
                    </a:lnTo>
                    <a:lnTo>
                      <a:pt x="275" y="910"/>
                    </a:lnTo>
                    <a:lnTo>
                      <a:pt x="279" y="901"/>
                    </a:lnTo>
                    <a:lnTo>
                      <a:pt x="279" y="878"/>
                    </a:lnTo>
                    <a:lnTo>
                      <a:pt x="284" y="850"/>
                    </a:lnTo>
                    <a:lnTo>
                      <a:pt x="284" y="837"/>
                    </a:lnTo>
                    <a:lnTo>
                      <a:pt x="288" y="823"/>
                    </a:lnTo>
                    <a:lnTo>
                      <a:pt x="288" y="814"/>
                    </a:lnTo>
                    <a:lnTo>
                      <a:pt x="288" y="805"/>
                    </a:lnTo>
                    <a:lnTo>
                      <a:pt x="288" y="795"/>
                    </a:lnTo>
                    <a:lnTo>
                      <a:pt x="288" y="791"/>
                    </a:lnTo>
                    <a:lnTo>
                      <a:pt x="288" y="791"/>
                    </a:lnTo>
                    <a:lnTo>
                      <a:pt x="288" y="786"/>
                    </a:lnTo>
                    <a:lnTo>
                      <a:pt x="288" y="777"/>
                    </a:lnTo>
                    <a:lnTo>
                      <a:pt x="284" y="777"/>
                    </a:lnTo>
                    <a:lnTo>
                      <a:pt x="284" y="773"/>
                    </a:lnTo>
                    <a:lnTo>
                      <a:pt x="284" y="768"/>
                    </a:lnTo>
                    <a:lnTo>
                      <a:pt x="284" y="768"/>
                    </a:lnTo>
                    <a:lnTo>
                      <a:pt x="275" y="759"/>
                    </a:lnTo>
                    <a:lnTo>
                      <a:pt x="275" y="754"/>
                    </a:lnTo>
                    <a:lnTo>
                      <a:pt x="270" y="750"/>
                    </a:lnTo>
                    <a:lnTo>
                      <a:pt x="266" y="750"/>
                    </a:lnTo>
                    <a:lnTo>
                      <a:pt x="266" y="745"/>
                    </a:lnTo>
                    <a:lnTo>
                      <a:pt x="261" y="745"/>
                    </a:lnTo>
                    <a:lnTo>
                      <a:pt x="261" y="741"/>
                    </a:lnTo>
                    <a:lnTo>
                      <a:pt x="261" y="736"/>
                    </a:lnTo>
                    <a:lnTo>
                      <a:pt x="256" y="731"/>
                    </a:lnTo>
                    <a:lnTo>
                      <a:pt x="252" y="727"/>
                    </a:lnTo>
                    <a:lnTo>
                      <a:pt x="247" y="722"/>
                    </a:lnTo>
                    <a:lnTo>
                      <a:pt x="238" y="713"/>
                    </a:lnTo>
                    <a:lnTo>
                      <a:pt x="229" y="704"/>
                    </a:lnTo>
                    <a:lnTo>
                      <a:pt x="224" y="704"/>
                    </a:lnTo>
                    <a:lnTo>
                      <a:pt x="220" y="695"/>
                    </a:lnTo>
                    <a:lnTo>
                      <a:pt x="215" y="690"/>
                    </a:lnTo>
                    <a:lnTo>
                      <a:pt x="206" y="686"/>
                    </a:lnTo>
                    <a:lnTo>
                      <a:pt x="206" y="681"/>
                    </a:lnTo>
                    <a:lnTo>
                      <a:pt x="202" y="681"/>
                    </a:lnTo>
                    <a:lnTo>
                      <a:pt x="197" y="681"/>
                    </a:lnTo>
                    <a:lnTo>
                      <a:pt x="197" y="681"/>
                    </a:lnTo>
                    <a:lnTo>
                      <a:pt x="197" y="677"/>
                    </a:lnTo>
                    <a:lnTo>
                      <a:pt x="192" y="672"/>
                    </a:lnTo>
                    <a:lnTo>
                      <a:pt x="188" y="667"/>
                    </a:lnTo>
                    <a:lnTo>
                      <a:pt x="183" y="663"/>
                    </a:lnTo>
                    <a:lnTo>
                      <a:pt x="179" y="663"/>
                    </a:lnTo>
                    <a:lnTo>
                      <a:pt x="174" y="658"/>
                    </a:lnTo>
                    <a:lnTo>
                      <a:pt x="174" y="658"/>
                    </a:lnTo>
                    <a:lnTo>
                      <a:pt x="174" y="658"/>
                    </a:lnTo>
                    <a:lnTo>
                      <a:pt x="170" y="654"/>
                    </a:lnTo>
                    <a:lnTo>
                      <a:pt x="165" y="654"/>
                    </a:lnTo>
                    <a:lnTo>
                      <a:pt x="160" y="654"/>
                    </a:lnTo>
                    <a:lnTo>
                      <a:pt x="156" y="649"/>
                    </a:lnTo>
                    <a:lnTo>
                      <a:pt x="151" y="649"/>
                    </a:lnTo>
                    <a:lnTo>
                      <a:pt x="151" y="649"/>
                    </a:lnTo>
                    <a:lnTo>
                      <a:pt x="142" y="645"/>
                    </a:lnTo>
                    <a:lnTo>
                      <a:pt x="128" y="645"/>
                    </a:lnTo>
                    <a:lnTo>
                      <a:pt x="124" y="645"/>
                    </a:lnTo>
                    <a:lnTo>
                      <a:pt x="119" y="649"/>
                    </a:lnTo>
                    <a:lnTo>
                      <a:pt x="96" y="654"/>
                    </a:lnTo>
                    <a:lnTo>
                      <a:pt x="87" y="658"/>
                    </a:lnTo>
                    <a:lnTo>
                      <a:pt x="64" y="663"/>
                    </a:lnTo>
                    <a:lnTo>
                      <a:pt x="60" y="663"/>
                    </a:lnTo>
                    <a:lnTo>
                      <a:pt x="55" y="663"/>
                    </a:lnTo>
                    <a:lnTo>
                      <a:pt x="51" y="663"/>
                    </a:lnTo>
                    <a:lnTo>
                      <a:pt x="42" y="667"/>
                    </a:lnTo>
                    <a:lnTo>
                      <a:pt x="42" y="667"/>
                    </a:lnTo>
                    <a:lnTo>
                      <a:pt x="37" y="672"/>
                    </a:lnTo>
                    <a:lnTo>
                      <a:pt x="32" y="677"/>
                    </a:lnTo>
                    <a:lnTo>
                      <a:pt x="23" y="681"/>
                    </a:lnTo>
                    <a:lnTo>
                      <a:pt x="19" y="681"/>
                    </a:lnTo>
                    <a:lnTo>
                      <a:pt x="14" y="686"/>
                    </a:lnTo>
                    <a:lnTo>
                      <a:pt x="14" y="690"/>
                    </a:lnTo>
                    <a:lnTo>
                      <a:pt x="5" y="690"/>
                    </a:lnTo>
                    <a:lnTo>
                      <a:pt x="0" y="690"/>
                    </a:lnTo>
                    <a:lnTo>
                      <a:pt x="0" y="690"/>
                    </a:lnTo>
                    <a:lnTo>
                      <a:pt x="0" y="686"/>
                    </a:lnTo>
                    <a:lnTo>
                      <a:pt x="0" y="681"/>
                    </a:lnTo>
                    <a:lnTo>
                      <a:pt x="0" y="681"/>
                    </a:lnTo>
                    <a:lnTo>
                      <a:pt x="0" y="677"/>
                    </a:lnTo>
                    <a:lnTo>
                      <a:pt x="0" y="672"/>
                    </a:lnTo>
                    <a:lnTo>
                      <a:pt x="0" y="663"/>
                    </a:lnTo>
                    <a:lnTo>
                      <a:pt x="5" y="658"/>
                    </a:lnTo>
                    <a:lnTo>
                      <a:pt x="5" y="658"/>
                    </a:lnTo>
                    <a:lnTo>
                      <a:pt x="10" y="654"/>
                    </a:lnTo>
                    <a:lnTo>
                      <a:pt x="10" y="649"/>
                    </a:lnTo>
                    <a:lnTo>
                      <a:pt x="10" y="645"/>
                    </a:lnTo>
                    <a:lnTo>
                      <a:pt x="14" y="640"/>
                    </a:lnTo>
                    <a:lnTo>
                      <a:pt x="14" y="640"/>
                    </a:lnTo>
                    <a:lnTo>
                      <a:pt x="10" y="640"/>
                    </a:lnTo>
                    <a:lnTo>
                      <a:pt x="10" y="635"/>
                    </a:lnTo>
                    <a:lnTo>
                      <a:pt x="10" y="631"/>
                    </a:lnTo>
                    <a:lnTo>
                      <a:pt x="14" y="635"/>
                    </a:lnTo>
                    <a:lnTo>
                      <a:pt x="19" y="635"/>
                    </a:lnTo>
                    <a:lnTo>
                      <a:pt x="19" y="635"/>
                    </a:lnTo>
                    <a:lnTo>
                      <a:pt x="28" y="635"/>
                    </a:lnTo>
                    <a:lnTo>
                      <a:pt x="42" y="626"/>
                    </a:lnTo>
                    <a:lnTo>
                      <a:pt x="42" y="622"/>
                    </a:lnTo>
                    <a:lnTo>
                      <a:pt x="46" y="622"/>
                    </a:lnTo>
                    <a:lnTo>
                      <a:pt x="46" y="617"/>
                    </a:lnTo>
                    <a:lnTo>
                      <a:pt x="51" y="617"/>
                    </a:lnTo>
                    <a:lnTo>
                      <a:pt x="51" y="617"/>
                    </a:lnTo>
                    <a:lnTo>
                      <a:pt x="55" y="617"/>
                    </a:lnTo>
                    <a:lnTo>
                      <a:pt x="60" y="613"/>
                    </a:lnTo>
                    <a:lnTo>
                      <a:pt x="60" y="608"/>
                    </a:lnTo>
                    <a:lnTo>
                      <a:pt x="64" y="608"/>
                    </a:lnTo>
                    <a:lnTo>
                      <a:pt x="64" y="603"/>
                    </a:lnTo>
                    <a:lnTo>
                      <a:pt x="64" y="603"/>
                    </a:lnTo>
                    <a:lnTo>
                      <a:pt x="74" y="594"/>
                    </a:lnTo>
                    <a:lnTo>
                      <a:pt x="78" y="594"/>
                    </a:lnTo>
                    <a:lnTo>
                      <a:pt x="83" y="594"/>
                    </a:lnTo>
                    <a:lnTo>
                      <a:pt x="87" y="590"/>
                    </a:lnTo>
                    <a:lnTo>
                      <a:pt x="87" y="585"/>
                    </a:lnTo>
                    <a:lnTo>
                      <a:pt x="87" y="585"/>
                    </a:lnTo>
                    <a:lnTo>
                      <a:pt x="92" y="585"/>
                    </a:lnTo>
                    <a:lnTo>
                      <a:pt x="92" y="581"/>
                    </a:lnTo>
                    <a:lnTo>
                      <a:pt x="92" y="576"/>
                    </a:lnTo>
                    <a:lnTo>
                      <a:pt x="96" y="576"/>
                    </a:lnTo>
                    <a:lnTo>
                      <a:pt x="92" y="571"/>
                    </a:lnTo>
                    <a:lnTo>
                      <a:pt x="92" y="562"/>
                    </a:lnTo>
                    <a:lnTo>
                      <a:pt x="92" y="558"/>
                    </a:lnTo>
                    <a:lnTo>
                      <a:pt x="92" y="553"/>
                    </a:lnTo>
                    <a:lnTo>
                      <a:pt x="87" y="549"/>
                    </a:lnTo>
                    <a:lnTo>
                      <a:pt x="87" y="549"/>
                    </a:lnTo>
                    <a:lnTo>
                      <a:pt x="87" y="544"/>
                    </a:lnTo>
                    <a:lnTo>
                      <a:pt x="87" y="535"/>
                    </a:lnTo>
                    <a:lnTo>
                      <a:pt x="83" y="530"/>
                    </a:lnTo>
                    <a:lnTo>
                      <a:pt x="78" y="530"/>
                    </a:lnTo>
                    <a:lnTo>
                      <a:pt x="78" y="526"/>
                    </a:lnTo>
                    <a:lnTo>
                      <a:pt x="74" y="517"/>
                    </a:lnTo>
                    <a:lnTo>
                      <a:pt x="74" y="507"/>
                    </a:lnTo>
                    <a:lnTo>
                      <a:pt x="69" y="507"/>
                    </a:lnTo>
                    <a:lnTo>
                      <a:pt x="69" y="494"/>
                    </a:lnTo>
                    <a:lnTo>
                      <a:pt x="74" y="485"/>
                    </a:lnTo>
                    <a:lnTo>
                      <a:pt x="78" y="480"/>
                    </a:lnTo>
                    <a:lnTo>
                      <a:pt x="87" y="480"/>
                    </a:lnTo>
                    <a:lnTo>
                      <a:pt x="87" y="475"/>
                    </a:lnTo>
                    <a:lnTo>
                      <a:pt x="92" y="475"/>
                    </a:lnTo>
                    <a:lnTo>
                      <a:pt x="101" y="480"/>
                    </a:lnTo>
                    <a:lnTo>
                      <a:pt x="106" y="480"/>
                    </a:lnTo>
                    <a:lnTo>
                      <a:pt x="110" y="480"/>
                    </a:lnTo>
                    <a:lnTo>
                      <a:pt x="110" y="485"/>
                    </a:lnTo>
                    <a:lnTo>
                      <a:pt x="115" y="485"/>
                    </a:lnTo>
                    <a:lnTo>
                      <a:pt x="119" y="485"/>
                    </a:lnTo>
                    <a:lnTo>
                      <a:pt x="128" y="485"/>
                    </a:lnTo>
                    <a:lnTo>
                      <a:pt x="128" y="485"/>
                    </a:lnTo>
                    <a:lnTo>
                      <a:pt x="133" y="489"/>
                    </a:lnTo>
                    <a:lnTo>
                      <a:pt x="138" y="489"/>
                    </a:lnTo>
                    <a:lnTo>
                      <a:pt x="142" y="489"/>
                    </a:lnTo>
                    <a:lnTo>
                      <a:pt x="151" y="489"/>
                    </a:lnTo>
                    <a:lnTo>
                      <a:pt x="156" y="489"/>
                    </a:lnTo>
                    <a:lnTo>
                      <a:pt x="165" y="489"/>
                    </a:lnTo>
                    <a:lnTo>
                      <a:pt x="165" y="485"/>
                    </a:lnTo>
                    <a:lnTo>
                      <a:pt x="170" y="485"/>
                    </a:lnTo>
                    <a:lnTo>
                      <a:pt x="174" y="485"/>
                    </a:lnTo>
                    <a:lnTo>
                      <a:pt x="174" y="480"/>
                    </a:lnTo>
                    <a:lnTo>
                      <a:pt x="174" y="475"/>
                    </a:lnTo>
                    <a:lnTo>
                      <a:pt x="174" y="471"/>
                    </a:lnTo>
                    <a:lnTo>
                      <a:pt x="179" y="466"/>
                    </a:lnTo>
                    <a:lnTo>
                      <a:pt x="183" y="462"/>
                    </a:lnTo>
                    <a:lnTo>
                      <a:pt x="188" y="462"/>
                    </a:lnTo>
                    <a:lnTo>
                      <a:pt x="197" y="462"/>
                    </a:lnTo>
                    <a:lnTo>
                      <a:pt x="197" y="462"/>
                    </a:lnTo>
                    <a:lnTo>
                      <a:pt x="206" y="462"/>
                    </a:lnTo>
                    <a:lnTo>
                      <a:pt x="211" y="462"/>
                    </a:lnTo>
                    <a:lnTo>
                      <a:pt x="220" y="462"/>
                    </a:lnTo>
                    <a:lnTo>
                      <a:pt x="220" y="462"/>
                    </a:lnTo>
                    <a:lnTo>
                      <a:pt x="224" y="457"/>
                    </a:lnTo>
                    <a:lnTo>
                      <a:pt x="229" y="457"/>
                    </a:lnTo>
                    <a:lnTo>
                      <a:pt x="238" y="457"/>
                    </a:lnTo>
                    <a:lnTo>
                      <a:pt x="238" y="457"/>
                    </a:lnTo>
                    <a:lnTo>
                      <a:pt x="243" y="453"/>
                    </a:lnTo>
                    <a:lnTo>
                      <a:pt x="247" y="453"/>
                    </a:lnTo>
                    <a:lnTo>
                      <a:pt x="247" y="448"/>
                    </a:lnTo>
                    <a:lnTo>
                      <a:pt x="252" y="448"/>
                    </a:lnTo>
                    <a:lnTo>
                      <a:pt x="261" y="443"/>
                    </a:lnTo>
                    <a:lnTo>
                      <a:pt x="261" y="443"/>
                    </a:lnTo>
                    <a:lnTo>
                      <a:pt x="266" y="439"/>
                    </a:lnTo>
                    <a:lnTo>
                      <a:pt x="270" y="439"/>
                    </a:lnTo>
                    <a:lnTo>
                      <a:pt x="275" y="439"/>
                    </a:lnTo>
                    <a:lnTo>
                      <a:pt x="279" y="439"/>
                    </a:lnTo>
                    <a:lnTo>
                      <a:pt x="279" y="434"/>
                    </a:lnTo>
                    <a:lnTo>
                      <a:pt x="284" y="434"/>
                    </a:lnTo>
                    <a:lnTo>
                      <a:pt x="284" y="430"/>
                    </a:lnTo>
                    <a:lnTo>
                      <a:pt x="288" y="430"/>
                    </a:lnTo>
                    <a:lnTo>
                      <a:pt x="293" y="425"/>
                    </a:lnTo>
                    <a:lnTo>
                      <a:pt x="298" y="421"/>
                    </a:lnTo>
                    <a:lnTo>
                      <a:pt x="302" y="421"/>
                    </a:lnTo>
                    <a:lnTo>
                      <a:pt x="307" y="421"/>
                    </a:lnTo>
                    <a:lnTo>
                      <a:pt x="307" y="416"/>
                    </a:lnTo>
                    <a:lnTo>
                      <a:pt x="307" y="416"/>
                    </a:lnTo>
                    <a:lnTo>
                      <a:pt x="311" y="411"/>
                    </a:lnTo>
                    <a:lnTo>
                      <a:pt x="316" y="411"/>
                    </a:lnTo>
                    <a:lnTo>
                      <a:pt x="316" y="407"/>
                    </a:lnTo>
                    <a:lnTo>
                      <a:pt x="320" y="407"/>
                    </a:lnTo>
                    <a:lnTo>
                      <a:pt x="325" y="402"/>
                    </a:lnTo>
                    <a:lnTo>
                      <a:pt x="330" y="402"/>
                    </a:lnTo>
                    <a:lnTo>
                      <a:pt x="330" y="398"/>
                    </a:lnTo>
                    <a:lnTo>
                      <a:pt x="334" y="398"/>
                    </a:lnTo>
                    <a:lnTo>
                      <a:pt x="339" y="398"/>
                    </a:lnTo>
                    <a:lnTo>
                      <a:pt x="339" y="393"/>
                    </a:lnTo>
                    <a:lnTo>
                      <a:pt x="343" y="393"/>
                    </a:lnTo>
                    <a:lnTo>
                      <a:pt x="348" y="393"/>
                    </a:lnTo>
                    <a:lnTo>
                      <a:pt x="348" y="389"/>
                    </a:lnTo>
                    <a:lnTo>
                      <a:pt x="348" y="389"/>
                    </a:lnTo>
                    <a:lnTo>
                      <a:pt x="348" y="384"/>
                    </a:lnTo>
                    <a:lnTo>
                      <a:pt x="352" y="384"/>
                    </a:lnTo>
                    <a:lnTo>
                      <a:pt x="357" y="384"/>
                    </a:lnTo>
                    <a:lnTo>
                      <a:pt x="357" y="379"/>
                    </a:lnTo>
                    <a:lnTo>
                      <a:pt x="362" y="375"/>
                    </a:lnTo>
                    <a:lnTo>
                      <a:pt x="366" y="375"/>
                    </a:lnTo>
                    <a:lnTo>
                      <a:pt x="366" y="375"/>
                    </a:lnTo>
                    <a:lnTo>
                      <a:pt x="371" y="375"/>
                    </a:lnTo>
                    <a:lnTo>
                      <a:pt x="371" y="370"/>
                    </a:lnTo>
                    <a:lnTo>
                      <a:pt x="371" y="366"/>
                    </a:lnTo>
                    <a:lnTo>
                      <a:pt x="375" y="366"/>
                    </a:lnTo>
                    <a:lnTo>
                      <a:pt x="380" y="366"/>
                    </a:lnTo>
                    <a:lnTo>
                      <a:pt x="380" y="361"/>
                    </a:lnTo>
                    <a:lnTo>
                      <a:pt x="384" y="357"/>
                    </a:lnTo>
                    <a:lnTo>
                      <a:pt x="389" y="357"/>
                    </a:lnTo>
                    <a:lnTo>
                      <a:pt x="389" y="352"/>
                    </a:lnTo>
                    <a:lnTo>
                      <a:pt x="394" y="352"/>
                    </a:lnTo>
                    <a:lnTo>
                      <a:pt x="394" y="347"/>
                    </a:lnTo>
                    <a:lnTo>
                      <a:pt x="398" y="347"/>
                    </a:lnTo>
                    <a:lnTo>
                      <a:pt x="398" y="343"/>
                    </a:lnTo>
                    <a:lnTo>
                      <a:pt x="412" y="329"/>
                    </a:lnTo>
                    <a:lnTo>
                      <a:pt x="416" y="329"/>
                    </a:lnTo>
                    <a:lnTo>
                      <a:pt x="416" y="329"/>
                    </a:lnTo>
                    <a:lnTo>
                      <a:pt x="416" y="329"/>
                    </a:lnTo>
                    <a:lnTo>
                      <a:pt x="416" y="325"/>
                    </a:lnTo>
                    <a:lnTo>
                      <a:pt x="421" y="320"/>
                    </a:lnTo>
                    <a:lnTo>
                      <a:pt x="430" y="311"/>
                    </a:lnTo>
                    <a:lnTo>
                      <a:pt x="439" y="311"/>
                    </a:lnTo>
                    <a:lnTo>
                      <a:pt x="444" y="302"/>
                    </a:lnTo>
                    <a:lnTo>
                      <a:pt x="448" y="297"/>
                    </a:lnTo>
                    <a:lnTo>
                      <a:pt x="453" y="293"/>
                    </a:lnTo>
                    <a:lnTo>
                      <a:pt x="458" y="293"/>
                    </a:lnTo>
                    <a:lnTo>
                      <a:pt x="458" y="288"/>
                    </a:lnTo>
                    <a:lnTo>
                      <a:pt x="467" y="283"/>
                    </a:lnTo>
                    <a:lnTo>
                      <a:pt x="471" y="279"/>
                    </a:lnTo>
                    <a:lnTo>
                      <a:pt x="476" y="274"/>
                    </a:lnTo>
                    <a:lnTo>
                      <a:pt x="480" y="274"/>
                    </a:lnTo>
                    <a:lnTo>
                      <a:pt x="480" y="270"/>
                    </a:lnTo>
                    <a:lnTo>
                      <a:pt x="485" y="270"/>
                    </a:lnTo>
                    <a:lnTo>
                      <a:pt x="485" y="265"/>
                    </a:lnTo>
                    <a:lnTo>
                      <a:pt x="490" y="265"/>
                    </a:lnTo>
                    <a:lnTo>
                      <a:pt x="494" y="265"/>
                    </a:lnTo>
                    <a:lnTo>
                      <a:pt x="499" y="265"/>
                    </a:lnTo>
                    <a:lnTo>
                      <a:pt x="503" y="265"/>
                    </a:lnTo>
                    <a:lnTo>
                      <a:pt x="508" y="261"/>
                    </a:lnTo>
                    <a:lnTo>
                      <a:pt x="517" y="261"/>
                    </a:lnTo>
                    <a:lnTo>
                      <a:pt x="535" y="261"/>
                    </a:lnTo>
                    <a:lnTo>
                      <a:pt x="549" y="256"/>
                    </a:lnTo>
                    <a:lnTo>
                      <a:pt x="549" y="256"/>
                    </a:lnTo>
                    <a:lnTo>
                      <a:pt x="554" y="251"/>
                    </a:lnTo>
                    <a:lnTo>
                      <a:pt x="558" y="251"/>
                    </a:lnTo>
                    <a:lnTo>
                      <a:pt x="563" y="247"/>
                    </a:lnTo>
                    <a:lnTo>
                      <a:pt x="567" y="242"/>
                    </a:lnTo>
                    <a:lnTo>
                      <a:pt x="567" y="242"/>
                    </a:lnTo>
                    <a:lnTo>
                      <a:pt x="572" y="238"/>
                    </a:lnTo>
                    <a:lnTo>
                      <a:pt x="572" y="229"/>
                    </a:lnTo>
                    <a:lnTo>
                      <a:pt x="572" y="224"/>
                    </a:lnTo>
                    <a:lnTo>
                      <a:pt x="572" y="219"/>
                    </a:lnTo>
                    <a:lnTo>
                      <a:pt x="567" y="219"/>
                    </a:lnTo>
                    <a:lnTo>
                      <a:pt x="567" y="215"/>
                    </a:lnTo>
                    <a:lnTo>
                      <a:pt x="567" y="210"/>
                    </a:lnTo>
                    <a:lnTo>
                      <a:pt x="567" y="206"/>
                    </a:lnTo>
                    <a:lnTo>
                      <a:pt x="563" y="206"/>
                    </a:lnTo>
                    <a:lnTo>
                      <a:pt x="563" y="201"/>
                    </a:lnTo>
                    <a:lnTo>
                      <a:pt x="558" y="201"/>
                    </a:lnTo>
                    <a:lnTo>
                      <a:pt x="558" y="197"/>
                    </a:lnTo>
                    <a:lnTo>
                      <a:pt x="554" y="187"/>
                    </a:lnTo>
                    <a:lnTo>
                      <a:pt x="549" y="178"/>
                    </a:lnTo>
                    <a:lnTo>
                      <a:pt x="544" y="160"/>
                    </a:lnTo>
                    <a:lnTo>
                      <a:pt x="540" y="146"/>
                    </a:lnTo>
                    <a:lnTo>
                      <a:pt x="540" y="132"/>
                    </a:lnTo>
                    <a:lnTo>
                      <a:pt x="535" y="119"/>
                    </a:lnTo>
                    <a:lnTo>
                      <a:pt x="535" y="105"/>
                    </a:lnTo>
                    <a:lnTo>
                      <a:pt x="531" y="96"/>
                    </a:lnTo>
                    <a:lnTo>
                      <a:pt x="531" y="87"/>
                    </a:lnTo>
                    <a:lnTo>
                      <a:pt x="531" y="82"/>
                    </a:lnTo>
                    <a:lnTo>
                      <a:pt x="531" y="78"/>
                    </a:lnTo>
                    <a:lnTo>
                      <a:pt x="535" y="73"/>
                    </a:lnTo>
                    <a:lnTo>
                      <a:pt x="535" y="68"/>
                    </a:lnTo>
                    <a:lnTo>
                      <a:pt x="535" y="64"/>
                    </a:lnTo>
                    <a:lnTo>
                      <a:pt x="540" y="64"/>
                    </a:lnTo>
                    <a:lnTo>
                      <a:pt x="540" y="59"/>
                    </a:lnTo>
                    <a:lnTo>
                      <a:pt x="540" y="55"/>
                    </a:lnTo>
                    <a:lnTo>
                      <a:pt x="544" y="50"/>
                    </a:lnTo>
                    <a:lnTo>
                      <a:pt x="544" y="46"/>
                    </a:lnTo>
                    <a:lnTo>
                      <a:pt x="558" y="36"/>
                    </a:lnTo>
                    <a:lnTo>
                      <a:pt x="563" y="36"/>
                    </a:lnTo>
                    <a:lnTo>
                      <a:pt x="567" y="36"/>
                    </a:lnTo>
                    <a:lnTo>
                      <a:pt x="572" y="36"/>
                    </a:lnTo>
                    <a:lnTo>
                      <a:pt x="586" y="36"/>
                    </a:lnTo>
                    <a:lnTo>
                      <a:pt x="590" y="32"/>
                    </a:lnTo>
                    <a:lnTo>
                      <a:pt x="595" y="32"/>
                    </a:lnTo>
                    <a:lnTo>
                      <a:pt x="599" y="27"/>
                    </a:lnTo>
                    <a:lnTo>
                      <a:pt x="604" y="27"/>
                    </a:lnTo>
                    <a:lnTo>
                      <a:pt x="608" y="27"/>
                    </a:lnTo>
                    <a:lnTo>
                      <a:pt x="608" y="23"/>
                    </a:lnTo>
                    <a:lnTo>
                      <a:pt x="613" y="23"/>
                    </a:lnTo>
                    <a:lnTo>
                      <a:pt x="613" y="23"/>
                    </a:lnTo>
                    <a:lnTo>
                      <a:pt x="618" y="18"/>
                    </a:lnTo>
                    <a:lnTo>
                      <a:pt x="622" y="18"/>
                    </a:lnTo>
                    <a:lnTo>
                      <a:pt x="627" y="18"/>
                    </a:lnTo>
                    <a:lnTo>
                      <a:pt x="627" y="14"/>
                    </a:lnTo>
                    <a:lnTo>
                      <a:pt x="631" y="14"/>
                    </a:lnTo>
                    <a:lnTo>
                      <a:pt x="636" y="9"/>
                    </a:lnTo>
                    <a:lnTo>
                      <a:pt x="636" y="9"/>
                    </a:lnTo>
                    <a:lnTo>
                      <a:pt x="645" y="4"/>
                    </a:lnTo>
                    <a:lnTo>
                      <a:pt x="650" y="4"/>
                    </a:lnTo>
                    <a:lnTo>
                      <a:pt x="654" y="0"/>
                    </a:lnTo>
                    <a:lnTo>
                      <a:pt x="659" y="0"/>
                    </a:lnTo>
                    <a:lnTo>
                      <a:pt x="663" y="0"/>
                    </a:lnTo>
                    <a:lnTo>
                      <a:pt x="668" y="0"/>
                    </a:lnTo>
                    <a:lnTo>
                      <a:pt x="677" y="0"/>
                    </a:lnTo>
                    <a:lnTo>
                      <a:pt x="686" y="0"/>
                    </a:lnTo>
                    <a:lnTo>
                      <a:pt x="700" y="0"/>
                    </a:lnTo>
                    <a:lnTo>
                      <a:pt x="709" y="0"/>
                    </a:lnTo>
                    <a:lnTo>
                      <a:pt x="723" y="4"/>
                    </a:lnTo>
                    <a:lnTo>
                      <a:pt x="727" y="4"/>
                    </a:lnTo>
                    <a:lnTo>
                      <a:pt x="746" y="9"/>
                    </a:lnTo>
                    <a:lnTo>
                      <a:pt x="759" y="9"/>
                    </a:lnTo>
                    <a:lnTo>
                      <a:pt x="778" y="9"/>
                    </a:lnTo>
                    <a:lnTo>
                      <a:pt x="782" y="9"/>
                    </a:lnTo>
                    <a:lnTo>
                      <a:pt x="787" y="9"/>
                    </a:lnTo>
                    <a:lnTo>
                      <a:pt x="791" y="9"/>
                    </a:lnTo>
                    <a:lnTo>
                      <a:pt x="796" y="14"/>
                    </a:lnTo>
                    <a:lnTo>
                      <a:pt x="800" y="14"/>
                    </a:lnTo>
                    <a:lnTo>
                      <a:pt x="810" y="18"/>
                    </a:lnTo>
                    <a:lnTo>
                      <a:pt x="819" y="23"/>
                    </a:lnTo>
                    <a:lnTo>
                      <a:pt x="823" y="18"/>
                    </a:lnTo>
                    <a:lnTo>
                      <a:pt x="823" y="23"/>
                    </a:lnTo>
                    <a:lnTo>
                      <a:pt x="828" y="23"/>
                    </a:lnTo>
                    <a:lnTo>
                      <a:pt x="832" y="23"/>
                    </a:lnTo>
                    <a:lnTo>
                      <a:pt x="832" y="18"/>
                    </a:lnTo>
                    <a:lnTo>
                      <a:pt x="837" y="18"/>
                    </a:lnTo>
                    <a:lnTo>
                      <a:pt x="842" y="18"/>
                    </a:lnTo>
                    <a:lnTo>
                      <a:pt x="846" y="18"/>
                    </a:lnTo>
                    <a:lnTo>
                      <a:pt x="851" y="14"/>
                    </a:lnTo>
                    <a:lnTo>
                      <a:pt x="855" y="9"/>
                    </a:lnTo>
                    <a:lnTo>
                      <a:pt x="869" y="23"/>
                    </a:lnTo>
                    <a:lnTo>
                      <a:pt x="874" y="23"/>
                    </a:lnTo>
                    <a:lnTo>
                      <a:pt x="874" y="27"/>
                    </a:lnTo>
                    <a:lnTo>
                      <a:pt x="878" y="32"/>
                    </a:lnTo>
                    <a:lnTo>
                      <a:pt x="878" y="41"/>
                    </a:lnTo>
                    <a:lnTo>
                      <a:pt x="878" y="41"/>
                    </a:lnTo>
                    <a:lnTo>
                      <a:pt x="878" y="46"/>
                    </a:lnTo>
                    <a:lnTo>
                      <a:pt x="883" y="46"/>
                    </a:lnTo>
                    <a:lnTo>
                      <a:pt x="883" y="50"/>
                    </a:lnTo>
                    <a:lnTo>
                      <a:pt x="887" y="55"/>
                    </a:lnTo>
                    <a:lnTo>
                      <a:pt x="887" y="59"/>
                    </a:lnTo>
                    <a:lnTo>
                      <a:pt x="887" y="64"/>
                    </a:lnTo>
                    <a:lnTo>
                      <a:pt x="892" y="64"/>
                    </a:lnTo>
                    <a:lnTo>
                      <a:pt x="892" y="68"/>
                    </a:lnTo>
                    <a:lnTo>
                      <a:pt x="896" y="68"/>
                    </a:lnTo>
                    <a:lnTo>
                      <a:pt x="896" y="68"/>
                    </a:lnTo>
                    <a:lnTo>
                      <a:pt x="906" y="73"/>
                    </a:lnTo>
                    <a:lnTo>
                      <a:pt x="915" y="78"/>
                    </a:lnTo>
                    <a:lnTo>
                      <a:pt x="919" y="78"/>
                    </a:lnTo>
                    <a:lnTo>
                      <a:pt x="919" y="78"/>
                    </a:lnTo>
                    <a:lnTo>
                      <a:pt x="919" y="82"/>
                    </a:lnTo>
                    <a:lnTo>
                      <a:pt x="924" y="82"/>
                    </a:lnTo>
                    <a:lnTo>
                      <a:pt x="928" y="87"/>
                    </a:lnTo>
                    <a:lnTo>
                      <a:pt x="933" y="87"/>
                    </a:lnTo>
                    <a:lnTo>
                      <a:pt x="933" y="91"/>
                    </a:lnTo>
                    <a:lnTo>
                      <a:pt x="938" y="91"/>
                    </a:lnTo>
                    <a:lnTo>
                      <a:pt x="938" y="91"/>
                    </a:lnTo>
                    <a:lnTo>
                      <a:pt x="942" y="96"/>
                    </a:lnTo>
                    <a:lnTo>
                      <a:pt x="942" y="100"/>
                    </a:lnTo>
                    <a:lnTo>
                      <a:pt x="942" y="100"/>
                    </a:lnTo>
                    <a:lnTo>
                      <a:pt x="947" y="105"/>
                    </a:lnTo>
                    <a:lnTo>
                      <a:pt x="947" y="110"/>
                    </a:lnTo>
                    <a:lnTo>
                      <a:pt x="951" y="110"/>
                    </a:lnTo>
                    <a:lnTo>
                      <a:pt x="951" y="110"/>
                    </a:lnTo>
                    <a:lnTo>
                      <a:pt x="956" y="110"/>
                    </a:lnTo>
                    <a:lnTo>
                      <a:pt x="956" y="114"/>
                    </a:lnTo>
                    <a:lnTo>
                      <a:pt x="956" y="119"/>
                    </a:lnTo>
                    <a:lnTo>
                      <a:pt x="960" y="119"/>
                    </a:lnTo>
                    <a:lnTo>
                      <a:pt x="960" y="123"/>
                    </a:lnTo>
                    <a:lnTo>
                      <a:pt x="965" y="128"/>
                    </a:lnTo>
                    <a:lnTo>
                      <a:pt x="965" y="132"/>
                    </a:lnTo>
                    <a:lnTo>
                      <a:pt x="965" y="132"/>
                    </a:lnTo>
                    <a:lnTo>
                      <a:pt x="965" y="137"/>
                    </a:lnTo>
                    <a:lnTo>
                      <a:pt x="965" y="146"/>
                    </a:lnTo>
                    <a:lnTo>
                      <a:pt x="965" y="151"/>
                    </a:lnTo>
                    <a:lnTo>
                      <a:pt x="965" y="155"/>
                    </a:lnTo>
                    <a:lnTo>
                      <a:pt x="965" y="169"/>
                    </a:lnTo>
                    <a:lnTo>
                      <a:pt x="965" y="178"/>
                    </a:lnTo>
                    <a:lnTo>
                      <a:pt x="965" y="183"/>
                    </a:lnTo>
                    <a:lnTo>
                      <a:pt x="965" y="192"/>
                    </a:lnTo>
                    <a:lnTo>
                      <a:pt x="970" y="197"/>
                    </a:lnTo>
                    <a:lnTo>
                      <a:pt x="970" y="201"/>
                    </a:lnTo>
                    <a:lnTo>
                      <a:pt x="974" y="201"/>
                    </a:lnTo>
                    <a:lnTo>
                      <a:pt x="974" y="201"/>
                    </a:lnTo>
                    <a:lnTo>
                      <a:pt x="979" y="206"/>
                    </a:lnTo>
                    <a:lnTo>
                      <a:pt x="988" y="210"/>
                    </a:lnTo>
                    <a:lnTo>
                      <a:pt x="988" y="215"/>
                    </a:lnTo>
                    <a:lnTo>
                      <a:pt x="992" y="219"/>
                    </a:lnTo>
                    <a:lnTo>
                      <a:pt x="997" y="224"/>
                    </a:lnTo>
                    <a:lnTo>
                      <a:pt x="1006" y="229"/>
                    </a:lnTo>
                    <a:lnTo>
                      <a:pt x="1006" y="233"/>
                    </a:lnTo>
                    <a:lnTo>
                      <a:pt x="1015" y="238"/>
                    </a:lnTo>
                    <a:lnTo>
                      <a:pt x="1024" y="242"/>
                    </a:lnTo>
                    <a:lnTo>
                      <a:pt x="1024" y="242"/>
                    </a:lnTo>
                    <a:lnTo>
                      <a:pt x="1029" y="242"/>
                    </a:lnTo>
                    <a:lnTo>
                      <a:pt x="1029" y="247"/>
                    </a:lnTo>
                    <a:lnTo>
                      <a:pt x="1029" y="251"/>
                    </a:lnTo>
                    <a:lnTo>
                      <a:pt x="1029" y="261"/>
                    </a:lnTo>
                    <a:lnTo>
                      <a:pt x="1029" y="265"/>
                    </a:lnTo>
                    <a:lnTo>
                      <a:pt x="1029" y="265"/>
                    </a:lnTo>
                    <a:lnTo>
                      <a:pt x="1029" y="279"/>
                    </a:lnTo>
                    <a:lnTo>
                      <a:pt x="1029" y="283"/>
                    </a:lnTo>
                    <a:lnTo>
                      <a:pt x="1024" y="283"/>
                    </a:lnTo>
                    <a:lnTo>
                      <a:pt x="1024" y="288"/>
                    </a:lnTo>
                    <a:lnTo>
                      <a:pt x="1024" y="288"/>
                    </a:lnTo>
                    <a:lnTo>
                      <a:pt x="1015" y="297"/>
                    </a:lnTo>
                    <a:lnTo>
                      <a:pt x="1006" y="311"/>
                    </a:lnTo>
                    <a:lnTo>
                      <a:pt x="1006" y="311"/>
                    </a:lnTo>
                    <a:lnTo>
                      <a:pt x="1006" y="311"/>
                    </a:lnTo>
                    <a:lnTo>
                      <a:pt x="1006" y="315"/>
                    </a:lnTo>
                    <a:lnTo>
                      <a:pt x="1006" y="320"/>
                    </a:lnTo>
                    <a:lnTo>
                      <a:pt x="1002" y="320"/>
                    </a:lnTo>
                    <a:lnTo>
                      <a:pt x="1002" y="329"/>
                    </a:lnTo>
                    <a:lnTo>
                      <a:pt x="1002" y="329"/>
                    </a:lnTo>
                    <a:lnTo>
                      <a:pt x="997" y="329"/>
                    </a:lnTo>
                    <a:lnTo>
                      <a:pt x="997" y="334"/>
                    </a:lnTo>
                    <a:lnTo>
                      <a:pt x="992" y="343"/>
                    </a:lnTo>
                    <a:lnTo>
                      <a:pt x="992" y="352"/>
                    </a:lnTo>
                    <a:lnTo>
                      <a:pt x="988" y="357"/>
                    </a:lnTo>
                    <a:lnTo>
                      <a:pt x="988" y="379"/>
                    </a:lnTo>
                    <a:lnTo>
                      <a:pt x="988" y="393"/>
                    </a:lnTo>
                    <a:lnTo>
                      <a:pt x="988" y="398"/>
                    </a:lnTo>
                    <a:lnTo>
                      <a:pt x="988" y="398"/>
                    </a:lnTo>
                    <a:lnTo>
                      <a:pt x="988" y="402"/>
                    </a:lnTo>
                    <a:lnTo>
                      <a:pt x="988" y="407"/>
                    </a:lnTo>
                    <a:lnTo>
                      <a:pt x="983" y="407"/>
                    </a:lnTo>
                    <a:lnTo>
                      <a:pt x="983" y="411"/>
                    </a:lnTo>
                    <a:lnTo>
                      <a:pt x="979" y="416"/>
                    </a:lnTo>
                    <a:lnTo>
                      <a:pt x="979" y="421"/>
                    </a:lnTo>
                    <a:lnTo>
                      <a:pt x="974" y="421"/>
                    </a:lnTo>
                    <a:lnTo>
                      <a:pt x="970" y="425"/>
                    </a:lnTo>
                    <a:lnTo>
                      <a:pt x="965" y="425"/>
                    </a:lnTo>
                    <a:lnTo>
                      <a:pt x="965" y="430"/>
                    </a:lnTo>
                    <a:lnTo>
                      <a:pt x="960" y="434"/>
                    </a:lnTo>
                    <a:lnTo>
                      <a:pt x="951" y="439"/>
                    </a:lnTo>
                    <a:lnTo>
                      <a:pt x="942" y="439"/>
                    </a:lnTo>
                    <a:lnTo>
                      <a:pt x="942" y="439"/>
                    </a:lnTo>
                    <a:lnTo>
                      <a:pt x="938" y="439"/>
                    </a:lnTo>
                    <a:lnTo>
                      <a:pt x="938" y="443"/>
                    </a:lnTo>
                    <a:lnTo>
                      <a:pt x="933" y="443"/>
                    </a:lnTo>
                    <a:lnTo>
                      <a:pt x="928" y="448"/>
                    </a:lnTo>
                    <a:lnTo>
                      <a:pt x="919" y="457"/>
                    </a:lnTo>
                    <a:lnTo>
                      <a:pt x="919" y="462"/>
                    </a:lnTo>
                    <a:lnTo>
                      <a:pt x="919" y="462"/>
                    </a:lnTo>
                    <a:lnTo>
                      <a:pt x="919" y="462"/>
                    </a:lnTo>
                    <a:lnTo>
                      <a:pt x="915" y="462"/>
                    </a:lnTo>
                    <a:lnTo>
                      <a:pt x="915" y="466"/>
                    </a:lnTo>
                    <a:lnTo>
                      <a:pt x="915" y="471"/>
                    </a:lnTo>
                    <a:lnTo>
                      <a:pt x="910" y="471"/>
                    </a:lnTo>
                    <a:lnTo>
                      <a:pt x="910" y="475"/>
                    </a:lnTo>
                    <a:lnTo>
                      <a:pt x="906" y="485"/>
                    </a:lnTo>
                    <a:lnTo>
                      <a:pt x="901" y="485"/>
                    </a:lnTo>
                    <a:lnTo>
                      <a:pt x="901" y="489"/>
                    </a:lnTo>
                    <a:lnTo>
                      <a:pt x="896" y="494"/>
                    </a:lnTo>
                    <a:lnTo>
                      <a:pt x="896" y="498"/>
                    </a:lnTo>
                    <a:lnTo>
                      <a:pt x="892" y="503"/>
                    </a:lnTo>
                    <a:lnTo>
                      <a:pt x="892" y="507"/>
                    </a:lnTo>
                    <a:lnTo>
                      <a:pt x="887" y="507"/>
                    </a:lnTo>
                    <a:lnTo>
                      <a:pt x="887" y="507"/>
                    </a:lnTo>
                    <a:lnTo>
                      <a:pt x="887" y="512"/>
                    </a:lnTo>
                    <a:lnTo>
                      <a:pt x="883" y="512"/>
                    </a:lnTo>
                    <a:lnTo>
                      <a:pt x="883" y="517"/>
                    </a:lnTo>
                    <a:lnTo>
                      <a:pt x="878" y="517"/>
                    </a:lnTo>
                    <a:lnTo>
                      <a:pt x="878" y="521"/>
                    </a:lnTo>
                    <a:lnTo>
                      <a:pt x="878" y="526"/>
                    </a:lnTo>
                    <a:lnTo>
                      <a:pt x="878" y="530"/>
                    </a:lnTo>
                    <a:lnTo>
                      <a:pt x="874" y="530"/>
                    </a:lnTo>
                    <a:lnTo>
                      <a:pt x="869" y="530"/>
                    </a:lnTo>
                    <a:lnTo>
                      <a:pt x="869" y="535"/>
                    </a:lnTo>
                    <a:lnTo>
                      <a:pt x="864" y="535"/>
                    </a:lnTo>
                    <a:lnTo>
                      <a:pt x="864" y="539"/>
                    </a:lnTo>
                    <a:lnTo>
                      <a:pt x="860" y="539"/>
                    </a:lnTo>
                    <a:lnTo>
                      <a:pt x="860" y="544"/>
                    </a:lnTo>
                    <a:lnTo>
                      <a:pt x="855" y="549"/>
                    </a:lnTo>
                    <a:lnTo>
                      <a:pt x="855" y="549"/>
                    </a:lnTo>
                    <a:lnTo>
                      <a:pt x="851" y="553"/>
                    </a:lnTo>
                    <a:lnTo>
                      <a:pt x="846" y="558"/>
                    </a:lnTo>
                    <a:lnTo>
                      <a:pt x="846" y="562"/>
                    </a:lnTo>
                    <a:lnTo>
                      <a:pt x="842" y="567"/>
                    </a:lnTo>
                    <a:lnTo>
                      <a:pt x="832" y="571"/>
                    </a:lnTo>
                    <a:lnTo>
                      <a:pt x="832" y="571"/>
                    </a:lnTo>
                    <a:lnTo>
                      <a:pt x="832" y="576"/>
                    </a:lnTo>
                    <a:lnTo>
                      <a:pt x="832" y="581"/>
                    </a:lnTo>
                    <a:lnTo>
                      <a:pt x="842" y="581"/>
                    </a:lnTo>
                    <a:lnTo>
                      <a:pt x="846" y="585"/>
                    </a:lnTo>
                    <a:lnTo>
                      <a:pt x="851" y="590"/>
                    </a:lnTo>
                    <a:lnTo>
                      <a:pt x="855" y="594"/>
                    </a:lnTo>
                    <a:lnTo>
                      <a:pt x="860" y="603"/>
                    </a:lnTo>
                    <a:lnTo>
                      <a:pt x="860" y="608"/>
                    </a:lnTo>
                    <a:lnTo>
                      <a:pt x="864" y="613"/>
                    </a:lnTo>
                    <a:lnTo>
                      <a:pt x="864" y="617"/>
                    </a:lnTo>
                    <a:lnTo>
                      <a:pt x="864" y="617"/>
                    </a:lnTo>
                    <a:lnTo>
                      <a:pt x="869" y="617"/>
                    </a:lnTo>
                    <a:lnTo>
                      <a:pt x="874" y="631"/>
                    </a:lnTo>
                    <a:lnTo>
                      <a:pt x="874" y="635"/>
                    </a:lnTo>
                    <a:lnTo>
                      <a:pt x="878" y="640"/>
                    </a:lnTo>
                    <a:lnTo>
                      <a:pt x="878" y="654"/>
                    </a:lnTo>
                    <a:lnTo>
                      <a:pt x="883" y="658"/>
                    </a:lnTo>
                    <a:lnTo>
                      <a:pt x="887" y="658"/>
                    </a:lnTo>
                    <a:lnTo>
                      <a:pt x="887" y="658"/>
                    </a:lnTo>
                    <a:lnTo>
                      <a:pt x="892" y="658"/>
                    </a:lnTo>
                    <a:lnTo>
                      <a:pt x="896" y="663"/>
                    </a:lnTo>
                    <a:lnTo>
                      <a:pt x="901" y="658"/>
                    </a:lnTo>
                    <a:lnTo>
                      <a:pt x="906" y="658"/>
                    </a:lnTo>
                    <a:lnTo>
                      <a:pt x="910" y="649"/>
                    </a:lnTo>
                    <a:lnTo>
                      <a:pt x="915" y="645"/>
                    </a:lnTo>
                    <a:lnTo>
                      <a:pt x="915" y="640"/>
                    </a:lnTo>
                    <a:lnTo>
                      <a:pt x="915" y="640"/>
                    </a:lnTo>
                    <a:lnTo>
                      <a:pt x="919" y="635"/>
                    </a:lnTo>
                    <a:lnTo>
                      <a:pt x="919" y="631"/>
                    </a:lnTo>
                    <a:lnTo>
                      <a:pt x="919" y="626"/>
                    </a:lnTo>
                    <a:lnTo>
                      <a:pt x="924" y="622"/>
                    </a:lnTo>
                    <a:lnTo>
                      <a:pt x="924" y="617"/>
                    </a:lnTo>
                    <a:lnTo>
                      <a:pt x="928" y="617"/>
                    </a:lnTo>
                    <a:lnTo>
                      <a:pt x="933" y="617"/>
                    </a:lnTo>
                    <a:lnTo>
                      <a:pt x="938" y="617"/>
                    </a:lnTo>
                    <a:lnTo>
                      <a:pt x="942" y="617"/>
                    </a:lnTo>
                    <a:lnTo>
                      <a:pt x="942" y="622"/>
                    </a:lnTo>
                    <a:lnTo>
                      <a:pt x="947" y="622"/>
                    </a:lnTo>
                    <a:lnTo>
                      <a:pt x="947" y="626"/>
                    </a:lnTo>
                    <a:lnTo>
                      <a:pt x="951" y="626"/>
                    </a:lnTo>
                    <a:lnTo>
                      <a:pt x="951" y="631"/>
                    </a:lnTo>
                    <a:lnTo>
                      <a:pt x="960" y="640"/>
                    </a:lnTo>
                    <a:lnTo>
                      <a:pt x="965" y="640"/>
                    </a:lnTo>
                    <a:lnTo>
                      <a:pt x="965" y="645"/>
                    </a:lnTo>
                    <a:lnTo>
                      <a:pt x="965" y="645"/>
                    </a:lnTo>
                    <a:lnTo>
                      <a:pt x="970" y="654"/>
                    </a:lnTo>
                    <a:lnTo>
                      <a:pt x="974" y="658"/>
                    </a:lnTo>
                    <a:lnTo>
                      <a:pt x="983" y="663"/>
                    </a:lnTo>
                    <a:lnTo>
                      <a:pt x="988" y="663"/>
                    </a:lnTo>
                    <a:lnTo>
                      <a:pt x="988" y="667"/>
                    </a:lnTo>
                    <a:lnTo>
                      <a:pt x="988" y="667"/>
                    </a:lnTo>
                    <a:lnTo>
                      <a:pt x="992" y="667"/>
                    </a:lnTo>
                    <a:lnTo>
                      <a:pt x="992" y="672"/>
                    </a:lnTo>
                    <a:lnTo>
                      <a:pt x="997" y="672"/>
                    </a:lnTo>
                    <a:lnTo>
                      <a:pt x="997" y="677"/>
                    </a:lnTo>
                    <a:lnTo>
                      <a:pt x="1002" y="681"/>
                    </a:lnTo>
                    <a:lnTo>
                      <a:pt x="1006" y="681"/>
                    </a:lnTo>
                    <a:lnTo>
                      <a:pt x="1006" y="686"/>
                    </a:lnTo>
                    <a:lnTo>
                      <a:pt x="1011" y="695"/>
                    </a:lnTo>
                    <a:lnTo>
                      <a:pt x="1011" y="704"/>
                    </a:lnTo>
                    <a:lnTo>
                      <a:pt x="1011" y="709"/>
                    </a:lnTo>
                    <a:lnTo>
                      <a:pt x="1011" y="718"/>
                    </a:lnTo>
                    <a:lnTo>
                      <a:pt x="1011" y="722"/>
                    </a:lnTo>
                    <a:lnTo>
                      <a:pt x="1011" y="727"/>
                    </a:lnTo>
                    <a:lnTo>
                      <a:pt x="1011" y="731"/>
                    </a:lnTo>
                    <a:lnTo>
                      <a:pt x="1011" y="736"/>
                    </a:lnTo>
                    <a:lnTo>
                      <a:pt x="1011" y="750"/>
                    </a:lnTo>
                    <a:lnTo>
                      <a:pt x="1015" y="763"/>
                    </a:lnTo>
                    <a:lnTo>
                      <a:pt x="1015" y="768"/>
                    </a:lnTo>
                    <a:lnTo>
                      <a:pt x="1015" y="768"/>
                    </a:lnTo>
                    <a:lnTo>
                      <a:pt x="1020" y="768"/>
                    </a:lnTo>
                    <a:lnTo>
                      <a:pt x="1020" y="782"/>
                    </a:lnTo>
                    <a:lnTo>
                      <a:pt x="1024" y="791"/>
                    </a:lnTo>
                    <a:lnTo>
                      <a:pt x="1029" y="795"/>
                    </a:lnTo>
                    <a:lnTo>
                      <a:pt x="1029" y="805"/>
                    </a:lnTo>
                    <a:lnTo>
                      <a:pt x="1029" y="805"/>
                    </a:lnTo>
                    <a:lnTo>
                      <a:pt x="1029" y="805"/>
                    </a:lnTo>
                    <a:lnTo>
                      <a:pt x="1029" y="809"/>
                    </a:lnTo>
                    <a:lnTo>
                      <a:pt x="1024" y="809"/>
                    </a:lnTo>
                    <a:lnTo>
                      <a:pt x="1011" y="827"/>
                    </a:lnTo>
                    <a:lnTo>
                      <a:pt x="1006" y="832"/>
                    </a:lnTo>
                    <a:lnTo>
                      <a:pt x="1006" y="837"/>
                    </a:lnTo>
                    <a:lnTo>
                      <a:pt x="1002" y="841"/>
                    </a:lnTo>
                    <a:lnTo>
                      <a:pt x="1002" y="841"/>
                    </a:lnTo>
                    <a:lnTo>
                      <a:pt x="1002" y="846"/>
                    </a:lnTo>
                    <a:lnTo>
                      <a:pt x="997" y="855"/>
                    </a:lnTo>
                    <a:lnTo>
                      <a:pt x="997" y="864"/>
                    </a:lnTo>
                    <a:lnTo>
                      <a:pt x="992" y="869"/>
                    </a:lnTo>
                    <a:lnTo>
                      <a:pt x="992" y="878"/>
                    </a:lnTo>
                    <a:lnTo>
                      <a:pt x="997" y="882"/>
                    </a:lnTo>
                    <a:lnTo>
                      <a:pt x="997" y="887"/>
                    </a:lnTo>
                    <a:lnTo>
                      <a:pt x="997" y="887"/>
                    </a:lnTo>
                    <a:lnTo>
                      <a:pt x="997" y="896"/>
                    </a:lnTo>
                    <a:lnTo>
                      <a:pt x="1002" y="910"/>
                    </a:lnTo>
                    <a:lnTo>
                      <a:pt x="1002" y="919"/>
                    </a:lnTo>
                    <a:lnTo>
                      <a:pt x="1011" y="928"/>
                    </a:lnTo>
                    <a:lnTo>
                      <a:pt x="1011" y="933"/>
                    </a:lnTo>
                    <a:lnTo>
                      <a:pt x="1011" y="933"/>
                    </a:lnTo>
                    <a:lnTo>
                      <a:pt x="1011" y="933"/>
                    </a:lnTo>
                    <a:lnTo>
                      <a:pt x="1011" y="937"/>
                    </a:lnTo>
                    <a:lnTo>
                      <a:pt x="1011" y="937"/>
                    </a:lnTo>
                    <a:lnTo>
                      <a:pt x="1006" y="942"/>
                    </a:lnTo>
                    <a:lnTo>
                      <a:pt x="1006" y="942"/>
                    </a:lnTo>
                    <a:lnTo>
                      <a:pt x="1002" y="942"/>
                    </a:lnTo>
                    <a:lnTo>
                      <a:pt x="997" y="946"/>
                    </a:lnTo>
                    <a:lnTo>
                      <a:pt x="983" y="942"/>
                    </a:lnTo>
                    <a:lnTo>
                      <a:pt x="979" y="942"/>
                    </a:lnTo>
                    <a:lnTo>
                      <a:pt x="974" y="946"/>
                    </a:lnTo>
                    <a:lnTo>
                      <a:pt x="974" y="946"/>
                    </a:lnTo>
                    <a:lnTo>
                      <a:pt x="974" y="946"/>
                    </a:lnTo>
                    <a:lnTo>
                      <a:pt x="970" y="942"/>
                    </a:lnTo>
                    <a:lnTo>
                      <a:pt x="970" y="946"/>
                    </a:lnTo>
                    <a:lnTo>
                      <a:pt x="960" y="946"/>
                    </a:lnTo>
                    <a:lnTo>
                      <a:pt x="960" y="946"/>
                    </a:lnTo>
                    <a:lnTo>
                      <a:pt x="960" y="955"/>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Taraba</a:t>
                </a:r>
              </a:p>
            </p:txBody>
          </p:sp>
          <p:sp>
            <p:nvSpPr>
              <p:cNvPr id="218" name="Freeform 41">
                <a:extLst>
                  <a:ext uri="{FF2B5EF4-FFF2-40B4-BE49-F238E27FC236}">
                    <a16:creationId xmlns:a16="http://schemas.microsoft.com/office/drawing/2014/main" id="{32AD4C04-6E74-459D-B6CF-52326FA52265}"/>
                  </a:ext>
                </a:extLst>
              </p:cNvPr>
              <p:cNvSpPr>
                <a:spLocks/>
              </p:cNvSpPr>
              <p:nvPr>
                <p:custDataLst>
                  <p:tags r:id="rId35"/>
                </p:custDataLst>
              </p:nvPr>
            </p:nvSpPr>
            <p:spPr bwMode="auto">
              <a:xfrm>
                <a:off x="3650132" y="1995221"/>
                <a:ext cx="1444007" cy="1316371"/>
              </a:xfrm>
              <a:custGeom>
                <a:avLst/>
                <a:gdLst/>
                <a:ahLst/>
                <a:cxnLst>
                  <a:cxn ang="0">
                    <a:pos x="649" y="0"/>
                  </a:cxn>
                  <a:cxn ang="0">
                    <a:pos x="731" y="9"/>
                  </a:cxn>
                  <a:cxn ang="0">
                    <a:pos x="800" y="32"/>
                  </a:cxn>
                  <a:cxn ang="0">
                    <a:pos x="868" y="51"/>
                  </a:cxn>
                  <a:cxn ang="0">
                    <a:pos x="932" y="96"/>
                  </a:cxn>
                  <a:cxn ang="0">
                    <a:pos x="969" y="105"/>
                  </a:cxn>
                  <a:cxn ang="0">
                    <a:pos x="978" y="96"/>
                  </a:cxn>
                  <a:cxn ang="0">
                    <a:pos x="1006" y="96"/>
                  </a:cxn>
                  <a:cxn ang="0">
                    <a:pos x="1019" y="110"/>
                  </a:cxn>
                  <a:cxn ang="0">
                    <a:pos x="1038" y="110"/>
                  </a:cxn>
                  <a:cxn ang="0">
                    <a:pos x="1051" y="110"/>
                  </a:cxn>
                  <a:cxn ang="0">
                    <a:pos x="1051" y="160"/>
                  </a:cxn>
                  <a:cxn ang="0">
                    <a:pos x="1047" y="206"/>
                  </a:cxn>
                  <a:cxn ang="0">
                    <a:pos x="1070" y="238"/>
                  </a:cxn>
                  <a:cxn ang="0">
                    <a:pos x="1079" y="279"/>
                  </a:cxn>
                  <a:cxn ang="0">
                    <a:pos x="1051" y="316"/>
                  </a:cxn>
                  <a:cxn ang="0">
                    <a:pos x="1028" y="343"/>
                  </a:cxn>
                  <a:cxn ang="0">
                    <a:pos x="1006" y="371"/>
                  </a:cxn>
                  <a:cxn ang="0">
                    <a:pos x="1010" y="471"/>
                  </a:cxn>
                  <a:cxn ang="0">
                    <a:pos x="996" y="590"/>
                  </a:cxn>
                  <a:cxn ang="0">
                    <a:pos x="974" y="636"/>
                  </a:cxn>
                  <a:cxn ang="0">
                    <a:pos x="1006" y="668"/>
                  </a:cxn>
                  <a:cxn ang="0">
                    <a:pos x="1015" y="723"/>
                  </a:cxn>
                  <a:cxn ang="0">
                    <a:pos x="983" y="759"/>
                  </a:cxn>
                  <a:cxn ang="0">
                    <a:pos x="960" y="791"/>
                  </a:cxn>
                  <a:cxn ang="0">
                    <a:pos x="955" y="860"/>
                  </a:cxn>
                  <a:cxn ang="0">
                    <a:pos x="914" y="905"/>
                  </a:cxn>
                  <a:cxn ang="0">
                    <a:pos x="873" y="919"/>
                  </a:cxn>
                  <a:cxn ang="0">
                    <a:pos x="823" y="942"/>
                  </a:cxn>
                  <a:cxn ang="0">
                    <a:pos x="791" y="988"/>
                  </a:cxn>
                  <a:cxn ang="0">
                    <a:pos x="786" y="1047"/>
                  </a:cxn>
                  <a:cxn ang="0">
                    <a:pos x="740" y="1061"/>
                  </a:cxn>
                  <a:cxn ang="0">
                    <a:pos x="740" y="947"/>
                  </a:cxn>
                  <a:cxn ang="0">
                    <a:pos x="722" y="910"/>
                  </a:cxn>
                  <a:cxn ang="0">
                    <a:pos x="667" y="855"/>
                  </a:cxn>
                  <a:cxn ang="0">
                    <a:pos x="612" y="809"/>
                  </a:cxn>
                  <a:cxn ang="0">
                    <a:pos x="521" y="796"/>
                  </a:cxn>
                  <a:cxn ang="0">
                    <a:pos x="489" y="768"/>
                  </a:cxn>
                  <a:cxn ang="0">
                    <a:pos x="507" y="727"/>
                  </a:cxn>
                  <a:cxn ang="0">
                    <a:pos x="489" y="636"/>
                  </a:cxn>
                  <a:cxn ang="0">
                    <a:pos x="466" y="590"/>
                  </a:cxn>
                  <a:cxn ang="0">
                    <a:pos x="457" y="535"/>
                  </a:cxn>
                  <a:cxn ang="0">
                    <a:pos x="439" y="462"/>
                  </a:cxn>
                  <a:cxn ang="0">
                    <a:pos x="430" y="380"/>
                  </a:cxn>
                  <a:cxn ang="0">
                    <a:pos x="393" y="329"/>
                  </a:cxn>
                  <a:cxn ang="0">
                    <a:pos x="352" y="220"/>
                  </a:cxn>
                  <a:cxn ang="0">
                    <a:pos x="283" y="220"/>
                  </a:cxn>
                  <a:cxn ang="0">
                    <a:pos x="251" y="165"/>
                  </a:cxn>
                  <a:cxn ang="0">
                    <a:pos x="210" y="142"/>
                  </a:cxn>
                  <a:cxn ang="0">
                    <a:pos x="151" y="160"/>
                  </a:cxn>
                  <a:cxn ang="0">
                    <a:pos x="114" y="206"/>
                  </a:cxn>
                  <a:cxn ang="0">
                    <a:pos x="50" y="220"/>
                  </a:cxn>
                  <a:cxn ang="0">
                    <a:pos x="41" y="201"/>
                  </a:cxn>
                  <a:cxn ang="0">
                    <a:pos x="105" y="128"/>
                  </a:cxn>
                  <a:cxn ang="0">
                    <a:pos x="155" y="78"/>
                  </a:cxn>
                  <a:cxn ang="0">
                    <a:pos x="228" y="41"/>
                  </a:cxn>
                  <a:cxn ang="0">
                    <a:pos x="311" y="37"/>
                  </a:cxn>
                  <a:cxn ang="0">
                    <a:pos x="388" y="14"/>
                  </a:cxn>
                  <a:cxn ang="0">
                    <a:pos x="489" y="5"/>
                  </a:cxn>
                  <a:cxn ang="0">
                    <a:pos x="567" y="0"/>
                  </a:cxn>
                </a:cxnLst>
                <a:rect l="0" t="0" r="r" b="b"/>
                <a:pathLst>
                  <a:path w="1083" h="1065">
                    <a:moveTo>
                      <a:pt x="585" y="0"/>
                    </a:moveTo>
                    <a:lnTo>
                      <a:pt x="590" y="0"/>
                    </a:lnTo>
                    <a:lnTo>
                      <a:pt x="599" y="0"/>
                    </a:lnTo>
                    <a:lnTo>
                      <a:pt x="599" y="0"/>
                    </a:lnTo>
                    <a:lnTo>
                      <a:pt x="603" y="0"/>
                    </a:lnTo>
                    <a:lnTo>
                      <a:pt x="612" y="0"/>
                    </a:lnTo>
                    <a:lnTo>
                      <a:pt x="617" y="0"/>
                    </a:lnTo>
                    <a:lnTo>
                      <a:pt x="617" y="0"/>
                    </a:lnTo>
                    <a:lnTo>
                      <a:pt x="635" y="0"/>
                    </a:lnTo>
                    <a:lnTo>
                      <a:pt x="640" y="0"/>
                    </a:lnTo>
                    <a:lnTo>
                      <a:pt x="644" y="0"/>
                    </a:lnTo>
                    <a:lnTo>
                      <a:pt x="649" y="0"/>
                    </a:lnTo>
                    <a:lnTo>
                      <a:pt x="649" y="0"/>
                    </a:lnTo>
                    <a:lnTo>
                      <a:pt x="658" y="0"/>
                    </a:lnTo>
                    <a:lnTo>
                      <a:pt x="672" y="0"/>
                    </a:lnTo>
                    <a:lnTo>
                      <a:pt x="686" y="0"/>
                    </a:lnTo>
                    <a:lnTo>
                      <a:pt x="699" y="5"/>
                    </a:lnTo>
                    <a:lnTo>
                      <a:pt x="704" y="5"/>
                    </a:lnTo>
                    <a:lnTo>
                      <a:pt x="708" y="5"/>
                    </a:lnTo>
                    <a:lnTo>
                      <a:pt x="713" y="5"/>
                    </a:lnTo>
                    <a:lnTo>
                      <a:pt x="718" y="9"/>
                    </a:lnTo>
                    <a:lnTo>
                      <a:pt x="718" y="5"/>
                    </a:lnTo>
                    <a:lnTo>
                      <a:pt x="731" y="9"/>
                    </a:lnTo>
                    <a:lnTo>
                      <a:pt x="731" y="9"/>
                    </a:lnTo>
                    <a:lnTo>
                      <a:pt x="731" y="9"/>
                    </a:lnTo>
                    <a:lnTo>
                      <a:pt x="740" y="9"/>
                    </a:lnTo>
                    <a:lnTo>
                      <a:pt x="759" y="19"/>
                    </a:lnTo>
                    <a:lnTo>
                      <a:pt x="763" y="23"/>
                    </a:lnTo>
                    <a:lnTo>
                      <a:pt x="763" y="23"/>
                    </a:lnTo>
                    <a:lnTo>
                      <a:pt x="772" y="23"/>
                    </a:lnTo>
                    <a:lnTo>
                      <a:pt x="777" y="28"/>
                    </a:lnTo>
                    <a:lnTo>
                      <a:pt x="782" y="28"/>
                    </a:lnTo>
                    <a:lnTo>
                      <a:pt x="786" y="28"/>
                    </a:lnTo>
                    <a:lnTo>
                      <a:pt x="786" y="32"/>
                    </a:lnTo>
                    <a:lnTo>
                      <a:pt x="791" y="32"/>
                    </a:lnTo>
                    <a:lnTo>
                      <a:pt x="800" y="32"/>
                    </a:lnTo>
                    <a:lnTo>
                      <a:pt x="809" y="37"/>
                    </a:lnTo>
                    <a:lnTo>
                      <a:pt x="814" y="37"/>
                    </a:lnTo>
                    <a:lnTo>
                      <a:pt x="818" y="37"/>
                    </a:lnTo>
                    <a:lnTo>
                      <a:pt x="818" y="37"/>
                    </a:lnTo>
                    <a:lnTo>
                      <a:pt x="823" y="37"/>
                    </a:lnTo>
                    <a:lnTo>
                      <a:pt x="827" y="37"/>
                    </a:lnTo>
                    <a:lnTo>
                      <a:pt x="827" y="41"/>
                    </a:lnTo>
                    <a:lnTo>
                      <a:pt x="832" y="41"/>
                    </a:lnTo>
                    <a:lnTo>
                      <a:pt x="841" y="41"/>
                    </a:lnTo>
                    <a:lnTo>
                      <a:pt x="846" y="41"/>
                    </a:lnTo>
                    <a:lnTo>
                      <a:pt x="864" y="46"/>
                    </a:lnTo>
                    <a:lnTo>
                      <a:pt x="868" y="51"/>
                    </a:lnTo>
                    <a:lnTo>
                      <a:pt x="868" y="51"/>
                    </a:lnTo>
                    <a:lnTo>
                      <a:pt x="878" y="55"/>
                    </a:lnTo>
                    <a:lnTo>
                      <a:pt x="887" y="60"/>
                    </a:lnTo>
                    <a:lnTo>
                      <a:pt x="887" y="60"/>
                    </a:lnTo>
                    <a:lnTo>
                      <a:pt x="910" y="73"/>
                    </a:lnTo>
                    <a:lnTo>
                      <a:pt x="910" y="78"/>
                    </a:lnTo>
                    <a:lnTo>
                      <a:pt x="919" y="83"/>
                    </a:lnTo>
                    <a:lnTo>
                      <a:pt x="919" y="83"/>
                    </a:lnTo>
                    <a:lnTo>
                      <a:pt x="923" y="87"/>
                    </a:lnTo>
                    <a:lnTo>
                      <a:pt x="928" y="92"/>
                    </a:lnTo>
                    <a:lnTo>
                      <a:pt x="928" y="92"/>
                    </a:lnTo>
                    <a:lnTo>
                      <a:pt x="932" y="96"/>
                    </a:lnTo>
                    <a:lnTo>
                      <a:pt x="942" y="101"/>
                    </a:lnTo>
                    <a:lnTo>
                      <a:pt x="951" y="105"/>
                    </a:lnTo>
                    <a:lnTo>
                      <a:pt x="955" y="110"/>
                    </a:lnTo>
                    <a:lnTo>
                      <a:pt x="955" y="105"/>
                    </a:lnTo>
                    <a:lnTo>
                      <a:pt x="960" y="105"/>
                    </a:lnTo>
                    <a:lnTo>
                      <a:pt x="960" y="105"/>
                    </a:lnTo>
                    <a:lnTo>
                      <a:pt x="964" y="105"/>
                    </a:lnTo>
                    <a:lnTo>
                      <a:pt x="964" y="101"/>
                    </a:lnTo>
                    <a:lnTo>
                      <a:pt x="964" y="105"/>
                    </a:lnTo>
                    <a:lnTo>
                      <a:pt x="964" y="105"/>
                    </a:lnTo>
                    <a:lnTo>
                      <a:pt x="969" y="105"/>
                    </a:lnTo>
                    <a:lnTo>
                      <a:pt x="969" y="105"/>
                    </a:lnTo>
                    <a:lnTo>
                      <a:pt x="969" y="101"/>
                    </a:lnTo>
                    <a:lnTo>
                      <a:pt x="969" y="101"/>
                    </a:lnTo>
                    <a:lnTo>
                      <a:pt x="974" y="101"/>
                    </a:lnTo>
                    <a:lnTo>
                      <a:pt x="974" y="101"/>
                    </a:lnTo>
                    <a:lnTo>
                      <a:pt x="974" y="105"/>
                    </a:lnTo>
                    <a:lnTo>
                      <a:pt x="978" y="101"/>
                    </a:lnTo>
                    <a:lnTo>
                      <a:pt x="978" y="105"/>
                    </a:lnTo>
                    <a:lnTo>
                      <a:pt x="978" y="105"/>
                    </a:lnTo>
                    <a:lnTo>
                      <a:pt x="983" y="101"/>
                    </a:lnTo>
                    <a:lnTo>
                      <a:pt x="983" y="101"/>
                    </a:lnTo>
                    <a:lnTo>
                      <a:pt x="983" y="96"/>
                    </a:lnTo>
                    <a:lnTo>
                      <a:pt x="978" y="96"/>
                    </a:lnTo>
                    <a:lnTo>
                      <a:pt x="978" y="96"/>
                    </a:lnTo>
                    <a:lnTo>
                      <a:pt x="983" y="96"/>
                    </a:lnTo>
                    <a:lnTo>
                      <a:pt x="983" y="96"/>
                    </a:lnTo>
                    <a:lnTo>
                      <a:pt x="987" y="96"/>
                    </a:lnTo>
                    <a:lnTo>
                      <a:pt x="987" y="96"/>
                    </a:lnTo>
                    <a:lnTo>
                      <a:pt x="992" y="96"/>
                    </a:lnTo>
                    <a:lnTo>
                      <a:pt x="992" y="96"/>
                    </a:lnTo>
                    <a:lnTo>
                      <a:pt x="996" y="101"/>
                    </a:lnTo>
                    <a:lnTo>
                      <a:pt x="1001" y="101"/>
                    </a:lnTo>
                    <a:lnTo>
                      <a:pt x="1001" y="101"/>
                    </a:lnTo>
                    <a:lnTo>
                      <a:pt x="1001" y="101"/>
                    </a:lnTo>
                    <a:lnTo>
                      <a:pt x="1006" y="96"/>
                    </a:lnTo>
                    <a:lnTo>
                      <a:pt x="1010" y="101"/>
                    </a:lnTo>
                    <a:lnTo>
                      <a:pt x="1015" y="101"/>
                    </a:lnTo>
                    <a:lnTo>
                      <a:pt x="1015" y="101"/>
                    </a:lnTo>
                    <a:lnTo>
                      <a:pt x="1015" y="101"/>
                    </a:lnTo>
                    <a:lnTo>
                      <a:pt x="1015" y="105"/>
                    </a:lnTo>
                    <a:lnTo>
                      <a:pt x="1015" y="110"/>
                    </a:lnTo>
                    <a:lnTo>
                      <a:pt x="1015" y="110"/>
                    </a:lnTo>
                    <a:lnTo>
                      <a:pt x="1019" y="110"/>
                    </a:lnTo>
                    <a:lnTo>
                      <a:pt x="1019" y="110"/>
                    </a:lnTo>
                    <a:lnTo>
                      <a:pt x="1024" y="110"/>
                    </a:lnTo>
                    <a:lnTo>
                      <a:pt x="1024" y="110"/>
                    </a:lnTo>
                    <a:lnTo>
                      <a:pt x="1019" y="110"/>
                    </a:lnTo>
                    <a:lnTo>
                      <a:pt x="1019" y="110"/>
                    </a:lnTo>
                    <a:lnTo>
                      <a:pt x="1019" y="105"/>
                    </a:lnTo>
                    <a:lnTo>
                      <a:pt x="1024" y="105"/>
                    </a:lnTo>
                    <a:lnTo>
                      <a:pt x="1024" y="105"/>
                    </a:lnTo>
                    <a:lnTo>
                      <a:pt x="1024" y="105"/>
                    </a:lnTo>
                    <a:lnTo>
                      <a:pt x="1028" y="105"/>
                    </a:lnTo>
                    <a:lnTo>
                      <a:pt x="1028" y="105"/>
                    </a:lnTo>
                    <a:lnTo>
                      <a:pt x="1033" y="110"/>
                    </a:lnTo>
                    <a:lnTo>
                      <a:pt x="1033" y="110"/>
                    </a:lnTo>
                    <a:lnTo>
                      <a:pt x="1033" y="110"/>
                    </a:lnTo>
                    <a:lnTo>
                      <a:pt x="1038" y="110"/>
                    </a:lnTo>
                    <a:lnTo>
                      <a:pt x="1038" y="110"/>
                    </a:lnTo>
                    <a:lnTo>
                      <a:pt x="1038" y="115"/>
                    </a:lnTo>
                    <a:lnTo>
                      <a:pt x="1038" y="115"/>
                    </a:lnTo>
                    <a:lnTo>
                      <a:pt x="1042" y="115"/>
                    </a:lnTo>
                    <a:lnTo>
                      <a:pt x="1042" y="115"/>
                    </a:lnTo>
                    <a:lnTo>
                      <a:pt x="1042" y="110"/>
                    </a:lnTo>
                    <a:lnTo>
                      <a:pt x="1042" y="110"/>
                    </a:lnTo>
                    <a:lnTo>
                      <a:pt x="1047" y="110"/>
                    </a:lnTo>
                    <a:lnTo>
                      <a:pt x="1047" y="110"/>
                    </a:lnTo>
                    <a:lnTo>
                      <a:pt x="1051" y="110"/>
                    </a:lnTo>
                    <a:lnTo>
                      <a:pt x="1051" y="110"/>
                    </a:lnTo>
                    <a:lnTo>
                      <a:pt x="1051" y="110"/>
                    </a:lnTo>
                    <a:lnTo>
                      <a:pt x="1051" y="110"/>
                    </a:lnTo>
                    <a:lnTo>
                      <a:pt x="1051" y="110"/>
                    </a:lnTo>
                    <a:lnTo>
                      <a:pt x="1051" y="110"/>
                    </a:lnTo>
                    <a:lnTo>
                      <a:pt x="1051" y="110"/>
                    </a:lnTo>
                    <a:lnTo>
                      <a:pt x="1051" y="115"/>
                    </a:lnTo>
                    <a:lnTo>
                      <a:pt x="1056" y="115"/>
                    </a:lnTo>
                    <a:lnTo>
                      <a:pt x="1056" y="115"/>
                    </a:lnTo>
                    <a:lnTo>
                      <a:pt x="1056" y="115"/>
                    </a:lnTo>
                    <a:lnTo>
                      <a:pt x="1051" y="133"/>
                    </a:lnTo>
                    <a:lnTo>
                      <a:pt x="1051" y="142"/>
                    </a:lnTo>
                    <a:lnTo>
                      <a:pt x="1051" y="151"/>
                    </a:lnTo>
                    <a:lnTo>
                      <a:pt x="1051" y="156"/>
                    </a:lnTo>
                    <a:lnTo>
                      <a:pt x="1051" y="160"/>
                    </a:lnTo>
                    <a:lnTo>
                      <a:pt x="1047" y="169"/>
                    </a:lnTo>
                    <a:lnTo>
                      <a:pt x="1042" y="174"/>
                    </a:lnTo>
                    <a:lnTo>
                      <a:pt x="1042" y="174"/>
                    </a:lnTo>
                    <a:lnTo>
                      <a:pt x="1042" y="179"/>
                    </a:lnTo>
                    <a:lnTo>
                      <a:pt x="1038" y="179"/>
                    </a:lnTo>
                    <a:lnTo>
                      <a:pt x="1038" y="183"/>
                    </a:lnTo>
                    <a:lnTo>
                      <a:pt x="1038" y="192"/>
                    </a:lnTo>
                    <a:lnTo>
                      <a:pt x="1038" y="197"/>
                    </a:lnTo>
                    <a:lnTo>
                      <a:pt x="1042" y="197"/>
                    </a:lnTo>
                    <a:lnTo>
                      <a:pt x="1042" y="201"/>
                    </a:lnTo>
                    <a:lnTo>
                      <a:pt x="1047" y="201"/>
                    </a:lnTo>
                    <a:lnTo>
                      <a:pt x="1047" y="206"/>
                    </a:lnTo>
                    <a:lnTo>
                      <a:pt x="1047" y="211"/>
                    </a:lnTo>
                    <a:lnTo>
                      <a:pt x="1051" y="215"/>
                    </a:lnTo>
                    <a:lnTo>
                      <a:pt x="1051" y="215"/>
                    </a:lnTo>
                    <a:lnTo>
                      <a:pt x="1051" y="220"/>
                    </a:lnTo>
                    <a:lnTo>
                      <a:pt x="1056" y="220"/>
                    </a:lnTo>
                    <a:lnTo>
                      <a:pt x="1056" y="224"/>
                    </a:lnTo>
                    <a:lnTo>
                      <a:pt x="1060" y="224"/>
                    </a:lnTo>
                    <a:lnTo>
                      <a:pt x="1060" y="229"/>
                    </a:lnTo>
                    <a:lnTo>
                      <a:pt x="1065" y="229"/>
                    </a:lnTo>
                    <a:lnTo>
                      <a:pt x="1065" y="233"/>
                    </a:lnTo>
                    <a:lnTo>
                      <a:pt x="1070" y="238"/>
                    </a:lnTo>
                    <a:lnTo>
                      <a:pt x="1070" y="238"/>
                    </a:lnTo>
                    <a:lnTo>
                      <a:pt x="1070" y="243"/>
                    </a:lnTo>
                    <a:lnTo>
                      <a:pt x="1074" y="243"/>
                    </a:lnTo>
                    <a:lnTo>
                      <a:pt x="1074" y="243"/>
                    </a:lnTo>
                    <a:lnTo>
                      <a:pt x="1074" y="247"/>
                    </a:lnTo>
                    <a:lnTo>
                      <a:pt x="1079" y="247"/>
                    </a:lnTo>
                    <a:lnTo>
                      <a:pt x="1079" y="252"/>
                    </a:lnTo>
                    <a:lnTo>
                      <a:pt x="1083" y="256"/>
                    </a:lnTo>
                    <a:lnTo>
                      <a:pt x="1083" y="261"/>
                    </a:lnTo>
                    <a:lnTo>
                      <a:pt x="1083" y="261"/>
                    </a:lnTo>
                    <a:lnTo>
                      <a:pt x="1083" y="270"/>
                    </a:lnTo>
                    <a:lnTo>
                      <a:pt x="1083" y="275"/>
                    </a:lnTo>
                    <a:lnTo>
                      <a:pt x="1079" y="279"/>
                    </a:lnTo>
                    <a:lnTo>
                      <a:pt x="1079" y="284"/>
                    </a:lnTo>
                    <a:lnTo>
                      <a:pt x="1074" y="284"/>
                    </a:lnTo>
                    <a:lnTo>
                      <a:pt x="1070" y="284"/>
                    </a:lnTo>
                    <a:lnTo>
                      <a:pt x="1070" y="288"/>
                    </a:lnTo>
                    <a:lnTo>
                      <a:pt x="1070" y="293"/>
                    </a:lnTo>
                    <a:lnTo>
                      <a:pt x="1065" y="297"/>
                    </a:lnTo>
                    <a:lnTo>
                      <a:pt x="1060" y="302"/>
                    </a:lnTo>
                    <a:lnTo>
                      <a:pt x="1060" y="307"/>
                    </a:lnTo>
                    <a:lnTo>
                      <a:pt x="1056" y="307"/>
                    </a:lnTo>
                    <a:lnTo>
                      <a:pt x="1056" y="311"/>
                    </a:lnTo>
                    <a:lnTo>
                      <a:pt x="1056" y="316"/>
                    </a:lnTo>
                    <a:lnTo>
                      <a:pt x="1051" y="316"/>
                    </a:lnTo>
                    <a:lnTo>
                      <a:pt x="1051" y="320"/>
                    </a:lnTo>
                    <a:lnTo>
                      <a:pt x="1051" y="325"/>
                    </a:lnTo>
                    <a:lnTo>
                      <a:pt x="1051" y="325"/>
                    </a:lnTo>
                    <a:lnTo>
                      <a:pt x="1047" y="325"/>
                    </a:lnTo>
                    <a:lnTo>
                      <a:pt x="1047" y="329"/>
                    </a:lnTo>
                    <a:lnTo>
                      <a:pt x="1042" y="329"/>
                    </a:lnTo>
                    <a:lnTo>
                      <a:pt x="1038" y="329"/>
                    </a:lnTo>
                    <a:lnTo>
                      <a:pt x="1033" y="334"/>
                    </a:lnTo>
                    <a:lnTo>
                      <a:pt x="1033" y="339"/>
                    </a:lnTo>
                    <a:lnTo>
                      <a:pt x="1028" y="339"/>
                    </a:lnTo>
                    <a:lnTo>
                      <a:pt x="1028" y="339"/>
                    </a:lnTo>
                    <a:lnTo>
                      <a:pt x="1028" y="343"/>
                    </a:lnTo>
                    <a:lnTo>
                      <a:pt x="1024" y="343"/>
                    </a:lnTo>
                    <a:lnTo>
                      <a:pt x="1019" y="348"/>
                    </a:lnTo>
                    <a:lnTo>
                      <a:pt x="1015" y="348"/>
                    </a:lnTo>
                    <a:lnTo>
                      <a:pt x="1010" y="352"/>
                    </a:lnTo>
                    <a:lnTo>
                      <a:pt x="1006" y="352"/>
                    </a:lnTo>
                    <a:lnTo>
                      <a:pt x="1006" y="352"/>
                    </a:lnTo>
                    <a:lnTo>
                      <a:pt x="1006" y="357"/>
                    </a:lnTo>
                    <a:lnTo>
                      <a:pt x="1001" y="357"/>
                    </a:lnTo>
                    <a:lnTo>
                      <a:pt x="1001" y="366"/>
                    </a:lnTo>
                    <a:lnTo>
                      <a:pt x="1001" y="371"/>
                    </a:lnTo>
                    <a:lnTo>
                      <a:pt x="1001" y="371"/>
                    </a:lnTo>
                    <a:lnTo>
                      <a:pt x="1006" y="371"/>
                    </a:lnTo>
                    <a:lnTo>
                      <a:pt x="1006" y="375"/>
                    </a:lnTo>
                    <a:lnTo>
                      <a:pt x="1006" y="380"/>
                    </a:lnTo>
                    <a:lnTo>
                      <a:pt x="1006" y="384"/>
                    </a:lnTo>
                    <a:lnTo>
                      <a:pt x="1006" y="389"/>
                    </a:lnTo>
                    <a:lnTo>
                      <a:pt x="1010" y="393"/>
                    </a:lnTo>
                    <a:lnTo>
                      <a:pt x="1015" y="407"/>
                    </a:lnTo>
                    <a:lnTo>
                      <a:pt x="1015" y="416"/>
                    </a:lnTo>
                    <a:lnTo>
                      <a:pt x="1015" y="421"/>
                    </a:lnTo>
                    <a:lnTo>
                      <a:pt x="1015" y="425"/>
                    </a:lnTo>
                    <a:lnTo>
                      <a:pt x="1015" y="439"/>
                    </a:lnTo>
                    <a:lnTo>
                      <a:pt x="1010" y="462"/>
                    </a:lnTo>
                    <a:lnTo>
                      <a:pt x="1010" y="471"/>
                    </a:lnTo>
                    <a:lnTo>
                      <a:pt x="1006" y="480"/>
                    </a:lnTo>
                    <a:lnTo>
                      <a:pt x="1006" y="480"/>
                    </a:lnTo>
                    <a:lnTo>
                      <a:pt x="1001" y="499"/>
                    </a:lnTo>
                    <a:lnTo>
                      <a:pt x="996" y="508"/>
                    </a:lnTo>
                    <a:lnTo>
                      <a:pt x="996" y="512"/>
                    </a:lnTo>
                    <a:lnTo>
                      <a:pt x="996" y="526"/>
                    </a:lnTo>
                    <a:lnTo>
                      <a:pt x="996" y="540"/>
                    </a:lnTo>
                    <a:lnTo>
                      <a:pt x="996" y="549"/>
                    </a:lnTo>
                    <a:lnTo>
                      <a:pt x="996" y="567"/>
                    </a:lnTo>
                    <a:lnTo>
                      <a:pt x="996" y="576"/>
                    </a:lnTo>
                    <a:lnTo>
                      <a:pt x="996" y="585"/>
                    </a:lnTo>
                    <a:lnTo>
                      <a:pt x="996" y="590"/>
                    </a:lnTo>
                    <a:lnTo>
                      <a:pt x="996" y="595"/>
                    </a:lnTo>
                    <a:lnTo>
                      <a:pt x="992" y="599"/>
                    </a:lnTo>
                    <a:lnTo>
                      <a:pt x="992" y="604"/>
                    </a:lnTo>
                    <a:lnTo>
                      <a:pt x="987" y="604"/>
                    </a:lnTo>
                    <a:lnTo>
                      <a:pt x="987" y="608"/>
                    </a:lnTo>
                    <a:lnTo>
                      <a:pt x="983" y="608"/>
                    </a:lnTo>
                    <a:lnTo>
                      <a:pt x="983" y="613"/>
                    </a:lnTo>
                    <a:lnTo>
                      <a:pt x="983" y="613"/>
                    </a:lnTo>
                    <a:lnTo>
                      <a:pt x="978" y="617"/>
                    </a:lnTo>
                    <a:lnTo>
                      <a:pt x="978" y="622"/>
                    </a:lnTo>
                    <a:lnTo>
                      <a:pt x="978" y="627"/>
                    </a:lnTo>
                    <a:lnTo>
                      <a:pt x="974" y="636"/>
                    </a:lnTo>
                    <a:lnTo>
                      <a:pt x="974" y="636"/>
                    </a:lnTo>
                    <a:lnTo>
                      <a:pt x="974" y="640"/>
                    </a:lnTo>
                    <a:lnTo>
                      <a:pt x="978" y="645"/>
                    </a:lnTo>
                    <a:lnTo>
                      <a:pt x="983" y="649"/>
                    </a:lnTo>
                    <a:lnTo>
                      <a:pt x="983" y="654"/>
                    </a:lnTo>
                    <a:lnTo>
                      <a:pt x="983" y="654"/>
                    </a:lnTo>
                    <a:lnTo>
                      <a:pt x="987" y="659"/>
                    </a:lnTo>
                    <a:lnTo>
                      <a:pt x="992" y="659"/>
                    </a:lnTo>
                    <a:lnTo>
                      <a:pt x="996" y="659"/>
                    </a:lnTo>
                    <a:lnTo>
                      <a:pt x="1001" y="659"/>
                    </a:lnTo>
                    <a:lnTo>
                      <a:pt x="1006" y="663"/>
                    </a:lnTo>
                    <a:lnTo>
                      <a:pt x="1006" y="668"/>
                    </a:lnTo>
                    <a:lnTo>
                      <a:pt x="1015" y="677"/>
                    </a:lnTo>
                    <a:lnTo>
                      <a:pt x="1015" y="681"/>
                    </a:lnTo>
                    <a:lnTo>
                      <a:pt x="1019" y="681"/>
                    </a:lnTo>
                    <a:lnTo>
                      <a:pt x="1019" y="686"/>
                    </a:lnTo>
                    <a:lnTo>
                      <a:pt x="1019" y="691"/>
                    </a:lnTo>
                    <a:lnTo>
                      <a:pt x="1024" y="700"/>
                    </a:lnTo>
                    <a:lnTo>
                      <a:pt x="1028" y="700"/>
                    </a:lnTo>
                    <a:lnTo>
                      <a:pt x="1028" y="704"/>
                    </a:lnTo>
                    <a:lnTo>
                      <a:pt x="1028" y="709"/>
                    </a:lnTo>
                    <a:lnTo>
                      <a:pt x="1024" y="713"/>
                    </a:lnTo>
                    <a:lnTo>
                      <a:pt x="1019" y="723"/>
                    </a:lnTo>
                    <a:lnTo>
                      <a:pt x="1015" y="723"/>
                    </a:lnTo>
                    <a:lnTo>
                      <a:pt x="1010" y="723"/>
                    </a:lnTo>
                    <a:lnTo>
                      <a:pt x="1006" y="723"/>
                    </a:lnTo>
                    <a:lnTo>
                      <a:pt x="1006" y="727"/>
                    </a:lnTo>
                    <a:lnTo>
                      <a:pt x="1001" y="727"/>
                    </a:lnTo>
                    <a:lnTo>
                      <a:pt x="1001" y="732"/>
                    </a:lnTo>
                    <a:lnTo>
                      <a:pt x="992" y="741"/>
                    </a:lnTo>
                    <a:lnTo>
                      <a:pt x="987" y="745"/>
                    </a:lnTo>
                    <a:lnTo>
                      <a:pt x="987" y="745"/>
                    </a:lnTo>
                    <a:lnTo>
                      <a:pt x="987" y="750"/>
                    </a:lnTo>
                    <a:lnTo>
                      <a:pt x="983" y="750"/>
                    </a:lnTo>
                    <a:lnTo>
                      <a:pt x="983" y="755"/>
                    </a:lnTo>
                    <a:lnTo>
                      <a:pt x="983" y="759"/>
                    </a:lnTo>
                    <a:lnTo>
                      <a:pt x="983" y="764"/>
                    </a:lnTo>
                    <a:lnTo>
                      <a:pt x="983" y="768"/>
                    </a:lnTo>
                    <a:lnTo>
                      <a:pt x="983" y="768"/>
                    </a:lnTo>
                    <a:lnTo>
                      <a:pt x="983" y="773"/>
                    </a:lnTo>
                    <a:lnTo>
                      <a:pt x="978" y="773"/>
                    </a:lnTo>
                    <a:lnTo>
                      <a:pt x="978" y="777"/>
                    </a:lnTo>
                    <a:lnTo>
                      <a:pt x="978" y="782"/>
                    </a:lnTo>
                    <a:lnTo>
                      <a:pt x="974" y="782"/>
                    </a:lnTo>
                    <a:lnTo>
                      <a:pt x="974" y="787"/>
                    </a:lnTo>
                    <a:lnTo>
                      <a:pt x="969" y="787"/>
                    </a:lnTo>
                    <a:lnTo>
                      <a:pt x="964" y="787"/>
                    </a:lnTo>
                    <a:lnTo>
                      <a:pt x="960" y="791"/>
                    </a:lnTo>
                    <a:lnTo>
                      <a:pt x="955" y="796"/>
                    </a:lnTo>
                    <a:lnTo>
                      <a:pt x="951" y="800"/>
                    </a:lnTo>
                    <a:lnTo>
                      <a:pt x="946" y="809"/>
                    </a:lnTo>
                    <a:lnTo>
                      <a:pt x="942" y="809"/>
                    </a:lnTo>
                    <a:lnTo>
                      <a:pt x="942" y="823"/>
                    </a:lnTo>
                    <a:lnTo>
                      <a:pt x="942" y="828"/>
                    </a:lnTo>
                    <a:lnTo>
                      <a:pt x="946" y="837"/>
                    </a:lnTo>
                    <a:lnTo>
                      <a:pt x="946" y="841"/>
                    </a:lnTo>
                    <a:lnTo>
                      <a:pt x="951" y="855"/>
                    </a:lnTo>
                    <a:lnTo>
                      <a:pt x="955" y="855"/>
                    </a:lnTo>
                    <a:lnTo>
                      <a:pt x="955" y="855"/>
                    </a:lnTo>
                    <a:lnTo>
                      <a:pt x="955" y="860"/>
                    </a:lnTo>
                    <a:lnTo>
                      <a:pt x="955" y="869"/>
                    </a:lnTo>
                    <a:lnTo>
                      <a:pt x="951" y="873"/>
                    </a:lnTo>
                    <a:lnTo>
                      <a:pt x="951" y="878"/>
                    </a:lnTo>
                    <a:lnTo>
                      <a:pt x="946" y="878"/>
                    </a:lnTo>
                    <a:lnTo>
                      <a:pt x="942" y="878"/>
                    </a:lnTo>
                    <a:lnTo>
                      <a:pt x="937" y="887"/>
                    </a:lnTo>
                    <a:lnTo>
                      <a:pt x="932" y="892"/>
                    </a:lnTo>
                    <a:lnTo>
                      <a:pt x="928" y="892"/>
                    </a:lnTo>
                    <a:lnTo>
                      <a:pt x="923" y="896"/>
                    </a:lnTo>
                    <a:lnTo>
                      <a:pt x="923" y="896"/>
                    </a:lnTo>
                    <a:lnTo>
                      <a:pt x="919" y="901"/>
                    </a:lnTo>
                    <a:lnTo>
                      <a:pt x="914" y="905"/>
                    </a:lnTo>
                    <a:lnTo>
                      <a:pt x="910" y="905"/>
                    </a:lnTo>
                    <a:lnTo>
                      <a:pt x="905" y="910"/>
                    </a:lnTo>
                    <a:lnTo>
                      <a:pt x="900" y="910"/>
                    </a:lnTo>
                    <a:lnTo>
                      <a:pt x="896" y="910"/>
                    </a:lnTo>
                    <a:lnTo>
                      <a:pt x="896" y="915"/>
                    </a:lnTo>
                    <a:lnTo>
                      <a:pt x="896" y="915"/>
                    </a:lnTo>
                    <a:lnTo>
                      <a:pt x="891" y="915"/>
                    </a:lnTo>
                    <a:lnTo>
                      <a:pt x="891" y="919"/>
                    </a:lnTo>
                    <a:lnTo>
                      <a:pt x="887" y="919"/>
                    </a:lnTo>
                    <a:lnTo>
                      <a:pt x="882" y="919"/>
                    </a:lnTo>
                    <a:lnTo>
                      <a:pt x="878" y="919"/>
                    </a:lnTo>
                    <a:lnTo>
                      <a:pt x="873" y="919"/>
                    </a:lnTo>
                    <a:lnTo>
                      <a:pt x="873" y="924"/>
                    </a:lnTo>
                    <a:lnTo>
                      <a:pt x="868" y="924"/>
                    </a:lnTo>
                    <a:lnTo>
                      <a:pt x="864" y="924"/>
                    </a:lnTo>
                    <a:lnTo>
                      <a:pt x="859" y="924"/>
                    </a:lnTo>
                    <a:lnTo>
                      <a:pt x="855" y="928"/>
                    </a:lnTo>
                    <a:lnTo>
                      <a:pt x="846" y="933"/>
                    </a:lnTo>
                    <a:lnTo>
                      <a:pt x="841" y="933"/>
                    </a:lnTo>
                    <a:lnTo>
                      <a:pt x="836" y="933"/>
                    </a:lnTo>
                    <a:lnTo>
                      <a:pt x="836" y="937"/>
                    </a:lnTo>
                    <a:lnTo>
                      <a:pt x="832" y="937"/>
                    </a:lnTo>
                    <a:lnTo>
                      <a:pt x="827" y="937"/>
                    </a:lnTo>
                    <a:lnTo>
                      <a:pt x="823" y="942"/>
                    </a:lnTo>
                    <a:lnTo>
                      <a:pt x="814" y="942"/>
                    </a:lnTo>
                    <a:lnTo>
                      <a:pt x="814" y="942"/>
                    </a:lnTo>
                    <a:lnTo>
                      <a:pt x="809" y="947"/>
                    </a:lnTo>
                    <a:lnTo>
                      <a:pt x="809" y="947"/>
                    </a:lnTo>
                    <a:lnTo>
                      <a:pt x="809" y="951"/>
                    </a:lnTo>
                    <a:lnTo>
                      <a:pt x="804" y="956"/>
                    </a:lnTo>
                    <a:lnTo>
                      <a:pt x="804" y="960"/>
                    </a:lnTo>
                    <a:lnTo>
                      <a:pt x="800" y="960"/>
                    </a:lnTo>
                    <a:lnTo>
                      <a:pt x="795" y="965"/>
                    </a:lnTo>
                    <a:lnTo>
                      <a:pt x="795" y="974"/>
                    </a:lnTo>
                    <a:lnTo>
                      <a:pt x="791" y="988"/>
                    </a:lnTo>
                    <a:lnTo>
                      <a:pt x="791" y="988"/>
                    </a:lnTo>
                    <a:lnTo>
                      <a:pt x="791" y="992"/>
                    </a:lnTo>
                    <a:lnTo>
                      <a:pt x="791" y="997"/>
                    </a:lnTo>
                    <a:lnTo>
                      <a:pt x="791" y="1001"/>
                    </a:lnTo>
                    <a:lnTo>
                      <a:pt x="795" y="1011"/>
                    </a:lnTo>
                    <a:lnTo>
                      <a:pt x="795" y="1015"/>
                    </a:lnTo>
                    <a:lnTo>
                      <a:pt x="795" y="1020"/>
                    </a:lnTo>
                    <a:lnTo>
                      <a:pt x="795" y="1029"/>
                    </a:lnTo>
                    <a:lnTo>
                      <a:pt x="795" y="1029"/>
                    </a:lnTo>
                    <a:lnTo>
                      <a:pt x="791" y="1033"/>
                    </a:lnTo>
                    <a:lnTo>
                      <a:pt x="791" y="1038"/>
                    </a:lnTo>
                    <a:lnTo>
                      <a:pt x="786" y="1043"/>
                    </a:lnTo>
                    <a:lnTo>
                      <a:pt x="786" y="1047"/>
                    </a:lnTo>
                    <a:lnTo>
                      <a:pt x="782" y="1052"/>
                    </a:lnTo>
                    <a:lnTo>
                      <a:pt x="777" y="1052"/>
                    </a:lnTo>
                    <a:lnTo>
                      <a:pt x="777" y="1052"/>
                    </a:lnTo>
                    <a:lnTo>
                      <a:pt x="772" y="1052"/>
                    </a:lnTo>
                    <a:lnTo>
                      <a:pt x="768" y="1052"/>
                    </a:lnTo>
                    <a:lnTo>
                      <a:pt x="768" y="1056"/>
                    </a:lnTo>
                    <a:lnTo>
                      <a:pt x="763" y="1056"/>
                    </a:lnTo>
                    <a:lnTo>
                      <a:pt x="759" y="1056"/>
                    </a:lnTo>
                    <a:lnTo>
                      <a:pt x="754" y="1061"/>
                    </a:lnTo>
                    <a:lnTo>
                      <a:pt x="750" y="1061"/>
                    </a:lnTo>
                    <a:lnTo>
                      <a:pt x="745" y="1065"/>
                    </a:lnTo>
                    <a:lnTo>
                      <a:pt x="740" y="1061"/>
                    </a:lnTo>
                    <a:lnTo>
                      <a:pt x="740" y="1056"/>
                    </a:lnTo>
                    <a:lnTo>
                      <a:pt x="740" y="1047"/>
                    </a:lnTo>
                    <a:lnTo>
                      <a:pt x="740" y="1038"/>
                    </a:lnTo>
                    <a:lnTo>
                      <a:pt x="740" y="1033"/>
                    </a:lnTo>
                    <a:lnTo>
                      <a:pt x="740" y="1024"/>
                    </a:lnTo>
                    <a:lnTo>
                      <a:pt x="740" y="1001"/>
                    </a:lnTo>
                    <a:lnTo>
                      <a:pt x="745" y="988"/>
                    </a:lnTo>
                    <a:lnTo>
                      <a:pt x="745" y="979"/>
                    </a:lnTo>
                    <a:lnTo>
                      <a:pt x="745" y="969"/>
                    </a:lnTo>
                    <a:lnTo>
                      <a:pt x="740" y="960"/>
                    </a:lnTo>
                    <a:lnTo>
                      <a:pt x="740" y="956"/>
                    </a:lnTo>
                    <a:lnTo>
                      <a:pt x="740" y="947"/>
                    </a:lnTo>
                    <a:lnTo>
                      <a:pt x="740" y="942"/>
                    </a:lnTo>
                    <a:lnTo>
                      <a:pt x="740" y="942"/>
                    </a:lnTo>
                    <a:lnTo>
                      <a:pt x="736" y="942"/>
                    </a:lnTo>
                    <a:lnTo>
                      <a:pt x="736" y="937"/>
                    </a:lnTo>
                    <a:lnTo>
                      <a:pt x="736" y="933"/>
                    </a:lnTo>
                    <a:lnTo>
                      <a:pt x="731" y="933"/>
                    </a:lnTo>
                    <a:lnTo>
                      <a:pt x="727" y="924"/>
                    </a:lnTo>
                    <a:lnTo>
                      <a:pt x="727" y="919"/>
                    </a:lnTo>
                    <a:lnTo>
                      <a:pt x="722" y="919"/>
                    </a:lnTo>
                    <a:lnTo>
                      <a:pt x="722" y="915"/>
                    </a:lnTo>
                    <a:lnTo>
                      <a:pt x="722" y="915"/>
                    </a:lnTo>
                    <a:lnTo>
                      <a:pt x="722" y="910"/>
                    </a:lnTo>
                    <a:lnTo>
                      <a:pt x="718" y="905"/>
                    </a:lnTo>
                    <a:lnTo>
                      <a:pt x="699" y="896"/>
                    </a:lnTo>
                    <a:lnTo>
                      <a:pt x="699" y="896"/>
                    </a:lnTo>
                    <a:lnTo>
                      <a:pt x="699" y="892"/>
                    </a:lnTo>
                    <a:lnTo>
                      <a:pt x="695" y="892"/>
                    </a:lnTo>
                    <a:lnTo>
                      <a:pt x="690" y="887"/>
                    </a:lnTo>
                    <a:lnTo>
                      <a:pt x="686" y="883"/>
                    </a:lnTo>
                    <a:lnTo>
                      <a:pt x="676" y="878"/>
                    </a:lnTo>
                    <a:lnTo>
                      <a:pt x="676" y="873"/>
                    </a:lnTo>
                    <a:lnTo>
                      <a:pt x="672" y="869"/>
                    </a:lnTo>
                    <a:lnTo>
                      <a:pt x="672" y="864"/>
                    </a:lnTo>
                    <a:lnTo>
                      <a:pt x="667" y="855"/>
                    </a:lnTo>
                    <a:lnTo>
                      <a:pt x="667" y="851"/>
                    </a:lnTo>
                    <a:lnTo>
                      <a:pt x="663" y="837"/>
                    </a:lnTo>
                    <a:lnTo>
                      <a:pt x="663" y="832"/>
                    </a:lnTo>
                    <a:lnTo>
                      <a:pt x="658" y="832"/>
                    </a:lnTo>
                    <a:lnTo>
                      <a:pt x="654" y="828"/>
                    </a:lnTo>
                    <a:lnTo>
                      <a:pt x="654" y="828"/>
                    </a:lnTo>
                    <a:lnTo>
                      <a:pt x="654" y="823"/>
                    </a:lnTo>
                    <a:lnTo>
                      <a:pt x="649" y="823"/>
                    </a:lnTo>
                    <a:lnTo>
                      <a:pt x="644" y="819"/>
                    </a:lnTo>
                    <a:lnTo>
                      <a:pt x="635" y="819"/>
                    </a:lnTo>
                    <a:lnTo>
                      <a:pt x="626" y="814"/>
                    </a:lnTo>
                    <a:lnTo>
                      <a:pt x="612" y="809"/>
                    </a:lnTo>
                    <a:lnTo>
                      <a:pt x="603" y="809"/>
                    </a:lnTo>
                    <a:lnTo>
                      <a:pt x="599" y="805"/>
                    </a:lnTo>
                    <a:lnTo>
                      <a:pt x="594" y="800"/>
                    </a:lnTo>
                    <a:lnTo>
                      <a:pt x="590" y="800"/>
                    </a:lnTo>
                    <a:lnTo>
                      <a:pt x="585" y="796"/>
                    </a:lnTo>
                    <a:lnTo>
                      <a:pt x="576" y="796"/>
                    </a:lnTo>
                    <a:lnTo>
                      <a:pt x="562" y="796"/>
                    </a:lnTo>
                    <a:lnTo>
                      <a:pt x="548" y="796"/>
                    </a:lnTo>
                    <a:lnTo>
                      <a:pt x="544" y="796"/>
                    </a:lnTo>
                    <a:lnTo>
                      <a:pt x="535" y="796"/>
                    </a:lnTo>
                    <a:lnTo>
                      <a:pt x="521" y="796"/>
                    </a:lnTo>
                    <a:lnTo>
                      <a:pt x="521" y="796"/>
                    </a:lnTo>
                    <a:lnTo>
                      <a:pt x="516" y="796"/>
                    </a:lnTo>
                    <a:lnTo>
                      <a:pt x="507" y="796"/>
                    </a:lnTo>
                    <a:lnTo>
                      <a:pt x="503" y="796"/>
                    </a:lnTo>
                    <a:lnTo>
                      <a:pt x="503" y="791"/>
                    </a:lnTo>
                    <a:lnTo>
                      <a:pt x="498" y="791"/>
                    </a:lnTo>
                    <a:lnTo>
                      <a:pt x="494" y="787"/>
                    </a:lnTo>
                    <a:lnTo>
                      <a:pt x="489" y="787"/>
                    </a:lnTo>
                    <a:lnTo>
                      <a:pt x="489" y="782"/>
                    </a:lnTo>
                    <a:lnTo>
                      <a:pt x="484" y="777"/>
                    </a:lnTo>
                    <a:lnTo>
                      <a:pt x="484" y="773"/>
                    </a:lnTo>
                    <a:lnTo>
                      <a:pt x="484" y="768"/>
                    </a:lnTo>
                    <a:lnTo>
                      <a:pt x="489" y="768"/>
                    </a:lnTo>
                    <a:lnTo>
                      <a:pt x="489" y="768"/>
                    </a:lnTo>
                    <a:lnTo>
                      <a:pt x="494" y="764"/>
                    </a:lnTo>
                    <a:lnTo>
                      <a:pt x="494" y="759"/>
                    </a:lnTo>
                    <a:lnTo>
                      <a:pt x="498" y="759"/>
                    </a:lnTo>
                    <a:lnTo>
                      <a:pt x="498" y="755"/>
                    </a:lnTo>
                    <a:lnTo>
                      <a:pt x="503" y="750"/>
                    </a:lnTo>
                    <a:lnTo>
                      <a:pt x="503" y="745"/>
                    </a:lnTo>
                    <a:lnTo>
                      <a:pt x="503" y="745"/>
                    </a:lnTo>
                    <a:lnTo>
                      <a:pt x="507" y="741"/>
                    </a:lnTo>
                    <a:lnTo>
                      <a:pt x="507" y="736"/>
                    </a:lnTo>
                    <a:lnTo>
                      <a:pt x="507" y="732"/>
                    </a:lnTo>
                    <a:lnTo>
                      <a:pt x="507" y="727"/>
                    </a:lnTo>
                    <a:lnTo>
                      <a:pt x="507" y="723"/>
                    </a:lnTo>
                    <a:lnTo>
                      <a:pt x="507" y="718"/>
                    </a:lnTo>
                    <a:lnTo>
                      <a:pt x="507" y="709"/>
                    </a:lnTo>
                    <a:lnTo>
                      <a:pt x="507" y="700"/>
                    </a:lnTo>
                    <a:lnTo>
                      <a:pt x="503" y="695"/>
                    </a:lnTo>
                    <a:lnTo>
                      <a:pt x="503" y="686"/>
                    </a:lnTo>
                    <a:lnTo>
                      <a:pt x="503" y="677"/>
                    </a:lnTo>
                    <a:lnTo>
                      <a:pt x="498" y="659"/>
                    </a:lnTo>
                    <a:lnTo>
                      <a:pt x="494" y="649"/>
                    </a:lnTo>
                    <a:lnTo>
                      <a:pt x="494" y="645"/>
                    </a:lnTo>
                    <a:lnTo>
                      <a:pt x="494" y="640"/>
                    </a:lnTo>
                    <a:lnTo>
                      <a:pt x="489" y="636"/>
                    </a:lnTo>
                    <a:lnTo>
                      <a:pt x="489" y="631"/>
                    </a:lnTo>
                    <a:lnTo>
                      <a:pt x="484" y="631"/>
                    </a:lnTo>
                    <a:lnTo>
                      <a:pt x="484" y="627"/>
                    </a:lnTo>
                    <a:lnTo>
                      <a:pt x="480" y="622"/>
                    </a:lnTo>
                    <a:lnTo>
                      <a:pt x="480" y="617"/>
                    </a:lnTo>
                    <a:lnTo>
                      <a:pt x="480" y="617"/>
                    </a:lnTo>
                    <a:lnTo>
                      <a:pt x="480" y="613"/>
                    </a:lnTo>
                    <a:lnTo>
                      <a:pt x="480" y="613"/>
                    </a:lnTo>
                    <a:lnTo>
                      <a:pt x="471" y="604"/>
                    </a:lnTo>
                    <a:lnTo>
                      <a:pt x="471" y="599"/>
                    </a:lnTo>
                    <a:lnTo>
                      <a:pt x="466" y="595"/>
                    </a:lnTo>
                    <a:lnTo>
                      <a:pt x="466" y="590"/>
                    </a:lnTo>
                    <a:lnTo>
                      <a:pt x="466" y="590"/>
                    </a:lnTo>
                    <a:lnTo>
                      <a:pt x="466" y="585"/>
                    </a:lnTo>
                    <a:lnTo>
                      <a:pt x="466" y="572"/>
                    </a:lnTo>
                    <a:lnTo>
                      <a:pt x="466" y="567"/>
                    </a:lnTo>
                    <a:lnTo>
                      <a:pt x="466" y="567"/>
                    </a:lnTo>
                    <a:lnTo>
                      <a:pt x="462" y="567"/>
                    </a:lnTo>
                    <a:lnTo>
                      <a:pt x="462" y="563"/>
                    </a:lnTo>
                    <a:lnTo>
                      <a:pt x="457" y="558"/>
                    </a:lnTo>
                    <a:lnTo>
                      <a:pt x="457" y="553"/>
                    </a:lnTo>
                    <a:lnTo>
                      <a:pt x="457" y="549"/>
                    </a:lnTo>
                    <a:lnTo>
                      <a:pt x="457" y="544"/>
                    </a:lnTo>
                    <a:lnTo>
                      <a:pt x="457" y="535"/>
                    </a:lnTo>
                    <a:lnTo>
                      <a:pt x="457" y="531"/>
                    </a:lnTo>
                    <a:lnTo>
                      <a:pt x="457" y="521"/>
                    </a:lnTo>
                    <a:lnTo>
                      <a:pt x="457" y="512"/>
                    </a:lnTo>
                    <a:lnTo>
                      <a:pt x="457" y="503"/>
                    </a:lnTo>
                    <a:lnTo>
                      <a:pt x="457" y="499"/>
                    </a:lnTo>
                    <a:lnTo>
                      <a:pt x="452" y="494"/>
                    </a:lnTo>
                    <a:lnTo>
                      <a:pt x="452" y="489"/>
                    </a:lnTo>
                    <a:lnTo>
                      <a:pt x="448" y="485"/>
                    </a:lnTo>
                    <a:lnTo>
                      <a:pt x="443" y="476"/>
                    </a:lnTo>
                    <a:lnTo>
                      <a:pt x="443" y="471"/>
                    </a:lnTo>
                    <a:lnTo>
                      <a:pt x="439" y="467"/>
                    </a:lnTo>
                    <a:lnTo>
                      <a:pt x="439" y="462"/>
                    </a:lnTo>
                    <a:lnTo>
                      <a:pt x="434" y="457"/>
                    </a:lnTo>
                    <a:lnTo>
                      <a:pt x="434" y="448"/>
                    </a:lnTo>
                    <a:lnTo>
                      <a:pt x="434" y="439"/>
                    </a:lnTo>
                    <a:lnTo>
                      <a:pt x="434" y="435"/>
                    </a:lnTo>
                    <a:lnTo>
                      <a:pt x="434" y="430"/>
                    </a:lnTo>
                    <a:lnTo>
                      <a:pt x="434" y="416"/>
                    </a:lnTo>
                    <a:lnTo>
                      <a:pt x="434" y="407"/>
                    </a:lnTo>
                    <a:lnTo>
                      <a:pt x="434" y="393"/>
                    </a:lnTo>
                    <a:lnTo>
                      <a:pt x="434" y="393"/>
                    </a:lnTo>
                    <a:lnTo>
                      <a:pt x="434" y="384"/>
                    </a:lnTo>
                    <a:lnTo>
                      <a:pt x="434" y="380"/>
                    </a:lnTo>
                    <a:lnTo>
                      <a:pt x="430" y="380"/>
                    </a:lnTo>
                    <a:lnTo>
                      <a:pt x="430" y="375"/>
                    </a:lnTo>
                    <a:lnTo>
                      <a:pt x="425" y="371"/>
                    </a:lnTo>
                    <a:lnTo>
                      <a:pt x="425" y="366"/>
                    </a:lnTo>
                    <a:lnTo>
                      <a:pt x="425" y="361"/>
                    </a:lnTo>
                    <a:lnTo>
                      <a:pt x="411" y="352"/>
                    </a:lnTo>
                    <a:lnTo>
                      <a:pt x="411" y="348"/>
                    </a:lnTo>
                    <a:lnTo>
                      <a:pt x="407" y="343"/>
                    </a:lnTo>
                    <a:lnTo>
                      <a:pt x="402" y="343"/>
                    </a:lnTo>
                    <a:lnTo>
                      <a:pt x="402" y="339"/>
                    </a:lnTo>
                    <a:lnTo>
                      <a:pt x="398" y="339"/>
                    </a:lnTo>
                    <a:lnTo>
                      <a:pt x="393" y="334"/>
                    </a:lnTo>
                    <a:lnTo>
                      <a:pt x="393" y="329"/>
                    </a:lnTo>
                    <a:lnTo>
                      <a:pt x="379" y="329"/>
                    </a:lnTo>
                    <a:lnTo>
                      <a:pt x="384" y="320"/>
                    </a:lnTo>
                    <a:lnTo>
                      <a:pt x="379" y="307"/>
                    </a:lnTo>
                    <a:lnTo>
                      <a:pt x="375" y="284"/>
                    </a:lnTo>
                    <a:lnTo>
                      <a:pt x="375" y="270"/>
                    </a:lnTo>
                    <a:lnTo>
                      <a:pt x="370" y="256"/>
                    </a:lnTo>
                    <a:lnTo>
                      <a:pt x="370" y="243"/>
                    </a:lnTo>
                    <a:lnTo>
                      <a:pt x="370" y="229"/>
                    </a:lnTo>
                    <a:lnTo>
                      <a:pt x="366" y="224"/>
                    </a:lnTo>
                    <a:lnTo>
                      <a:pt x="361" y="220"/>
                    </a:lnTo>
                    <a:lnTo>
                      <a:pt x="356" y="220"/>
                    </a:lnTo>
                    <a:lnTo>
                      <a:pt x="352" y="220"/>
                    </a:lnTo>
                    <a:lnTo>
                      <a:pt x="329" y="220"/>
                    </a:lnTo>
                    <a:lnTo>
                      <a:pt x="324" y="220"/>
                    </a:lnTo>
                    <a:lnTo>
                      <a:pt x="315" y="220"/>
                    </a:lnTo>
                    <a:lnTo>
                      <a:pt x="306" y="220"/>
                    </a:lnTo>
                    <a:lnTo>
                      <a:pt x="306" y="215"/>
                    </a:lnTo>
                    <a:lnTo>
                      <a:pt x="302" y="215"/>
                    </a:lnTo>
                    <a:lnTo>
                      <a:pt x="297" y="211"/>
                    </a:lnTo>
                    <a:lnTo>
                      <a:pt x="292" y="211"/>
                    </a:lnTo>
                    <a:lnTo>
                      <a:pt x="288" y="215"/>
                    </a:lnTo>
                    <a:lnTo>
                      <a:pt x="283" y="215"/>
                    </a:lnTo>
                    <a:lnTo>
                      <a:pt x="283" y="215"/>
                    </a:lnTo>
                    <a:lnTo>
                      <a:pt x="283" y="220"/>
                    </a:lnTo>
                    <a:lnTo>
                      <a:pt x="279" y="220"/>
                    </a:lnTo>
                    <a:lnTo>
                      <a:pt x="274" y="220"/>
                    </a:lnTo>
                    <a:lnTo>
                      <a:pt x="270" y="220"/>
                    </a:lnTo>
                    <a:lnTo>
                      <a:pt x="265" y="220"/>
                    </a:lnTo>
                    <a:lnTo>
                      <a:pt x="260" y="215"/>
                    </a:lnTo>
                    <a:lnTo>
                      <a:pt x="260" y="211"/>
                    </a:lnTo>
                    <a:lnTo>
                      <a:pt x="260" y="206"/>
                    </a:lnTo>
                    <a:lnTo>
                      <a:pt x="260" y="201"/>
                    </a:lnTo>
                    <a:lnTo>
                      <a:pt x="256" y="197"/>
                    </a:lnTo>
                    <a:lnTo>
                      <a:pt x="260" y="188"/>
                    </a:lnTo>
                    <a:lnTo>
                      <a:pt x="256" y="174"/>
                    </a:lnTo>
                    <a:lnTo>
                      <a:pt x="251" y="165"/>
                    </a:lnTo>
                    <a:lnTo>
                      <a:pt x="247" y="151"/>
                    </a:lnTo>
                    <a:lnTo>
                      <a:pt x="247" y="147"/>
                    </a:lnTo>
                    <a:lnTo>
                      <a:pt x="247" y="147"/>
                    </a:lnTo>
                    <a:lnTo>
                      <a:pt x="242" y="142"/>
                    </a:lnTo>
                    <a:lnTo>
                      <a:pt x="242" y="137"/>
                    </a:lnTo>
                    <a:lnTo>
                      <a:pt x="238" y="133"/>
                    </a:lnTo>
                    <a:lnTo>
                      <a:pt x="238" y="133"/>
                    </a:lnTo>
                    <a:lnTo>
                      <a:pt x="233" y="133"/>
                    </a:lnTo>
                    <a:lnTo>
                      <a:pt x="228" y="133"/>
                    </a:lnTo>
                    <a:lnTo>
                      <a:pt x="219" y="133"/>
                    </a:lnTo>
                    <a:lnTo>
                      <a:pt x="215" y="133"/>
                    </a:lnTo>
                    <a:lnTo>
                      <a:pt x="210" y="142"/>
                    </a:lnTo>
                    <a:lnTo>
                      <a:pt x="206" y="142"/>
                    </a:lnTo>
                    <a:lnTo>
                      <a:pt x="201" y="147"/>
                    </a:lnTo>
                    <a:lnTo>
                      <a:pt x="196" y="147"/>
                    </a:lnTo>
                    <a:lnTo>
                      <a:pt x="196" y="151"/>
                    </a:lnTo>
                    <a:lnTo>
                      <a:pt x="187" y="151"/>
                    </a:lnTo>
                    <a:lnTo>
                      <a:pt x="183" y="151"/>
                    </a:lnTo>
                    <a:lnTo>
                      <a:pt x="174" y="151"/>
                    </a:lnTo>
                    <a:lnTo>
                      <a:pt x="164" y="156"/>
                    </a:lnTo>
                    <a:lnTo>
                      <a:pt x="160" y="156"/>
                    </a:lnTo>
                    <a:lnTo>
                      <a:pt x="155" y="156"/>
                    </a:lnTo>
                    <a:lnTo>
                      <a:pt x="151" y="160"/>
                    </a:lnTo>
                    <a:lnTo>
                      <a:pt x="151" y="160"/>
                    </a:lnTo>
                    <a:lnTo>
                      <a:pt x="146" y="165"/>
                    </a:lnTo>
                    <a:lnTo>
                      <a:pt x="142" y="165"/>
                    </a:lnTo>
                    <a:lnTo>
                      <a:pt x="137" y="169"/>
                    </a:lnTo>
                    <a:lnTo>
                      <a:pt x="132" y="174"/>
                    </a:lnTo>
                    <a:lnTo>
                      <a:pt x="128" y="174"/>
                    </a:lnTo>
                    <a:lnTo>
                      <a:pt x="128" y="174"/>
                    </a:lnTo>
                    <a:lnTo>
                      <a:pt x="128" y="179"/>
                    </a:lnTo>
                    <a:lnTo>
                      <a:pt x="128" y="183"/>
                    </a:lnTo>
                    <a:lnTo>
                      <a:pt x="123" y="192"/>
                    </a:lnTo>
                    <a:lnTo>
                      <a:pt x="119" y="201"/>
                    </a:lnTo>
                    <a:lnTo>
                      <a:pt x="114" y="201"/>
                    </a:lnTo>
                    <a:lnTo>
                      <a:pt x="114" y="206"/>
                    </a:lnTo>
                    <a:lnTo>
                      <a:pt x="110" y="211"/>
                    </a:lnTo>
                    <a:lnTo>
                      <a:pt x="105" y="215"/>
                    </a:lnTo>
                    <a:lnTo>
                      <a:pt x="105" y="215"/>
                    </a:lnTo>
                    <a:lnTo>
                      <a:pt x="105" y="220"/>
                    </a:lnTo>
                    <a:lnTo>
                      <a:pt x="96" y="220"/>
                    </a:lnTo>
                    <a:lnTo>
                      <a:pt x="82" y="220"/>
                    </a:lnTo>
                    <a:lnTo>
                      <a:pt x="78" y="220"/>
                    </a:lnTo>
                    <a:lnTo>
                      <a:pt x="73" y="220"/>
                    </a:lnTo>
                    <a:lnTo>
                      <a:pt x="64" y="220"/>
                    </a:lnTo>
                    <a:lnTo>
                      <a:pt x="64" y="220"/>
                    </a:lnTo>
                    <a:lnTo>
                      <a:pt x="59" y="220"/>
                    </a:lnTo>
                    <a:lnTo>
                      <a:pt x="50" y="220"/>
                    </a:lnTo>
                    <a:lnTo>
                      <a:pt x="41" y="220"/>
                    </a:lnTo>
                    <a:lnTo>
                      <a:pt x="41" y="220"/>
                    </a:lnTo>
                    <a:lnTo>
                      <a:pt x="36" y="220"/>
                    </a:lnTo>
                    <a:lnTo>
                      <a:pt x="27" y="220"/>
                    </a:lnTo>
                    <a:lnTo>
                      <a:pt x="0" y="224"/>
                    </a:lnTo>
                    <a:lnTo>
                      <a:pt x="0" y="215"/>
                    </a:lnTo>
                    <a:lnTo>
                      <a:pt x="0" y="215"/>
                    </a:lnTo>
                    <a:lnTo>
                      <a:pt x="14" y="215"/>
                    </a:lnTo>
                    <a:lnTo>
                      <a:pt x="23" y="215"/>
                    </a:lnTo>
                    <a:lnTo>
                      <a:pt x="32" y="211"/>
                    </a:lnTo>
                    <a:lnTo>
                      <a:pt x="36" y="206"/>
                    </a:lnTo>
                    <a:lnTo>
                      <a:pt x="41" y="201"/>
                    </a:lnTo>
                    <a:lnTo>
                      <a:pt x="46" y="197"/>
                    </a:lnTo>
                    <a:lnTo>
                      <a:pt x="68" y="174"/>
                    </a:lnTo>
                    <a:lnTo>
                      <a:pt x="68" y="174"/>
                    </a:lnTo>
                    <a:lnTo>
                      <a:pt x="73" y="169"/>
                    </a:lnTo>
                    <a:lnTo>
                      <a:pt x="78" y="165"/>
                    </a:lnTo>
                    <a:lnTo>
                      <a:pt x="78" y="165"/>
                    </a:lnTo>
                    <a:lnTo>
                      <a:pt x="82" y="160"/>
                    </a:lnTo>
                    <a:lnTo>
                      <a:pt x="87" y="156"/>
                    </a:lnTo>
                    <a:lnTo>
                      <a:pt x="87" y="151"/>
                    </a:lnTo>
                    <a:lnTo>
                      <a:pt x="91" y="142"/>
                    </a:lnTo>
                    <a:lnTo>
                      <a:pt x="100" y="137"/>
                    </a:lnTo>
                    <a:lnTo>
                      <a:pt x="105" y="128"/>
                    </a:lnTo>
                    <a:lnTo>
                      <a:pt x="110" y="128"/>
                    </a:lnTo>
                    <a:lnTo>
                      <a:pt x="114" y="124"/>
                    </a:lnTo>
                    <a:lnTo>
                      <a:pt x="119" y="119"/>
                    </a:lnTo>
                    <a:lnTo>
                      <a:pt x="123" y="119"/>
                    </a:lnTo>
                    <a:lnTo>
                      <a:pt x="123" y="115"/>
                    </a:lnTo>
                    <a:lnTo>
                      <a:pt x="132" y="105"/>
                    </a:lnTo>
                    <a:lnTo>
                      <a:pt x="146" y="87"/>
                    </a:lnTo>
                    <a:lnTo>
                      <a:pt x="151" y="87"/>
                    </a:lnTo>
                    <a:lnTo>
                      <a:pt x="151" y="87"/>
                    </a:lnTo>
                    <a:lnTo>
                      <a:pt x="151" y="83"/>
                    </a:lnTo>
                    <a:lnTo>
                      <a:pt x="155" y="83"/>
                    </a:lnTo>
                    <a:lnTo>
                      <a:pt x="155" y="78"/>
                    </a:lnTo>
                    <a:lnTo>
                      <a:pt x="155" y="78"/>
                    </a:lnTo>
                    <a:lnTo>
                      <a:pt x="164" y="73"/>
                    </a:lnTo>
                    <a:lnTo>
                      <a:pt x="169" y="73"/>
                    </a:lnTo>
                    <a:lnTo>
                      <a:pt x="169" y="69"/>
                    </a:lnTo>
                    <a:lnTo>
                      <a:pt x="174" y="69"/>
                    </a:lnTo>
                    <a:lnTo>
                      <a:pt x="178" y="64"/>
                    </a:lnTo>
                    <a:lnTo>
                      <a:pt x="192" y="60"/>
                    </a:lnTo>
                    <a:lnTo>
                      <a:pt x="201" y="55"/>
                    </a:lnTo>
                    <a:lnTo>
                      <a:pt x="206" y="55"/>
                    </a:lnTo>
                    <a:lnTo>
                      <a:pt x="210" y="51"/>
                    </a:lnTo>
                    <a:lnTo>
                      <a:pt x="219" y="46"/>
                    </a:lnTo>
                    <a:lnTo>
                      <a:pt x="228" y="41"/>
                    </a:lnTo>
                    <a:lnTo>
                      <a:pt x="228" y="41"/>
                    </a:lnTo>
                    <a:lnTo>
                      <a:pt x="233" y="41"/>
                    </a:lnTo>
                    <a:lnTo>
                      <a:pt x="251" y="41"/>
                    </a:lnTo>
                    <a:lnTo>
                      <a:pt x="256" y="41"/>
                    </a:lnTo>
                    <a:lnTo>
                      <a:pt x="256" y="41"/>
                    </a:lnTo>
                    <a:lnTo>
                      <a:pt x="265" y="37"/>
                    </a:lnTo>
                    <a:lnTo>
                      <a:pt x="270" y="37"/>
                    </a:lnTo>
                    <a:lnTo>
                      <a:pt x="279" y="37"/>
                    </a:lnTo>
                    <a:lnTo>
                      <a:pt x="283" y="37"/>
                    </a:lnTo>
                    <a:lnTo>
                      <a:pt x="302" y="37"/>
                    </a:lnTo>
                    <a:lnTo>
                      <a:pt x="311" y="37"/>
                    </a:lnTo>
                    <a:lnTo>
                      <a:pt x="311" y="37"/>
                    </a:lnTo>
                    <a:lnTo>
                      <a:pt x="320" y="37"/>
                    </a:lnTo>
                    <a:lnTo>
                      <a:pt x="324" y="37"/>
                    </a:lnTo>
                    <a:lnTo>
                      <a:pt x="329" y="37"/>
                    </a:lnTo>
                    <a:lnTo>
                      <a:pt x="334" y="37"/>
                    </a:lnTo>
                    <a:lnTo>
                      <a:pt x="338" y="32"/>
                    </a:lnTo>
                    <a:lnTo>
                      <a:pt x="356" y="23"/>
                    </a:lnTo>
                    <a:lnTo>
                      <a:pt x="361" y="23"/>
                    </a:lnTo>
                    <a:lnTo>
                      <a:pt x="370" y="19"/>
                    </a:lnTo>
                    <a:lnTo>
                      <a:pt x="375" y="19"/>
                    </a:lnTo>
                    <a:lnTo>
                      <a:pt x="379" y="19"/>
                    </a:lnTo>
                    <a:lnTo>
                      <a:pt x="384" y="14"/>
                    </a:lnTo>
                    <a:lnTo>
                      <a:pt x="388" y="14"/>
                    </a:lnTo>
                    <a:lnTo>
                      <a:pt x="402" y="9"/>
                    </a:lnTo>
                    <a:lnTo>
                      <a:pt x="407" y="9"/>
                    </a:lnTo>
                    <a:lnTo>
                      <a:pt x="411" y="5"/>
                    </a:lnTo>
                    <a:lnTo>
                      <a:pt x="416" y="5"/>
                    </a:lnTo>
                    <a:lnTo>
                      <a:pt x="420" y="5"/>
                    </a:lnTo>
                    <a:lnTo>
                      <a:pt x="434" y="5"/>
                    </a:lnTo>
                    <a:lnTo>
                      <a:pt x="443" y="5"/>
                    </a:lnTo>
                    <a:lnTo>
                      <a:pt x="457" y="5"/>
                    </a:lnTo>
                    <a:lnTo>
                      <a:pt x="466" y="5"/>
                    </a:lnTo>
                    <a:lnTo>
                      <a:pt x="475" y="5"/>
                    </a:lnTo>
                    <a:lnTo>
                      <a:pt x="480" y="5"/>
                    </a:lnTo>
                    <a:lnTo>
                      <a:pt x="489" y="5"/>
                    </a:lnTo>
                    <a:lnTo>
                      <a:pt x="498" y="5"/>
                    </a:lnTo>
                    <a:lnTo>
                      <a:pt x="503" y="5"/>
                    </a:lnTo>
                    <a:lnTo>
                      <a:pt x="507" y="0"/>
                    </a:lnTo>
                    <a:lnTo>
                      <a:pt x="526" y="0"/>
                    </a:lnTo>
                    <a:lnTo>
                      <a:pt x="530" y="0"/>
                    </a:lnTo>
                    <a:lnTo>
                      <a:pt x="544" y="0"/>
                    </a:lnTo>
                    <a:lnTo>
                      <a:pt x="544" y="0"/>
                    </a:lnTo>
                    <a:lnTo>
                      <a:pt x="548" y="0"/>
                    </a:lnTo>
                    <a:lnTo>
                      <a:pt x="558" y="0"/>
                    </a:lnTo>
                    <a:lnTo>
                      <a:pt x="558" y="0"/>
                    </a:lnTo>
                    <a:lnTo>
                      <a:pt x="562" y="0"/>
                    </a:lnTo>
                    <a:lnTo>
                      <a:pt x="567" y="0"/>
                    </a:lnTo>
                    <a:lnTo>
                      <a:pt x="585" y="0"/>
                    </a:lnTo>
                    <a:close/>
                  </a:path>
                </a:pathLst>
              </a:custGeom>
              <a:grpFill/>
              <a:ln w="9525" cmpd="sng">
                <a:solidFill>
                  <a:srgbClr val="FFFFFF"/>
                </a:solidFill>
                <a:miter lim="800000"/>
                <a:headEnd/>
                <a:tailEnd/>
              </a:ln>
              <a:effectLst/>
            </p:spPr>
            <p:txBody>
              <a:bodyPr lIns="45720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Yobe</a:t>
                </a:r>
              </a:p>
            </p:txBody>
          </p:sp>
          <p:sp>
            <p:nvSpPr>
              <p:cNvPr id="219" name="Freeform 42">
                <a:extLst>
                  <a:ext uri="{FF2B5EF4-FFF2-40B4-BE49-F238E27FC236}">
                    <a16:creationId xmlns:a16="http://schemas.microsoft.com/office/drawing/2014/main" id="{0824B882-EEEE-41BC-96DC-01CE54192D61}"/>
                  </a:ext>
                </a:extLst>
              </p:cNvPr>
              <p:cNvSpPr>
                <a:spLocks/>
              </p:cNvSpPr>
              <p:nvPr>
                <p:custDataLst>
                  <p:tags r:id="rId36"/>
                </p:custDataLst>
              </p:nvPr>
            </p:nvSpPr>
            <p:spPr bwMode="auto">
              <a:xfrm>
                <a:off x="1072938" y="2131398"/>
                <a:ext cx="1402995" cy="1045831"/>
              </a:xfrm>
              <a:custGeom>
                <a:avLst/>
                <a:gdLst/>
                <a:ahLst/>
                <a:cxnLst>
                  <a:cxn ang="0">
                    <a:pos x="124" y="526"/>
                  </a:cxn>
                  <a:cxn ang="0">
                    <a:pos x="87" y="539"/>
                  </a:cxn>
                  <a:cxn ang="0">
                    <a:pos x="46" y="562"/>
                  </a:cxn>
                  <a:cxn ang="0">
                    <a:pos x="28" y="576"/>
                  </a:cxn>
                  <a:cxn ang="0">
                    <a:pos x="14" y="503"/>
                  </a:cxn>
                  <a:cxn ang="0">
                    <a:pos x="46" y="402"/>
                  </a:cxn>
                  <a:cxn ang="0">
                    <a:pos x="114" y="361"/>
                  </a:cxn>
                  <a:cxn ang="0">
                    <a:pos x="220" y="325"/>
                  </a:cxn>
                  <a:cxn ang="0">
                    <a:pos x="316" y="306"/>
                  </a:cxn>
                  <a:cxn ang="0">
                    <a:pos x="402" y="283"/>
                  </a:cxn>
                  <a:cxn ang="0">
                    <a:pos x="421" y="174"/>
                  </a:cxn>
                  <a:cxn ang="0">
                    <a:pos x="530" y="119"/>
                  </a:cxn>
                  <a:cxn ang="0">
                    <a:pos x="613" y="73"/>
                  </a:cxn>
                  <a:cxn ang="0">
                    <a:pos x="887" y="5"/>
                  </a:cxn>
                  <a:cxn ang="0">
                    <a:pos x="937" y="37"/>
                  </a:cxn>
                  <a:cxn ang="0">
                    <a:pos x="978" y="82"/>
                  </a:cxn>
                  <a:cxn ang="0">
                    <a:pos x="978" y="174"/>
                  </a:cxn>
                  <a:cxn ang="0">
                    <a:pos x="988" y="238"/>
                  </a:cxn>
                  <a:cxn ang="0">
                    <a:pos x="997" y="283"/>
                  </a:cxn>
                  <a:cxn ang="0">
                    <a:pos x="1010" y="329"/>
                  </a:cxn>
                  <a:cxn ang="0">
                    <a:pos x="1020" y="370"/>
                  </a:cxn>
                  <a:cxn ang="0">
                    <a:pos x="1006" y="398"/>
                  </a:cxn>
                  <a:cxn ang="0">
                    <a:pos x="1024" y="421"/>
                  </a:cxn>
                  <a:cxn ang="0">
                    <a:pos x="1052" y="453"/>
                  </a:cxn>
                  <a:cxn ang="0">
                    <a:pos x="1015" y="466"/>
                  </a:cxn>
                  <a:cxn ang="0">
                    <a:pos x="988" y="498"/>
                  </a:cxn>
                  <a:cxn ang="0">
                    <a:pos x="937" y="498"/>
                  </a:cxn>
                  <a:cxn ang="0">
                    <a:pos x="924" y="517"/>
                  </a:cxn>
                  <a:cxn ang="0">
                    <a:pos x="914" y="549"/>
                  </a:cxn>
                  <a:cxn ang="0">
                    <a:pos x="919" y="585"/>
                  </a:cxn>
                  <a:cxn ang="0">
                    <a:pos x="924" y="622"/>
                  </a:cxn>
                  <a:cxn ang="0">
                    <a:pos x="924" y="658"/>
                  </a:cxn>
                  <a:cxn ang="0">
                    <a:pos x="896" y="681"/>
                  </a:cxn>
                  <a:cxn ang="0">
                    <a:pos x="864" y="718"/>
                  </a:cxn>
                  <a:cxn ang="0">
                    <a:pos x="855" y="754"/>
                  </a:cxn>
                  <a:cxn ang="0">
                    <a:pos x="828" y="777"/>
                  </a:cxn>
                  <a:cxn ang="0">
                    <a:pos x="764" y="786"/>
                  </a:cxn>
                  <a:cxn ang="0">
                    <a:pos x="704" y="795"/>
                  </a:cxn>
                  <a:cxn ang="0">
                    <a:pos x="677" y="823"/>
                  </a:cxn>
                  <a:cxn ang="0">
                    <a:pos x="649" y="846"/>
                  </a:cxn>
                  <a:cxn ang="0">
                    <a:pos x="631" y="809"/>
                  </a:cxn>
                  <a:cxn ang="0">
                    <a:pos x="608" y="773"/>
                  </a:cxn>
                  <a:cxn ang="0">
                    <a:pos x="594" y="722"/>
                  </a:cxn>
                  <a:cxn ang="0">
                    <a:pos x="581" y="677"/>
                  </a:cxn>
                  <a:cxn ang="0">
                    <a:pos x="567" y="654"/>
                  </a:cxn>
                  <a:cxn ang="0">
                    <a:pos x="530" y="635"/>
                  </a:cxn>
                  <a:cxn ang="0">
                    <a:pos x="544" y="571"/>
                  </a:cxn>
                  <a:cxn ang="0">
                    <a:pos x="512" y="549"/>
                  </a:cxn>
                  <a:cxn ang="0">
                    <a:pos x="485" y="549"/>
                  </a:cxn>
                  <a:cxn ang="0">
                    <a:pos x="453" y="553"/>
                  </a:cxn>
                  <a:cxn ang="0">
                    <a:pos x="425" y="549"/>
                  </a:cxn>
                  <a:cxn ang="0">
                    <a:pos x="393" y="558"/>
                  </a:cxn>
                  <a:cxn ang="0">
                    <a:pos x="375" y="535"/>
                  </a:cxn>
                  <a:cxn ang="0">
                    <a:pos x="348" y="526"/>
                  </a:cxn>
                  <a:cxn ang="0">
                    <a:pos x="316" y="512"/>
                  </a:cxn>
                  <a:cxn ang="0">
                    <a:pos x="284" y="507"/>
                  </a:cxn>
                  <a:cxn ang="0">
                    <a:pos x="265" y="526"/>
                  </a:cxn>
                  <a:cxn ang="0">
                    <a:pos x="229" y="535"/>
                  </a:cxn>
                  <a:cxn ang="0">
                    <a:pos x="188" y="526"/>
                  </a:cxn>
                  <a:cxn ang="0">
                    <a:pos x="165" y="521"/>
                  </a:cxn>
                </a:cxnLst>
                <a:rect l="0" t="0" r="r" b="b"/>
                <a:pathLst>
                  <a:path w="1052" h="846">
                    <a:moveTo>
                      <a:pt x="160" y="521"/>
                    </a:moveTo>
                    <a:lnTo>
                      <a:pt x="156" y="521"/>
                    </a:lnTo>
                    <a:lnTo>
                      <a:pt x="156" y="521"/>
                    </a:lnTo>
                    <a:lnTo>
                      <a:pt x="151" y="512"/>
                    </a:lnTo>
                    <a:lnTo>
                      <a:pt x="146" y="512"/>
                    </a:lnTo>
                    <a:lnTo>
                      <a:pt x="137" y="517"/>
                    </a:lnTo>
                    <a:lnTo>
                      <a:pt x="133" y="521"/>
                    </a:lnTo>
                    <a:lnTo>
                      <a:pt x="128" y="521"/>
                    </a:lnTo>
                    <a:lnTo>
                      <a:pt x="124" y="526"/>
                    </a:lnTo>
                    <a:lnTo>
                      <a:pt x="119" y="526"/>
                    </a:lnTo>
                    <a:lnTo>
                      <a:pt x="114" y="526"/>
                    </a:lnTo>
                    <a:lnTo>
                      <a:pt x="110" y="530"/>
                    </a:lnTo>
                    <a:lnTo>
                      <a:pt x="110" y="530"/>
                    </a:lnTo>
                    <a:lnTo>
                      <a:pt x="110" y="535"/>
                    </a:lnTo>
                    <a:lnTo>
                      <a:pt x="105" y="535"/>
                    </a:lnTo>
                    <a:lnTo>
                      <a:pt x="96" y="535"/>
                    </a:lnTo>
                    <a:lnTo>
                      <a:pt x="92" y="535"/>
                    </a:lnTo>
                    <a:lnTo>
                      <a:pt x="87" y="539"/>
                    </a:lnTo>
                    <a:lnTo>
                      <a:pt x="82" y="539"/>
                    </a:lnTo>
                    <a:lnTo>
                      <a:pt x="78" y="544"/>
                    </a:lnTo>
                    <a:lnTo>
                      <a:pt x="73" y="544"/>
                    </a:lnTo>
                    <a:lnTo>
                      <a:pt x="64" y="549"/>
                    </a:lnTo>
                    <a:lnTo>
                      <a:pt x="64" y="549"/>
                    </a:lnTo>
                    <a:lnTo>
                      <a:pt x="60" y="549"/>
                    </a:lnTo>
                    <a:lnTo>
                      <a:pt x="55" y="553"/>
                    </a:lnTo>
                    <a:lnTo>
                      <a:pt x="50" y="558"/>
                    </a:lnTo>
                    <a:lnTo>
                      <a:pt x="46" y="562"/>
                    </a:lnTo>
                    <a:lnTo>
                      <a:pt x="46" y="567"/>
                    </a:lnTo>
                    <a:lnTo>
                      <a:pt x="46" y="567"/>
                    </a:lnTo>
                    <a:lnTo>
                      <a:pt x="46" y="571"/>
                    </a:lnTo>
                    <a:lnTo>
                      <a:pt x="41" y="571"/>
                    </a:lnTo>
                    <a:lnTo>
                      <a:pt x="41" y="576"/>
                    </a:lnTo>
                    <a:lnTo>
                      <a:pt x="37" y="576"/>
                    </a:lnTo>
                    <a:lnTo>
                      <a:pt x="37" y="581"/>
                    </a:lnTo>
                    <a:lnTo>
                      <a:pt x="32" y="576"/>
                    </a:lnTo>
                    <a:lnTo>
                      <a:pt x="28" y="576"/>
                    </a:lnTo>
                    <a:lnTo>
                      <a:pt x="23" y="576"/>
                    </a:lnTo>
                    <a:lnTo>
                      <a:pt x="18" y="571"/>
                    </a:lnTo>
                    <a:lnTo>
                      <a:pt x="5" y="567"/>
                    </a:lnTo>
                    <a:lnTo>
                      <a:pt x="0" y="562"/>
                    </a:lnTo>
                    <a:lnTo>
                      <a:pt x="0" y="549"/>
                    </a:lnTo>
                    <a:lnTo>
                      <a:pt x="0" y="535"/>
                    </a:lnTo>
                    <a:lnTo>
                      <a:pt x="5" y="530"/>
                    </a:lnTo>
                    <a:lnTo>
                      <a:pt x="9" y="521"/>
                    </a:lnTo>
                    <a:lnTo>
                      <a:pt x="14" y="503"/>
                    </a:lnTo>
                    <a:lnTo>
                      <a:pt x="18" y="480"/>
                    </a:lnTo>
                    <a:lnTo>
                      <a:pt x="23" y="457"/>
                    </a:lnTo>
                    <a:lnTo>
                      <a:pt x="28" y="443"/>
                    </a:lnTo>
                    <a:lnTo>
                      <a:pt x="37" y="425"/>
                    </a:lnTo>
                    <a:lnTo>
                      <a:pt x="37" y="407"/>
                    </a:lnTo>
                    <a:lnTo>
                      <a:pt x="37" y="402"/>
                    </a:lnTo>
                    <a:lnTo>
                      <a:pt x="41" y="402"/>
                    </a:lnTo>
                    <a:lnTo>
                      <a:pt x="46" y="402"/>
                    </a:lnTo>
                    <a:lnTo>
                      <a:pt x="46" y="402"/>
                    </a:lnTo>
                    <a:lnTo>
                      <a:pt x="55" y="402"/>
                    </a:lnTo>
                    <a:lnTo>
                      <a:pt x="60" y="398"/>
                    </a:lnTo>
                    <a:lnTo>
                      <a:pt x="64" y="393"/>
                    </a:lnTo>
                    <a:lnTo>
                      <a:pt x="64" y="393"/>
                    </a:lnTo>
                    <a:lnTo>
                      <a:pt x="78" y="393"/>
                    </a:lnTo>
                    <a:lnTo>
                      <a:pt x="87" y="389"/>
                    </a:lnTo>
                    <a:lnTo>
                      <a:pt x="96" y="379"/>
                    </a:lnTo>
                    <a:lnTo>
                      <a:pt x="110" y="370"/>
                    </a:lnTo>
                    <a:lnTo>
                      <a:pt x="114" y="361"/>
                    </a:lnTo>
                    <a:lnTo>
                      <a:pt x="128" y="347"/>
                    </a:lnTo>
                    <a:lnTo>
                      <a:pt x="137" y="343"/>
                    </a:lnTo>
                    <a:lnTo>
                      <a:pt x="151" y="334"/>
                    </a:lnTo>
                    <a:lnTo>
                      <a:pt x="165" y="329"/>
                    </a:lnTo>
                    <a:lnTo>
                      <a:pt x="174" y="329"/>
                    </a:lnTo>
                    <a:lnTo>
                      <a:pt x="188" y="329"/>
                    </a:lnTo>
                    <a:lnTo>
                      <a:pt x="197" y="329"/>
                    </a:lnTo>
                    <a:lnTo>
                      <a:pt x="210" y="325"/>
                    </a:lnTo>
                    <a:lnTo>
                      <a:pt x="220" y="325"/>
                    </a:lnTo>
                    <a:lnTo>
                      <a:pt x="229" y="315"/>
                    </a:lnTo>
                    <a:lnTo>
                      <a:pt x="238" y="311"/>
                    </a:lnTo>
                    <a:lnTo>
                      <a:pt x="242" y="311"/>
                    </a:lnTo>
                    <a:lnTo>
                      <a:pt x="256" y="311"/>
                    </a:lnTo>
                    <a:lnTo>
                      <a:pt x="270" y="311"/>
                    </a:lnTo>
                    <a:lnTo>
                      <a:pt x="284" y="311"/>
                    </a:lnTo>
                    <a:lnTo>
                      <a:pt x="302" y="306"/>
                    </a:lnTo>
                    <a:lnTo>
                      <a:pt x="306" y="306"/>
                    </a:lnTo>
                    <a:lnTo>
                      <a:pt x="316" y="306"/>
                    </a:lnTo>
                    <a:lnTo>
                      <a:pt x="329" y="306"/>
                    </a:lnTo>
                    <a:lnTo>
                      <a:pt x="338" y="306"/>
                    </a:lnTo>
                    <a:lnTo>
                      <a:pt x="357" y="306"/>
                    </a:lnTo>
                    <a:lnTo>
                      <a:pt x="375" y="306"/>
                    </a:lnTo>
                    <a:lnTo>
                      <a:pt x="389" y="306"/>
                    </a:lnTo>
                    <a:lnTo>
                      <a:pt x="393" y="302"/>
                    </a:lnTo>
                    <a:lnTo>
                      <a:pt x="402" y="293"/>
                    </a:lnTo>
                    <a:lnTo>
                      <a:pt x="402" y="288"/>
                    </a:lnTo>
                    <a:lnTo>
                      <a:pt x="402" y="283"/>
                    </a:lnTo>
                    <a:lnTo>
                      <a:pt x="398" y="270"/>
                    </a:lnTo>
                    <a:lnTo>
                      <a:pt x="398" y="247"/>
                    </a:lnTo>
                    <a:lnTo>
                      <a:pt x="393" y="233"/>
                    </a:lnTo>
                    <a:lnTo>
                      <a:pt x="384" y="219"/>
                    </a:lnTo>
                    <a:lnTo>
                      <a:pt x="384" y="210"/>
                    </a:lnTo>
                    <a:lnTo>
                      <a:pt x="389" y="197"/>
                    </a:lnTo>
                    <a:lnTo>
                      <a:pt x="398" y="192"/>
                    </a:lnTo>
                    <a:lnTo>
                      <a:pt x="412" y="183"/>
                    </a:lnTo>
                    <a:lnTo>
                      <a:pt x="421" y="174"/>
                    </a:lnTo>
                    <a:lnTo>
                      <a:pt x="439" y="155"/>
                    </a:lnTo>
                    <a:lnTo>
                      <a:pt x="453" y="151"/>
                    </a:lnTo>
                    <a:lnTo>
                      <a:pt x="466" y="142"/>
                    </a:lnTo>
                    <a:lnTo>
                      <a:pt x="480" y="137"/>
                    </a:lnTo>
                    <a:lnTo>
                      <a:pt x="485" y="137"/>
                    </a:lnTo>
                    <a:lnTo>
                      <a:pt x="489" y="133"/>
                    </a:lnTo>
                    <a:lnTo>
                      <a:pt x="503" y="128"/>
                    </a:lnTo>
                    <a:lnTo>
                      <a:pt x="521" y="119"/>
                    </a:lnTo>
                    <a:lnTo>
                      <a:pt x="530" y="119"/>
                    </a:lnTo>
                    <a:lnTo>
                      <a:pt x="549" y="119"/>
                    </a:lnTo>
                    <a:lnTo>
                      <a:pt x="558" y="110"/>
                    </a:lnTo>
                    <a:lnTo>
                      <a:pt x="572" y="110"/>
                    </a:lnTo>
                    <a:lnTo>
                      <a:pt x="590" y="105"/>
                    </a:lnTo>
                    <a:lnTo>
                      <a:pt x="594" y="105"/>
                    </a:lnTo>
                    <a:lnTo>
                      <a:pt x="599" y="96"/>
                    </a:lnTo>
                    <a:lnTo>
                      <a:pt x="608" y="87"/>
                    </a:lnTo>
                    <a:lnTo>
                      <a:pt x="613" y="87"/>
                    </a:lnTo>
                    <a:lnTo>
                      <a:pt x="613" y="73"/>
                    </a:lnTo>
                    <a:lnTo>
                      <a:pt x="617" y="59"/>
                    </a:lnTo>
                    <a:lnTo>
                      <a:pt x="631" y="41"/>
                    </a:lnTo>
                    <a:lnTo>
                      <a:pt x="636" y="37"/>
                    </a:lnTo>
                    <a:lnTo>
                      <a:pt x="636" y="32"/>
                    </a:lnTo>
                    <a:lnTo>
                      <a:pt x="636" y="32"/>
                    </a:lnTo>
                    <a:lnTo>
                      <a:pt x="658" y="27"/>
                    </a:lnTo>
                    <a:lnTo>
                      <a:pt x="718" y="18"/>
                    </a:lnTo>
                    <a:lnTo>
                      <a:pt x="800" y="14"/>
                    </a:lnTo>
                    <a:lnTo>
                      <a:pt x="887" y="5"/>
                    </a:lnTo>
                    <a:lnTo>
                      <a:pt x="896" y="0"/>
                    </a:lnTo>
                    <a:lnTo>
                      <a:pt x="896" y="0"/>
                    </a:lnTo>
                    <a:lnTo>
                      <a:pt x="914" y="18"/>
                    </a:lnTo>
                    <a:lnTo>
                      <a:pt x="914" y="18"/>
                    </a:lnTo>
                    <a:lnTo>
                      <a:pt x="919" y="23"/>
                    </a:lnTo>
                    <a:lnTo>
                      <a:pt x="924" y="32"/>
                    </a:lnTo>
                    <a:lnTo>
                      <a:pt x="928" y="37"/>
                    </a:lnTo>
                    <a:lnTo>
                      <a:pt x="928" y="37"/>
                    </a:lnTo>
                    <a:lnTo>
                      <a:pt x="937" y="37"/>
                    </a:lnTo>
                    <a:lnTo>
                      <a:pt x="956" y="37"/>
                    </a:lnTo>
                    <a:lnTo>
                      <a:pt x="960" y="37"/>
                    </a:lnTo>
                    <a:lnTo>
                      <a:pt x="969" y="32"/>
                    </a:lnTo>
                    <a:lnTo>
                      <a:pt x="974" y="32"/>
                    </a:lnTo>
                    <a:lnTo>
                      <a:pt x="978" y="32"/>
                    </a:lnTo>
                    <a:lnTo>
                      <a:pt x="983" y="32"/>
                    </a:lnTo>
                    <a:lnTo>
                      <a:pt x="978" y="50"/>
                    </a:lnTo>
                    <a:lnTo>
                      <a:pt x="978" y="69"/>
                    </a:lnTo>
                    <a:lnTo>
                      <a:pt x="978" y="82"/>
                    </a:lnTo>
                    <a:lnTo>
                      <a:pt x="978" y="91"/>
                    </a:lnTo>
                    <a:lnTo>
                      <a:pt x="978" y="101"/>
                    </a:lnTo>
                    <a:lnTo>
                      <a:pt x="974" y="110"/>
                    </a:lnTo>
                    <a:lnTo>
                      <a:pt x="974" y="119"/>
                    </a:lnTo>
                    <a:lnTo>
                      <a:pt x="974" y="151"/>
                    </a:lnTo>
                    <a:lnTo>
                      <a:pt x="974" y="151"/>
                    </a:lnTo>
                    <a:lnTo>
                      <a:pt x="974" y="155"/>
                    </a:lnTo>
                    <a:lnTo>
                      <a:pt x="978" y="165"/>
                    </a:lnTo>
                    <a:lnTo>
                      <a:pt x="978" y="174"/>
                    </a:lnTo>
                    <a:lnTo>
                      <a:pt x="978" y="174"/>
                    </a:lnTo>
                    <a:lnTo>
                      <a:pt x="978" y="183"/>
                    </a:lnTo>
                    <a:lnTo>
                      <a:pt x="983" y="187"/>
                    </a:lnTo>
                    <a:lnTo>
                      <a:pt x="983" y="210"/>
                    </a:lnTo>
                    <a:lnTo>
                      <a:pt x="983" y="215"/>
                    </a:lnTo>
                    <a:lnTo>
                      <a:pt x="983" y="219"/>
                    </a:lnTo>
                    <a:lnTo>
                      <a:pt x="988" y="224"/>
                    </a:lnTo>
                    <a:lnTo>
                      <a:pt x="988" y="229"/>
                    </a:lnTo>
                    <a:lnTo>
                      <a:pt x="988" y="238"/>
                    </a:lnTo>
                    <a:lnTo>
                      <a:pt x="988" y="251"/>
                    </a:lnTo>
                    <a:lnTo>
                      <a:pt x="988" y="261"/>
                    </a:lnTo>
                    <a:lnTo>
                      <a:pt x="988" y="261"/>
                    </a:lnTo>
                    <a:lnTo>
                      <a:pt x="988" y="265"/>
                    </a:lnTo>
                    <a:lnTo>
                      <a:pt x="992" y="265"/>
                    </a:lnTo>
                    <a:lnTo>
                      <a:pt x="992" y="270"/>
                    </a:lnTo>
                    <a:lnTo>
                      <a:pt x="992" y="274"/>
                    </a:lnTo>
                    <a:lnTo>
                      <a:pt x="992" y="279"/>
                    </a:lnTo>
                    <a:lnTo>
                      <a:pt x="997" y="283"/>
                    </a:lnTo>
                    <a:lnTo>
                      <a:pt x="997" y="288"/>
                    </a:lnTo>
                    <a:lnTo>
                      <a:pt x="1001" y="288"/>
                    </a:lnTo>
                    <a:lnTo>
                      <a:pt x="1001" y="293"/>
                    </a:lnTo>
                    <a:lnTo>
                      <a:pt x="1001" y="297"/>
                    </a:lnTo>
                    <a:lnTo>
                      <a:pt x="1006" y="306"/>
                    </a:lnTo>
                    <a:lnTo>
                      <a:pt x="1006" y="315"/>
                    </a:lnTo>
                    <a:lnTo>
                      <a:pt x="1010" y="320"/>
                    </a:lnTo>
                    <a:lnTo>
                      <a:pt x="1010" y="325"/>
                    </a:lnTo>
                    <a:lnTo>
                      <a:pt x="1010" y="329"/>
                    </a:lnTo>
                    <a:lnTo>
                      <a:pt x="1010" y="329"/>
                    </a:lnTo>
                    <a:lnTo>
                      <a:pt x="1010" y="334"/>
                    </a:lnTo>
                    <a:lnTo>
                      <a:pt x="1015" y="338"/>
                    </a:lnTo>
                    <a:lnTo>
                      <a:pt x="1015" y="347"/>
                    </a:lnTo>
                    <a:lnTo>
                      <a:pt x="1020" y="347"/>
                    </a:lnTo>
                    <a:lnTo>
                      <a:pt x="1020" y="357"/>
                    </a:lnTo>
                    <a:lnTo>
                      <a:pt x="1020" y="361"/>
                    </a:lnTo>
                    <a:lnTo>
                      <a:pt x="1020" y="370"/>
                    </a:lnTo>
                    <a:lnTo>
                      <a:pt x="1020" y="370"/>
                    </a:lnTo>
                    <a:lnTo>
                      <a:pt x="1015" y="375"/>
                    </a:lnTo>
                    <a:lnTo>
                      <a:pt x="1015" y="379"/>
                    </a:lnTo>
                    <a:lnTo>
                      <a:pt x="1015" y="384"/>
                    </a:lnTo>
                    <a:lnTo>
                      <a:pt x="1010" y="384"/>
                    </a:lnTo>
                    <a:lnTo>
                      <a:pt x="1010" y="389"/>
                    </a:lnTo>
                    <a:lnTo>
                      <a:pt x="1010" y="389"/>
                    </a:lnTo>
                    <a:lnTo>
                      <a:pt x="1010" y="393"/>
                    </a:lnTo>
                    <a:lnTo>
                      <a:pt x="1006" y="393"/>
                    </a:lnTo>
                    <a:lnTo>
                      <a:pt x="1006" y="398"/>
                    </a:lnTo>
                    <a:lnTo>
                      <a:pt x="1001" y="402"/>
                    </a:lnTo>
                    <a:lnTo>
                      <a:pt x="1001" y="407"/>
                    </a:lnTo>
                    <a:lnTo>
                      <a:pt x="1006" y="411"/>
                    </a:lnTo>
                    <a:lnTo>
                      <a:pt x="1010" y="411"/>
                    </a:lnTo>
                    <a:lnTo>
                      <a:pt x="1010" y="416"/>
                    </a:lnTo>
                    <a:lnTo>
                      <a:pt x="1010" y="416"/>
                    </a:lnTo>
                    <a:lnTo>
                      <a:pt x="1020" y="416"/>
                    </a:lnTo>
                    <a:lnTo>
                      <a:pt x="1024" y="416"/>
                    </a:lnTo>
                    <a:lnTo>
                      <a:pt x="1024" y="421"/>
                    </a:lnTo>
                    <a:lnTo>
                      <a:pt x="1029" y="421"/>
                    </a:lnTo>
                    <a:lnTo>
                      <a:pt x="1029" y="425"/>
                    </a:lnTo>
                    <a:lnTo>
                      <a:pt x="1033" y="425"/>
                    </a:lnTo>
                    <a:lnTo>
                      <a:pt x="1038" y="434"/>
                    </a:lnTo>
                    <a:lnTo>
                      <a:pt x="1042" y="439"/>
                    </a:lnTo>
                    <a:lnTo>
                      <a:pt x="1047" y="439"/>
                    </a:lnTo>
                    <a:lnTo>
                      <a:pt x="1052" y="443"/>
                    </a:lnTo>
                    <a:lnTo>
                      <a:pt x="1052" y="448"/>
                    </a:lnTo>
                    <a:lnTo>
                      <a:pt x="1052" y="453"/>
                    </a:lnTo>
                    <a:lnTo>
                      <a:pt x="1047" y="457"/>
                    </a:lnTo>
                    <a:lnTo>
                      <a:pt x="1042" y="457"/>
                    </a:lnTo>
                    <a:lnTo>
                      <a:pt x="1038" y="457"/>
                    </a:lnTo>
                    <a:lnTo>
                      <a:pt x="1038" y="462"/>
                    </a:lnTo>
                    <a:lnTo>
                      <a:pt x="1033" y="457"/>
                    </a:lnTo>
                    <a:lnTo>
                      <a:pt x="1029" y="457"/>
                    </a:lnTo>
                    <a:lnTo>
                      <a:pt x="1020" y="457"/>
                    </a:lnTo>
                    <a:lnTo>
                      <a:pt x="1015" y="462"/>
                    </a:lnTo>
                    <a:lnTo>
                      <a:pt x="1015" y="466"/>
                    </a:lnTo>
                    <a:lnTo>
                      <a:pt x="1010" y="471"/>
                    </a:lnTo>
                    <a:lnTo>
                      <a:pt x="1010" y="475"/>
                    </a:lnTo>
                    <a:lnTo>
                      <a:pt x="1010" y="480"/>
                    </a:lnTo>
                    <a:lnTo>
                      <a:pt x="1010" y="480"/>
                    </a:lnTo>
                    <a:lnTo>
                      <a:pt x="1006" y="480"/>
                    </a:lnTo>
                    <a:lnTo>
                      <a:pt x="1001" y="485"/>
                    </a:lnTo>
                    <a:lnTo>
                      <a:pt x="992" y="494"/>
                    </a:lnTo>
                    <a:lnTo>
                      <a:pt x="988" y="498"/>
                    </a:lnTo>
                    <a:lnTo>
                      <a:pt x="988" y="498"/>
                    </a:lnTo>
                    <a:lnTo>
                      <a:pt x="988" y="503"/>
                    </a:lnTo>
                    <a:lnTo>
                      <a:pt x="983" y="503"/>
                    </a:lnTo>
                    <a:lnTo>
                      <a:pt x="978" y="503"/>
                    </a:lnTo>
                    <a:lnTo>
                      <a:pt x="974" y="503"/>
                    </a:lnTo>
                    <a:lnTo>
                      <a:pt x="965" y="494"/>
                    </a:lnTo>
                    <a:lnTo>
                      <a:pt x="960" y="494"/>
                    </a:lnTo>
                    <a:lnTo>
                      <a:pt x="951" y="494"/>
                    </a:lnTo>
                    <a:lnTo>
                      <a:pt x="946" y="494"/>
                    </a:lnTo>
                    <a:lnTo>
                      <a:pt x="937" y="498"/>
                    </a:lnTo>
                    <a:lnTo>
                      <a:pt x="933" y="498"/>
                    </a:lnTo>
                    <a:lnTo>
                      <a:pt x="933" y="503"/>
                    </a:lnTo>
                    <a:lnTo>
                      <a:pt x="928" y="503"/>
                    </a:lnTo>
                    <a:lnTo>
                      <a:pt x="928" y="503"/>
                    </a:lnTo>
                    <a:lnTo>
                      <a:pt x="924" y="503"/>
                    </a:lnTo>
                    <a:lnTo>
                      <a:pt x="924" y="507"/>
                    </a:lnTo>
                    <a:lnTo>
                      <a:pt x="924" y="512"/>
                    </a:lnTo>
                    <a:lnTo>
                      <a:pt x="924" y="512"/>
                    </a:lnTo>
                    <a:lnTo>
                      <a:pt x="924" y="517"/>
                    </a:lnTo>
                    <a:lnTo>
                      <a:pt x="924" y="526"/>
                    </a:lnTo>
                    <a:lnTo>
                      <a:pt x="924" y="526"/>
                    </a:lnTo>
                    <a:lnTo>
                      <a:pt x="919" y="526"/>
                    </a:lnTo>
                    <a:lnTo>
                      <a:pt x="919" y="530"/>
                    </a:lnTo>
                    <a:lnTo>
                      <a:pt x="919" y="535"/>
                    </a:lnTo>
                    <a:lnTo>
                      <a:pt x="919" y="539"/>
                    </a:lnTo>
                    <a:lnTo>
                      <a:pt x="919" y="544"/>
                    </a:lnTo>
                    <a:lnTo>
                      <a:pt x="914" y="549"/>
                    </a:lnTo>
                    <a:lnTo>
                      <a:pt x="914" y="549"/>
                    </a:lnTo>
                    <a:lnTo>
                      <a:pt x="914" y="553"/>
                    </a:lnTo>
                    <a:lnTo>
                      <a:pt x="910" y="558"/>
                    </a:lnTo>
                    <a:lnTo>
                      <a:pt x="910" y="562"/>
                    </a:lnTo>
                    <a:lnTo>
                      <a:pt x="910" y="567"/>
                    </a:lnTo>
                    <a:lnTo>
                      <a:pt x="910" y="567"/>
                    </a:lnTo>
                    <a:lnTo>
                      <a:pt x="910" y="571"/>
                    </a:lnTo>
                    <a:lnTo>
                      <a:pt x="914" y="576"/>
                    </a:lnTo>
                    <a:lnTo>
                      <a:pt x="914" y="581"/>
                    </a:lnTo>
                    <a:lnTo>
                      <a:pt x="919" y="585"/>
                    </a:lnTo>
                    <a:lnTo>
                      <a:pt x="919" y="590"/>
                    </a:lnTo>
                    <a:lnTo>
                      <a:pt x="924" y="590"/>
                    </a:lnTo>
                    <a:lnTo>
                      <a:pt x="924" y="594"/>
                    </a:lnTo>
                    <a:lnTo>
                      <a:pt x="924" y="594"/>
                    </a:lnTo>
                    <a:lnTo>
                      <a:pt x="928" y="603"/>
                    </a:lnTo>
                    <a:lnTo>
                      <a:pt x="928" y="613"/>
                    </a:lnTo>
                    <a:lnTo>
                      <a:pt x="928" y="613"/>
                    </a:lnTo>
                    <a:lnTo>
                      <a:pt x="924" y="617"/>
                    </a:lnTo>
                    <a:lnTo>
                      <a:pt x="924" y="622"/>
                    </a:lnTo>
                    <a:lnTo>
                      <a:pt x="924" y="626"/>
                    </a:lnTo>
                    <a:lnTo>
                      <a:pt x="924" y="626"/>
                    </a:lnTo>
                    <a:lnTo>
                      <a:pt x="924" y="631"/>
                    </a:lnTo>
                    <a:lnTo>
                      <a:pt x="924" y="635"/>
                    </a:lnTo>
                    <a:lnTo>
                      <a:pt x="919" y="635"/>
                    </a:lnTo>
                    <a:lnTo>
                      <a:pt x="919" y="640"/>
                    </a:lnTo>
                    <a:lnTo>
                      <a:pt x="919" y="649"/>
                    </a:lnTo>
                    <a:lnTo>
                      <a:pt x="919" y="654"/>
                    </a:lnTo>
                    <a:lnTo>
                      <a:pt x="924" y="658"/>
                    </a:lnTo>
                    <a:lnTo>
                      <a:pt x="924" y="658"/>
                    </a:lnTo>
                    <a:lnTo>
                      <a:pt x="919" y="663"/>
                    </a:lnTo>
                    <a:lnTo>
                      <a:pt x="914" y="667"/>
                    </a:lnTo>
                    <a:lnTo>
                      <a:pt x="910" y="667"/>
                    </a:lnTo>
                    <a:lnTo>
                      <a:pt x="905" y="677"/>
                    </a:lnTo>
                    <a:lnTo>
                      <a:pt x="901" y="677"/>
                    </a:lnTo>
                    <a:lnTo>
                      <a:pt x="901" y="677"/>
                    </a:lnTo>
                    <a:lnTo>
                      <a:pt x="901" y="681"/>
                    </a:lnTo>
                    <a:lnTo>
                      <a:pt x="896" y="681"/>
                    </a:lnTo>
                    <a:lnTo>
                      <a:pt x="896" y="686"/>
                    </a:lnTo>
                    <a:lnTo>
                      <a:pt x="892" y="686"/>
                    </a:lnTo>
                    <a:lnTo>
                      <a:pt x="887" y="690"/>
                    </a:lnTo>
                    <a:lnTo>
                      <a:pt x="882" y="690"/>
                    </a:lnTo>
                    <a:lnTo>
                      <a:pt x="878" y="695"/>
                    </a:lnTo>
                    <a:lnTo>
                      <a:pt x="878" y="695"/>
                    </a:lnTo>
                    <a:lnTo>
                      <a:pt x="873" y="699"/>
                    </a:lnTo>
                    <a:lnTo>
                      <a:pt x="869" y="704"/>
                    </a:lnTo>
                    <a:lnTo>
                      <a:pt x="864" y="718"/>
                    </a:lnTo>
                    <a:lnTo>
                      <a:pt x="864" y="722"/>
                    </a:lnTo>
                    <a:lnTo>
                      <a:pt x="864" y="727"/>
                    </a:lnTo>
                    <a:lnTo>
                      <a:pt x="864" y="731"/>
                    </a:lnTo>
                    <a:lnTo>
                      <a:pt x="864" y="736"/>
                    </a:lnTo>
                    <a:lnTo>
                      <a:pt x="860" y="736"/>
                    </a:lnTo>
                    <a:lnTo>
                      <a:pt x="860" y="741"/>
                    </a:lnTo>
                    <a:lnTo>
                      <a:pt x="855" y="745"/>
                    </a:lnTo>
                    <a:lnTo>
                      <a:pt x="855" y="754"/>
                    </a:lnTo>
                    <a:lnTo>
                      <a:pt x="855" y="754"/>
                    </a:lnTo>
                    <a:lnTo>
                      <a:pt x="855" y="759"/>
                    </a:lnTo>
                    <a:lnTo>
                      <a:pt x="850" y="763"/>
                    </a:lnTo>
                    <a:lnTo>
                      <a:pt x="846" y="768"/>
                    </a:lnTo>
                    <a:lnTo>
                      <a:pt x="841" y="768"/>
                    </a:lnTo>
                    <a:lnTo>
                      <a:pt x="837" y="768"/>
                    </a:lnTo>
                    <a:lnTo>
                      <a:pt x="832" y="773"/>
                    </a:lnTo>
                    <a:lnTo>
                      <a:pt x="832" y="773"/>
                    </a:lnTo>
                    <a:lnTo>
                      <a:pt x="832" y="777"/>
                    </a:lnTo>
                    <a:lnTo>
                      <a:pt x="828" y="777"/>
                    </a:lnTo>
                    <a:lnTo>
                      <a:pt x="818" y="782"/>
                    </a:lnTo>
                    <a:lnTo>
                      <a:pt x="814" y="786"/>
                    </a:lnTo>
                    <a:lnTo>
                      <a:pt x="809" y="786"/>
                    </a:lnTo>
                    <a:lnTo>
                      <a:pt x="791" y="786"/>
                    </a:lnTo>
                    <a:lnTo>
                      <a:pt x="786" y="786"/>
                    </a:lnTo>
                    <a:lnTo>
                      <a:pt x="777" y="786"/>
                    </a:lnTo>
                    <a:lnTo>
                      <a:pt x="773" y="786"/>
                    </a:lnTo>
                    <a:lnTo>
                      <a:pt x="768" y="786"/>
                    </a:lnTo>
                    <a:lnTo>
                      <a:pt x="764" y="786"/>
                    </a:lnTo>
                    <a:lnTo>
                      <a:pt x="754" y="786"/>
                    </a:lnTo>
                    <a:lnTo>
                      <a:pt x="745" y="786"/>
                    </a:lnTo>
                    <a:lnTo>
                      <a:pt x="745" y="786"/>
                    </a:lnTo>
                    <a:lnTo>
                      <a:pt x="736" y="782"/>
                    </a:lnTo>
                    <a:lnTo>
                      <a:pt x="727" y="782"/>
                    </a:lnTo>
                    <a:lnTo>
                      <a:pt x="727" y="786"/>
                    </a:lnTo>
                    <a:lnTo>
                      <a:pt x="722" y="786"/>
                    </a:lnTo>
                    <a:lnTo>
                      <a:pt x="718" y="786"/>
                    </a:lnTo>
                    <a:lnTo>
                      <a:pt x="704" y="795"/>
                    </a:lnTo>
                    <a:lnTo>
                      <a:pt x="704" y="795"/>
                    </a:lnTo>
                    <a:lnTo>
                      <a:pt x="700" y="800"/>
                    </a:lnTo>
                    <a:lnTo>
                      <a:pt x="695" y="805"/>
                    </a:lnTo>
                    <a:lnTo>
                      <a:pt x="695" y="809"/>
                    </a:lnTo>
                    <a:lnTo>
                      <a:pt x="690" y="809"/>
                    </a:lnTo>
                    <a:lnTo>
                      <a:pt x="681" y="814"/>
                    </a:lnTo>
                    <a:lnTo>
                      <a:pt x="681" y="814"/>
                    </a:lnTo>
                    <a:lnTo>
                      <a:pt x="681" y="818"/>
                    </a:lnTo>
                    <a:lnTo>
                      <a:pt x="677" y="823"/>
                    </a:lnTo>
                    <a:lnTo>
                      <a:pt x="677" y="832"/>
                    </a:lnTo>
                    <a:lnTo>
                      <a:pt x="672" y="832"/>
                    </a:lnTo>
                    <a:lnTo>
                      <a:pt x="672" y="837"/>
                    </a:lnTo>
                    <a:lnTo>
                      <a:pt x="672" y="841"/>
                    </a:lnTo>
                    <a:lnTo>
                      <a:pt x="668" y="841"/>
                    </a:lnTo>
                    <a:lnTo>
                      <a:pt x="668" y="846"/>
                    </a:lnTo>
                    <a:lnTo>
                      <a:pt x="663" y="846"/>
                    </a:lnTo>
                    <a:lnTo>
                      <a:pt x="658" y="846"/>
                    </a:lnTo>
                    <a:lnTo>
                      <a:pt x="649" y="846"/>
                    </a:lnTo>
                    <a:lnTo>
                      <a:pt x="645" y="837"/>
                    </a:lnTo>
                    <a:lnTo>
                      <a:pt x="645" y="832"/>
                    </a:lnTo>
                    <a:lnTo>
                      <a:pt x="645" y="832"/>
                    </a:lnTo>
                    <a:lnTo>
                      <a:pt x="640" y="827"/>
                    </a:lnTo>
                    <a:lnTo>
                      <a:pt x="640" y="818"/>
                    </a:lnTo>
                    <a:lnTo>
                      <a:pt x="636" y="818"/>
                    </a:lnTo>
                    <a:lnTo>
                      <a:pt x="636" y="814"/>
                    </a:lnTo>
                    <a:lnTo>
                      <a:pt x="636" y="809"/>
                    </a:lnTo>
                    <a:lnTo>
                      <a:pt x="631" y="809"/>
                    </a:lnTo>
                    <a:lnTo>
                      <a:pt x="626" y="800"/>
                    </a:lnTo>
                    <a:lnTo>
                      <a:pt x="622" y="800"/>
                    </a:lnTo>
                    <a:lnTo>
                      <a:pt x="622" y="795"/>
                    </a:lnTo>
                    <a:lnTo>
                      <a:pt x="617" y="791"/>
                    </a:lnTo>
                    <a:lnTo>
                      <a:pt x="617" y="786"/>
                    </a:lnTo>
                    <a:lnTo>
                      <a:pt x="613" y="786"/>
                    </a:lnTo>
                    <a:lnTo>
                      <a:pt x="613" y="782"/>
                    </a:lnTo>
                    <a:lnTo>
                      <a:pt x="613" y="777"/>
                    </a:lnTo>
                    <a:lnTo>
                      <a:pt x="608" y="773"/>
                    </a:lnTo>
                    <a:lnTo>
                      <a:pt x="599" y="763"/>
                    </a:lnTo>
                    <a:lnTo>
                      <a:pt x="599" y="759"/>
                    </a:lnTo>
                    <a:lnTo>
                      <a:pt x="594" y="759"/>
                    </a:lnTo>
                    <a:lnTo>
                      <a:pt x="594" y="754"/>
                    </a:lnTo>
                    <a:lnTo>
                      <a:pt x="594" y="745"/>
                    </a:lnTo>
                    <a:lnTo>
                      <a:pt x="590" y="741"/>
                    </a:lnTo>
                    <a:lnTo>
                      <a:pt x="590" y="736"/>
                    </a:lnTo>
                    <a:lnTo>
                      <a:pt x="590" y="731"/>
                    </a:lnTo>
                    <a:lnTo>
                      <a:pt x="594" y="722"/>
                    </a:lnTo>
                    <a:lnTo>
                      <a:pt x="594" y="718"/>
                    </a:lnTo>
                    <a:lnTo>
                      <a:pt x="594" y="709"/>
                    </a:lnTo>
                    <a:lnTo>
                      <a:pt x="594" y="704"/>
                    </a:lnTo>
                    <a:lnTo>
                      <a:pt x="594" y="699"/>
                    </a:lnTo>
                    <a:lnTo>
                      <a:pt x="590" y="690"/>
                    </a:lnTo>
                    <a:lnTo>
                      <a:pt x="590" y="686"/>
                    </a:lnTo>
                    <a:lnTo>
                      <a:pt x="585" y="681"/>
                    </a:lnTo>
                    <a:lnTo>
                      <a:pt x="585" y="677"/>
                    </a:lnTo>
                    <a:lnTo>
                      <a:pt x="581" y="677"/>
                    </a:lnTo>
                    <a:lnTo>
                      <a:pt x="581" y="672"/>
                    </a:lnTo>
                    <a:lnTo>
                      <a:pt x="581" y="667"/>
                    </a:lnTo>
                    <a:lnTo>
                      <a:pt x="576" y="663"/>
                    </a:lnTo>
                    <a:lnTo>
                      <a:pt x="576" y="663"/>
                    </a:lnTo>
                    <a:lnTo>
                      <a:pt x="576" y="658"/>
                    </a:lnTo>
                    <a:lnTo>
                      <a:pt x="572" y="658"/>
                    </a:lnTo>
                    <a:lnTo>
                      <a:pt x="572" y="658"/>
                    </a:lnTo>
                    <a:lnTo>
                      <a:pt x="572" y="658"/>
                    </a:lnTo>
                    <a:lnTo>
                      <a:pt x="567" y="654"/>
                    </a:lnTo>
                    <a:lnTo>
                      <a:pt x="558" y="649"/>
                    </a:lnTo>
                    <a:lnTo>
                      <a:pt x="553" y="649"/>
                    </a:lnTo>
                    <a:lnTo>
                      <a:pt x="549" y="649"/>
                    </a:lnTo>
                    <a:lnTo>
                      <a:pt x="549" y="645"/>
                    </a:lnTo>
                    <a:lnTo>
                      <a:pt x="544" y="645"/>
                    </a:lnTo>
                    <a:lnTo>
                      <a:pt x="540" y="640"/>
                    </a:lnTo>
                    <a:lnTo>
                      <a:pt x="535" y="640"/>
                    </a:lnTo>
                    <a:lnTo>
                      <a:pt x="535" y="635"/>
                    </a:lnTo>
                    <a:lnTo>
                      <a:pt x="530" y="635"/>
                    </a:lnTo>
                    <a:lnTo>
                      <a:pt x="530" y="635"/>
                    </a:lnTo>
                    <a:lnTo>
                      <a:pt x="535" y="635"/>
                    </a:lnTo>
                    <a:lnTo>
                      <a:pt x="535" y="631"/>
                    </a:lnTo>
                    <a:lnTo>
                      <a:pt x="535" y="626"/>
                    </a:lnTo>
                    <a:lnTo>
                      <a:pt x="544" y="617"/>
                    </a:lnTo>
                    <a:lnTo>
                      <a:pt x="544" y="613"/>
                    </a:lnTo>
                    <a:lnTo>
                      <a:pt x="549" y="603"/>
                    </a:lnTo>
                    <a:lnTo>
                      <a:pt x="549" y="594"/>
                    </a:lnTo>
                    <a:lnTo>
                      <a:pt x="544" y="571"/>
                    </a:lnTo>
                    <a:lnTo>
                      <a:pt x="540" y="567"/>
                    </a:lnTo>
                    <a:lnTo>
                      <a:pt x="535" y="567"/>
                    </a:lnTo>
                    <a:lnTo>
                      <a:pt x="530" y="562"/>
                    </a:lnTo>
                    <a:lnTo>
                      <a:pt x="530" y="558"/>
                    </a:lnTo>
                    <a:lnTo>
                      <a:pt x="526" y="558"/>
                    </a:lnTo>
                    <a:lnTo>
                      <a:pt x="526" y="553"/>
                    </a:lnTo>
                    <a:lnTo>
                      <a:pt x="521" y="553"/>
                    </a:lnTo>
                    <a:lnTo>
                      <a:pt x="517" y="549"/>
                    </a:lnTo>
                    <a:lnTo>
                      <a:pt x="512" y="549"/>
                    </a:lnTo>
                    <a:lnTo>
                      <a:pt x="508" y="549"/>
                    </a:lnTo>
                    <a:lnTo>
                      <a:pt x="503" y="549"/>
                    </a:lnTo>
                    <a:lnTo>
                      <a:pt x="503" y="549"/>
                    </a:lnTo>
                    <a:lnTo>
                      <a:pt x="498" y="549"/>
                    </a:lnTo>
                    <a:lnTo>
                      <a:pt x="494" y="549"/>
                    </a:lnTo>
                    <a:lnTo>
                      <a:pt x="489" y="544"/>
                    </a:lnTo>
                    <a:lnTo>
                      <a:pt x="485" y="544"/>
                    </a:lnTo>
                    <a:lnTo>
                      <a:pt x="485" y="544"/>
                    </a:lnTo>
                    <a:lnTo>
                      <a:pt x="485" y="549"/>
                    </a:lnTo>
                    <a:lnTo>
                      <a:pt x="480" y="549"/>
                    </a:lnTo>
                    <a:lnTo>
                      <a:pt x="476" y="549"/>
                    </a:lnTo>
                    <a:lnTo>
                      <a:pt x="476" y="553"/>
                    </a:lnTo>
                    <a:lnTo>
                      <a:pt x="471" y="553"/>
                    </a:lnTo>
                    <a:lnTo>
                      <a:pt x="466" y="553"/>
                    </a:lnTo>
                    <a:lnTo>
                      <a:pt x="462" y="549"/>
                    </a:lnTo>
                    <a:lnTo>
                      <a:pt x="462" y="553"/>
                    </a:lnTo>
                    <a:lnTo>
                      <a:pt x="457" y="553"/>
                    </a:lnTo>
                    <a:lnTo>
                      <a:pt x="453" y="553"/>
                    </a:lnTo>
                    <a:lnTo>
                      <a:pt x="448" y="553"/>
                    </a:lnTo>
                    <a:lnTo>
                      <a:pt x="444" y="549"/>
                    </a:lnTo>
                    <a:lnTo>
                      <a:pt x="439" y="549"/>
                    </a:lnTo>
                    <a:lnTo>
                      <a:pt x="439" y="549"/>
                    </a:lnTo>
                    <a:lnTo>
                      <a:pt x="439" y="553"/>
                    </a:lnTo>
                    <a:lnTo>
                      <a:pt x="434" y="553"/>
                    </a:lnTo>
                    <a:lnTo>
                      <a:pt x="434" y="549"/>
                    </a:lnTo>
                    <a:lnTo>
                      <a:pt x="430" y="549"/>
                    </a:lnTo>
                    <a:lnTo>
                      <a:pt x="425" y="549"/>
                    </a:lnTo>
                    <a:lnTo>
                      <a:pt x="421" y="553"/>
                    </a:lnTo>
                    <a:lnTo>
                      <a:pt x="416" y="553"/>
                    </a:lnTo>
                    <a:lnTo>
                      <a:pt x="412" y="553"/>
                    </a:lnTo>
                    <a:lnTo>
                      <a:pt x="412" y="558"/>
                    </a:lnTo>
                    <a:lnTo>
                      <a:pt x="407" y="558"/>
                    </a:lnTo>
                    <a:lnTo>
                      <a:pt x="402" y="562"/>
                    </a:lnTo>
                    <a:lnTo>
                      <a:pt x="398" y="562"/>
                    </a:lnTo>
                    <a:lnTo>
                      <a:pt x="398" y="558"/>
                    </a:lnTo>
                    <a:lnTo>
                      <a:pt x="393" y="558"/>
                    </a:lnTo>
                    <a:lnTo>
                      <a:pt x="393" y="553"/>
                    </a:lnTo>
                    <a:lnTo>
                      <a:pt x="393" y="553"/>
                    </a:lnTo>
                    <a:lnTo>
                      <a:pt x="393" y="549"/>
                    </a:lnTo>
                    <a:lnTo>
                      <a:pt x="389" y="549"/>
                    </a:lnTo>
                    <a:lnTo>
                      <a:pt x="384" y="544"/>
                    </a:lnTo>
                    <a:lnTo>
                      <a:pt x="380" y="544"/>
                    </a:lnTo>
                    <a:lnTo>
                      <a:pt x="380" y="539"/>
                    </a:lnTo>
                    <a:lnTo>
                      <a:pt x="375" y="539"/>
                    </a:lnTo>
                    <a:lnTo>
                      <a:pt x="375" y="535"/>
                    </a:lnTo>
                    <a:lnTo>
                      <a:pt x="370" y="535"/>
                    </a:lnTo>
                    <a:lnTo>
                      <a:pt x="366" y="535"/>
                    </a:lnTo>
                    <a:lnTo>
                      <a:pt x="361" y="535"/>
                    </a:lnTo>
                    <a:lnTo>
                      <a:pt x="357" y="539"/>
                    </a:lnTo>
                    <a:lnTo>
                      <a:pt x="357" y="544"/>
                    </a:lnTo>
                    <a:lnTo>
                      <a:pt x="352" y="539"/>
                    </a:lnTo>
                    <a:lnTo>
                      <a:pt x="352" y="535"/>
                    </a:lnTo>
                    <a:lnTo>
                      <a:pt x="348" y="530"/>
                    </a:lnTo>
                    <a:lnTo>
                      <a:pt x="348" y="526"/>
                    </a:lnTo>
                    <a:lnTo>
                      <a:pt x="348" y="526"/>
                    </a:lnTo>
                    <a:lnTo>
                      <a:pt x="343" y="521"/>
                    </a:lnTo>
                    <a:lnTo>
                      <a:pt x="338" y="512"/>
                    </a:lnTo>
                    <a:lnTo>
                      <a:pt x="334" y="512"/>
                    </a:lnTo>
                    <a:lnTo>
                      <a:pt x="334" y="507"/>
                    </a:lnTo>
                    <a:lnTo>
                      <a:pt x="329" y="507"/>
                    </a:lnTo>
                    <a:lnTo>
                      <a:pt x="329" y="507"/>
                    </a:lnTo>
                    <a:lnTo>
                      <a:pt x="320" y="507"/>
                    </a:lnTo>
                    <a:lnTo>
                      <a:pt x="316" y="512"/>
                    </a:lnTo>
                    <a:lnTo>
                      <a:pt x="311" y="512"/>
                    </a:lnTo>
                    <a:lnTo>
                      <a:pt x="306" y="517"/>
                    </a:lnTo>
                    <a:lnTo>
                      <a:pt x="306" y="517"/>
                    </a:lnTo>
                    <a:lnTo>
                      <a:pt x="302" y="512"/>
                    </a:lnTo>
                    <a:lnTo>
                      <a:pt x="297" y="512"/>
                    </a:lnTo>
                    <a:lnTo>
                      <a:pt x="297" y="507"/>
                    </a:lnTo>
                    <a:lnTo>
                      <a:pt x="288" y="507"/>
                    </a:lnTo>
                    <a:lnTo>
                      <a:pt x="284" y="507"/>
                    </a:lnTo>
                    <a:lnTo>
                      <a:pt x="284" y="507"/>
                    </a:lnTo>
                    <a:lnTo>
                      <a:pt x="279" y="507"/>
                    </a:lnTo>
                    <a:lnTo>
                      <a:pt x="274" y="512"/>
                    </a:lnTo>
                    <a:lnTo>
                      <a:pt x="274" y="517"/>
                    </a:lnTo>
                    <a:lnTo>
                      <a:pt x="279" y="517"/>
                    </a:lnTo>
                    <a:lnTo>
                      <a:pt x="279" y="521"/>
                    </a:lnTo>
                    <a:lnTo>
                      <a:pt x="279" y="526"/>
                    </a:lnTo>
                    <a:lnTo>
                      <a:pt x="274" y="526"/>
                    </a:lnTo>
                    <a:lnTo>
                      <a:pt x="270" y="526"/>
                    </a:lnTo>
                    <a:lnTo>
                      <a:pt x="265" y="526"/>
                    </a:lnTo>
                    <a:lnTo>
                      <a:pt x="265" y="526"/>
                    </a:lnTo>
                    <a:lnTo>
                      <a:pt x="261" y="530"/>
                    </a:lnTo>
                    <a:lnTo>
                      <a:pt x="247" y="535"/>
                    </a:lnTo>
                    <a:lnTo>
                      <a:pt x="242" y="535"/>
                    </a:lnTo>
                    <a:lnTo>
                      <a:pt x="242" y="530"/>
                    </a:lnTo>
                    <a:lnTo>
                      <a:pt x="242" y="535"/>
                    </a:lnTo>
                    <a:lnTo>
                      <a:pt x="238" y="535"/>
                    </a:lnTo>
                    <a:lnTo>
                      <a:pt x="233" y="535"/>
                    </a:lnTo>
                    <a:lnTo>
                      <a:pt x="229" y="535"/>
                    </a:lnTo>
                    <a:lnTo>
                      <a:pt x="229" y="530"/>
                    </a:lnTo>
                    <a:lnTo>
                      <a:pt x="224" y="526"/>
                    </a:lnTo>
                    <a:lnTo>
                      <a:pt x="220" y="526"/>
                    </a:lnTo>
                    <a:lnTo>
                      <a:pt x="220" y="521"/>
                    </a:lnTo>
                    <a:lnTo>
                      <a:pt x="220" y="521"/>
                    </a:lnTo>
                    <a:lnTo>
                      <a:pt x="197" y="521"/>
                    </a:lnTo>
                    <a:lnTo>
                      <a:pt x="197" y="526"/>
                    </a:lnTo>
                    <a:lnTo>
                      <a:pt x="192" y="526"/>
                    </a:lnTo>
                    <a:lnTo>
                      <a:pt x="188" y="526"/>
                    </a:lnTo>
                    <a:lnTo>
                      <a:pt x="183" y="526"/>
                    </a:lnTo>
                    <a:lnTo>
                      <a:pt x="178" y="526"/>
                    </a:lnTo>
                    <a:lnTo>
                      <a:pt x="174" y="526"/>
                    </a:lnTo>
                    <a:lnTo>
                      <a:pt x="174" y="521"/>
                    </a:lnTo>
                    <a:lnTo>
                      <a:pt x="174" y="517"/>
                    </a:lnTo>
                    <a:lnTo>
                      <a:pt x="174" y="517"/>
                    </a:lnTo>
                    <a:lnTo>
                      <a:pt x="169" y="517"/>
                    </a:lnTo>
                    <a:lnTo>
                      <a:pt x="165" y="517"/>
                    </a:lnTo>
                    <a:lnTo>
                      <a:pt x="165" y="521"/>
                    </a:lnTo>
                    <a:lnTo>
                      <a:pt x="160" y="521"/>
                    </a:lnTo>
                    <a:close/>
                  </a:path>
                </a:pathLst>
              </a:custGeom>
              <a:grpFill/>
              <a:ln w="9525" cmpd="sng">
                <a:solidFill>
                  <a:srgbClr val="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Zamfara</a:t>
                </a:r>
              </a:p>
            </p:txBody>
          </p:sp>
          <p:sp>
            <p:nvSpPr>
              <p:cNvPr id="220" name="Freeform 45">
                <a:extLst>
                  <a:ext uri="{FF2B5EF4-FFF2-40B4-BE49-F238E27FC236}">
                    <a16:creationId xmlns:a16="http://schemas.microsoft.com/office/drawing/2014/main" id="{375A2EE1-21B8-4E8D-B0E0-A4744071B6C0}"/>
                  </a:ext>
                </a:extLst>
              </p:cNvPr>
              <p:cNvSpPr>
                <a:spLocks noEditPoints="1"/>
              </p:cNvSpPr>
              <p:nvPr>
                <p:custDataLst>
                  <p:tags r:id="rId37"/>
                </p:custDataLst>
              </p:nvPr>
            </p:nvSpPr>
            <p:spPr bwMode="auto">
              <a:xfrm>
                <a:off x="2549147" y="5593132"/>
                <a:ext cx="457592" cy="492051"/>
              </a:xfrm>
              <a:custGeom>
                <a:avLst/>
                <a:gdLst/>
                <a:ahLst/>
                <a:cxnLst>
                  <a:cxn ang="0">
                    <a:pos x="320" y="265"/>
                  </a:cxn>
                  <a:cxn ang="0">
                    <a:pos x="329" y="275"/>
                  </a:cxn>
                  <a:cxn ang="0">
                    <a:pos x="338" y="339"/>
                  </a:cxn>
                  <a:cxn ang="0">
                    <a:pos x="343" y="348"/>
                  </a:cxn>
                  <a:cxn ang="0">
                    <a:pos x="334" y="357"/>
                  </a:cxn>
                  <a:cxn ang="0">
                    <a:pos x="338" y="339"/>
                  </a:cxn>
                  <a:cxn ang="0">
                    <a:pos x="46" y="371"/>
                  </a:cxn>
                  <a:cxn ang="0">
                    <a:pos x="41" y="343"/>
                  </a:cxn>
                  <a:cxn ang="0">
                    <a:pos x="46" y="316"/>
                  </a:cxn>
                  <a:cxn ang="0">
                    <a:pos x="41" y="293"/>
                  </a:cxn>
                  <a:cxn ang="0">
                    <a:pos x="28" y="275"/>
                  </a:cxn>
                  <a:cxn ang="0">
                    <a:pos x="18" y="265"/>
                  </a:cxn>
                  <a:cxn ang="0">
                    <a:pos x="18" y="247"/>
                  </a:cxn>
                  <a:cxn ang="0">
                    <a:pos x="9" y="229"/>
                  </a:cxn>
                  <a:cxn ang="0">
                    <a:pos x="23" y="211"/>
                  </a:cxn>
                  <a:cxn ang="0">
                    <a:pos x="9" y="206"/>
                  </a:cxn>
                  <a:cxn ang="0">
                    <a:pos x="9" y="192"/>
                  </a:cxn>
                  <a:cxn ang="0">
                    <a:pos x="28" y="165"/>
                  </a:cxn>
                  <a:cxn ang="0">
                    <a:pos x="28" y="128"/>
                  </a:cxn>
                  <a:cxn ang="0">
                    <a:pos x="41" y="101"/>
                  </a:cxn>
                  <a:cxn ang="0">
                    <a:pos x="28" y="83"/>
                  </a:cxn>
                  <a:cxn ang="0">
                    <a:pos x="69" y="78"/>
                  </a:cxn>
                  <a:cxn ang="0">
                    <a:pos x="60" y="51"/>
                  </a:cxn>
                  <a:cxn ang="0">
                    <a:pos x="87" y="28"/>
                  </a:cxn>
                  <a:cxn ang="0">
                    <a:pos x="110" y="0"/>
                  </a:cxn>
                  <a:cxn ang="0">
                    <a:pos x="128" y="37"/>
                  </a:cxn>
                  <a:cxn ang="0">
                    <a:pos x="160" y="64"/>
                  </a:cxn>
                  <a:cxn ang="0">
                    <a:pos x="146" y="78"/>
                  </a:cxn>
                  <a:cxn ang="0">
                    <a:pos x="174" y="92"/>
                  </a:cxn>
                  <a:cxn ang="0">
                    <a:pos x="206" y="101"/>
                  </a:cxn>
                  <a:cxn ang="0">
                    <a:pos x="242" y="124"/>
                  </a:cxn>
                  <a:cxn ang="0">
                    <a:pos x="247" y="174"/>
                  </a:cxn>
                  <a:cxn ang="0">
                    <a:pos x="297" y="215"/>
                  </a:cxn>
                  <a:cxn ang="0">
                    <a:pos x="316" y="261"/>
                  </a:cxn>
                  <a:cxn ang="0">
                    <a:pos x="311" y="265"/>
                  </a:cxn>
                  <a:cxn ang="0">
                    <a:pos x="320" y="284"/>
                  </a:cxn>
                  <a:cxn ang="0">
                    <a:pos x="334" y="297"/>
                  </a:cxn>
                  <a:cxn ang="0">
                    <a:pos x="334" y="307"/>
                  </a:cxn>
                  <a:cxn ang="0">
                    <a:pos x="334" y="325"/>
                  </a:cxn>
                  <a:cxn ang="0">
                    <a:pos x="338" y="334"/>
                  </a:cxn>
                  <a:cxn ang="0">
                    <a:pos x="329" y="348"/>
                  </a:cxn>
                  <a:cxn ang="0">
                    <a:pos x="325" y="361"/>
                  </a:cxn>
                  <a:cxn ang="0">
                    <a:pos x="320" y="375"/>
                  </a:cxn>
                  <a:cxn ang="0">
                    <a:pos x="293" y="375"/>
                  </a:cxn>
                  <a:cxn ang="0">
                    <a:pos x="256" y="375"/>
                  </a:cxn>
                  <a:cxn ang="0">
                    <a:pos x="210" y="375"/>
                  </a:cxn>
                  <a:cxn ang="0">
                    <a:pos x="188" y="375"/>
                  </a:cxn>
                  <a:cxn ang="0">
                    <a:pos x="142" y="384"/>
                  </a:cxn>
                  <a:cxn ang="0">
                    <a:pos x="124" y="389"/>
                  </a:cxn>
                  <a:cxn ang="0">
                    <a:pos x="92" y="393"/>
                  </a:cxn>
                  <a:cxn ang="0">
                    <a:pos x="87" y="393"/>
                  </a:cxn>
                  <a:cxn ang="0">
                    <a:pos x="69" y="398"/>
                  </a:cxn>
                  <a:cxn ang="0">
                    <a:pos x="64" y="398"/>
                  </a:cxn>
                  <a:cxn ang="0">
                    <a:pos x="55" y="384"/>
                  </a:cxn>
                </a:cxnLst>
                <a:rect l="0" t="0" r="r" b="b"/>
                <a:pathLst>
                  <a:path w="343" h="398">
                    <a:moveTo>
                      <a:pt x="329" y="279"/>
                    </a:moveTo>
                    <a:lnTo>
                      <a:pt x="325" y="279"/>
                    </a:lnTo>
                    <a:lnTo>
                      <a:pt x="320" y="275"/>
                    </a:lnTo>
                    <a:lnTo>
                      <a:pt x="320" y="265"/>
                    </a:lnTo>
                    <a:lnTo>
                      <a:pt x="320" y="265"/>
                    </a:lnTo>
                    <a:lnTo>
                      <a:pt x="320" y="265"/>
                    </a:lnTo>
                    <a:lnTo>
                      <a:pt x="325" y="265"/>
                    </a:lnTo>
                    <a:lnTo>
                      <a:pt x="325" y="270"/>
                    </a:lnTo>
                    <a:lnTo>
                      <a:pt x="329" y="275"/>
                    </a:lnTo>
                    <a:lnTo>
                      <a:pt x="329" y="275"/>
                    </a:lnTo>
                    <a:lnTo>
                      <a:pt x="329" y="279"/>
                    </a:lnTo>
                    <a:lnTo>
                      <a:pt x="329" y="279"/>
                    </a:lnTo>
                    <a:lnTo>
                      <a:pt x="329" y="279"/>
                    </a:lnTo>
                    <a:close/>
                    <a:moveTo>
                      <a:pt x="338" y="339"/>
                    </a:moveTo>
                    <a:lnTo>
                      <a:pt x="338" y="339"/>
                    </a:lnTo>
                    <a:lnTo>
                      <a:pt x="338" y="339"/>
                    </a:lnTo>
                    <a:lnTo>
                      <a:pt x="343" y="339"/>
                    </a:lnTo>
                    <a:lnTo>
                      <a:pt x="343" y="343"/>
                    </a:lnTo>
                    <a:lnTo>
                      <a:pt x="343" y="348"/>
                    </a:lnTo>
                    <a:lnTo>
                      <a:pt x="343" y="348"/>
                    </a:lnTo>
                    <a:lnTo>
                      <a:pt x="343" y="352"/>
                    </a:lnTo>
                    <a:lnTo>
                      <a:pt x="343" y="357"/>
                    </a:lnTo>
                    <a:lnTo>
                      <a:pt x="338" y="357"/>
                    </a:lnTo>
                    <a:lnTo>
                      <a:pt x="334" y="357"/>
                    </a:lnTo>
                    <a:lnTo>
                      <a:pt x="334" y="357"/>
                    </a:lnTo>
                    <a:lnTo>
                      <a:pt x="329" y="348"/>
                    </a:lnTo>
                    <a:lnTo>
                      <a:pt x="329" y="348"/>
                    </a:lnTo>
                    <a:lnTo>
                      <a:pt x="334" y="348"/>
                    </a:lnTo>
                    <a:lnTo>
                      <a:pt x="338" y="343"/>
                    </a:lnTo>
                    <a:lnTo>
                      <a:pt x="338" y="339"/>
                    </a:lnTo>
                    <a:lnTo>
                      <a:pt x="338" y="339"/>
                    </a:lnTo>
                    <a:close/>
                    <a:moveTo>
                      <a:pt x="55" y="384"/>
                    </a:moveTo>
                    <a:lnTo>
                      <a:pt x="50" y="384"/>
                    </a:lnTo>
                    <a:lnTo>
                      <a:pt x="46" y="380"/>
                    </a:lnTo>
                    <a:lnTo>
                      <a:pt x="46" y="371"/>
                    </a:lnTo>
                    <a:lnTo>
                      <a:pt x="46" y="366"/>
                    </a:lnTo>
                    <a:lnTo>
                      <a:pt x="46" y="357"/>
                    </a:lnTo>
                    <a:lnTo>
                      <a:pt x="41" y="357"/>
                    </a:lnTo>
                    <a:lnTo>
                      <a:pt x="41" y="343"/>
                    </a:lnTo>
                    <a:lnTo>
                      <a:pt x="41" y="343"/>
                    </a:lnTo>
                    <a:lnTo>
                      <a:pt x="41" y="339"/>
                    </a:lnTo>
                    <a:lnTo>
                      <a:pt x="41" y="329"/>
                    </a:lnTo>
                    <a:lnTo>
                      <a:pt x="41" y="325"/>
                    </a:lnTo>
                    <a:lnTo>
                      <a:pt x="41" y="320"/>
                    </a:lnTo>
                    <a:lnTo>
                      <a:pt x="46" y="316"/>
                    </a:lnTo>
                    <a:lnTo>
                      <a:pt x="46" y="311"/>
                    </a:lnTo>
                    <a:lnTo>
                      <a:pt x="46" y="307"/>
                    </a:lnTo>
                    <a:lnTo>
                      <a:pt x="46" y="302"/>
                    </a:lnTo>
                    <a:lnTo>
                      <a:pt x="46" y="302"/>
                    </a:lnTo>
                    <a:lnTo>
                      <a:pt x="41" y="293"/>
                    </a:lnTo>
                    <a:lnTo>
                      <a:pt x="41" y="288"/>
                    </a:lnTo>
                    <a:lnTo>
                      <a:pt x="37" y="279"/>
                    </a:lnTo>
                    <a:lnTo>
                      <a:pt x="37" y="279"/>
                    </a:lnTo>
                    <a:lnTo>
                      <a:pt x="32" y="275"/>
                    </a:lnTo>
                    <a:lnTo>
                      <a:pt x="28" y="275"/>
                    </a:lnTo>
                    <a:lnTo>
                      <a:pt x="28" y="270"/>
                    </a:lnTo>
                    <a:lnTo>
                      <a:pt x="23" y="270"/>
                    </a:lnTo>
                    <a:lnTo>
                      <a:pt x="23" y="265"/>
                    </a:lnTo>
                    <a:lnTo>
                      <a:pt x="18" y="265"/>
                    </a:lnTo>
                    <a:lnTo>
                      <a:pt x="18" y="265"/>
                    </a:lnTo>
                    <a:lnTo>
                      <a:pt x="9" y="261"/>
                    </a:lnTo>
                    <a:lnTo>
                      <a:pt x="14" y="256"/>
                    </a:lnTo>
                    <a:lnTo>
                      <a:pt x="18" y="256"/>
                    </a:lnTo>
                    <a:lnTo>
                      <a:pt x="18" y="252"/>
                    </a:lnTo>
                    <a:lnTo>
                      <a:pt x="18" y="247"/>
                    </a:lnTo>
                    <a:lnTo>
                      <a:pt x="18" y="243"/>
                    </a:lnTo>
                    <a:lnTo>
                      <a:pt x="18" y="238"/>
                    </a:lnTo>
                    <a:lnTo>
                      <a:pt x="14" y="233"/>
                    </a:lnTo>
                    <a:lnTo>
                      <a:pt x="5" y="229"/>
                    </a:lnTo>
                    <a:lnTo>
                      <a:pt x="9" y="229"/>
                    </a:lnTo>
                    <a:lnTo>
                      <a:pt x="9" y="224"/>
                    </a:lnTo>
                    <a:lnTo>
                      <a:pt x="14" y="224"/>
                    </a:lnTo>
                    <a:lnTo>
                      <a:pt x="18" y="220"/>
                    </a:lnTo>
                    <a:lnTo>
                      <a:pt x="18" y="211"/>
                    </a:lnTo>
                    <a:lnTo>
                      <a:pt x="23" y="211"/>
                    </a:lnTo>
                    <a:lnTo>
                      <a:pt x="28" y="206"/>
                    </a:lnTo>
                    <a:lnTo>
                      <a:pt x="28" y="206"/>
                    </a:lnTo>
                    <a:lnTo>
                      <a:pt x="23" y="201"/>
                    </a:lnTo>
                    <a:lnTo>
                      <a:pt x="18" y="206"/>
                    </a:lnTo>
                    <a:lnTo>
                      <a:pt x="9" y="206"/>
                    </a:lnTo>
                    <a:lnTo>
                      <a:pt x="5" y="206"/>
                    </a:lnTo>
                    <a:lnTo>
                      <a:pt x="0" y="201"/>
                    </a:lnTo>
                    <a:lnTo>
                      <a:pt x="5" y="201"/>
                    </a:lnTo>
                    <a:lnTo>
                      <a:pt x="5" y="197"/>
                    </a:lnTo>
                    <a:lnTo>
                      <a:pt x="9" y="192"/>
                    </a:lnTo>
                    <a:lnTo>
                      <a:pt x="14" y="192"/>
                    </a:lnTo>
                    <a:lnTo>
                      <a:pt x="18" y="188"/>
                    </a:lnTo>
                    <a:lnTo>
                      <a:pt x="18" y="183"/>
                    </a:lnTo>
                    <a:lnTo>
                      <a:pt x="23" y="174"/>
                    </a:lnTo>
                    <a:lnTo>
                      <a:pt x="28" y="165"/>
                    </a:lnTo>
                    <a:lnTo>
                      <a:pt x="32" y="151"/>
                    </a:lnTo>
                    <a:lnTo>
                      <a:pt x="28" y="147"/>
                    </a:lnTo>
                    <a:lnTo>
                      <a:pt x="28" y="142"/>
                    </a:lnTo>
                    <a:lnTo>
                      <a:pt x="28" y="137"/>
                    </a:lnTo>
                    <a:lnTo>
                      <a:pt x="28" y="128"/>
                    </a:lnTo>
                    <a:lnTo>
                      <a:pt x="28" y="119"/>
                    </a:lnTo>
                    <a:lnTo>
                      <a:pt x="28" y="115"/>
                    </a:lnTo>
                    <a:lnTo>
                      <a:pt x="32" y="101"/>
                    </a:lnTo>
                    <a:lnTo>
                      <a:pt x="37" y="101"/>
                    </a:lnTo>
                    <a:lnTo>
                      <a:pt x="41" y="101"/>
                    </a:lnTo>
                    <a:lnTo>
                      <a:pt x="41" y="101"/>
                    </a:lnTo>
                    <a:lnTo>
                      <a:pt x="37" y="96"/>
                    </a:lnTo>
                    <a:lnTo>
                      <a:pt x="32" y="92"/>
                    </a:lnTo>
                    <a:lnTo>
                      <a:pt x="28" y="87"/>
                    </a:lnTo>
                    <a:lnTo>
                      <a:pt x="28" y="83"/>
                    </a:lnTo>
                    <a:lnTo>
                      <a:pt x="32" y="83"/>
                    </a:lnTo>
                    <a:lnTo>
                      <a:pt x="32" y="83"/>
                    </a:lnTo>
                    <a:lnTo>
                      <a:pt x="41" y="83"/>
                    </a:lnTo>
                    <a:lnTo>
                      <a:pt x="60" y="78"/>
                    </a:lnTo>
                    <a:lnTo>
                      <a:pt x="69" y="78"/>
                    </a:lnTo>
                    <a:lnTo>
                      <a:pt x="73" y="73"/>
                    </a:lnTo>
                    <a:lnTo>
                      <a:pt x="73" y="69"/>
                    </a:lnTo>
                    <a:lnTo>
                      <a:pt x="69" y="60"/>
                    </a:lnTo>
                    <a:lnTo>
                      <a:pt x="60" y="60"/>
                    </a:lnTo>
                    <a:lnTo>
                      <a:pt x="60" y="51"/>
                    </a:lnTo>
                    <a:lnTo>
                      <a:pt x="64" y="41"/>
                    </a:lnTo>
                    <a:lnTo>
                      <a:pt x="69" y="37"/>
                    </a:lnTo>
                    <a:lnTo>
                      <a:pt x="73" y="37"/>
                    </a:lnTo>
                    <a:lnTo>
                      <a:pt x="82" y="37"/>
                    </a:lnTo>
                    <a:lnTo>
                      <a:pt x="87" y="28"/>
                    </a:lnTo>
                    <a:lnTo>
                      <a:pt x="96" y="23"/>
                    </a:lnTo>
                    <a:lnTo>
                      <a:pt x="96" y="14"/>
                    </a:lnTo>
                    <a:lnTo>
                      <a:pt x="96" y="9"/>
                    </a:lnTo>
                    <a:lnTo>
                      <a:pt x="101" y="0"/>
                    </a:lnTo>
                    <a:lnTo>
                      <a:pt x="110" y="0"/>
                    </a:lnTo>
                    <a:lnTo>
                      <a:pt x="114" y="5"/>
                    </a:lnTo>
                    <a:lnTo>
                      <a:pt x="119" y="9"/>
                    </a:lnTo>
                    <a:lnTo>
                      <a:pt x="124" y="19"/>
                    </a:lnTo>
                    <a:lnTo>
                      <a:pt x="128" y="28"/>
                    </a:lnTo>
                    <a:lnTo>
                      <a:pt x="128" y="37"/>
                    </a:lnTo>
                    <a:lnTo>
                      <a:pt x="142" y="46"/>
                    </a:lnTo>
                    <a:lnTo>
                      <a:pt x="146" y="55"/>
                    </a:lnTo>
                    <a:lnTo>
                      <a:pt x="151" y="60"/>
                    </a:lnTo>
                    <a:lnTo>
                      <a:pt x="156" y="60"/>
                    </a:lnTo>
                    <a:lnTo>
                      <a:pt x="160" y="64"/>
                    </a:lnTo>
                    <a:lnTo>
                      <a:pt x="160" y="73"/>
                    </a:lnTo>
                    <a:lnTo>
                      <a:pt x="156" y="73"/>
                    </a:lnTo>
                    <a:lnTo>
                      <a:pt x="151" y="73"/>
                    </a:lnTo>
                    <a:lnTo>
                      <a:pt x="146" y="73"/>
                    </a:lnTo>
                    <a:lnTo>
                      <a:pt x="146" y="78"/>
                    </a:lnTo>
                    <a:lnTo>
                      <a:pt x="146" y="83"/>
                    </a:lnTo>
                    <a:lnTo>
                      <a:pt x="151" y="83"/>
                    </a:lnTo>
                    <a:lnTo>
                      <a:pt x="156" y="83"/>
                    </a:lnTo>
                    <a:lnTo>
                      <a:pt x="165" y="87"/>
                    </a:lnTo>
                    <a:lnTo>
                      <a:pt x="174" y="92"/>
                    </a:lnTo>
                    <a:lnTo>
                      <a:pt x="174" y="96"/>
                    </a:lnTo>
                    <a:lnTo>
                      <a:pt x="183" y="101"/>
                    </a:lnTo>
                    <a:lnTo>
                      <a:pt x="188" y="101"/>
                    </a:lnTo>
                    <a:lnTo>
                      <a:pt x="197" y="101"/>
                    </a:lnTo>
                    <a:lnTo>
                      <a:pt x="206" y="101"/>
                    </a:lnTo>
                    <a:lnTo>
                      <a:pt x="215" y="101"/>
                    </a:lnTo>
                    <a:lnTo>
                      <a:pt x="229" y="101"/>
                    </a:lnTo>
                    <a:lnTo>
                      <a:pt x="238" y="105"/>
                    </a:lnTo>
                    <a:lnTo>
                      <a:pt x="242" y="119"/>
                    </a:lnTo>
                    <a:lnTo>
                      <a:pt x="242" y="124"/>
                    </a:lnTo>
                    <a:lnTo>
                      <a:pt x="238" y="137"/>
                    </a:lnTo>
                    <a:lnTo>
                      <a:pt x="238" y="142"/>
                    </a:lnTo>
                    <a:lnTo>
                      <a:pt x="238" y="147"/>
                    </a:lnTo>
                    <a:lnTo>
                      <a:pt x="238" y="160"/>
                    </a:lnTo>
                    <a:lnTo>
                      <a:pt x="247" y="174"/>
                    </a:lnTo>
                    <a:lnTo>
                      <a:pt x="261" y="192"/>
                    </a:lnTo>
                    <a:lnTo>
                      <a:pt x="270" y="206"/>
                    </a:lnTo>
                    <a:lnTo>
                      <a:pt x="274" y="206"/>
                    </a:lnTo>
                    <a:lnTo>
                      <a:pt x="284" y="211"/>
                    </a:lnTo>
                    <a:lnTo>
                      <a:pt x="297" y="215"/>
                    </a:lnTo>
                    <a:lnTo>
                      <a:pt x="297" y="220"/>
                    </a:lnTo>
                    <a:lnTo>
                      <a:pt x="316" y="243"/>
                    </a:lnTo>
                    <a:lnTo>
                      <a:pt x="320" y="256"/>
                    </a:lnTo>
                    <a:lnTo>
                      <a:pt x="316" y="261"/>
                    </a:lnTo>
                    <a:lnTo>
                      <a:pt x="316" y="261"/>
                    </a:lnTo>
                    <a:lnTo>
                      <a:pt x="311" y="261"/>
                    </a:lnTo>
                    <a:lnTo>
                      <a:pt x="316" y="265"/>
                    </a:lnTo>
                    <a:lnTo>
                      <a:pt x="316" y="265"/>
                    </a:lnTo>
                    <a:lnTo>
                      <a:pt x="311" y="270"/>
                    </a:lnTo>
                    <a:lnTo>
                      <a:pt x="311" y="265"/>
                    </a:lnTo>
                    <a:lnTo>
                      <a:pt x="306" y="270"/>
                    </a:lnTo>
                    <a:lnTo>
                      <a:pt x="311" y="275"/>
                    </a:lnTo>
                    <a:lnTo>
                      <a:pt x="316" y="279"/>
                    </a:lnTo>
                    <a:lnTo>
                      <a:pt x="316" y="279"/>
                    </a:lnTo>
                    <a:lnTo>
                      <a:pt x="320" y="284"/>
                    </a:lnTo>
                    <a:lnTo>
                      <a:pt x="320" y="284"/>
                    </a:lnTo>
                    <a:lnTo>
                      <a:pt x="329" y="288"/>
                    </a:lnTo>
                    <a:lnTo>
                      <a:pt x="334" y="293"/>
                    </a:lnTo>
                    <a:lnTo>
                      <a:pt x="334" y="297"/>
                    </a:lnTo>
                    <a:lnTo>
                      <a:pt x="334" y="297"/>
                    </a:lnTo>
                    <a:lnTo>
                      <a:pt x="334" y="302"/>
                    </a:lnTo>
                    <a:lnTo>
                      <a:pt x="334" y="307"/>
                    </a:lnTo>
                    <a:lnTo>
                      <a:pt x="329" y="307"/>
                    </a:lnTo>
                    <a:lnTo>
                      <a:pt x="334" y="307"/>
                    </a:lnTo>
                    <a:lnTo>
                      <a:pt x="334" y="307"/>
                    </a:lnTo>
                    <a:lnTo>
                      <a:pt x="329" y="307"/>
                    </a:lnTo>
                    <a:lnTo>
                      <a:pt x="334" y="307"/>
                    </a:lnTo>
                    <a:lnTo>
                      <a:pt x="334" y="307"/>
                    </a:lnTo>
                    <a:lnTo>
                      <a:pt x="338" y="311"/>
                    </a:lnTo>
                    <a:lnTo>
                      <a:pt x="334" y="325"/>
                    </a:lnTo>
                    <a:lnTo>
                      <a:pt x="334" y="329"/>
                    </a:lnTo>
                    <a:lnTo>
                      <a:pt x="334" y="329"/>
                    </a:lnTo>
                    <a:lnTo>
                      <a:pt x="334" y="329"/>
                    </a:lnTo>
                    <a:lnTo>
                      <a:pt x="334" y="334"/>
                    </a:lnTo>
                    <a:lnTo>
                      <a:pt x="338" y="334"/>
                    </a:lnTo>
                    <a:lnTo>
                      <a:pt x="338" y="339"/>
                    </a:lnTo>
                    <a:lnTo>
                      <a:pt x="334" y="343"/>
                    </a:lnTo>
                    <a:lnTo>
                      <a:pt x="334" y="348"/>
                    </a:lnTo>
                    <a:lnTo>
                      <a:pt x="334" y="348"/>
                    </a:lnTo>
                    <a:lnTo>
                      <a:pt x="329" y="348"/>
                    </a:lnTo>
                    <a:lnTo>
                      <a:pt x="329" y="348"/>
                    </a:lnTo>
                    <a:lnTo>
                      <a:pt x="329" y="352"/>
                    </a:lnTo>
                    <a:lnTo>
                      <a:pt x="329" y="357"/>
                    </a:lnTo>
                    <a:lnTo>
                      <a:pt x="325" y="361"/>
                    </a:lnTo>
                    <a:lnTo>
                      <a:pt x="325" y="361"/>
                    </a:lnTo>
                    <a:lnTo>
                      <a:pt x="325" y="361"/>
                    </a:lnTo>
                    <a:lnTo>
                      <a:pt x="325" y="361"/>
                    </a:lnTo>
                    <a:lnTo>
                      <a:pt x="320" y="371"/>
                    </a:lnTo>
                    <a:lnTo>
                      <a:pt x="320" y="375"/>
                    </a:lnTo>
                    <a:lnTo>
                      <a:pt x="320" y="375"/>
                    </a:lnTo>
                    <a:lnTo>
                      <a:pt x="320" y="375"/>
                    </a:lnTo>
                    <a:lnTo>
                      <a:pt x="316" y="375"/>
                    </a:lnTo>
                    <a:lnTo>
                      <a:pt x="306" y="375"/>
                    </a:lnTo>
                    <a:lnTo>
                      <a:pt x="302" y="375"/>
                    </a:lnTo>
                    <a:lnTo>
                      <a:pt x="293" y="375"/>
                    </a:lnTo>
                    <a:lnTo>
                      <a:pt x="293" y="375"/>
                    </a:lnTo>
                    <a:lnTo>
                      <a:pt x="288" y="375"/>
                    </a:lnTo>
                    <a:lnTo>
                      <a:pt x="270" y="375"/>
                    </a:lnTo>
                    <a:lnTo>
                      <a:pt x="261" y="375"/>
                    </a:lnTo>
                    <a:lnTo>
                      <a:pt x="256" y="375"/>
                    </a:lnTo>
                    <a:lnTo>
                      <a:pt x="229" y="375"/>
                    </a:lnTo>
                    <a:lnTo>
                      <a:pt x="220" y="375"/>
                    </a:lnTo>
                    <a:lnTo>
                      <a:pt x="215" y="375"/>
                    </a:lnTo>
                    <a:lnTo>
                      <a:pt x="210" y="375"/>
                    </a:lnTo>
                    <a:lnTo>
                      <a:pt x="210" y="375"/>
                    </a:lnTo>
                    <a:lnTo>
                      <a:pt x="210" y="375"/>
                    </a:lnTo>
                    <a:lnTo>
                      <a:pt x="206" y="375"/>
                    </a:lnTo>
                    <a:lnTo>
                      <a:pt x="201" y="375"/>
                    </a:lnTo>
                    <a:lnTo>
                      <a:pt x="192" y="375"/>
                    </a:lnTo>
                    <a:lnTo>
                      <a:pt x="188" y="375"/>
                    </a:lnTo>
                    <a:lnTo>
                      <a:pt x="188" y="375"/>
                    </a:lnTo>
                    <a:lnTo>
                      <a:pt x="188" y="380"/>
                    </a:lnTo>
                    <a:lnTo>
                      <a:pt x="174" y="380"/>
                    </a:lnTo>
                    <a:lnTo>
                      <a:pt x="169" y="380"/>
                    </a:lnTo>
                    <a:lnTo>
                      <a:pt x="142" y="384"/>
                    </a:lnTo>
                    <a:lnTo>
                      <a:pt x="137" y="384"/>
                    </a:lnTo>
                    <a:lnTo>
                      <a:pt x="133" y="384"/>
                    </a:lnTo>
                    <a:lnTo>
                      <a:pt x="128" y="384"/>
                    </a:lnTo>
                    <a:lnTo>
                      <a:pt x="128" y="384"/>
                    </a:lnTo>
                    <a:lnTo>
                      <a:pt x="124" y="389"/>
                    </a:lnTo>
                    <a:lnTo>
                      <a:pt x="105" y="389"/>
                    </a:lnTo>
                    <a:lnTo>
                      <a:pt x="101" y="389"/>
                    </a:lnTo>
                    <a:lnTo>
                      <a:pt x="96" y="389"/>
                    </a:lnTo>
                    <a:lnTo>
                      <a:pt x="92" y="393"/>
                    </a:lnTo>
                    <a:lnTo>
                      <a:pt x="92" y="393"/>
                    </a:lnTo>
                    <a:lnTo>
                      <a:pt x="87" y="393"/>
                    </a:lnTo>
                    <a:lnTo>
                      <a:pt x="87" y="389"/>
                    </a:lnTo>
                    <a:lnTo>
                      <a:pt x="87" y="389"/>
                    </a:lnTo>
                    <a:lnTo>
                      <a:pt x="87" y="393"/>
                    </a:lnTo>
                    <a:lnTo>
                      <a:pt x="87" y="393"/>
                    </a:lnTo>
                    <a:lnTo>
                      <a:pt x="82" y="393"/>
                    </a:lnTo>
                    <a:lnTo>
                      <a:pt x="73" y="398"/>
                    </a:lnTo>
                    <a:lnTo>
                      <a:pt x="73" y="398"/>
                    </a:lnTo>
                    <a:lnTo>
                      <a:pt x="69" y="398"/>
                    </a:lnTo>
                    <a:lnTo>
                      <a:pt x="69" y="398"/>
                    </a:lnTo>
                    <a:lnTo>
                      <a:pt x="64" y="398"/>
                    </a:lnTo>
                    <a:lnTo>
                      <a:pt x="64" y="398"/>
                    </a:lnTo>
                    <a:lnTo>
                      <a:pt x="64" y="398"/>
                    </a:lnTo>
                    <a:lnTo>
                      <a:pt x="64" y="398"/>
                    </a:lnTo>
                    <a:lnTo>
                      <a:pt x="64" y="398"/>
                    </a:lnTo>
                    <a:lnTo>
                      <a:pt x="64" y="393"/>
                    </a:lnTo>
                    <a:lnTo>
                      <a:pt x="60" y="393"/>
                    </a:lnTo>
                    <a:lnTo>
                      <a:pt x="60" y="389"/>
                    </a:lnTo>
                    <a:lnTo>
                      <a:pt x="55" y="389"/>
                    </a:lnTo>
                    <a:lnTo>
                      <a:pt x="55" y="384"/>
                    </a:lnTo>
                    <a:close/>
                  </a:path>
                </a:pathLst>
              </a:custGeom>
              <a:grpFill/>
              <a:ln w="6350" cmpd="sng">
                <a:solidFill>
                  <a:sysClr val="window" lastClr="FFFFFF"/>
                </a:solidFill>
                <a:miter lim="800000"/>
                <a:headEnd/>
                <a:tailEnd/>
              </a:ln>
              <a:effectLst/>
            </p:spPr>
            <p:txBody>
              <a:bodyPr lIns="91440" tIns="182880" rIns="0" bIns="0" anchor="ctr"/>
              <a:lstStyle/>
              <a:p>
                <a:pPr marL="0" marR="0" lvl="0" indent="0"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Akwa Ibom</a:t>
                </a:r>
              </a:p>
            </p:txBody>
          </p:sp>
          <p:sp>
            <p:nvSpPr>
              <p:cNvPr id="221" name="Freeform 47">
                <a:extLst>
                  <a:ext uri="{FF2B5EF4-FFF2-40B4-BE49-F238E27FC236}">
                    <a16:creationId xmlns:a16="http://schemas.microsoft.com/office/drawing/2014/main" id="{DF872E0D-6C79-4319-B2A3-972FA345CE06}"/>
                  </a:ext>
                </a:extLst>
              </p:cNvPr>
              <p:cNvSpPr>
                <a:spLocks/>
              </p:cNvSpPr>
              <p:nvPr>
                <p:custDataLst>
                  <p:tags r:id="rId38"/>
                </p:custDataLst>
              </p:nvPr>
            </p:nvSpPr>
            <p:spPr bwMode="auto">
              <a:xfrm>
                <a:off x="3235706" y="2401933"/>
                <a:ext cx="1139665" cy="1430758"/>
              </a:xfrm>
              <a:custGeom>
                <a:avLst/>
                <a:gdLst/>
                <a:ahLst/>
                <a:cxnLst>
                  <a:cxn ang="0">
                    <a:pos x="599" y="517"/>
                  </a:cxn>
                  <a:cxn ang="0">
                    <a:pos x="549" y="494"/>
                  </a:cxn>
                  <a:cxn ang="0">
                    <a:pos x="448" y="467"/>
                  </a:cxn>
                  <a:cxn ang="0">
                    <a:pos x="416" y="416"/>
                  </a:cxn>
                  <a:cxn ang="0">
                    <a:pos x="393" y="389"/>
                  </a:cxn>
                  <a:cxn ang="0">
                    <a:pos x="402" y="334"/>
                  </a:cxn>
                  <a:cxn ang="0">
                    <a:pos x="375" y="298"/>
                  </a:cxn>
                  <a:cxn ang="0">
                    <a:pos x="329" y="284"/>
                  </a:cxn>
                  <a:cxn ang="0">
                    <a:pos x="370" y="252"/>
                  </a:cxn>
                  <a:cxn ang="0">
                    <a:pos x="439" y="229"/>
                  </a:cxn>
                  <a:cxn ang="0">
                    <a:pos x="498" y="206"/>
                  </a:cxn>
                  <a:cxn ang="0">
                    <a:pos x="530" y="138"/>
                  </a:cxn>
                  <a:cxn ang="0">
                    <a:pos x="558" y="46"/>
                  </a:cxn>
                  <a:cxn ang="0">
                    <a:pos x="631" y="32"/>
                  </a:cxn>
                  <a:cxn ang="0">
                    <a:pos x="677" y="14"/>
                  </a:cxn>
                  <a:cxn ang="0">
                    <a:pos x="722" y="19"/>
                  </a:cxn>
                  <a:cxn ang="0">
                    <a:pos x="745" y="106"/>
                  </a:cxn>
                  <a:cxn ang="0">
                    <a:pos x="768" y="183"/>
                  </a:cxn>
                  <a:cxn ang="0">
                    <a:pos x="777" y="256"/>
                  </a:cxn>
                  <a:cxn ang="0">
                    <a:pos x="800" y="302"/>
                  </a:cxn>
                  <a:cxn ang="0">
                    <a:pos x="818" y="398"/>
                  </a:cxn>
                  <a:cxn ang="0">
                    <a:pos x="795" y="439"/>
                  </a:cxn>
                  <a:cxn ang="0">
                    <a:pos x="846" y="467"/>
                  </a:cxn>
                  <a:cxn ang="0">
                    <a:pos x="786" y="549"/>
                  </a:cxn>
                  <a:cxn ang="0">
                    <a:pos x="699" y="608"/>
                  </a:cxn>
                  <a:cxn ang="0">
                    <a:pos x="681" y="659"/>
                  </a:cxn>
                  <a:cxn ang="0">
                    <a:pos x="672" y="736"/>
                  </a:cxn>
                  <a:cxn ang="0">
                    <a:pos x="777" y="810"/>
                  </a:cxn>
                  <a:cxn ang="0">
                    <a:pos x="745" y="919"/>
                  </a:cxn>
                  <a:cxn ang="0">
                    <a:pos x="832" y="1038"/>
                  </a:cxn>
                  <a:cxn ang="0">
                    <a:pos x="791" y="1125"/>
                  </a:cxn>
                  <a:cxn ang="0">
                    <a:pos x="745" y="1148"/>
                  </a:cxn>
                  <a:cxn ang="0">
                    <a:pos x="658" y="1125"/>
                  </a:cxn>
                  <a:cxn ang="0">
                    <a:pos x="603" y="1093"/>
                  </a:cxn>
                  <a:cxn ang="0">
                    <a:pos x="526" y="1061"/>
                  </a:cxn>
                  <a:cxn ang="0">
                    <a:pos x="462" y="1034"/>
                  </a:cxn>
                  <a:cxn ang="0">
                    <a:pos x="416" y="1052"/>
                  </a:cxn>
                  <a:cxn ang="0">
                    <a:pos x="434" y="1084"/>
                  </a:cxn>
                  <a:cxn ang="0">
                    <a:pos x="379" y="1120"/>
                  </a:cxn>
                  <a:cxn ang="0">
                    <a:pos x="251" y="1125"/>
                  </a:cxn>
                  <a:cxn ang="0">
                    <a:pos x="210" y="1088"/>
                  </a:cxn>
                  <a:cxn ang="0">
                    <a:pos x="169" y="1066"/>
                  </a:cxn>
                  <a:cxn ang="0">
                    <a:pos x="183" y="1002"/>
                  </a:cxn>
                  <a:cxn ang="0">
                    <a:pos x="155" y="951"/>
                  </a:cxn>
                  <a:cxn ang="0">
                    <a:pos x="91" y="947"/>
                  </a:cxn>
                  <a:cxn ang="0">
                    <a:pos x="82" y="874"/>
                  </a:cxn>
                  <a:cxn ang="0">
                    <a:pos x="55" y="828"/>
                  </a:cxn>
                  <a:cxn ang="0">
                    <a:pos x="0" y="796"/>
                  </a:cxn>
                  <a:cxn ang="0">
                    <a:pos x="18" y="736"/>
                  </a:cxn>
                  <a:cxn ang="0">
                    <a:pos x="37" y="682"/>
                  </a:cxn>
                  <a:cxn ang="0">
                    <a:pos x="9" y="627"/>
                  </a:cxn>
                  <a:cxn ang="0">
                    <a:pos x="23" y="549"/>
                  </a:cxn>
                  <a:cxn ang="0">
                    <a:pos x="64" y="526"/>
                  </a:cxn>
                  <a:cxn ang="0">
                    <a:pos x="105" y="480"/>
                  </a:cxn>
                  <a:cxn ang="0">
                    <a:pos x="142" y="458"/>
                  </a:cxn>
                  <a:cxn ang="0">
                    <a:pos x="187" y="444"/>
                  </a:cxn>
                  <a:cxn ang="0">
                    <a:pos x="242" y="458"/>
                  </a:cxn>
                  <a:cxn ang="0">
                    <a:pos x="306" y="458"/>
                  </a:cxn>
                  <a:cxn ang="0">
                    <a:pos x="343" y="490"/>
                  </a:cxn>
                  <a:cxn ang="0">
                    <a:pos x="402" y="485"/>
                  </a:cxn>
                  <a:cxn ang="0">
                    <a:pos x="439" y="567"/>
                  </a:cxn>
                  <a:cxn ang="0">
                    <a:pos x="517" y="590"/>
                  </a:cxn>
                  <a:cxn ang="0">
                    <a:pos x="526" y="581"/>
                  </a:cxn>
                </a:cxnLst>
                <a:rect l="0" t="0" r="r" b="b"/>
                <a:pathLst>
                  <a:path w="855" h="1157">
                    <a:moveTo>
                      <a:pt x="553" y="544"/>
                    </a:moveTo>
                    <a:lnTo>
                      <a:pt x="567" y="544"/>
                    </a:lnTo>
                    <a:lnTo>
                      <a:pt x="571" y="544"/>
                    </a:lnTo>
                    <a:lnTo>
                      <a:pt x="576" y="540"/>
                    </a:lnTo>
                    <a:lnTo>
                      <a:pt x="581" y="540"/>
                    </a:lnTo>
                    <a:lnTo>
                      <a:pt x="585" y="535"/>
                    </a:lnTo>
                    <a:lnTo>
                      <a:pt x="590" y="531"/>
                    </a:lnTo>
                    <a:lnTo>
                      <a:pt x="594" y="526"/>
                    </a:lnTo>
                    <a:lnTo>
                      <a:pt x="594" y="526"/>
                    </a:lnTo>
                    <a:lnTo>
                      <a:pt x="594" y="526"/>
                    </a:lnTo>
                    <a:lnTo>
                      <a:pt x="594" y="522"/>
                    </a:lnTo>
                    <a:lnTo>
                      <a:pt x="599" y="522"/>
                    </a:lnTo>
                    <a:lnTo>
                      <a:pt x="599" y="517"/>
                    </a:lnTo>
                    <a:lnTo>
                      <a:pt x="599" y="512"/>
                    </a:lnTo>
                    <a:lnTo>
                      <a:pt x="603" y="512"/>
                    </a:lnTo>
                    <a:lnTo>
                      <a:pt x="603" y="508"/>
                    </a:lnTo>
                    <a:lnTo>
                      <a:pt x="599" y="503"/>
                    </a:lnTo>
                    <a:lnTo>
                      <a:pt x="594" y="503"/>
                    </a:lnTo>
                    <a:lnTo>
                      <a:pt x="594" y="503"/>
                    </a:lnTo>
                    <a:lnTo>
                      <a:pt x="585" y="503"/>
                    </a:lnTo>
                    <a:lnTo>
                      <a:pt x="581" y="503"/>
                    </a:lnTo>
                    <a:lnTo>
                      <a:pt x="576" y="499"/>
                    </a:lnTo>
                    <a:lnTo>
                      <a:pt x="571" y="499"/>
                    </a:lnTo>
                    <a:lnTo>
                      <a:pt x="567" y="499"/>
                    </a:lnTo>
                    <a:lnTo>
                      <a:pt x="553" y="494"/>
                    </a:lnTo>
                    <a:lnTo>
                      <a:pt x="549" y="494"/>
                    </a:lnTo>
                    <a:lnTo>
                      <a:pt x="539" y="490"/>
                    </a:lnTo>
                    <a:lnTo>
                      <a:pt x="530" y="490"/>
                    </a:lnTo>
                    <a:lnTo>
                      <a:pt x="521" y="485"/>
                    </a:lnTo>
                    <a:lnTo>
                      <a:pt x="507" y="480"/>
                    </a:lnTo>
                    <a:lnTo>
                      <a:pt x="503" y="480"/>
                    </a:lnTo>
                    <a:lnTo>
                      <a:pt x="494" y="480"/>
                    </a:lnTo>
                    <a:lnTo>
                      <a:pt x="485" y="480"/>
                    </a:lnTo>
                    <a:lnTo>
                      <a:pt x="485" y="480"/>
                    </a:lnTo>
                    <a:lnTo>
                      <a:pt x="471" y="480"/>
                    </a:lnTo>
                    <a:lnTo>
                      <a:pt x="466" y="480"/>
                    </a:lnTo>
                    <a:lnTo>
                      <a:pt x="457" y="476"/>
                    </a:lnTo>
                    <a:lnTo>
                      <a:pt x="453" y="471"/>
                    </a:lnTo>
                    <a:lnTo>
                      <a:pt x="448" y="467"/>
                    </a:lnTo>
                    <a:lnTo>
                      <a:pt x="448" y="462"/>
                    </a:lnTo>
                    <a:lnTo>
                      <a:pt x="443" y="458"/>
                    </a:lnTo>
                    <a:lnTo>
                      <a:pt x="439" y="458"/>
                    </a:lnTo>
                    <a:lnTo>
                      <a:pt x="439" y="453"/>
                    </a:lnTo>
                    <a:lnTo>
                      <a:pt x="439" y="448"/>
                    </a:lnTo>
                    <a:lnTo>
                      <a:pt x="439" y="444"/>
                    </a:lnTo>
                    <a:lnTo>
                      <a:pt x="434" y="444"/>
                    </a:lnTo>
                    <a:lnTo>
                      <a:pt x="434" y="439"/>
                    </a:lnTo>
                    <a:lnTo>
                      <a:pt x="434" y="439"/>
                    </a:lnTo>
                    <a:lnTo>
                      <a:pt x="430" y="439"/>
                    </a:lnTo>
                    <a:lnTo>
                      <a:pt x="430" y="435"/>
                    </a:lnTo>
                    <a:lnTo>
                      <a:pt x="421" y="416"/>
                    </a:lnTo>
                    <a:lnTo>
                      <a:pt x="416" y="416"/>
                    </a:lnTo>
                    <a:lnTo>
                      <a:pt x="416" y="416"/>
                    </a:lnTo>
                    <a:lnTo>
                      <a:pt x="416" y="412"/>
                    </a:lnTo>
                    <a:lnTo>
                      <a:pt x="416" y="407"/>
                    </a:lnTo>
                    <a:lnTo>
                      <a:pt x="411" y="407"/>
                    </a:lnTo>
                    <a:lnTo>
                      <a:pt x="407" y="407"/>
                    </a:lnTo>
                    <a:lnTo>
                      <a:pt x="398" y="407"/>
                    </a:lnTo>
                    <a:lnTo>
                      <a:pt x="398" y="403"/>
                    </a:lnTo>
                    <a:lnTo>
                      <a:pt x="393" y="403"/>
                    </a:lnTo>
                    <a:lnTo>
                      <a:pt x="393" y="398"/>
                    </a:lnTo>
                    <a:lnTo>
                      <a:pt x="393" y="398"/>
                    </a:lnTo>
                    <a:lnTo>
                      <a:pt x="393" y="394"/>
                    </a:lnTo>
                    <a:lnTo>
                      <a:pt x="393" y="394"/>
                    </a:lnTo>
                    <a:lnTo>
                      <a:pt x="393" y="389"/>
                    </a:lnTo>
                    <a:lnTo>
                      <a:pt x="393" y="384"/>
                    </a:lnTo>
                    <a:lnTo>
                      <a:pt x="393" y="380"/>
                    </a:lnTo>
                    <a:lnTo>
                      <a:pt x="393" y="380"/>
                    </a:lnTo>
                    <a:lnTo>
                      <a:pt x="393" y="375"/>
                    </a:lnTo>
                    <a:lnTo>
                      <a:pt x="393" y="371"/>
                    </a:lnTo>
                    <a:lnTo>
                      <a:pt x="398" y="371"/>
                    </a:lnTo>
                    <a:lnTo>
                      <a:pt x="398" y="371"/>
                    </a:lnTo>
                    <a:lnTo>
                      <a:pt x="398" y="366"/>
                    </a:lnTo>
                    <a:lnTo>
                      <a:pt x="402" y="362"/>
                    </a:lnTo>
                    <a:lnTo>
                      <a:pt x="402" y="352"/>
                    </a:lnTo>
                    <a:lnTo>
                      <a:pt x="402" y="348"/>
                    </a:lnTo>
                    <a:lnTo>
                      <a:pt x="407" y="339"/>
                    </a:lnTo>
                    <a:lnTo>
                      <a:pt x="402" y="334"/>
                    </a:lnTo>
                    <a:lnTo>
                      <a:pt x="402" y="330"/>
                    </a:lnTo>
                    <a:lnTo>
                      <a:pt x="402" y="330"/>
                    </a:lnTo>
                    <a:lnTo>
                      <a:pt x="402" y="325"/>
                    </a:lnTo>
                    <a:lnTo>
                      <a:pt x="398" y="320"/>
                    </a:lnTo>
                    <a:lnTo>
                      <a:pt x="398" y="316"/>
                    </a:lnTo>
                    <a:lnTo>
                      <a:pt x="393" y="311"/>
                    </a:lnTo>
                    <a:lnTo>
                      <a:pt x="393" y="307"/>
                    </a:lnTo>
                    <a:lnTo>
                      <a:pt x="393" y="307"/>
                    </a:lnTo>
                    <a:lnTo>
                      <a:pt x="389" y="302"/>
                    </a:lnTo>
                    <a:lnTo>
                      <a:pt x="384" y="298"/>
                    </a:lnTo>
                    <a:lnTo>
                      <a:pt x="379" y="298"/>
                    </a:lnTo>
                    <a:lnTo>
                      <a:pt x="375" y="298"/>
                    </a:lnTo>
                    <a:lnTo>
                      <a:pt x="375" y="298"/>
                    </a:lnTo>
                    <a:lnTo>
                      <a:pt x="370" y="302"/>
                    </a:lnTo>
                    <a:lnTo>
                      <a:pt x="366" y="302"/>
                    </a:lnTo>
                    <a:lnTo>
                      <a:pt x="361" y="302"/>
                    </a:lnTo>
                    <a:lnTo>
                      <a:pt x="357" y="302"/>
                    </a:lnTo>
                    <a:lnTo>
                      <a:pt x="352" y="307"/>
                    </a:lnTo>
                    <a:lnTo>
                      <a:pt x="347" y="307"/>
                    </a:lnTo>
                    <a:lnTo>
                      <a:pt x="343" y="307"/>
                    </a:lnTo>
                    <a:lnTo>
                      <a:pt x="338" y="307"/>
                    </a:lnTo>
                    <a:lnTo>
                      <a:pt x="334" y="307"/>
                    </a:lnTo>
                    <a:lnTo>
                      <a:pt x="334" y="302"/>
                    </a:lnTo>
                    <a:lnTo>
                      <a:pt x="329" y="298"/>
                    </a:lnTo>
                    <a:lnTo>
                      <a:pt x="329" y="293"/>
                    </a:lnTo>
                    <a:lnTo>
                      <a:pt x="329" y="284"/>
                    </a:lnTo>
                    <a:lnTo>
                      <a:pt x="334" y="284"/>
                    </a:lnTo>
                    <a:lnTo>
                      <a:pt x="334" y="284"/>
                    </a:lnTo>
                    <a:lnTo>
                      <a:pt x="338" y="284"/>
                    </a:lnTo>
                    <a:lnTo>
                      <a:pt x="343" y="279"/>
                    </a:lnTo>
                    <a:lnTo>
                      <a:pt x="347" y="275"/>
                    </a:lnTo>
                    <a:lnTo>
                      <a:pt x="352" y="275"/>
                    </a:lnTo>
                    <a:lnTo>
                      <a:pt x="352" y="270"/>
                    </a:lnTo>
                    <a:lnTo>
                      <a:pt x="352" y="266"/>
                    </a:lnTo>
                    <a:lnTo>
                      <a:pt x="352" y="261"/>
                    </a:lnTo>
                    <a:lnTo>
                      <a:pt x="357" y="261"/>
                    </a:lnTo>
                    <a:lnTo>
                      <a:pt x="361" y="261"/>
                    </a:lnTo>
                    <a:lnTo>
                      <a:pt x="366" y="256"/>
                    </a:lnTo>
                    <a:lnTo>
                      <a:pt x="370" y="252"/>
                    </a:lnTo>
                    <a:lnTo>
                      <a:pt x="375" y="252"/>
                    </a:lnTo>
                    <a:lnTo>
                      <a:pt x="375" y="252"/>
                    </a:lnTo>
                    <a:lnTo>
                      <a:pt x="384" y="247"/>
                    </a:lnTo>
                    <a:lnTo>
                      <a:pt x="389" y="247"/>
                    </a:lnTo>
                    <a:lnTo>
                      <a:pt x="393" y="247"/>
                    </a:lnTo>
                    <a:lnTo>
                      <a:pt x="398" y="247"/>
                    </a:lnTo>
                    <a:lnTo>
                      <a:pt x="402" y="243"/>
                    </a:lnTo>
                    <a:lnTo>
                      <a:pt x="407" y="243"/>
                    </a:lnTo>
                    <a:lnTo>
                      <a:pt x="411" y="238"/>
                    </a:lnTo>
                    <a:lnTo>
                      <a:pt x="416" y="238"/>
                    </a:lnTo>
                    <a:lnTo>
                      <a:pt x="430" y="234"/>
                    </a:lnTo>
                    <a:lnTo>
                      <a:pt x="439" y="229"/>
                    </a:lnTo>
                    <a:lnTo>
                      <a:pt x="439" y="229"/>
                    </a:lnTo>
                    <a:lnTo>
                      <a:pt x="443" y="224"/>
                    </a:lnTo>
                    <a:lnTo>
                      <a:pt x="448" y="224"/>
                    </a:lnTo>
                    <a:lnTo>
                      <a:pt x="453" y="220"/>
                    </a:lnTo>
                    <a:lnTo>
                      <a:pt x="457" y="220"/>
                    </a:lnTo>
                    <a:lnTo>
                      <a:pt x="462" y="220"/>
                    </a:lnTo>
                    <a:lnTo>
                      <a:pt x="462" y="220"/>
                    </a:lnTo>
                    <a:lnTo>
                      <a:pt x="466" y="215"/>
                    </a:lnTo>
                    <a:lnTo>
                      <a:pt x="471" y="215"/>
                    </a:lnTo>
                    <a:lnTo>
                      <a:pt x="475" y="211"/>
                    </a:lnTo>
                    <a:lnTo>
                      <a:pt x="480" y="211"/>
                    </a:lnTo>
                    <a:lnTo>
                      <a:pt x="485" y="211"/>
                    </a:lnTo>
                    <a:lnTo>
                      <a:pt x="489" y="206"/>
                    </a:lnTo>
                    <a:lnTo>
                      <a:pt x="498" y="206"/>
                    </a:lnTo>
                    <a:lnTo>
                      <a:pt x="503" y="202"/>
                    </a:lnTo>
                    <a:lnTo>
                      <a:pt x="503" y="202"/>
                    </a:lnTo>
                    <a:lnTo>
                      <a:pt x="507" y="202"/>
                    </a:lnTo>
                    <a:lnTo>
                      <a:pt x="507" y="197"/>
                    </a:lnTo>
                    <a:lnTo>
                      <a:pt x="512" y="197"/>
                    </a:lnTo>
                    <a:lnTo>
                      <a:pt x="517" y="192"/>
                    </a:lnTo>
                    <a:lnTo>
                      <a:pt x="521" y="188"/>
                    </a:lnTo>
                    <a:lnTo>
                      <a:pt x="526" y="179"/>
                    </a:lnTo>
                    <a:lnTo>
                      <a:pt x="526" y="174"/>
                    </a:lnTo>
                    <a:lnTo>
                      <a:pt x="526" y="174"/>
                    </a:lnTo>
                    <a:lnTo>
                      <a:pt x="526" y="170"/>
                    </a:lnTo>
                    <a:lnTo>
                      <a:pt x="530" y="160"/>
                    </a:lnTo>
                    <a:lnTo>
                      <a:pt x="530" y="138"/>
                    </a:lnTo>
                    <a:lnTo>
                      <a:pt x="530" y="110"/>
                    </a:lnTo>
                    <a:lnTo>
                      <a:pt x="535" y="106"/>
                    </a:lnTo>
                    <a:lnTo>
                      <a:pt x="535" y="92"/>
                    </a:lnTo>
                    <a:lnTo>
                      <a:pt x="539" y="83"/>
                    </a:lnTo>
                    <a:lnTo>
                      <a:pt x="544" y="74"/>
                    </a:lnTo>
                    <a:lnTo>
                      <a:pt x="544" y="69"/>
                    </a:lnTo>
                    <a:lnTo>
                      <a:pt x="549" y="64"/>
                    </a:lnTo>
                    <a:lnTo>
                      <a:pt x="549" y="64"/>
                    </a:lnTo>
                    <a:lnTo>
                      <a:pt x="549" y="60"/>
                    </a:lnTo>
                    <a:lnTo>
                      <a:pt x="549" y="55"/>
                    </a:lnTo>
                    <a:lnTo>
                      <a:pt x="553" y="51"/>
                    </a:lnTo>
                    <a:lnTo>
                      <a:pt x="558" y="51"/>
                    </a:lnTo>
                    <a:lnTo>
                      <a:pt x="558" y="46"/>
                    </a:lnTo>
                    <a:lnTo>
                      <a:pt x="562" y="46"/>
                    </a:lnTo>
                    <a:lnTo>
                      <a:pt x="567" y="42"/>
                    </a:lnTo>
                    <a:lnTo>
                      <a:pt x="567" y="42"/>
                    </a:lnTo>
                    <a:lnTo>
                      <a:pt x="571" y="42"/>
                    </a:lnTo>
                    <a:lnTo>
                      <a:pt x="576" y="37"/>
                    </a:lnTo>
                    <a:lnTo>
                      <a:pt x="585" y="37"/>
                    </a:lnTo>
                    <a:lnTo>
                      <a:pt x="594" y="32"/>
                    </a:lnTo>
                    <a:lnTo>
                      <a:pt x="603" y="32"/>
                    </a:lnTo>
                    <a:lnTo>
                      <a:pt x="608" y="32"/>
                    </a:lnTo>
                    <a:lnTo>
                      <a:pt x="617" y="28"/>
                    </a:lnTo>
                    <a:lnTo>
                      <a:pt x="622" y="28"/>
                    </a:lnTo>
                    <a:lnTo>
                      <a:pt x="626" y="28"/>
                    </a:lnTo>
                    <a:lnTo>
                      <a:pt x="631" y="32"/>
                    </a:lnTo>
                    <a:lnTo>
                      <a:pt x="635" y="37"/>
                    </a:lnTo>
                    <a:lnTo>
                      <a:pt x="635" y="37"/>
                    </a:lnTo>
                    <a:lnTo>
                      <a:pt x="640" y="37"/>
                    </a:lnTo>
                    <a:lnTo>
                      <a:pt x="645" y="37"/>
                    </a:lnTo>
                    <a:lnTo>
                      <a:pt x="645" y="32"/>
                    </a:lnTo>
                    <a:lnTo>
                      <a:pt x="649" y="32"/>
                    </a:lnTo>
                    <a:lnTo>
                      <a:pt x="649" y="28"/>
                    </a:lnTo>
                    <a:lnTo>
                      <a:pt x="654" y="28"/>
                    </a:lnTo>
                    <a:lnTo>
                      <a:pt x="654" y="23"/>
                    </a:lnTo>
                    <a:lnTo>
                      <a:pt x="658" y="23"/>
                    </a:lnTo>
                    <a:lnTo>
                      <a:pt x="658" y="23"/>
                    </a:lnTo>
                    <a:lnTo>
                      <a:pt x="667" y="19"/>
                    </a:lnTo>
                    <a:lnTo>
                      <a:pt x="677" y="14"/>
                    </a:lnTo>
                    <a:lnTo>
                      <a:pt x="681" y="10"/>
                    </a:lnTo>
                    <a:lnTo>
                      <a:pt x="681" y="10"/>
                    </a:lnTo>
                    <a:lnTo>
                      <a:pt x="681" y="5"/>
                    </a:lnTo>
                    <a:lnTo>
                      <a:pt x="686" y="5"/>
                    </a:lnTo>
                    <a:lnTo>
                      <a:pt x="690" y="0"/>
                    </a:lnTo>
                    <a:lnTo>
                      <a:pt x="690" y="0"/>
                    </a:lnTo>
                    <a:lnTo>
                      <a:pt x="704" y="0"/>
                    </a:lnTo>
                    <a:lnTo>
                      <a:pt x="704" y="5"/>
                    </a:lnTo>
                    <a:lnTo>
                      <a:pt x="709" y="10"/>
                    </a:lnTo>
                    <a:lnTo>
                      <a:pt x="713" y="10"/>
                    </a:lnTo>
                    <a:lnTo>
                      <a:pt x="713" y="14"/>
                    </a:lnTo>
                    <a:lnTo>
                      <a:pt x="718" y="14"/>
                    </a:lnTo>
                    <a:lnTo>
                      <a:pt x="722" y="19"/>
                    </a:lnTo>
                    <a:lnTo>
                      <a:pt x="722" y="23"/>
                    </a:lnTo>
                    <a:lnTo>
                      <a:pt x="736" y="32"/>
                    </a:lnTo>
                    <a:lnTo>
                      <a:pt x="736" y="37"/>
                    </a:lnTo>
                    <a:lnTo>
                      <a:pt x="736" y="42"/>
                    </a:lnTo>
                    <a:lnTo>
                      <a:pt x="741" y="46"/>
                    </a:lnTo>
                    <a:lnTo>
                      <a:pt x="745" y="51"/>
                    </a:lnTo>
                    <a:lnTo>
                      <a:pt x="745" y="55"/>
                    </a:lnTo>
                    <a:lnTo>
                      <a:pt x="745" y="64"/>
                    </a:lnTo>
                    <a:lnTo>
                      <a:pt x="745" y="64"/>
                    </a:lnTo>
                    <a:lnTo>
                      <a:pt x="745" y="78"/>
                    </a:lnTo>
                    <a:lnTo>
                      <a:pt x="745" y="87"/>
                    </a:lnTo>
                    <a:lnTo>
                      <a:pt x="745" y="101"/>
                    </a:lnTo>
                    <a:lnTo>
                      <a:pt x="745" y="106"/>
                    </a:lnTo>
                    <a:lnTo>
                      <a:pt x="745" y="110"/>
                    </a:lnTo>
                    <a:lnTo>
                      <a:pt x="745" y="119"/>
                    </a:lnTo>
                    <a:lnTo>
                      <a:pt x="745" y="128"/>
                    </a:lnTo>
                    <a:lnTo>
                      <a:pt x="750" y="133"/>
                    </a:lnTo>
                    <a:lnTo>
                      <a:pt x="750" y="138"/>
                    </a:lnTo>
                    <a:lnTo>
                      <a:pt x="754" y="142"/>
                    </a:lnTo>
                    <a:lnTo>
                      <a:pt x="754" y="147"/>
                    </a:lnTo>
                    <a:lnTo>
                      <a:pt x="759" y="156"/>
                    </a:lnTo>
                    <a:lnTo>
                      <a:pt x="763" y="160"/>
                    </a:lnTo>
                    <a:lnTo>
                      <a:pt x="763" y="165"/>
                    </a:lnTo>
                    <a:lnTo>
                      <a:pt x="768" y="170"/>
                    </a:lnTo>
                    <a:lnTo>
                      <a:pt x="768" y="174"/>
                    </a:lnTo>
                    <a:lnTo>
                      <a:pt x="768" y="183"/>
                    </a:lnTo>
                    <a:lnTo>
                      <a:pt x="768" y="192"/>
                    </a:lnTo>
                    <a:lnTo>
                      <a:pt x="768" y="202"/>
                    </a:lnTo>
                    <a:lnTo>
                      <a:pt x="768" y="206"/>
                    </a:lnTo>
                    <a:lnTo>
                      <a:pt x="768" y="215"/>
                    </a:lnTo>
                    <a:lnTo>
                      <a:pt x="768" y="220"/>
                    </a:lnTo>
                    <a:lnTo>
                      <a:pt x="768" y="224"/>
                    </a:lnTo>
                    <a:lnTo>
                      <a:pt x="768" y="229"/>
                    </a:lnTo>
                    <a:lnTo>
                      <a:pt x="773" y="234"/>
                    </a:lnTo>
                    <a:lnTo>
                      <a:pt x="773" y="238"/>
                    </a:lnTo>
                    <a:lnTo>
                      <a:pt x="777" y="238"/>
                    </a:lnTo>
                    <a:lnTo>
                      <a:pt x="777" y="238"/>
                    </a:lnTo>
                    <a:lnTo>
                      <a:pt x="777" y="243"/>
                    </a:lnTo>
                    <a:lnTo>
                      <a:pt x="777" y="256"/>
                    </a:lnTo>
                    <a:lnTo>
                      <a:pt x="777" y="261"/>
                    </a:lnTo>
                    <a:lnTo>
                      <a:pt x="777" y="261"/>
                    </a:lnTo>
                    <a:lnTo>
                      <a:pt x="777" y="266"/>
                    </a:lnTo>
                    <a:lnTo>
                      <a:pt x="782" y="270"/>
                    </a:lnTo>
                    <a:lnTo>
                      <a:pt x="782" y="275"/>
                    </a:lnTo>
                    <a:lnTo>
                      <a:pt x="791" y="284"/>
                    </a:lnTo>
                    <a:lnTo>
                      <a:pt x="791" y="284"/>
                    </a:lnTo>
                    <a:lnTo>
                      <a:pt x="791" y="288"/>
                    </a:lnTo>
                    <a:lnTo>
                      <a:pt x="791" y="288"/>
                    </a:lnTo>
                    <a:lnTo>
                      <a:pt x="791" y="293"/>
                    </a:lnTo>
                    <a:lnTo>
                      <a:pt x="795" y="298"/>
                    </a:lnTo>
                    <a:lnTo>
                      <a:pt x="795" y="302"/>
                    </a:lnTo>
                    <a:lnTo>
                      <a:pt x="800" y="302"/>
                    </a:lnTo>
                    <a:lnTo>
                      <a:pt x="800" y="307"/>
                    </a:lnTo>
                    <a:lnTo>
                      <a:pt x="805" y="311"/>
                    </a:lnTo>
                    <a:lnTo>
                      <a:pt x="805" y="320"/>
                    </a:lnTo>
                    <a:lnTo>
                      <a:pt x="809" y="330"/>
                    </a:lnTo>
                    <a:lnTo>
                      <a:pt x="814" y="348"/>
                    </a:lnTo>
                    <a:lnTo>
                      <a:pt x="814" y="357"/>
                    </a:lnTo>
                    <a:lnTo>
                      <a:pt x="814" y="366"/>
                    </a:lnTo>
                    <a:lnTo>
                      <a:pt x="818" y="371"/>
                    </a:lnTo>
                    <a:lnTo>
                      <a:pt x="818" y="380"/>
                    </a:lnTo>
                    <a:lnTo>
                      <a:pt x="818" y="389"/>
                    </a:lnTo>
                    <a:lnTo>
                      <a:pt x="818" y="394"/>
                    </a:lnTo>
                    <a:lnTo>
                      <a:pt x="818" y="394"/>
                    </a:lnTo>
                    <a:lnTo>
                      <a:pt x="818" y="398"/>
                    </a:lnTo>
                    <a:lnTo>
                      <a:pt x="818" y="403"/>
                    </a:lnTo>
                    <a:lnTo>
                      <a:pt x="818" y="407"/>
                    </a:lnTo>
                    <a:lnTo>
                      <a:pt x="818" y="412"/>
                    </a:lnTo>
                    <a:lnTo>
                      <a:pt x="814" y="416"/>
                    </a:lnTo>
                    <a:lnTo>
                      <a:pt x="814" y="416"/>
                    </a:lnTo>
                    <a:lnTo>
                      <a:pt x="814" y="421"/>
                    </a:lnTo>
                    <a:lnTo>
                      <a:pt x="809" y="426"/>
                    </a:lnTo>
                    <a:lnTo>
                      <a:pt x="809" y="430"/>
                    </a:lnTo>
                    <a:lnTo>
                      <a:pt x="805" y="430"/>
                    </a:lnTo>
                    <a:lnTo>
                      <a:pt x="805" y="435"/>
                    </a:lnTo>
                    <a:lnTo>
                      <a:pt x="800" y="439"/>
                    </a:lnTo>
                    <a:lnTo>
                      <a:pt x="800" y="439"/>
                    </a:lnTo>
                    <a:lnTo>
                      <a:pt x="795" y="439"/>
                    </a:lnTo>
                    <a:lnTo>
                      <a:pt x="795" y="444"/>
                    </a:lnTo>
                    <a:lnTo>
                      <a:pt x="795" y="448"/>
                    </a:lnTo>
                    <a:lnTo>
                      <a:pt x="800" y="453"/>
                    </a:lnTo>
                    <a:lnTo>
                      <a:pt x="800" y="458"/>
                    </a:lnTo>
                    <a:lnTo>
                      <a:pt x="805" y="458"/>
                    </a:lnTo>
                    <a:lnTo>
                      <a:pt x="809" y="462"/>
                    </a:lnTo>
                    <a:lnTo>
                      <a:pt x="814" y="462"/>
                    </a:lnTo>
                    <a:lnTo>
                      <a:pt x="814" y="467"/>
                    </a:lnTo>
                    <a:lnTo>
                      <a:pt x="818" y="467"/>
                    </a:lnTo>
                    <a:lnTo>
                      <a:pt x="827" y="467"/>
                    </a:lnTo>
                    <a:lnTo>
                      <a:pt x="832" y="467"/>
                    </a:lnTo>
                    <a:lnTo>
                      <a:pt x="832" y="467"/>
                    </a:lnTo>
                    <a:lnTo>
                      <a:pt x="846" y="467"/>
                    </a:lnTo>
                    <a:lnTo>
                      <a:pt x="855" y="467"/>
                    </a:lnTo>
                    <a:lnTo>
                      <a:pt x="855" y="471"/>
                    </a:lnTo>
                    <a:lnTo>
                      <a:pt x="850" y="476"/>
                    </a:lnTo>
                    <a:lnTo>
                      <a:pt x="850" y="480"/>
                    </a:lnTo>
                    <a:lnTo>
                      <a:pt x="841" y="490"/>
                    </a:lnTo>
                    <a:lnTo>
                      <a:pt x="837" y="503"/>
                    </a:lnTo>
                    <a:lnTo>
                      <a:pt x="832" y="508"/>
                    </a:lnTo>
                    <a:lnTo>
                      <a:pt x="823" y="517"/>
                    </a:lnTo>
                    <a:lnTo>
                      <a:pt x="814" y="526"/>
                    </a:lnTo>
                    <a:lnTo>
                      <a:pt x="805" y="531"/>
                    </a:lnTo>
                    <a:lnTo>
                      <a:pt x="800" y="540"/>
                    </a:lnTo>
                    <a:lnTo>
                      <a:pt x="791" y="549"/>
                    </a:lnTo>
                    <a:lnTo>
                      <a:pt x="786" y="549"/>
                    </a:lnTo>
                    <a:lnTo>
                      <a:pt x="777" y="549"/>
                    </a:lnTo>
                    <a:lnTo>
                      <a:pt x="768" y="544"/>
                    </a:lnTo>
                    <a:lnTo>
                      <a:pt x="763" y="535"/>
                    </a:lnTo>
                    <a:lnTo>
                      <a:pt x="750" y="540"/>
                    </a:lnTo>
                    <a:lnTo>
                      <a:pt x="741" y="544"/>
                    </a:lnTo>
                    <a:lnTo>
                      <a:pt x="736" y="549"/>
                    </a:lnTo>
                    <a:lnTo>
                      <a:pt x="731" y="558"/>
                    </a:lnTo>
                    <a:lnTo>
                      <a:pt x="722" y="567"/>
                    </a:lnTo>
                    <a:lnTo>
                      <a:pt x="718" y="572"/>
                    </a:lnTo>
                    <a:lnTo>
                      <a:pt x="704" y="581"/>
                    </a:lnTo>
                    <a:lnTo>
                      <a:pt x="695" y="590"/>
                    </a:lnTo>
                    <a:lnTo>
                      <a:pt x="699" y="595"/>
                    </a:lnTo>
                    <a:lnTo>
                      <a:pt x="699" y="608"/>
                    </a:lnTo>
                    <a:lnTo>
                      <a:pt x="704" y="613"/>
                    </a:lnTo>
                    <a:lnTo>
                      <a:pt x="709" y="618"/>
                    </a:lnTo>
                    <a:lnTo>
                      <a:pt x="713" y="627"/>
                    </a:lnTo>
                    <a:lnTo>
                      <a:pt x="713" y="636"/>
                    </a:lnTo>
                    <a:lnTo>
                      <a:pt x="704" y="636"/>
                    </a:lnTo>
                    <a:lnTo>
                      <a:pt x="699" y="627"/>
                    </a:lnTo>
                    <a:lnTo>
                      <a:pt x="695" y="622"/>
                    </a:lnTo>
                    <a:lnTo>
                      <a:pt x="686" y="622"/>
                    </a:lnTo>
                    <a:lnTo>
                      <a:pt x="681" y="622"/>
                    </a:lnTo>
                    <a:lnTo>
                      <a:pt x="681" y="631"/>
                    </a:lnTo>
                    <a:lnTo>
                      <a:pt x="681" y="636"/>
                    </a:lnTo>
                    <a:lnTo>
                      <a:pt x="681" y="645"/>
                    </a:lnTo>
                    <a:lnTo>
                      <a:pt x="681" y="659"/>
                    </a:lnTo>
                    <a:lnTo>
                      <a:pt x="677" y="668"/>
                    </a:lnTo>
                    <a:lnTo>
                      <a:pt x="672" y="672"/>
                    </a:lnTo>
                    <a:lnTo>
                      <a:pt x="672" y="677"/>
                    </a:lnTo>
                    <a:lnTo>
                      <a:pt x="667" y="677"/>
                    </a:lnTo>
                    <a:lnTo>
                      <a:pt x="658" y="686"/>
                    </a:lnTo>
                    <a:lnTo>
                      <a:pt x="658" y="695"/>
                    </a:lnTo>
                    <a:lnTo>
                      <a:pt x="658" y="700"/>
                    </a:lnTo>
                    <a:lnTo>
                      <a:pt x="654" y="704"/>
                    </a:lnTo>
                    <a:lnTo>
                      <a:pt x="654" y="714"/>
                    </a:lnTo>
                    <a:lnTo>
                      <a:pt x="654" y="718"/>
                    </a:lnTo>
                    <a:lnTo>
                      <a:pt x="654" y="723"/>
                    </a:lnTo>
                    <a:lnTo>
                      <a:pt x="658" y="723"/>
                    </a:lnTo>
                    <a:lnTo>
                      <a:pt x="672" y="736"/>
                    </a:lnTo>
                    <a:lnTo>
                      <a:pt x="672" y="746"/>
                    </a:lnTo>
                    <a:lnTo>
                      <a:pt x="681" y="755"/>
                    </a:lnTo>
                    <a:lnTo>
                      <a:pt x="681" y="759"/>
                    </a:lnTo>
                    <a:lnTo>
                      <a:pt x="681" y="768"/>
                    </a:lnTo>
                    <a:lnTo>
                      <a:pt x="686" y="768"/>
                    </a:lnTo>
                    <a:lnTo>
                      <a:pt x="695" y="773"/>
                    </a:lnTo>
                    <a:lnTo>
                      <a:pt x="709" y="773"/>
                    </a:lnTo>
                    <a:lnTo>
                      <a:pt x="722" y="773"/>
                    </a:lnTo>
                    <a:lnTo>
                      <a:pt x="731" y="782"/>
                    </a:lnTo>
                    <a:lnTo>
                      <a:pt x="754" y="787"/>
                    </a:lnTo>
                    <a:lnTo>
                      <a:pt x="768" y="791"/>
                    </a:lnTo>
                    <a:lnTo>
                      <a:pt x="777" y="800"/>
                    </a:lnTo>
                    <a:lnTo>
                      <a:pt x="777" y="810"/>
                    </a:lnTo>
                    <a:lnTo>
                      <a:pt x="777" y="810"/>
                    </a:lnTo>
                    <a:lnTo>
                      <a:pt x="777" y="828"/>
                    </a:lnTo>
                    <a:lnTo>
                      <a:pt x="777" y="837"/>
                    </a:lnTo>
                    <a:lnTo>
                      <a:pt x="777" y="851"/>
                    </a:lnTo>
                    <a:lnTo>
                      <a:pt x="782" y="860"/>
                    </a:lnTo>
                    <a:lnTo>
                      <a:pt x="791" y="869"/>
                    </a:lnTo>
                    <a:lnTo>
                      <a:pt x="782" y="878"/>
                    </a:lnTo>
                    <a:lnTo>
                      <a:pt x="777" y="887"/>
                    </a:lnTo>
                    <a:lnTo>
                      <a:pt x="773" y="896"/>
                    </a:lnTo>
                    <a:lnTo>
                      <a:pt x="773" y="906"/>
                    </a:lnTo>
                    <a:lnTo>
                      <a:pt x="768" y="910"/>
                    </a:lnTo>
                    <a:lnTo>
                      <a:pt x="754" y="915"/>
                    </a:lnTo>
                    <a:lnTo>
                      <a:pt x="745" y="919"/>
                    </a:lnTo>
                    <a:lnTo>
                      <a:pt x="736" y="919"/>
                    </a:lnTo>
                    <a:lnTo>
                      <a:pt x="731" y="919"/>
                    </a:lnTo>
                    <a:lnTo>
                      <a:pt x="722" y="928"/>
                    </a:lnTo>
                    <a:lnTo>
                      <a:pt x="727" y="942"/>
                    </a:lnTo>
                    <a:lnTo>
                      <a:pt x="745" y="947"/>
                    </a:lnTo>
                    <a:lnTo>
                      <a:pt x="763" y="960"/>
                    </a:lnTo>
                    <a:lnTo>
                      <a:pt x="777" y="970"/>
                    </a:lnTo>
                    <a:lnTo>
                      <a:pt x="800" y="983"/>
                    </a:lnTo>
                    <a:lnTo>
                      <a:pt x="818" y="997"/>
                    </a:lnTo>
                    <a:lnTo>
                      <a:pt x="832" y="1011"/>
                    </a:lnTo>
                    <a:lnTo>
                      <a:pt x="837" y="1020"/>
                    </a:lnTo>
                    <a:lnTo>
                      <a:pt x="832" y="1029"/>
                    </a:lnTo>
                    <a:lnTo>
                      <a:pt x="832" y="1038"/>
                    </a:lnTo>
                    <a:lnTo>
                      <a:pt x="832" y="1052"/>
                    </a:lnTo>
                    <a:lnTo>
                      <a:pt x="832" y="1075"/>
                    </a:lnTo>
                    <a:lnTo>
                      <a:pt x="837" y="1079"/>
                    </a:lnTo>
                    <a:lnTo>
                      <a:pt x="841" y="1116"/>
                    </a:lnTo>
                    <a:lnTo>
                      <a:pt x="832" y="1116"/>
                    </a:lnTo>
                    <a:lnTo>
                      <a:pt x="823" y="1116"/>
                    </a:lnTo>
                    <a:lnTo>
                      <a:pt x="818" y="1116"/>
                    </a:lnTo>
                    <a:lnTo>
                      <a:pt x="814" y="1116"/>
                    </a:lnTo>
                    <a:lnTo>
                      <a:pt x="809" y="1116"/>
                    </a:lnTo>
                    <a:lnTo>
                      <a:pt x="805" y="1120"/>
                    </a:lnTo>
                    <a:lnTo>
                      <a:pt x="800" y="1120"/>
                    </a:lnTo>
                    <a:lnTo>
                      <a:pt x="791" y="1125"/>
                    </a:lnTo>
                    <a:lnTo>
                      <a:pt x="791" y="1125"/>
                    </a:lnTo>
                    <a:lnTo>
                      <a:pt x="786" y="1130"/>
                    </a:lnTo>
                    <a:lnTo>
                      <a:pt x="782" y="1130"/>
                    </a:lnTo>
                    <a:lnTo>
                      <a:pt x="782" y="1134"/>
                    </a:lnTo>
                    <a:lnTo>
                      <a:pt x="777" y="1134"/>
                    </a:lnTo>
                    <a:lnTo>
                      <a:pt x="773" y="1134"/>
                    </a:lnTo>
                    <a:lnTo>
                      <a:pt x="768" y="1139"/>
                    </a:lnTo>
                    <a:lnTo>
                      <a:pt x="768" y="1139"/>
                    </a:lnTo>
                    <a:lnTo>
                      <a:pt x="763" y="1139"/>
                    </a:lnTo>
                    <a:lnTo>
                      <a:pt x="763" y="1143"/>
                    </a:lnTo>
                    <a:lnTo>
                      <a:pt x="759" y="1143"/>
                    </a:lnTo>
                    <a:lnTo>
                      <a:pt x="754" y="1143"/>
                    </a:lnTo>
                    <a:lnTo>
                      <a:pt x="750" y="1148"/>
                    </a:lnTo>
                    <a:lnTo>
                      <a:pt x="745" y="1148"/>
                    </a:lnTo>
                    <a:lnTo>
                      <a:pt x="741" y="1152"/>
                    </a:lnTo>
                    <a:lnTo>
                      <a:pt x="727" y="1152"/>
                    </a:lnTo>
                    <a:lnTo>
                      <a:pt x="722" y="1152"/>
                    </a:lnTo>
                    <a:lnTo>
                      <a:pt x="718" y="1152"/>
                    </a:lnTo>
                    <a:lnTo>
                      <a:pt x="713" y="1152"/>
                    </a:lnTo>
                    <a:lnTo>
                      <a:pt x="695" y="1157"/>
                    </a:lnTo>
                    <a:lnTo>
                      <a:pt x="690" y="1152"/>
                    </a:lnTo>
                    <a:lnTo>
                      <a:pt x="681" y="1148"/>
                    </a:lnTo>
                    <a:lnTo>
                      <a:pt x="681" y="1148"/>
                    </a:lnTo>
                    <a:lnTo>
                      <a:pt x="681" y="1143"/>
                    </a:lnTo>
                    <a:lnTo>
                      <a:pt x="677" y="1139"/>
                    </a:lnTo>
                    <a:lnTo>
                      <a:pt x="663" y="1134"/>
                    </a:lnTo>
                    <a:lnTo>
                      <a:pt x="658" y="1125"/>
                    </a:lnTo>
                    <a:lnTo>
                      <a:pt x="649" y="1120"/>
                    </a:lnTo>
                    <a:lnTo>
                      <a:pt x="645" y="1116"/>
                    </a:lnTo>
                    <a:lnTo>
                      <a:pt x="640" y="1116"/>
                    </a:lnTo>
                    <a:lnTo>
                      <a:pt x="635" y="1116"/>
                    </a:lnTo>
                    <a:lnTo>
                      <a:pt x="635" y="1116"/>
                    </a:lnTo>
                    <a:lnTo>
                      <a:pt x="631" y="1111"/>
                    </a:lnTo>
                    <a:lnTo>
                      <a:pt x="626" y="1107"/>
                    </a:lnTo>
                    <a:lnTo>
                      <a:pt x="622" y="1107"/>
                    </a:lnTo>
                    <a:lnTo>
                      <a:pt x="617" y="1102"/>
                    </a:lnTo>
                    <a:lnTo>
                      <a:pt x="613" y="1098"/>
                    </a:lnTo>
                    <a:lnTo>
                      <a:pt x="613" y="1098"/>
                    </a:lnTo>
                    <a:lnTo>
                      <a:pt x="608" y="1098"/>
                    </a:lnTo>
                    <a:lnTo>
                      <a:pt x="603" y="1093"/>
                    </a:lnTo>
                    <a:lnTo>
                      <a:pt x="599" y="1093"/>
                    </a:lnTo>
                    <a:lnTo>
                      <a:pt x="594" y="1088"/>
                    </a:lnTo>
                    <a:lnTo>
                      <a:pt x="585" y="1088"/>
                    </a:lnTo>
                    <a:lnTo>
                      <a:pt x="581" y="1084"/>
                    </a:lnTo>
                    <a:lnTo>
                      <a:pt x="571" y="1079"/>
                    </a:lnTo>
                    <a:lnTo>
                      <a:pt x="553" y="1079"/>
                    </a:lnTo>
                    <a:lnTo>
                      <a:pt x="549" y="1075"/>
                    </a:lnTo>
                    <a:lnTo>
                      <a:pt x="544" y="1075"/>
                    </a:lnTo>
                    <a:lnTo>
                      <a:pt x="539" y="1075"/>
                    </a:lnTo>
                    <a:lnTo>
                      <a:pt x="535" y="1070"/>
                    </a:lnTo>
                    <a:lnTo>
                      <a:pt x="530" y="1066"/>
                    </a:lnTo>
                    <a:lnTo>
                      <a:pt x="530" y="1061"/>
                    </a:lnTo>
                    <a:lnTo>
                      <a:pt x="526" y="1061"/>
                    </a:lnTo>
                    <a:lnTo>
                      <a:pt x="526" y="1056"/>
                    </a:lnTo>
                    <a:lnTo>
                      <a:pt x="521" y="1056"/>
                    </a:lnTo>
                    <a:lnTo>
                      <a:pt x="517" y="1052"/>
                    </a:lnTo>
                    <a:lnTo>
                      <a:pt x="512" y="1052"/>
                    </a:lnTo>
                    <a:lnTo>
                      <a:pt x="507" y="1052"/>
                    </a:lnTo>
                    <a:lnTo>
                      <a:pt x="503" y="1047"/>
                    </a:lnTo>
                    <a:lnTo>
                      <a:pt x="494" y="1043"/>
                    </a:lnTo>
                    <a:lnTo>
                      <a:pt x="480" y="1043"/>
                    </a:lnTo>
                    <a:lnTo>
                      <a:pt x="475" y="1043"/>
                    </a:lnTo>
                    <a:lnTo>
                      <a:pt x="475" y="1038"/>
                    </a:lnTo>
                    <a:lnTo>
                      <a:pt x="471" y="1038"/>
                    </a:lnTo>
                    <a:lnTo>
                      <a:pt x="466" y="1038"/>
                    </a:lnTo>
                    <a:lnTo>
                      <a:pt x="462" y="1034"/>
                    </a:lnTo>
                    <a:lnTo>
                      <a:pt x="462" y="1034"/>
                    </a:lnTo>
                    <a:lnTo>
                      <a:pt x="448" y="1029"/>
                    </a:lnTo>
                    <a:lnTo>
                      <a:pt x="448" y="1029"/>
                    </a:lnTo>
                    <a:lnTo>
                      <a:pt x="443" y="1029"/>
                    </a:lnTo>
                    <a:lnTo>
                      <a:pt x="439" y="1029"/>
                    </a:lnTo>
                    <a:lnTo>
                      <a:pt x="430" y="1029"/>
                    </a:lnTo>
                    <a:lnTo>
                      <a:pt x="425" y="1029"/>
                    </a:lnTo>
                    <a:lnTo>
                      <a:pt x="421" y="1029"/>
                    </a:lnTo>
                    <a:lnTo>
                      <a:pt x="416" y="1034"/>
                    </a:lnTo>
                    <a:lnTo>
                      <a:pt x="416" y="1038"/>
                    </a:lnTo>
                    <a:lnTo>
                      <a:pt x="416" y="1043"/>
                    </a:lnTo>
                    <a:lnTo>
                      <a:pt x="416" y="1047"/>
                    </a:lnTo>
                    <a:lnTo>
                      <a:pt x="416" y="1052"/>
                    </a:lnTo>
                    <a:lnTo>
                      <a:pt x="421" y="1052"/>
                    </a:lnTo>
                    <a:lnTo>
                      <a:pt x="421" y="1052"/>
                    </a:lnTo>
                    <a:lnTo>
                      <a:pt x="425" y="1052"/>
                    </a:lnTo>
                    <a:lnTo>
                      <a:pt x="425" y="1056"/>
                    </a:lnTo>
                    <a:lnTo>
                      <a:pt x="430" y="1056"/>
                    </a:lnTo>
                    <a:lnTo>
                      <a:pt x="430" y="1061"/>
                    </a:lnTo>
                    <a:lnTo>
                      <a:pt x="434" y="1061"/>
                    </a:lnTo>
                    <a:lnTo>
                      <a:pt x="434" y="1066"/>
                    </a:lnTo>
                    <a:lnTo>
                      <a:pt x="439" y="1070"/>
                    </a:lnTo>
                    <a:lnTo>
                      <a:pt x="439" y="1075"/>
                    </a:lnTo>
                    <a:lnTo>
                      <a:pt x="439" y="1075"/>
                    </a:lnTo>
                    <a:lnTo>
                      <a:pt x="439" y="1079"/>
                    </a:lnTo>
                    <a:lnTo>
                      <a:pt x="434" y="1084"/>
                    </a:lnTo>
                    <a:lnTo>
                      <a:pt x="430" y="1084"/>
                    </a:lnTo>
                    <a:lnTo>
                      <a:pt x="416" y="1088"/>
                    </a:lnTo>
                    <a:lnTo>
                      <a:pt x="411" y="1088"/>
                    </a:lnTo>
                    <a:lnTo>
                      <a:pt x="402" y="1093"/>
                    </a:lnTo>
                    <a:lnTo>
                      <a:pt x="398" y="1098"/>
                    </a:lnTo>
                    <a:lnTo>
                      <a:pt x="393" y="1098"/>
                    </a:lnTo>
                    <a:lnTo>
                      <a:pt x="393" y="1102"/>
                    </a:lnTo>
                    <a:lnTo>
                      <a:pt x="393" y="1111"/>
                    </a:lnTo>
                    <a:lnTo>
                      <a:pt x="393" y="1116"/>
                    </a:lnTo>
                    <a:lnTo>
                      <a:pt x="389" y="1116"/>
                    </a:lnTo>
                    <a:lnTo>
                      <a:pt x="389" y="1116"/>
                    </a:lnTo>
                    <a:lnTo>
                      <a:pt x="384" y="1120"/>
                    </a:lnTo>
                    <a:lnTo>
                      <a:pt x="379" y="1120"/>
                    </a:lnTo>
                    <a:lnTo>
                      <a:pt x="379" y="1125"/>
                    </a:lnTo>
                    <a:lnTo>
                      <a:pt x="375" y="1125"/>
                    </a:lnTo>
                    <a:lnTo>
                      <a:pt x="366" y="1130"/>
                    </a:lnTo>
                    <a:lnTo>
                      <a:pt x="361" y="1130"/>
                    </a:lnTo>
                    <a:lnTo>
                      <a:pt x="347" y="1134"/>
                    </a:lnTo>
                    <a:lnTo>
                      <a:pt x="329" y="1134"/>
                    </a:lnTo>
                    <a:lnTo>
                      <a:pt x="329" y="1134"/>
                    </a:lnTo>
                    <a:lnTo>
                      <a:pt x="306" y="1134"/>
                    </a:lnTo>
                    <a:lnTo>
                      <a:pt x="302" y="1134"/>
                    </a:lnTo>
                    <a:lnTo>
                      <a:pt x="288" y="1134"/>
                    </a:lnTo>
                    <a:lnTo>
                      <a:pt x="283" y="1134"/>
                    </a:lnTo>
                    <a:lnTo>
                      <a:pt x="283" y="1134"/>
                    </a:lnTo>
                    <a:lnTo>
                      <a:pt x="251" y="1125"/>
                    </a:lnTo>
                    <a:lnTo>
                      <a:pt x="242" y="1120"/>
                    </a:lnTo>
                    <a:lnTo>
                      <a:pt x="238" y="1116"/>
                    </a:lnTo>
                    <a:lnTo>
                      <a:pt x="233" y="1116"/>
                    </a:lnTo>
                    <a:lnTo>
                      <a:pt x="229" y="1116"/>
                    </a:lnTo>
                    <a:lnTo>
                      <a:pt x="224" y="1116"/>
                    </a:lnTo>
                    <a:lnTo>
                      <a:pt x="224" y="1111"/>
                    </a:lnTo>
                    <a:lnTo>
                      <a:pt x="219" y="1111"/>
                    </a:lnTo>
                    <a:lnTo>
                      <a:pt x="219" y="1107"/>
                    </a:lnTo>
                    <a:lnTo>
                      <a:pt x="219" y="1102"/>
                    </a:lnTo>
                    <a:lnTo>
                      <a:pt x="215" y="1098"/>
                    </a:lnTo>
                    <a:lnTo>
                      <a:pt x="210" y="1098"/>
                    </a:lnTo>
                    <a:lnTo>
                      <a:pt x="210" y="1093"/>
                    </a:lnTo>
                    <a:lnTo>
                      <a:pt x="210" y="1088"/>
                    </a:lnTo>
                    <a:lnTo>
                      <a:pt x="210" y="1088"/>
                    </a:lnTo>
                    <a:lnTo>
                      <a:pt x="206" y="1084"/>
                    </a:lnTo>
                    <a:lnTo>
                      <a:pt x="201" y="1075"/>
                    </a:lnTo>
                    <a:lnTo>
                      <a:pt x="197" y="1075"/>
                    </a:lnTo>
                    <a:lnTo>
                      <a:pt x="197" y="1075"/>
                    </a:lnTo>
                    <a:lnTo>
                      <a:pt x="192" y="1075"/>
                    </a:lnTo>
                    <a:lnTo>
                      <a:pt x="192" y="1070"/>
                    </a:lnTo>
                    <a:lnTo>
                      <a:pt x="187" y="1070"/>
                    </a:lnTo>
                    <a:lnTo>
                      <a:pt x="183" y="1070"/>
                    </a:lnTo>
                    <a:lnTo>
                      <a:pt x="178" y="1070"/>
                    </a:lnTo>
                    <a:lnTo>
                      <a:pt x="174" y="1070"/>
                    </a:lnTo>
                    <a:lnTo>
                      <a:pt x="174" y="1070"/>
                    </a:lnTo>
                    <a:lnTo>
                      <a:pt x="169" y="1066"/>
                    </a:lnTo>
                    <a:lnTo>
                      <a:pt x="169" y="1061"/>
                    </a:lnTo>
                    <a:lnTo>
                      <a:pt x="165" y="1052"/>
                    </a:lnTo>
                    <a:lnTo>
                      <a:pt x="165" y="1052"/>
                    </a:lnTo>
                    <a:lnTo>
                      <a:pt x="165" y="1047"/>
                    </a:lnTo>
                    <a:lnTo>
                      <a:pt x="169" y="1034"/>
                    </a:lnTo>
                    <a:lnTo>
                      <a:pt x="174" y="1029"/>
                    </a:lnTo>
                    <a:lnTo>
                      <a:pt x="174" y="1029"/>
                    </a:lnTo>
                    <a:lnTo>
                      <a:pt x="174" y="1029"/>
                    </a:lnTo>
                    <a:lnTo>
                      <a:pt x="174" y="1024"/>
                    </a:lnTo>
                    <a:lnTo>
                      <a:pt x="178" y="1020"/>
                    </a:lnTo>
                    <a:lnTo>
                      <a:pt x="178" y="1015"/>
                    </a:lnTo>
                    <a:lnTo>
                      <a:pt x="183" y="1006"/>
                    </a:lnTo>
                    <a:lnTo>
                      <a:pt x="183" y="1002"/>
                    </a:lnTo>
                    <a:lnTo>
                      <a:pt x="183" y="997"/>
                    </a:lnTo>
                    <a:lnTo>
                      <a:pt x="183" y="992"/>
                    </a:lnTo>
                    <a:lnTo>
                      <a:pt x="183" y="988"/>
                    </a:lnTo>
                    <a:lnTo>
                      <a:pt x="178" y="988"/>
                    </a:lnTo>
                    <a:lnTo>
                      <a:pt x="178" y="988"/>
                    </a:lnTo>
                    <a:lnTo>
                      <a:pt x="178" y="983"/>
                    </a:lnTo>
                    <a:lnTo>
                      <a:pt x="174" y="979"/>
                    </a:lnTo>
                    <a:lnTo>
                      <a:pt x="174" y="970"/>
                    </a:lnTo>
                    <a:lnTo>
                      <a:pt x="174" y="965"/>
                    </a:lnTo>
                    <a:lnTo>
                      <a:pt x="169" y="965"/>
                    </a:lnTo>
                    <a:lnTo>
                      <a:pt x="160" y="956"/>
                    </a:lnTo>
                    <a:lnTo>
                      <a:pt x="155" y="951"/>
                    </a:lnTo>
                    <a:lnTo>
                      <a:pt x="155" y="951"/>
                    </a:lnTo>
                    <a:lnTo>
                      <a:pt x="142" y="947"/>
                    </a:lnTo>
                    <a:lnTo>
                      <a:pt x="133" y="947"/>
                    </a:lnTo>
                    <a:lnTo>
                      <a:pt x="128" y="947"/>
                    </a:lnTo>
                    <a:lnTo>
                      <a:pt x="123" y="951"/>
                    </a:lnTo>
                    <a:lnTo>
                      <a:pt x="119" y="956"/>
                    </a:lnTo>
                    <a:lnTo>
                      <a:pt x="110" y="960"/>
                    </a:lnTo>
                    <a:lnTo>
                      <a:pt x="105" y="965"/>
                    </a:lnTo>
                    <a:lnTo>
                      <a:pt x="101" y="965"/>
                    </a:lnTo>
                    <a:lnTo>
                      <a:pt x="96" y="965"/>
                    </a:lnTo>
                    <a:lnTo>
                      <a:pt x="96" y="965"/>
                    </a:lnTo>
                    <a:lnTo>
                      <a:pt x="91" y="960"/>
                    </a:lnTo>
                    <a:lnTo>
                      <a:pt x="91" y="951"/>
                    </a:lnTo>
                    <a:lnTo>
                      <a:pt x="91" y="947"/>
                    </a:lnTo>
                    <a:lnTo>
                      <a:pt x="91" y="933"/>
                    </a:lnTo>
                    <a:lnTo>
                      <a:pt x="91" y="919"/>
                    </a:lnTo>
                    <a:lnTo>
                      <a:pt x="91" y="915"/>
                    </a:lnTo>
                    <a:lnTo>
                      <a:pt x="91" y="910"/>
                    </a:lnTo>
                    <a:lnTo>
                      <a:pt x="91" y="901"/>
                    </a:lnTo>
                    <a:lnTo>
                      <a:pt x="91" y="896"/>
                    </a:lnTo>
                    <a:lnTo>
                      <a:pt x="91" y="896"/>
                    </a:lnTo>
                    <a:lnTo>
                      <a:pt x="87" y="892"/>
                    </a:lnTo>
                    <a:lnTo>
                      <a:pt x="87" y="887"/>
                    </a:lnTo>
                    <a:lnTo>
                      <a:pt x="87" y="883"/>
                    </a:lnTo>
                    <a:lnTo>
                      <a:pt x="87" y="878"/>
                    </a:lnTo>
                    <a:lnTo>
                      <a:pt x="87" y="878"/>
                    </a:lnTo>
                    <a:lnTo>
                      <a:pt x="82" y="874"/>
                    </a:lnTo>
                    <a:lnTo>
                      <a:pt x="82" y="869"/>
                    </a:lnTo>
                    <a:lnTo>
                      <a:pt x="82" y="864"/>
                    </a:lnTo>
                    <a:lnTo>
                      <a:pt x="82" y="860"/>
                    </a:lnTo>
                    <a:lnTo>
                      <a:pt x="82" y="855"/>
                    </a:lnTo>
                    <a:lnTo>
                      <a:pt x="82" y="846"/>
                    </a:lnTo>
                    <a:lnTo>
                      <a:pt x="82" y="842"/>
                    </a:lnTo>
                    <a:lnTo>
                      <a:pt x="78" y="837"/>
                    </a:lnTo>
                    <a:lnTo>
                      <a:pt x="73" y="832"/>
                    </a:lnTo>
                    <a:lnTo>
                      <a:pt x="73" y="832"/>
                    </a:lnTo>
                    <a:lnTo>
                      <a:pt x="69" y="832"/>
                    </a:lnTo>
                    <a:lnTo>
                      <a:pt x="64" y="828"/>
                    </a:lnTo>
                    <a:lnTo>
                      <a:pt x="59" y="828"/>
                    </a:lnTo>
                    <a:lnTo>
                      <a:pt x="55" y="828"/>
                    </a:lnTo>
                    <a:lnTo>
                      <a:pt x="50" y="828"/>
                    </a:lnTo>
                    <a:lnTo>
                      <a:pt x="46" y="828"/>
                    </a:lnTo>
                    <a:lnTo>
                      <a:pt x="46" y="828"/>
                    </a:lnTo>
                    <a:lnTo>
                      <a:pt x="32" y="823"/>
                    </a:lnTo>
                    <a:lnTo>
                      <a:pt x="27" y="819"/>
                    </a:lnTo>
                    <a:lnTo>
                      <a:pt x="23" y="814"/>
                    </a:lnTo>
                    <a:lnTo>
                      <a:pt x="23" y="814"/>
                    </a:lnTo>
                    <a:lnTo>
                      <a:pt x="18" y="814"/>
                    </a:lnTo>
                    <a:lnTo>
                      <a:pt x="14" y="814"/>
                    </a:lnTo>
                    <a:lnTo>
                      <a:pt x="14" y="810"/>
                    </a:lnTo>
                    <a:lnTo>
                      <a:pt x="9" y="810"/>
                    </a:lnTo>
                    <a:lnTo>
                      <a:pt x="5" y="810"/>
                    </a:lnTo>
                    <a:lnTo>
                      <a:pt x="0" y="796"/>
                    </a:lnTo>
                    <a:lnTo>
                      <a:pt x="0" y="791"/>
                    </a:lnTo>
                    <a:lnTo>
                      <a:pt x="0" y="787"/>
                    </a:lnTo>
                    <a:lnTo>
                      <a:pt x="0" y="773"/>
                    </a:lnTo>
                    <a:lnTo>
                      <a:pt x="0" y="768"/>
                    </a:lnTo>
                    <a:lnTo>
                      <a:pt x="0" y="764"/>
                    </a:lnTo>
                    <a:lnTo>
                      <a:pt x="0" y="759"/>
                    </a:lnTo>
                    <a:lnTo>
                      <a:pt x="0" y="755"/>
                    </a:lnTo>
                    <a:lnTo>
                      <a:pt x="5" y="755"/>
                    </a:lnTo>
                    <a:lnTo>
                      <a:pt x="5" y="750"/>
                    </a:lnTo>
                    <a:lnTo>
                      <a:pt x="9" y="746"/>
                    </a:lnTo>
                    <a:lnTo>
                      <a:pt x="14" y="746"/>
                    </a:lnTo>
                    <a:lnTo>
                      <a:pt x="14" y="741"/>
                    </a:lnTo>
                    <a:lnTo>
                      <a:pt x="18" y="736"/>
                    </a:lnTo>
                    <a:lnTo>
                      <a:pt x="18" y="732"/>
                    </a:lnTo>
                    <a:lnTo>
                      <a:pt x="23" y="727"/>
                    </a:lnTo>
                    <a:lnTo>
                      <a:pt x="23" y="723"/>
                    </a:lnTo>
                    <a:lnTo>
                      <a:pt x="27" y="723"/>
                    </a:lnTo>
                    <a:lnTo>
                      <a:pt x="27" y="718"/>
                    </a:lnTo>
                    <a:lnTo>
                      <a:pt x="32" y="718"/>
                    </a:lnTo>
                    <a:lnTo>
                      <a:pt x="32" y="714"/>
                    </a:lnTo>
                    <a:lnTo>
                      <a:pt x="37" y="709"/>
                    </a:lnTo>
                    <a:lnTo>
                      <a:pt x="37" y="700"/>
                    </a:lnTo>
                    <a:lnTo>
                      <a:pt x="37" y="700"/>
                    </a:lnTo>
                    <a:lnTo>
                      <a:pt x="37" y="695"/>
                    </a:lnTo>
                    <a:lnTo>
                      <a:pt x="37" y="691"/>
                    </a:lnTo>
                    <a:lnTo>
                      <a:pt x="37" y="682"/>
                    </a:lnTo>
                    <a:lnTo>
                      <a:pt x="37" y="677"/>
                    </a:lnTo>
                    <a:lnTo>
                      <a:pt x="37" y="668"/>
                    </a:lnTo>
                    <a:lnTo>
                      <a:pt x="32" y="663"/>
                    </a:lnTo>
                    <a:lnTo>
                      <a:pt x="27" y="663"/>
                    </a:lnTo>
                    <a:lnTo>
                      <a:pt x="27" y="659"/>
                    </a:lnTo>
                    <a:lnTo>
                      <a:pt x="23" y="659"/>
                    </a:lnTo>
                    <a:lnTo>
                      <a:pt x="23" y="654"/>
                    </a:lnTo>
                    <a:lnTo>
                      <a:pt x="23" y="650"/>
                    </a:lnTo>
                    <a:lnTo>
                      <a:pt x="18" y="645"/>
                    </a:lnTo>
                    <a:lnTo>
                      <a:pt x="14" y="640"/>
                    </a:lnTo>
                    <a:lnTo>
                      <a:pt x="14" y="636"/>
                    </a:lnTo>
                    <a:lnTo>
                      <a:pt x="14" y="636"/>
                    </a:lnTo>
                    <a:lnTo>
                      <a:pt x="9" y="627"/>
                    </a:lnTo>
                    <a:lnTo>
                      <a:pt x="9" y="622"/>
                    </a:lnTo>
                    <a:lnTo>
                      <a:pt x="9" y="618"/>
                    </a:lnTo>
                    <a:lnTo>
                      <a:pt x="9" y="604"/>
                    </a:lnTo>
                    <a:lnTo>
                      <a:pt x="14" y="590"/>
                    </a:lnTo>
                    <a:lnTo>
                      <a:pt x="14" y="586"/>
                    </a:lnTo>
                    <a:lnTo>
                      <a:pt x="14" y="567"/>
                    </a:lnTo>
                    <a:lnTo>
                      <a:pt x="14" y="567"/>
                    </a:lnTo>
                    <a:lnTo>
                      <a:pt x="14" y="563"/>
                    </a:lnTo>
                    <a:lnTo>
                      <a:pt x="14" y="558"/>
                    </a:lnTo>
                    <a:lnTo>
                      <a:pt x="18" y="558"/>
                    </a:lnTo>
                    <a:lnTo>
                      <a:pt x="18" y="554"/>
                    </a:lnTo>
                    <a:lnTo>
                      <a:pt x="18" y="549"/>
                    </a:lnTo>
                    <a:lnTo>
                      <a:pt x="23" y="549"/>
                    </a:lnTo>
                    <a:lnTo>
                      <a:pt x="23" y="549"/>
                    </a:lnTo>
                    <a:lnTo>
                      <a:pt x="23" y="549"/>
                    </a:lnTo>
                    <a:lnTo>
                      <a:pt x="23" y="544"/>
                    </a:lnTo>
                    <a:lnTo>
                      <a:pt x="27" y="544"/>
                    </a:lnTo>
                    <a:lnTo>
                      <a:pt x="32" y="544"/>
                    </a:lnTo>
                    <a:lnTo>
                      <a:pt x="37" y="544"/>
                    </a:lnTo>
                    <a:lnTo>
                      <a:pt x="46" y="540"/>
                    </a:lnTo>
                    <a:lnTo>
                      <a:pt x="50" y="540"/>
                    </a:lnTo>
                    <a:lnTo>
                      <a:pt x="55" y="535"/>
                    </a:lnTo>
                    <a:lnTo>
                      <a:pt x="59" y="535"/>
                    </a:lnTo>
                    <a:lnTo>
                      <a:pt x="59" y="531"/>
                    </a:lnTo>
                    <a:lnTo>
                      <a:pt x="64" y="526"/>
                    </a:lnTo>
                    <a:lnTo>
                      <a:pt x="64" y="526"/>
                    </a:lnTo>
                    <a:lnTo>
                      <a:pt x="69" y="522"/>
                    </a:lnTo>
                    <a:lnTo>
                      <a:pt x="69" y="517"/>
                    </a:lnTo>
                    <a:lnTo>
                      <a:pt x="69" y="512"/>
                    </a:lnTo>
                    <a:lnTo>
                      <a:pt x="73" y="512"/>
                    </a:lnTo>
                    <a:lnTo>
                      <a:pt x="73" y="508"/>
                    </a:lnTo>
                    <a:lnTo>
                      <a:pt x="78" y="503"/>
                    </a:lnTo>
                    <a:lnTo>
                      <a:pt x="82" y="503"/>
                    </a:lnTo>
                    <a:lnTo>
                      <a:pt x="82" y="499"/>
                    </a:lnTo>
                    <a:lnTo>
                      <a:pt x="91" y="485"/>
                    </a:lnTo>
                    <a:lnTo>
                      <a:pt x="96" y="485"/>
                    </a:lnTo>
                    <a:lnTo>
                      <a:pt x="96" y="480"/>
                    </a:lnTo>
                    <a:lnTo>
                      <a:pt x="101" y="480"/>
                    </a:lnTo>
                    <a:lnTo>
                      <a:pt x="105" y="480"/>
                    </a:lnTo>
                    <a:lnTo>
                      <a:pt x="105" y="476"/>
                    </a:lnTo>
                    <a:lnTo>
                      <a:pt x="110" y="476"/>
                    </a:lnTo>
                    <a:lnTo>
                      <a:pt x="110" y="471"/>
                    </a:lnTo>
                    <a:lnTo>
                      <a:pt x="110" y="471"/>
                    </a:lnTo>
                    <a:lnTo>
                      <a:pt x="110" y="467"/>
                    </a:lnTo>
                    <a:lnTo>
                      <a:pt x="114" y="467"/>
                    </a:lnTo>
                    <a:lnTo>
                      <a:pt x="114" y="462"/>
                    </a:lnTo>
                    <a:lnTo>
                      <a:pt x="119" y="462"/>
                    </a:lnTo>
                    <a:lnTo>
                      <a:pt x="128" y="458"/>
                    </a:lnTo>
                    <a:lnTo>
                      <a:pt x="133" y="458"/>
                    </a:lnTo>
                    <a:lnTo>
                      <a:pt x="133" y="458"/>
                    </a:lnTo>
                    <a:lnTo>
                      <a:pt x="137" y="458"/>
                    </a:lnTo>
                    <a:lnTo>
                      <a:pt x="142" y="458"/>
                    </a:lnTo>
                    <a:lnTo>
                      <a:pt x="146" y="458"/>
                    </a:lnTo>
                    <a:lnTo>
                      <a:pt x="151" y="458"/>
                    </a:lnTo>
                    <a:lnTo>
                      <a:pt x="155" y="458"/>
                    </a:lnTo>
                    <a:lnTo>
                      <a:pt x="160" y="458"/>
                    </a:lnTo>
                    <a:lnTo>
                      <a:pt x="160" y="458"/>
                    </a:lnTo>
                    <a:lnTo>
                      <a:pt x="160" y="458"/>
                    </a:lnTo>
                    <a:lnTo>
                      <a:pt x="165" y="458"/>
                    </a:lnTo>
                    <a:lnTo>
                      <a:pt x="165" y="453"/>
                    </a:lnTo>
                    <a:lnTo>
                      <a:pt x="169" y="453"/>
                    </a:lnTo>
                    <a:lnTo>
                      <a:pt x="174" y="448"/>
                    </a:lnTo>
                    <a:lnTo>
                      <a:pt x="174" y="448"/>
                    </a:lnTo>
                    <a:lnTo>
                      <a:pt x="178" y="444"/>
                    </a:lnTo>
                    <a:lnTo>
                      <a:pt x="187" y="444"/>
                    </a:lnTo>
                    <a:lnTo>
                      <a:pt x="192" y="444"/>
                    </a:lnTo>
                    <a:lnTo>
                      <a:pt x="197" y="448"/>
                    </a:lnTo>
                    <a:lnTo>
                      <a:pt x="197" y="448"/>
                    </a:lnTo>
                    <a:lnTo>
                      <a:pt x="201" y="444"/>
                    </a:lnTo>
                    <a:lnTo>
                      <a:pt x="206" y="444"/>
                    </a:lnTo>
                    <a:lnTo>
                      <a:pt x="210" y="444"/>
                    </a:lnTo>
                    <a:lnTo>
                      <a:pt x="219" y="444"/>
                    </a:lnTo>
                    <a:lnTo>
                      <a:pt x="219" y="448"/>
                    </a:lnTo>
                    <a:lnTo>
                      <a:pt x="229" y="448"/>
                    </a:lnTo>
                    <a:lnTo>
                      <a:pt x="233" y="453"/>
                    </a:lnTo>
                    <a:lnTo>
                      <a:pt x="238" y="453"/>
                    </a:lnTo>
                    <a:lnTo>
                      <a:pt x="242" y="458"/>
                    </a:lnTo>
                    <a:lnTo>
                      <a:pt x="242" y="458"/>
                    </a:lnTo>
                    <a:lnTo>
                      <a:pt x="247" y="458"/>
                    </a:lnTo>
                    <a:lnTo>
                      <a:pt x="251" y="458"/>
                    </a:lnTo>
                    <a:lnTo>
                      <a:pt x="251" y="462"/>
                    </a:lnTo>
                    <a:lnTo>
                      <a:pt x="256" y="462"/>
                    </a:lnTo>
                    <a:lnTo>
                      <a:pt x="261" y="462"/>
                    </a:lnTo>
                    <a:lnTo>
                      <a:pt x="265" y="467"/>
                    </a:lnTo>
                    <a:lnTo>
                      <a:pt x="270" y="467"/>
                    </a:lnTo>
                    <a:lnTo>
                      <a:pt x="283" y="462"/>
                    </a:lnTo>
                    <a:lnTo>
                      <a:pt x="283" y="458"/>
                    </a:lnTo>
                    <a:lnTo>
                      <a:pt x="293" y="458"/>
                    </a:lnTo>
                    <a:lnTo>
                      <a:pt x="297" y="458"/>
                    </a:lnTo>
                    <a:lnTo>
                      <a:pt x="302" y="458"/>
                    </a:lnTo>
                    <a:lnTo>
                      <a:pt x="306" y="458"/>
                    </a:lnTo>
                    <a:lnTo>
                      <a:pt x="306" y="462"/>
                    </a:lnTo>
                    <a:lnTo>
                      <a:pt x="311" y="467"/>
                    </a:lnTo>
                    <a:lnTo>
                      <a:pt x="311" y="471"/>
                    </a:lnTo>
                    <a:lnTo>
                      <a:pt x="311" y="476"/>
                    </a:lnTo>
                    <a:lnTo>
                      <a:pt x="315" y="480"/>
                    </a:lnTo>
                    <a:lnTo>
                      <a:pt x="315" y="480"/>
                    </a:lnTo>
                    <a:lnTo>
                      <a:pt x="320" y="480"/>
                    </a:lnTo>
                    <a:lnTo>
                      <a:pt x="320" y="485"/>
                    </a:lnTo>
                    <a:lnTo>
                      <a:pt x="325" y="485"/>
                    </a:lnTo>
                    <a:lnTo>
                      <a:pt x="329" y="490"/>
                    </a:lnTo>
                    <a:lnTo>
                      <a:pt x="329" y="490"/>
                    </a:lnTo>
                    <a:lnTo>
                      <a:pt x="338" y="490"/>
                    </a:lnTo>
                    <a:lnTo>
                      <a:pt x="343" y="490"/>
                    </a:lnTo>
                    <a:lnTo>
                      <a:pt x="347" y="490"/>
                    </a:lnTo>
                    <a:lnTo>
                      <a:pt x="352" y="490"/>
                    </a:lnTo>
                    <a:lnTo>
                      <a:pt x="357" y="485"/>
                    </a:lnTo>
                    <a:lnTo>
                      <a:pt x="366" y="485"/>
                    </a:lnTo>
                    <a:lnTo>
                      <a:pt x="370" y="480"/>
                    </a:lnTo>
                    <a:lnTo>
                      <a:pt x="375" y="480"/>
                    </a:lnTo>
                    <a:lnTo>
                      <a:pt x="384" y="480"/>
                    </a:lnTo>
                    <a:lnTo>
                      <a:pt x="389" y="480"/>
                    </a:lnTo>
                    <a:lnTo>
                      <a:pt x="393" y="480"/>
                    </a:lnTo>
                    <a:lnTo>
                      <a:pt x="393" y="480"/>
                    </a:lnTo>
                    <a:lnTo>
                      <a:pt x="398" y="480"/>
                    </a:lnTo>
                    <a:lnTo>
                      <a:pt x="402" y="480"/>
                    </a:lnTo>
                    <a:lnTo>
                      <a:pt x="402" y="485"/>
                    </a:lnTo>
                    <a:lnTo>
                      <a:pt x="407" y="485"/>
                    </a:lnTo>
                    <a:lnTo>
                      <a:pt x="411" y="494"/>
                    </a:lnTo>
                    <a:lnTo>
                      <a:pt x="416" y="494"/>
                    </a:lnTo>
                    <a:lnTo>
                      <a:pt x="416" y="499"/>
                    </a:lnTo>
                    <a:lnTo>
                      <a:pt x="416" y="503"/>
                    </a:lnTo>
                    <a:lnTo>
                      <a:pt x="421" y="512"/>
                    </a:lnTo>
                    <a:lnTo>
                      <a:pt x="425" y="522"/>
                    </a:lnTo>
                    <a:lnTo>
                      <a:pt x="425" y="526"/>
                    </a:lnTo>
                    <a:lnTo>
                      <a:pt x="425" y="526"/>
                    </a:lnTo>
                    <a:lnTo>
                      <a:pt x="430" y="540"/>
                    </a:lnTo>
                    <a:lnTo>
                      <a:pt x="434" y="558"/>
                    </a:lnTo>
                    <a:lnTo>
                      <a:pt x="434" y="563"/>
                    </a:lnTo>
                    <a:lnTo>
                      <a:pt x="439" y="567"/>
                    </a:lnTo>
                    <a:lnTo>
                      <a:pt x="439" y="572"/>
                    </a:lnTo>
                    <a:lnTo>
                      <a:pt x="439" y="576"/>
                    </a:lnTo>
                    <a:lnTo>
                      <a:pt x="439" y="581"/>
                    </a:lnTo>
                    <a:lnTo>
                      <a:pt x="439" y="586"/>
                    </a:lnTo>
                    <a:lnTo>
                      <a:pt x="443" y="586"/>
                    </a:lnTo>
                    <a:lnTo>
                      <a:pt x="448" y="590"/>
                    </a:lnTo>
                    <a:lnTo>
                      <a:pt x="453" y="590"/>
                    </a:lnTo>
                    <a:lnTo>
                      <a:pt x="457" y="586"/>
                    </a:lnTo>
                    <a:lnTo>
                      <a:pt x="462" y="586"/>
                    </a:lnTo>
                    <a:lnTo>
                      <a:pt x="485" y="590"/>
                    </a:lnTo>
                    <a:lnTo>
                      <a:pt x="503" y="590"/>
                    </a:lnTo>
                    <a:lnTo>
                      <a:pt x="507" y="590"/>
                    </a:lnTo>
                    <a:lnTo>
                      <a:pt x="517" y="590"/>
                    </a:lnTo>
                    <a:lnTo>
                      <a:pt x="517" y="595"/>
                    </a:lnTo>
                    <a:lnTo>
                      <a:pt x="521" y="595"/>
                    </a:lnTo>
                    <a:lnTo>
                      <a:pt x="526" y="595"/>
                    </a:lnTo>
                    <a:lnTo>
                      <a:pt x="526" y="599"/>
                    </a:lnTo>
                    <a:lnTo>
                      <a:pt x="530" y="599"/>
                    </a:lnTo>
                    <a:lnTo>
                      <a:pt x="535" y="599"/>
                    </a:lnTo>
                    <a:lnTo>
                      <a:pt x="539" y="599"/>
                    </a:lnTo>
                    <a:lnTo>
                      <a:pt x="539" y="595"/>
                    </a:lnTo>
                    <a:lnTo>
                      <a:pt x="535" y="590"/>
                    </a:lnTo>
                    <a:lnTo>
                      <a:pt x="530" y="590"/>
                    </a:lnTo>
                    <a:lnTo>
                      <a:pt x="526" y="586"/>
                    </a:lnTo>
                    <a:lnTo>
                      <a:pt x="526" y="581"/>
                    </a:lnTo>
                    <a:lnTo>
                      <a:pt x="526" y="581"/>
                    </a:lnTo>
                    <a:lnTo>
                      <a:pt x="526" y="576"/>
                    </a:lnTo>
                    <a:lnTo>
                      <a:pt x="526" y="567"/>
                    </a:lnTo>
                    <a:lnTo>
                      <a:pt x="526" y="563"/>
                    </a:lnTo>
                    <a:lnTo>
                      <a:pt x="526" y="558"/>
                    </a:lnTo>
                    <a:lnTo>
                      <a:pt x="526" y="554"/>
                    </a:lnTo>
                    <a:lnTo>
                      <a:pt x="535" y="549"/>
                    </a:lnTo>
                    <a:lnTo>
                      <a:pt x="539" y="549"/>
                    </a:lnTo>
                    <a:lnTo>
                      <a:pt x="549" y="549"/>
                    </a:lnTo>
                    <a:lnTo>
                      <a:pt x="549" y="544"/>
                    </a:lnTo>
                    <a:lnTo>
                      <a:pt x="553" y="544"/>
                    </a:lnTo>
                    <a:close/>
                  </a:path>
                </a:pathLst>
              </a:custGeom>
              <a:solidFill>
                <a:srgbClr val="006301"/>
              </a:solidFill>
              <a:ln w="9525" cmpd="sng">
                <a:solidFill>
                  <a:srgbClr val="FFFFFF"/>
                </a:solidFill>
                <a:miter lim="800000"/>
                <a:headEnd/>
                <a:tailEnd/>
              </a:ln>
              <a:effectLst/>
            </p:spPr>
            <p:txBody>
              <a:bodyPr tIns="36576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Bauchi</a:t>
                </a:r>
              </a:p>
            </p:txBody>
          </p:sp>
          <p:sp>
            <p:nvSpPr>
              <p:cNvPr id="222" name="Freeform 48">
                <a:extLst>
                  <a:ext uri="{FF2B5EF4-FFF2-40B4-BE49-F238E27FC236}">
                    <a16:creationId xmlns:a16="http://schemas.microsoft.com/office/drawing/2014/main" id="{6BB17058-3237-4338-89A6-31808977ABC9}"/>
                  </a:ext>
                </a:extLst>
              </p:cNvPr>
              <p:cNvSpPr>
                <a:spLocks/>
              </p:cNvSpPr>
              <p:nvPr>
                <p:custDataLst>
                  <p:tags r:id="rId39"/>
                </p:custDataLst>
              </p:nvPr>
            </p:nvSpPr>
            <p:spPr bwMode="auto">
              <a:xfrm>
                <a:off x="1506614" y="5667575"/>
                <a:ext cx="615158" cy="513838"/>
              </a:xfrm>
              <a:custGeom>
                <a:avLst/>
                <a:gdLst/>
                <a:ahLst/>
                <a:cxnLst>
                  <a:cxn ang="0">
                    <a:pos x="430" y="306"/>
                  </a:cxn>
                  <a:cxn ang="0">
                    <a:pos x="430" y="329"/>
                  </a:cxn>
                  <a:cxn ang="0">
                    <a:pos x="416" y="352"/>
                  </a:cxn>
                  <a:cxn ang="0">
                    <a:pos x="412" y="388"/>
                  </a:cxn>
                  <a:cxn ang="0">
                    <a:pos x="412" y="402"/>
                  </a:cxn>
                  <a:cxn ang="0">
                    <a:pos x="403" y="393"/>
                  </a:cxn>
                  <a:cxn ang="0">
                    <a:pos x="389" y="393"/>
                  </a:cxn>
                  <a:cxn ang="0">
                    <a:pos x="348" y="407"/>
                  </a:cxn>
                  <a:cxn ang="0">
                    <a:pos x="325" y="407"/>
                  </a:cxn>
                  <a:cxn ang="0">
                    <a:pos x="284" y="416"/>
                  </a:cxn>
                  <a:cxn ang="0">
                    <a:pos x="270" y="411"/>
                  </a:cxn>
                  <a:cxn ang="0">
                    <a:pos x="247" y="407"/>
                  </a:cxn>
                  <a:cxn ang="0">
                    <a:pos x="224" y="393"/>
                  </a:cxn>
                  <a:cxn ang="0">
                    <a:pos x="183" y="365"/>
                  </a:cxn>
                  <a:cxn ang="0">
                    <a:pos x="174" y="356"/>
                  </a:cxn>
                  <a:cxn ang="0">
                    <a:pos x="147" y="338"/>
                  </a:cxn>
                  <a:cxn ang="0">
                    <a:pos x="133" y="320"/>
                  </a:cxn>
                  <a:cxn ang="0">
                    <a:pos x="124" y="315"/>
                  </a:cxn>
                  <a:cxn ang="0">
                    <a:pos x="92" y="279"/>
                  </a:cxn>
                  <a:cxn ang="0">
                    <a:pos x="64" y="237"/>
                  </a:cxn>
                  <a:cxn ang="0">
                    <a:pos x="51" y="215"/>
                  </a:cxn>
                  <a:cxn ang="0">
                    <a:pos x="37" y="178"/>
                  </a:cxn>
                  <a:cxn ang="0">
                    <a:pos x="28" y="164"/>
                  </a:cxn>
                  <a:cxn ang="0">
                    <a:pos x="19" y="132"/>
                  </a:cxn>
                  <a:cxn ang="0">
                    <a:pos x="0" y="91"/>
                  </a:cxn>
                  <a:cxn ang="0">
                    <a:pos x="19" y="87"/>
                  </a:cxn>
                  <a:cxn ang="0">
                    <a:pos x="37" y="100"/>
                  </a:cxn>
                  <a:cxn ang="0">
                    <a:pos x="64" y="114"/>
                  </a:cxn>
                  <a:cxn ang="0">
                    <a:pos x="101" y="128"/>
                  </a:cxn>
                  <a:cxn ang="0">
                    <a:pos x="124" y="141"/>
                  </a:cxn>
                  <a:cxn ang="0">
                    <a:pos x="147" y="132"/>
                  </a:cxn>
                  <a:cxn ang="0">
                    <a:pos x="179" y="114"/>
                  </a:cxn>
                  <a:cxn ang="0">
                    <a:pos x="202" y="105"/>
                  </a:cxn>
                  <a:cxn ang="0">
                    <a:pos x="211" y="87"/>
                  </a:cxn>
                  <a:cxn ang="0">
                    <a:pos x="229" y="87"/>
                  </a:cxn>
                  <a:cxn ang="0">
                    <a:pos x="252" y="105"/>
                  </a:cxn>
                  <a:cxn ang="0">
                    <a:pos x="275" y="87"/>
                  </a:cxn>
                  <a:cxn ang="0">
                    <a:pos x="298" y="87"/>
                  </a:cxn>
                  <a:cxn ang="0">
                    <a:pos x="311" y="64"/>
                  </a:cxn>
                  <a:cxn ang="0">
                    <a:pos x="334" y="55"/>
                  </a:cxn>
                  <a:cxn ang="0">
                    <a:pos x="371" y="32"/>
                  </a:cxn>
                  <a:cxn ang="0">
                    <a:pos x="407" y="23"/>
                  </a:cxn>
                  <a:cxn ang="0">
                    <a:pos x="426" y="0"/>
                  </a:cxn>
                  <a:cxn ang="0">
                    <a:pos x="448" y="0"/>
                  </a:cxn>
                  <a:cxn ang="0">
                    <a:pos x="439" y="23"/>
                  </a:cxn>
                  <a:cxn ang="0">
                    <a:pos x="453" y="55"/>
                  </a:cxn>
                  <a:cxn ang="0">
                    <a:pos x="430" y="82"/>
                  </a:cxn>
                  <a:cxn ang="0">
                    <a:pos x="407" y="91"/>
                  </a:cxn>
                  <a:cxn ang="0">
                    <a:pos x="384" y="137"/>
                  </a:cxn>
                  <a:cxn ang="0">
                    <a:pos x="394" y="160"/>
                  </a:cxn>
                  <a:cxn ang="0">
                    <a:pos x="384" y="178"/>
                  </a:cxn>
                  <a:cxn ang="0">
                    <a:pos x="380" y="219"/>
                  </a:cxn>
                  <a:cxn ang="0">
                    <a:pos x="394" y="242"/>
                  </a:cxn>
                  <a:cxn ang="0">
                    <a:pos x="426" y="242"/>
                  </a:cxn>
                  <a:cxn ang="0">
                    <a:pos x="453" y="251"/>
                  </a:cxn>
                  <a:cxn ang="0">
                    <a:pos x="421" y="279"/>
                  </a:cxn>
                </a:cxnLst>
                <a:rect l="0" t="0" r="r" b="b"/>
                <a:pathLst>
                  <a:path w="462" h="416">
                    <a:moveTo>
                      <a:pt x="416" y="283"/>
                    </a:moveTo>
                    <a:lnTo>
                      <a:pt x="421" y="288"/>
                    </a:lnTo>
                    <a:lnTo>
                      <a:pt x="426" y="297"/>
                    </a:lnTo>
                    <a:lnTo>
                      <a:pt x="430" y="306"/>
                    </a:lnTo>
                    <a:lnTo>
                      <a:pt x="430" y="306"/>
                    </a:lnTo>
                    <a:lnTo>
                      <a:pt x="430" y="311"/>
                    </a:lnTo>
                    <a:lnTo>
                      <a:pt x="435" y="315"/>
                    </a:lnTo>
                    <a:lnTo>
                      <a:pt x="430" y="324"/>
                    </a:lnTo>
                    <a:lnTo>
                      <a:pt x="430" y="329"/>
                    </a:lnTo>
                    <a:lnTo>
                      <a:pt x="430" y="329"/>
                    </a:lnTo>
                    <a:lnTo>
                      <a:pt x="430" y="338"/>
                    </a:lnTo>
                    <a:lnTo>
                      <a:pt x="421" y="343"/>
                    </a:lnTo>
                    <a:lnTo>
                      <a:pt x="421" y="343"/>
                    </a:lnTo>
                    <a:lnTo>
                      <a:pt x="416" y="347"/>
                    </a:lnTo>
                    <a:lnTo>
                      <a:pt x="416" y="352"/>
                    </a:lnTo>
                    <a:lnTo>
                      <a:pt x="416" y="356"/>
                    </a:lnTo>
                    <a:lnTo>
                      <a:pt x="412" y="370"/>
                    </a:lnTo>
                    <a:lnTo>
                      <a:pt x="407" y="375"/>
                    </a:lnTo>
                    <a:lnTo>
                      <a:pt x="407" y="384"/>
                    </a:lnTo>
                    <a:lnTo>
                      <a:pt x="412" y="388"/>
                    </a:lnTo>
                    <a:lnTo>
                      <a:pt x="412" y="393"/>
                    </a:lnTo>
                    <a:lnTo>
                      <a:pt x="421" y="393"/>
                    </a:lnTo>
                    <a:lnTo>
                      <a:pt x="426" y="397"/>
                    </a:lnTo>
                    <a:lnTo>
                      <a:pt x="416" y="402"/>
                    </a:lnTo>
                    <a:lnTo>
                      <a:pt x="412" y="402"/>
                    </a:lnTo>
                    <a:lnTo>
                      <a:pt x="412" y="402"/>
                    </a:lnTo>
                    <a:lnTo>
                      <a:pt x="407" y="397"/>
                    </a:lnTo>
                    <a:lnTo>
                      <a:pt x="403" y="397"/>
                    </a:lnTo>
                    <a:lnTo>
                      <a:pt x="403" y="393"/>
                    </a:lnTo>
                    <a:lnTo>
                      <a:pt x="403" y="393"/>
                    </a:lnTo>
                    <a:lnTo>
                      <a:pt x="403" y="388"/>
                    </a:lnTo>
                    <a:lnTo>
                      <a:pt x="398" y="393"/>
                    </a:lnTo>
                    <a:lnTo>
                      <a:pt x="394" y="393"/>
                    </a:lnTo>
                    <a:lnTo>
                      <a:pt x="394" y="393"/>
                    </a:lnTo>
                    <a:lnTo>
                      <a:pt x="389" y="393"/>
                    </a:lnTo>
                    <a:lnTo>
                      <a:pt x="398" y="402"/>
                    </a:lnTo>
                    <a:lnTo>
                      <a:pt x="394" y="402"/>
                    </a:lnTo>
                    <a:lnTo>
                      <a:pt x="366" y="407"/>
                    </a:lnTo>
                    <a:lnTo>
                      <a:pt x="352" y="407"/>
                    </a:lnTo>
                    <a:lnTo>
                      <a:pt x="348" y="407"/>
                    </a:lnTo>
                    <a:lnTo>
                      <a:pt x="334" y="407"/>
                    </a:lnTo>
                    <a:lnTo>
                      <a:pt x="330" y="407"/>
                    </a:lnTo>
                    <a:lnTo>
                      <a:pt x="330" y="407"/>
                    </a:lnTo>
                    <a:lnTo>
                      <a:pt x="330" y="407"/>
                    </a:lnTo>
                    <a:lnTo>
                      <a:pt x="325" y="407"/>
                    </a:lnTo>
                    <a:lnTo>
                      <a:pt x="320" y="411"/>
                    </a:lnTo>
                    <a:lnTo>
                      <a:pt x="320" y="411"/>
                    </a:lnTo>
                    <a:lnTo>
                      <a:pt x="302" y="411"/>
                    </a:lnTo>
                    <a:lnTo>
                      <a:pt x="293" y="416"/>
                    </a:lnTo>
                    <a:lnTo>
                      <a:pt x="284" y="416"/>
                    </a:lnTo>
                    <a:lnTo>
                      <a:pt x="279" y="416"/>
                    </a:lnTo>
                    <a:lnTo>
                      <a:pt x="275" y="416"/>
                    </a:lnTo>
                    <a:lnTo>
                      <a:pt x="270" y="416"/>
                    </a:lnTo>
                    <a:lnTo>
                      <a:pt x="270" y="416"/>
                    </a:lnTo>
                    <a:lnTo>
                      <a:pt x="270" y="411"/>
                    </a:lnTo>
                    <a:lnTo>
                      <a:pt x="261" y="407"/>
                    </a:lnTo>
                    <a:lnTo>
                      <a:pt x="261" y="407"/>
                    </a:lnTo>
                    <a:lnTo>
                      <a:pt x="256" y="407"/>
                    </a:lnTo>
                    <a:lnTo>
                      <a:pt x="252" y="407"/>
                    </a:lnTo>
                    <a:lnTo>
                      <a:pt x="247" y="407"/>
                    </a:lnTo>
                    <a:lnTo>
                      <a:pt x="238" y="402"/>
                    </a:lnTo>
                    <a:lnTo>
                      <a:pt x="238" y="402"/>
                    </a:lnTo>
                    <a:lnTo>
                      <a:pt x="234" y="402"/>
                    </a:lnTo>
                    <a:lnTo>
                      <a:pt x="234" y="402"/>
                    </a:lnTo>
                    <a:lnTo>
                      <a:pt x="224" y="393"/>
                    </a:lnTo>
                    <a:lnTo>
                      <a:pt x="224" y="393"/>
                    </a:lnTo>
                    <a:lnTo>
                      <a:pt x="220" y="393"/>
                    </a:lnTo>
                    <a:lnTo>
                      <a:pt x="192" y="375"/>
                    </a:lnTo>
                    <a:lnTo>
                      <a:pt x="183" y="370"/>
                    </a:lnTo>
                    <a:lnTo>
                      <a:pt x="183" y="365"/>
                    </a:lnTo>
                    <a:lnTo>
                      <a:pt x="183" y="365"/>
                    </a:lnTo>
                    <a:lnTo>
                      <a:pt x="183" y="365"/>
                    </a:lnTo>
                    <a:lnTo>
                      <a:pt x="179" y="365"/>
                    </a:lnTo>
                    <a:lnTo>
                      <a:pt x="174" y="361"/>
                    </a:lnTo>
                    <a:lnTo>
                      <a:pt x="174" y="356"/>
                    </a:lnTo>
                    <a:lnTo>
                      <a:pt x="170" y="356"/>
                    </a:lnTo>
                    <a:lnTo>
                      <a:pt x="165" y="352"/>
                    </a:lnTo>
                    <a:lnTo>
                      <a:pt x="156" y="347"/>
                    </a:lnTo>
                    <a:lnTo>
                      <a:pt x="151" y="343"/>
                    </a:lnTo>
                    <a:lnTo>
                      <a:pt x="147" y="338"/>
                    </a:lnTo>
                    <a:lnTo>
                      <a:pt x="147" y="338"/>
                    </a:lnTo>
                    <a:lnTo>
                      <a:pt x="142" y="329"/>
                    </a:lnTo>
                    <a:lnTo>
                      <a:pt x="138" y="329"/>
                    </a:lnTo>
                    <a:lnTo>
                      <a:pt x="138" y="324"/>
                    </a:lnTo>
                    <a:lnTo>
                      <a:pt x="133" y="320"/>
                    </a:lnTo>
                    <a:lnTo>
                      <a:pt x="128" y="320"/>
                    </a:lnTo>
                    <a:lnTo>
                      <a:pt x="128" y="315"/>
                    </a:lnTo>
                    <a:lnTo>
                      <a:pt x="124" y="315"/>
                    </a:lnTo>
                    <a:lnTo>
                      <a:pt x="124" y="315"/>
                    </a:lnTo>
                    <a:lnTo>
                      <a:pt x="124" y="315"/>
                    </a:lnTo>
                    <a:lnTo>
                      <a:pt x="119" y="315"/>
                    </a:lnTo>
                    <a:lnTo>
                      <a:pt x="115" y="311"/>
                    </a:lnTo>
                    <a:lnTo>
                      <a:pt x="106" y="297"/>
                    </a:lnTo>
                    <a:lnTo>
                      <a:pt x="96" y="288"/>
                    </a:lnTo>
                    <a:lnTo>
                      <a:pt x="92" y="279"/>
                    </a:lnTo>
                    <a:lnTo>
                      <a:pt x="83" y="269"/>
                    </a:lnTo>
                    <a:lnTo>
                      <a:pt x="74" y="256"/>
                    </a:lnTo>
                    <a:lnTo>
                      <a:pt x="69" y="247"/>
                    </a:lnTo>
                    <a:lnTo>
                      <a:pt x="64" y="242"/>
                    </a:lnTo>
                    <a:lnTo>
                      <a:pt x="64" y="237"/>
                    </a:lnTo>
                    <a:lnTo>
                      <a:pt x="64" y="237"/>
                    </a:lnTo>
                    <a:lnTo>
                      <a:pt x="60" y="228"/>
                    </a:lnTo>
                    <a:lnTo>
                      <a:pt x="55" y="228"/>
                    </a:lnTo>
                    <a:lnTo>
                      <a:pt x="55" y="224"/>
                    </a:lnTo>
                    <a:lnTo>
                      <a:pt x="51" y="215"/>
                    </a:lnTo>
                    <a:lnTo>
                      <a:pt x="42" y="201"/>
                    </a:lnTo>
                    <a:lnTo>
                      <a:pt x="32" y="187"/>
                    </a:lnTo>
                    <a:lnTo>
                      <a:pt x="32" y="183"/>
                    </a:lnTo>
                    <a:lnTo>
                      <a:pt x="32" y="183"/>
                    </a:lnTo>
                    <a:lnTo>
                      <a:pt x="37" y="178"/>
                    </a:lnTo>
                    <a:lnTo>
                      <a:pt x="37" y="178"/>
                    </a:lnTo>
                    <a:lnTo>
                      <a:pt x="32" y="178"/>
                    </a:lnTo>
                    <a:lnTo>
                      <a:pt x="32" y="173"/>
                    </a:lnTo>
                    <a:lnTo>
                      <a:pt x="32" y="169"/>
                    </a:lnTo>
                    <a:lnTo>
                      <a:pt x="28" y="164"/>
                    </a:lnTo>
                    <a:lnTo>
                      <a:pt x="28" y="164"/>
                    </a:lnTo>
                    <a:lnTo>
                      <a:pt x="28" y="160"/>
                    </a:lnTo>
                    <a:lnTo>
                      <a:pt x="28" y="155"/>
                    </a:lnTo>
                    <a:lnTo>
                      <a:pt x="23" y="141"/>
                    </a:lnTo>
                    <a:lnTo>
                      <a:pt x="19" y="132"/>
                    </a:lnTo>
                    <a:lnTo>
                      <a:pt x="19" y="132"/>
                    </a:lnTo>
                    <a:lnTo>
                      <a:pt x="19" y="128"/>
                    </a:lnTo>
                    <a:lnTo>
                      <a:pt x="14" y="119"/>
                    </a:lnTo>
                    <a:lnTo>
                      <a:pt x="0" y="96"/>
                    </a:lnTo>
                    <a:lnTo>
                      <a:pt x="0" y="91"/>
                    </a:lnTo>
                    <a:lnTo>
                      <a:pt x="0" y="91"/>
                    </a:lnTo>
                    <a:lnTo>
                      <a:pt x="0" y="91"/>
                    </a:lnTo>
                    <a:lnTo>
                      <a:pt x="0" y="91"/>
                    </a:lnTo>
                    <a:lnTo>
                      <a:pt x="14" y="87"/>
                    </a:lnTo>
                    <a:lnTo>
                      <a:pt x="19" y="87"/>
                    </a:lnTo>
                    <a:lnTo>
                      <a:pt x="23" y="87"/>
                    </a:lnTo>
                    <a:lnTo>
                      <a:pt x="28" y="91"/>
                    </a:lnTo>
                    <a:lnTo>
                      <a:pt x="32" y="91"/>
                    </a:lnTo>
                    <a:lnTo>
                      <a:pt x="37" y="96"/>
                    </a:lnTo>
                    <a:lnTo>
                      <a:pt x="37" y="100"/>
                    </a:lnTo>
                    <a:lnTo>
                      <a:pt x="55" y="109"/>
                    </a:lnTo>
                    <a:lnTo>
                      <a:pt x="55" y="109"/>
                    </a:lnTo>
                    <a:lnTo>
                      <a:pt x="55" y="114"/>
                    </a:lnTo>
                    <a:lnTo>
                      <a:pt x="60" y="114"/>
                    </a:lnTo>
                    <a:lnTo>
                      <a:pt x="64" y="114"/>
                    </a:lnTo>
                    <a:lnTo>
                      <a:pt x="74" y="119"/>
                    </a:lnTo>
                    <a:lnTo>
                      <a:pt x="78" y="123"/>
                    </a:lnTo>
                    <a:lnTo>
                      <a:pt x="83" y="123"/>
                    </a:lnTo>
                    <a:lnTo>
                      <a:pt x="92" y="128"/>
                    </a:lnTo>
                    <a:lnTo>
                      <a:pt x="101" y="128"/>
                    </a:lnTo>
                    <a:lnTo>
                      <a:pt x="106" y="132"/>
                    </a:lnTo>
                    <a:lnTo>
                      <a:pt x="110" y="132"/>
                    </a:lnTo>
                    <a:lnTo>
                      <a:pt x="115" y="137"/>
                    </a:lnTo>
                    <a:lnTo>
                      <a:pt x="119" y="141"/>
                    </a:lnTo>
                    <a:lnTo>
                      <a:pt x="124" y="141"/>
                    </a:lnTo>
                    <a:lnTo>
                      <a:pt x="124" y="141"/>
                    </a:lnTo>
                    <a:lnTo>
                      <a:pt x="128" y="141"/>
                    </a:lnTo>
                    <a:lnTo>
                      <a:pt x="133" y="137"/>
                    </a:lnTo>
                    <a:lnTo>
                      <a:pt x="138" y="132"/>
                    </a:lnTo>
                    <a:lnTo>
                      <a:pt x="147" y="132"/>
                    </a:lnTo>
                    <a:lnTo>
                      <a:pt x="160" y="128"/>
                    </a:lnTo>
                    <a:lnTo>
                      <a:pt x="165" y="123"/>
                    </a:lnTo>
                    <a:lnTo>
                      <a:pt x="170" y="123"/>
                    </a:lnTo>
                    <a:lnTo>
                      <a:pt x="174" y="119"/>
                    </a:lnTo>
                    <a:lnTo>
                      <a:pt x="179" y="114"/>
                    </a:lnTo>
                    <a:lnTo>
                      <a:pt x="183" y="109"/>
                    </a:lnTo>
                    <a:lnTo>
                      <a:pt x="188" y="109"/>
                    </a:lnTo>
                    <a:lnTo>
                      <a:pt x="188" y="109"/>
                    </a:lnTo>
                    <a:lnTo>
                      <a:pt x="188" y="109"/>
                    </a:lnTo>
                    <a:lnTo>
                      <a:pt x="202" y="105"/>
                    </a:lnTo>
                    <a:lnTo>
                      <a:pt x="202" y="100"/>
                    </a:lnTo>
                    <a:lnTo>
                      <a:pt x="206" y="100"/>
                    </a:lnTo>
                    <a:lnTo>
                      <a:pt x="206" y="96"/>
                    </a:lnTo>
                    <a:lnTo>
                      <a:pt x="211" y="87"/>
                    </a:lnTo>
                    <a:lnTo>
                      <a:pt x="211" y="87"/>
                    </a:lnTo>
                    <a:lnTo>
                      <a:pt x="211" y="87"/>
                    </a:lnTo>
                    <a:lnTo>
                      <a:pt x="215" y="82"/>
                    </a:lnTo>
                    <a:lnTo>
                      <a:pt x="220" y="82"/>
                    </a:lnTo>
                    <a:lnTo>
                      <a:pt x="224" y="87"/>
                    </a:lnTo>
                    <a:lnTo>
                      <a:pt x="229" y="87"/>
                    </a:lnTo>
                    <a:lnTo>
                      <a:pt x="234" y="91"/>
                    </a:lnTo>
                    <a:lnTo>
                      <a:pt x="234" y="96"/>
                    </a:lnTo>
                    <a:lnTo>
                      <a:pt x="243" y="105"/>
                    </a:lnTo>
                    <a:lnTo>
                      <a:pt x="247" y="105"/>
                    </a:lnTo>
                    <a:lnTo>
                      <a:pt x="252" y="105"/>
                    </a:lnTo>
                    <a:lnTo>
                      <a:pt x="256" y="100"/>
                    </a:lnTo>
                    <a:lnTo>
                      <a:pt x="256" y="100"/>
                    </a:lnTo>
                    <a:lnTo>
                      <a:pt x="261" y="91"/>
                    </a:lnTo>
                    <a:lnTo>
                      <a:pt x="266" y="87"/>
                    </a:lnTo>
                    <a:lnTo>
                      <a:pt x="275" y="87"/>
                    </a:lnTo>
                    <a:lnTo>
                      <a:pt x="275" y="87"/>
                    </a:lnTo>
                    <a:lnTo>
                      <a:pt x="284" y="87"/>
                    </a:lnTo>
                    <a:lnTo>
                      <a:pt x="288" y="87"/>
                    </a:lnTo>
                    <a:lnTo>
                      <a:pt x="293" y="87"/>
                    </a:lnTo>
                    <a:lnTo>
                      <a:pt x="298" y="87"/>
                    </a:lnTo>
                    <a:lnTo>
                      <a:pt x="298" y="87"/>
                    </a:lnTo>
                    <a:lnTo>
                      <a:pt x="307" y="82"/>
                    </a:lnTo>
                    <a:lnTo>
                      <a:pt x="311" y="73"/>
                    </a:lnTo>
                    <a:lnTo>
                      <a:pt x="311" y="64"/>
                    </a:lnTo>
                    <a:lnTo>
                      <a:pt x="311" y="64"/>
                    </a:lnTo>
                    <a:lnTo>
                      <a:pt x="311" y="55"/>
                    </a:lnTo>
                    <a:lnTo>
                      <a:pt x="316" y="50"/>
                    </a:lnTo>
                    <a:lnTo>
                      <a:pt x="320" y="50"/>
                    </a:lnTo>
                    <a:lnTo>
                      <a:pt x="330" y="50"/>
                    </a:lnTo>
                    <a:lnTo>
                      <a:pt x="334" y="55"/>
                    </a:lnTo>
                    <a:lnTo>
                      <a:pt x="339" y="50"/>
                    </a:lnTo>
                    <a:lnTo>
                      <a:pt x="343" y="41"/>
                    </a:lnTo>
                    <a:lnTo>
                      <a:pt x="348" y="36"/>
                    </a:lnTo>
                    <a:lnTo>
                      <a:pt x="357" y="32"/>
                    </a:lnTo>
                    <a:lnTo>
                      <a:pt x="371" y="32"/>
                    </a:lnTo>
                    <a:lnTo>
                      <a:pt x="380" y="32"/>
                    </a:lnTo>
                    <a:lnTo>
                      <a:pt x="384" y="32"/>
                    </a:lnTo>
                    <a:lnTo>
                      <a:pt x="394" y="32"/>
                    </a:lnTo>
                    <a:lnTo>
                      <a:pt x="407" y="27"/>
                    </a:lnTo>
                    <a:lnTo>
                      <a:pt x="407" y="23"/>
                    </a:lnTo>
                    <a:lnTo>
                      <a:pt x="412" y="23"/>
                    </a:lnTo>
                    <a:lnTo>
                      <a:pt x="426" y="18"/>
                    </a:lnTo>
                    <a:lnTo>
                      <a:pt x="430" y="13"/>
                    </a:lnTo>
                    <a:lnTo>
                      <a:pt x="430" y="4"/>
                    </a:lnTo>
                    <a:lnTo>
                      <a:pt x="426" y="0"/>
                    </a:lnTo>
                    <a:lnTo>
                      <a:pt x="426" y="0"/>
                    </a:lnTo>
                    <a:lnTo>
                      <a:pt x="430" y="0"/>
                    </a:lnTo>
                    <a:lnTo>
                      <a:pt x="430" y="0"/>
                    </a:lnTo>
                    <a:lnTo>
                      <a:pt x="439" y="0"/>
                    </a:lnTo>
                    <a:lnTo>
                      <a:pt x="448" y="0"/>
                    </a:lnTo>
                    <a:lnTo>
                      <a:pt x="453" y="0"/>
                    </a:lnTo>
                    <a:lnTo>
                      <a:pt x="453" y="4"/>
                    </a:lnTo>
                    <a:lnTo>
                      <a:pt x="448" y="9"/>
                    </a:lnTo>
                    <a:lnTo>
                      <a:pt x="444" y="18"/>
                    </a:lnTo>
                    <a:lnTo>
                      <a:pt x="439" y="23"/>
                    </a:lnTo>
                    <a:lnTo>
                      <a:pt x="435" y="27"/>
                    </a:lnTo>
                    <a:lnTo>
                      <a:pt x="439" y="36"/>
                    </a:lnTo>
                    <a:lnTo>
                      <a:pt x="444" y="41"/>
                    </a:lnTo>
                    <a:lnTo>
                      <a:pt x="444" y="50"/>
                    </a:lnTo>
                    <a:lnTo>
                      <a:pt x="453" y="55"/>
                    </a:lnTo>
                    <a:lnTo>
                      <a:pt x="448" y="64"/>
                    </a:lnTo>
                    <a:lnTo>
                      <a:pt x="448" y="64"/>
                    </a:lnTo>
                    <a:lnTo>
                      <a:pt x="444" y="73"/>
                    </a:lnTo>
                    <a:lnTo>
                      <a:pt x="444" y="77"/>
                    </a:lnTo>
                    <a:lnTo>
                      <a:pt x="430" y="82"/>
                    </a:lnTo>
                    <a:lnTo>
                      <a:pt x="426" y="77"/>
                    </a:lnTo>
                    <a:lnTo>
                      <a:pt x="416" y="77"/>
                    </a:lnTo>
                    <a:lnTo>
                      <a:pt x="416" y="82"/>
                    </a:lnTo>
                    <a:lnTo>
                      <a:pt x="412" y="87"/>
                    </a:lnTo>
                    <a:lnTo>
                      <a:pt x="407" y="91"/>
                    </a:lnTo>
                    <a:lnTo>
                      <a:pt x="407" y="105"/>
                    </a:lnTo>
                    <a:lnTo>
                      <a:pt x="398" y="114"/>
                    </a:lnTo>
                    <a:lnTo>
                      <a:pt x="394" y="128"/>
                    </a:lnTo>
                    <a:lnTo>
                      <a:pt x="389" y="132"/>
                    </a:lnTo>
                    <a:lnTo>
                      <a:pt x="384" y="137"/>
                    </a:lnTo>
                    <a:lnTo>
                      <a:pt x="384" y="146"/>
                    </a:lnTo>
                    <a:lnTo>
                      <a:pt x="384" y="151"/>
                    </a:lnTo>
                    <a:lnTo>
                      <a:pt x="389" y="155"/>
                    </a:lnTo>
                    <a:lnTo>
                      <a:pt x="389" y="160"/>
                    </a:lnTo>
                    <a:lnTo>
                      <a:pt x="394" y="160"/>
                    </a:lnTo>
                    <a:lnTo>
                      <a:pt x="398" y="160"/>
                    </a:lnTo>
                    <a:lnTo>
                      <a:pt x="398" y="164"/>
                    </a:lnTo>
                    <a:lnTo>
                      <a:pt x="394" y="169"/>
                    </a:lnTo>
                    <a:lnTo>
                      <a:pt x="394" y="173"/>
                    </a:lnTo>
                    <a:lnTo>
                      <a:pt x="384" y="178"/>
                    </a:lnTo>
                    <a:lnTo>
                      <a:pt x="384" y="187"/>
                    </a:lnTo>
                    <a:lnTo>
                      <a:pt x="375" y="196"/>
                    </a:lnTo>
                    <a:lnTo>
                      <a:pt x="371" y="201"/>
                    </a:lnTo>
                    <a:lnTo>
                      <a:pt x="371" y="215"/>
                    </a:lnTo>
                    <a:lnTo>
                      <a:pt x="380" y="219"/>
                    </a:lnTo>
                    <a:lnTo>
                      <a:pt x="384" y="228"/>
                    </a:lnTo>
                    <a:lnTo>
                      <a:pt x="394" y="228"/>
                    </a:lnTo>
                    <a:lnTo>
                      <a:pt x="398" y="233"/>
                    </a:lnTo>
                    <a:lnTo>
                      <a:pt x="394" y="237"/>
                    </a:lnTo>
                    <a:lnTo>
                      <a:pt x="394" y="242"/>
                    </a:lnTo>
                    <a:lnTo>
                      <a:pt x="398" y="242"/>
                    </a:lnTo>
                    <a:lnTo>
                      <a:pt x="403" y="247"/>
                    </a:lnTo>
                    <a:lnTo>
                      <a:pt x="403" y="251"/>
                    </a:lnTo>
                    <a:lnTo>
                      <a:pt x="412" y="247"/>
                    </a:lnTo>
                    <a:lnTo>
                      <a:pt x="426" y="242"/>
                    </a:lnTo>
                    <a:lnTo>
                      <a:pt x="435" y="242"/>
                    </a:lnTo>
                    <a:lnTo>
                      <a:pt x="448" y="242"/>
                    </a:lnTo>
                    <a:lnTo>
                      <a:pt x="458" y="242"/>
                    </a:lnTo>
                    <a:lnTo>
                      <a:pt x="462" y="247"/>
                    </a:lnTo>
                    <a:lnTo>
                      <a:pt x="453" y="251"/>
                    </a:lnTo>
                    <a:lnTo>
                      <a:pt x="444" y="260"/>
                    </a:lnTo>
                    <a:lnTo>
                      <a:pt x="439" y="260"/>
                    </a:lnTo>
                    <a:lnTo>
                      <a:pt x="430" y="269"/>
                    </a:lnTo>
                    <a:lnTo>
                      <a:pt x="426" y="274"/>
                    </a:lnTo>
                    <a:lnTo>
                      <a:pt x="421" y="279"/>
                    </a:lnTo>
                    <a:lnTo>
                      <a:pt x="416" y="283"/>
                    </a:lnTo>
                    <a:lnTo>
                      <a:pt x="416" y="283"/>
                    </a:lnTo>
                    <a:close/>
                  </a:path>
                </a:pathLst>
              </a:custGeom>
              <a:grpFill/>
              <a:ln w="6350" cmpd="sng">
                <a:solidFill>
                  <a:sysClr val="window" lastClr="FFFFFF"/>
                </a:solidFill>
                <a:miter lim="800000"/>
                <a:headEnd/>
                <a:tailEnd/>
              </a:ln>
              <a:effectLst/>
            </p:spPr>
            <p:txBody>
              <a:bodyPr tIns="182880" rIns="0" anchor="ctr"/>
              <a:lstStyle/>
              <a:p>
                <a:pPr marL="0" marR="0" lvl="0" indent="0" algn="ctr"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Bayelsa</a:t>
                </a:r>
              </a:p>
            </p:txBody>
          </p:sp>
          <p:sp>
            <p:nvSpPr>
              <p:cNvPr id="223" name="Freeform 50">
                <a:extLst>
                  <a:ext uri="{FF2B5EF4-FFF2-40B4-BE49-F238E27FC236}">
                    <a16:creationId xmlns:a16="http://schemas.microsoft.com/office/drawing/2014/main" id="{9009B274-656E-4802-9C90-7E6CE3C2CDEF}"/>
                  </a:ext>
                </a:extLst>
              </p:cNvPr>
              <p:cNvSpPr>
                <a:spLocks/>
              </p:cNvSpPr>
              <p:nvPr>
                <p:custDataLst>
                  <p:tags r:id="rId40"/>
                </p:custDataLst>
              </p:nvPr>
            </p:nvSpPr>
            <p:spPr bwMode="auto">
              <a:xfrm>
                <a:off x="4636546" y="1837256"/>
                <a:ext cx="1577831" cy="1752133"/>
              </a:xfrm>
              <a:custGeom>
                <a:avLst/>
                <a:gdLst/>
                <a:ahLst/>
                <a:cxnLst>
                  <a:cxn ang="0">
                    <a:pos x="266" y="508"/>
                  </a:cxn>
                  <a:cxn ang="0">
                    <a:pos x="302" y="457"/>
                  </a:cxn>
                  <a:cxn ang="0">
                    <a:pos x="343" y="398"/>
                  </a:cxn>
                  <a:cxn ang="0">
                    <a:pos x="311" y="343"/>
                  </a:cxn>
                  <a:cxn ang="0">
                    <a:pos x="316" y="243"/>
                  </a:cxn>
                  <a:cxn ang="0">
                    <a:pos x="362" y="238"/>
                  </a:cxn>
                  <a:cxn ang="0">
                    <a:pos x="375" y="215"/>
                  </a:cxn>
                  <a:cxn ang="0">
                    <a:pos x="375" y="188"/>
                  </a:cxn>
                  <a:cxn ang="0">
                    <a:pos x="403" y="165"/>
                  </a:cxn>
                  <a:cxn ang="0">
                    <a:pos x="435" y="156"/>
                  </a:cxn>
                  <a:cxn ang="0">
                    <a:pos x="458" y="137"/>
                  </a:cxn>
                  <a:cxn ang="0">
                    <a:pos x="485" y="119"/>
                  </a:cxn>
                  <a:cxn ang="0">
                    <a:pos x="499" y="105"/>
                  </a:cxn>
                  <a:cxn ang="0">
                    <a:pos x="503" y="87"/>
                  </a:cxn>
                  <a:cxn ang="0">
                    <a:pos x="554" y="73"/>
                  </a:cxn>
                  <a:cxn ang="0">
                    <a:pos x="576" y="69"/>
                  </a:cxn>
                  <a:cxn ang="0">
                    <a:pos x="599" y="64"/>
                  </a:cxn>
                  <a:cxn ang="0">
                    <a:pos x="622" y="69"/>
                  </a:cxn>
                  <a:cxn ang="0">
                    <a:pos x="640" y="55"/>
                  </a:cxn>
                  <a:cxn ang="0">
                    <a:pos x="650" y="32"/>
                  </a:cxn>
                  <a:cxn ang="0">
                    <a:pos x="677" y="9"/>
                  </a:cxn>
                  <a:cxn ang="0">
                    <a:pos x="759" y="0"/>
                  </a:cxn>
                  <a:cxn ang="0">
                    <a:pos x="823" y="46"/>
                  </a:cxn>
                  <a:cxn ang="0">
                    <a:pos x="901" y="160"/>
                  </a:cxn>
                  <a:cxn ang="0">
                    <a:pos x="960" y="243"/>
                  </a:cxn>
                  <a:cxn ang="0">
                    <a:pos x="988" y="375"/>
                  </a:cxn>
                  <a:cxn ang="0">
                    <a:pos x="997" y="471"/>
                  </a:cxn>
                  <a:cxn ang="0">
                    <a:pos x="997" y="494"/>
                  </a:cxn>
                  <a:cxn ang="0">
                    <a:pos x="1038" y="508"/>
                  </a:cxn>
                  <a:cxn ang="0">
                    <a:pos x="1093" y="512"/>
                  </a:cxn>
                  <a:cxn ang="0">
                    <a:pos x="1130" y="531"/>
                  </a:cxn>
                  <a:cxn ang="0">
                    <a:pos x="1143" y="558"/>
                  </a:cxn>
                  <a:cxn ang="0">
                    <a:pos x="1166" y="581"/>
                  </a:cxn>
                  <a:cxn ang="0">
                    <a:pos x="1171" y="613"/>
                  </a:cxn>
                  <a:cxn ang="0">
                    <a:pos x="1180" y="663"/>
                  </a:cxn>
                  <a:cxn ang="0">
                    <a:pos x="1157" y="709"/>
                  </a:cxn>
                  <a:cxn ang="0">
                    <a:pos x="1152" y="768"/>
                  </a:cxn>
                  <a:cxn ang="0">
                    <a:pos x="1152" y="837"/>
                  </a:cxn>
                  <a:cxn ang="0">
                    <a:pos x="1052" y="883"/>
                  </a:cxn>
                  <a:cxn ang="0">
                    <a:pos x="960" y="924"/>
                  </a:cxn>
                  <a:cxn ang="0">
                    <a:pos x="901" y="956"/>
                  </a:cxn>
                  <a:cxn ang="0">
                    <a:pos x="869" y="992"/>
                  </a:cxn>
                  <a:cxn ang="0">
                    <a:pos x="828" y="1033"/>
                  </a:cxn>
                  <a:cxn ang="0">
                    <a:pos x="714" y="1075"/>
                  </a:cxn>
                  <a:cxn ang="0">
                    <a:pos x="650" y="1180"/>
                  </a:cxn>
                  <a:cxn ang="0">
                    <a:pos x="572" y="1230"/>
                  </a:cxn>
                  <a:cxn ang="0">
                    <a:pos x="485" y="1198"/>
                  </a:cxn>
                  <a:cxn ang="0">
                    <a:pos x="384" y="1280"/>
                  </a:cxn>
                  <a:cxn ang="0">
                    <a:pos x="266" y="1312"/>
                  </a:cxn>
                  <a:cxn ang="0">
                    <a:pos x="197" y="1404"/>
                  </a:cxn>
                  <a:cxn ang="0">
                    <a:pos x="92" y="1376"/>
                  </a:cxn>
                  <a:cxn ang="0">
                    <a:pos x="23" y="1321"/>
                  </a:cxn>
                  <a:cxn ang="0">
                    <a:pos x="23" y="1267"/>
                  </a:cxn>
                  <a:cxn ang="0">
                    <a:pos x="46" y="1221"/>
                  </a:cxn>
                  <a:cxn ang="0">
                    <a:pos x="46" y="1175"/>
                  </a:cxn>
                  <a:cxn ang="0">
                    <a:pos x="69" y="1075"/>
                  </a:cxn>
                  <a:cxn ang="0">
                    <a:pos x="151" y="1047"/>
                  </a:cxn>
                  <a:cxn ang="0">
                    <a:pos x="215" y="988"/>
                  </a:cxn>
                  <a:cxn ang="0">
                    <a:pos x="243" y="901"/>
                  </a:cxn>
                  <a:cxn ang="0">
                    <a:pos x="288" y="832"/>
                  </a:cxn>
                  <a:cxn ang="0">
                    <a:pos x="234" y="764"/>
                  </a:cxn>
                </a:cxnLst>
                <a:rect l="0" t="0" r="r" b="b"/>
                <a:pathLst>
                  <a:path w="1184" h="1417">
                    <a:moveTo>
                      <a:pt x="256" y="700"/>
                    </a:moveTo>
                    <a:lnTo>
                      <a:pt x="256" y="695"/>
                    </a:lnTo>
                    <a:lnTo>
                      <a:pt x="256" y="677"/>
                    </a:lnTo>
                    <a:lnTo>
                      <a:pt x="256" y="668"/>
                    </a:lnTo>
                    <a:lnTo>
                      <a:pt x="256" y="654"/>
                    </a:lnTo>
                    <a:lnTo>
                      <a:pt x="256" y="640"/>
                    </a:lnTo>
                    <a:lnTo>
                      <a:pt x="261" y="627"/>
                    </a:lnTo>
                    <a:lnTo>
                      <a:pt x="266" y="608"/>
                    </a:lnTo>
                    <a:lnTo>
                      <a:pt x="266" y="608"/>
                    </a:lnTo>
                    <a:lnTo>
                      <a:pt x="270" y="599"/>
                    </a:lnTo>
                    <a:lnTo>
                      <a:pt x="270" y="590"/>
                    </a:lnTo>
                    <a:lnTo>
                      <a:pt x="275" y="567"/>
                    </a:lnTo>
                    <a:lnTo>
                      <a:pt x="275" y="553"/>
                    </a:lnTo>
                    <a:lnTo>
                      <a:pt x="275" y="549"/>
                    </a:lnTo>
                    <a:lnTo>
                      <a:pt x="275" y="544"/>
                    </a:lnTo>
                    <a:lnTo>
                      <a:pt x="275" y="535"/>
                    </a:lnTo>
                    <a:lnTo>
                      <a:pt x="270" y="521"/>
                    </a:lnTo>
                    <a:lnTo>
                      <a:pt x="266" y="517"/>
                    </a:lnTo>
                    <a:lnTo>
                      <a:pt x="266" y="512"/>
                    </a:lnTo>
                    <a:lnTo>
                      <a:pt x="266" y="508"/>
                    </a:lnTo>
                    <a:lnTo>
                      <a:pt x="266" y="503"/>
                    </a:lnTo>
                    <a:lnTo>
                      <a:pt x="266" y="499"/>
                    </a:lnTo>
                    <a:lnTo>
                      <a:pt x="261" y="499"/>
                    </a:lnTo>
                    <a:lnTo>
                      <a:pt x="261" y="499"/>
                    </a:lnTo>
                    <a:lnTo>
                      <a:pt x="261" y="494"/>
                    </a:lnTo>
                    <a:lnTo>
                      <a:pt x="261" y="485"/>
                    </a:lnTo>
                    <a:lnTo>
                      <a:pt x="266" y="485"/>
                    </a:lnTo>
                    <a:lnTo>
                      <a:pt x="266" y="480"/>
                    </a:lnTo>
                    <a:lnTo>
                      <a:pt x="266" y="480"/>
                    </a:lnTo>
                    <a:lnTo>
                      <a:pt x="270" y="480"/>
                    </a:lnTo>
                    <a:lnTo>
                      <a:pt x="275" y="476"/>
                    </a:lnTo>
                    <a:lnTo>
                      <a:pt x="279" y="476"/>
                    </a:lnTo>
                    <a:lnTo>
                      <a:pt x="284" y="471"/>
                    </a:lnTo>
                    <a:lnTo>
                      <a:pt x="288" y="471"/>
                    </a:lnTo>
                    <a:lnTo>
                      <a:pt x="288" y="467"/>
                    </a:lnTo>
                    <a:lnTo>
                      <a:pt x="288" y="467"/>
                    </a:lnTo>
                    <a:lnTo>
                      <a:pt x="293" y="467"/>
                    </a:lnTo>
                    <a:lnTo>
                      <a:pt x="293" y="462"/>
                    </a:lnTo>
                    <a:lnTo>
                      <a:pt x="298" y="457"/>
                    </a:lnTo>
                    <a:lnTo>
                      <a:pt x="302" y="457"/>
                    </a:lnTo>
                    <a:lnTo>
                      <a:pt x="307" y="457"/>
                    </a:lnTo>
                    <a:lnTo>
                      <a:pt x="307" y="453"/>
                    </a:lnTo>
                    <a:lnTo>
                      <a:pt x="311" y="453"/>
                    </a:lnTo>
                    <a:lnTo>
                      <a:pt x="311" y="453"/>
                    </a:lnTo>
                    <a:lnTo>
                      <a:pt x="311" y="448"/>
                    </a:lnTo>
                    <a:lnTo>
                      <a:pt x="311" y="444"/>
                    </a:lnTo>
                    <a:lnTo>
                      <a:pt x="316" y="444"/>
                    </a:lnTo>
                    <a:lnTo>
                      <a:pt x="316" y="439"/>
                    </a:lnTo>
                    <a:lnTo>
                      <a:pt x="316" y="435"/>
                    </a:lnTo>
                    <a:lnTo>
                      <a:pt x="320" y="435"/>
                    </a:lnTo>
                    <a:lnTo>
                      <a:pt x="320" y="430"/>
                    </a:lnTo>
                    <a:lnTo>
                      <a:pt x="325" y="425"/>
                    </a:lnTo>
                    <a:lnTo>
                      <a:pt x="330" y="421"/>
                    </a:lnTo>
                    <a:lnTo>
                      <a:pt x="330" y="416"/>
                    </a:lnTo>
                    <a:lnTo>
                      <a:pt x="330" y="412"/>
                    </a:lnTo>
                    <a:lnTo>
                      <a:pt x="334" y="412"/>
                    </a:lnTo>
                    <a:lnTo>
                      <a:pt x="339" y="412"/>
                    </a:lnTo>
                    <a:lnTo>
                      <a:pt x="339" y="407"/>
                    </a:lnTo>
                    <a:lnTo>
                      <a:pt x="343" y="403"/>
                    </a:lnTo>
                    <a:lnTo>
                      <a:pt x="343" y="398"/>
                    </a:lnTo>
                    <a:lnTo>
                      <a:pt x="343" y="389"/>
                    </a:lnTo>
                    <a:lnTo>
                      <a:pt x="343" y="389"/>
                    </a:lnTo>
                    <a:lnTo>
                      <a:pt x="343" y="384"/>
                    </a:lnTo>
                    <a:lnTo>
                      <a:pt x="339" y="380"/>
                    </a:lnTo>
                    <a:lnTo>
                      <a:pt x="339" y="375"/>
                    </a:lnTo>
                    <a:lnTo>
                      <a:pt x="334" y="375"/>
                    </a:lnTo>
                    <a:lnTo>
                      <a:pt x="334" y="371"/>
                    </a:lnTo>
                    <a:lnTo>
                      <a:pt x="334" y="371"/>
                    </a:lnTo>
                    <a:lnTo>
                      <a:pt x="330" y="371"/>
                    </a:lnTo>
                    <a:lnTo>
                      <a:pt x="330" y="366"/>
                    </a:lnTo>
                    <a:lnTo>
                      <a:pt x="330" y="366"/>
                    </a:lnTo>
                    <a:lnTo>
                      <a:pt x="325" y="361"/>
                    </a:lnTo>
                    <a:lnTo>
                      <a:pt x="325" y="357"/>
                    </a:lnTo>
                    <a:lnTo>
                      <a:pt x="320" y="357"/>
                    </a:lnTo>
                    <a:lnTo>
                      <a:pt x="320" y="352"/>
                    </a:lnTo>
                    <a:lnTo>
                      <a:pt x="316" y="352"/>
                    </a:lnTo>
                    <a:lnTo>
                      <a:pt x="316" y="348"/>
                    </a:lnTo>
                    <a:lnTo>
                      <a:pt x="311" y="348"/>
                    </a:lnTo>
                    <a:lnTo>
                      <a:pt x="311" y="343"/>
                    </a:lnTo>
                    <a:lnTo>
                      <a:pt x="311" y="343"/>
                    </a:lnTo>
                    <a:lnTo>
                      <a:pt x="307" y="339"/>
                    </a:lnTo>
                    <a:lnTo>
                      <a:pt x="307" y="334"/>
                    </a:lnTo>
                    <a:lnTo>
                      <a:pt x="307" y="329"/>
                    </a:lnTo>
                    <a:lnTo>
                      <a:pt x="302" y="329"/>
                    </a:lnTo>
                    <a:lnTo>
                      <a:pt x="302" y="325"/>
                    </a:lnTo>
                    <a:lnTo>
                      <a:pt x="298" y="325"/>
                    </a:lnTo>
                    <a:lnTo>
                      <a:pt x="298" y="320"/>
                    </a:lnTo>
                    <a:lnTo>
                      <a:pt x="298" y="311"/>
                    </a:lnTo>
                    <a:lnTo>
                      <a:pt x="298" y="307"/>
                    </a:lnTo>
                    <a:lnTo>
                      <a:pt x="302" y="307"/>
                    </a:lnTo>
                    <a:lnTo>
                      <a:pt x="302" y="302"/>
                    </a:lnTo>
                    <a:lnTo>
                      <a:pt x="302" y="302"/>
                    </a:lnTo>
                    <a:lnTo>
                      <a:pt x="307" y="297"/>
                    </a:lnTo>
                    <a:lnTo>
                      <a:pt x="311" y="288"/>
                    </a:lnTo>
                    <a:lnTo>
                      <a:pt x="311" y="284"/>
                    </a:lnTo>
                    <a:lnTo>
                      <a:pt x="311" y="279"/>
                    </a:lnTo>
                    <a:lnTo>
                      <a:pt x="311" y="270"/>
                    </a:lnTo>
                    <a:lnTo>
                      <a:pt x="311" y="261"/>
                    </a:lnTo>
                    <a:lnTo>
                      <a:pt x="316" y="243"/>
                    </a:lnTo>
                    <a:lnTo>
                      <a:pt x="316" y="243"/>
                    </a:lnTo>
                    <a:lnTo>
                      <a:pt x="325" y="243"/>
                    </a:lnTo>
                    <a:lnTo>
                      <a:pt x="325" y="243"/>
                    </a:lnTo>
                    <a:lnTo>
                      <a:pt x="325" y="243"/>
                    </a:lnTo>
                    <a:lnTo>
                      <a:pt x="325" y="243"/>
                    </a:lnTo>
                    <a:lnTo>
                      <a:pt x="325" y="238"/>
                    </a:lnTo>
                    <a:lnTo>
                      <a:pt x="330" y="238"/>
                    </a:lnTo>
                    <a:lnTo>
                      <a:pt x="330" y="243"/>
                    </a:lnTo>
                    <a:lnTo>
                      <a:pt x="339" y="243"/>
                    </a:lnTo>
                    <a:lnTo>
                      <a:pt x="339" y="243"/>
                    </a:lnTo>
                    <a:lnTo>
                      <a:pt x="343" y="243"/>
                    </a:lnTo>
                    <a:lnTo>
                      <a:pt x="348" y="243"/>
                    </a:lnTo>
                    <a:lnTo>
                      <a:pt x="352" y="247"/>
                    </a:lnTo>
                    <a:lnTo>
                      <a:pt x="352" y="247"/>
                    </a:lnTo>
                    <a:lnTo>
                      <a:pt x="352" y="247"/>
                    </a:lnTo>
                    <a:lnTo>
                      <a:pt x="357" y="243"/>
                    </a:lnTo>
                    <a:lnTo>
                      <a:pt x="352" y="238"/>
                    </a:lnTo>
                    <a:lnTo>
                      <a:pt x="352" y="238"/>
                    </a:lnTo>
                    <a:lnTo>
                      <a:pt x="357" y="238"/>
                    </a:lnTo>
                    <a:lnTo>
                      <a:pt x="357" y="238"/>
                    </a:lnTo>
                    <a:lnTo>
                      <a:pt x="362" y="238"/>
                    </a:lnTo>
                    <a:lnTo>
                      <a:pt x="362" y="238"/>
                    </a:lnTo>
                    <a:lnTo>
                      <a:pt x="362" y="238"/>
                    </a:lnTo>
                    <a:lnTo>
                      <a:pt x="357" y="238"/>
                    </a:lnTo>
                    <a:lnTo>
                      <a:pt x="357" y="238"/>
                    </a:lnTo>
                    <a:lnTo>
                      <a:pt x="362" y="233"/>
                    </a:lnTo>
                    <a:lnTo>
                      <a:pt x="357" y="233"/>
                    </a:lnTo>
                    <a:lnTo>
                      <a:pt x="357" y="233"/>
                    </a:lnTo>
                    <a:lnTo>
                      <a:pt x="362" y="229"/>
                    </a:lnTo>
                    <a:lnTo>
                      <a:pt x="362" y="229"/>
                    </a:lnTo>
                    <a:lnTo>
                      <a:pt x="357" y="224"/>
                    </a:lnTo>
                    <a:lnTo>
                      <a:pt x="357" y="224"/>
                    </a:lnTo>
                    <a:lnTo>
                      <a:pt x="362" y="220"/>
                    </a:lnTo>
                    <a:lnTo>
                      <a:pt x="362" y="215"/>
                    </a:lnTo>
                    <a:lnTo>
                      <a:pt x="366" y="215"/>
                    </a:lnTo>
                    <a:lnTo>
                      <a:pt x="371" y="215"/>
                    </a:lnTo>
                    <a:lnTo>
                      <a:pt x="371" y="215"/>
                    </a:lnTo>
                    <a:lnTo>
                      <a:pt x="375" y="215"/>
                    </a:lnTo>
                    <a:lnTo>
                      <a:pt x="375" y="215"/>
                    </a:lnTo>
                    <a:lnTo>
                      <a:pt x="375" y="215"/>
                    </a:lnTo>
                    <a:lnTo>
                      <a:pt x="375" y="215"/>
                    </a:lnTo>
                    <a:lnTo>
                      <a:pt x="380" y="215"/>
                    </a:lnTo>
                    <a:lnTo>
                      <a:pt x="380" y="215"/>
                    </a:lnTo>
                    <a:lnTo>
                      <a:pt x="380" y="211"/>
                    </a:lnTo>
                    <a:lnTo>
                      <a:pt x="380" y="211"/>
                    </a:lnTo>
                    <a:lnTo>
                      <a:pt x="384" y="211"/>
                    </a:lnTo>
                    <a:lnTo>
                      <a:pt x="384" y="211"/>
                    </a:lnTo>
                    <a:lnTo>
                      <a:pt x="380" y="206"/>
                    </a:lnTo>
                    <a:lnTo>
                      <a:pt x="384" y="201"/>
                    </a:lnTo>
                    <a:lnTo>
                      <a:pt x="384" y="201"/>
                    </a:lnTo>
                    <a:lnTo>
                      <a:pt x="384" y="197"/>
                    </a:lnTo>
                    <a:lnTo>
                      <a:pt x="384" y="197"/>
                    </a:lnTo>
                    <a:lnTo>
                      <a:pt x="384" y="197"/>
                    </a:lnTo>
                    <a:lnTo>
                      <a:pt x="380" y="197"/>
                    </a:lnTo>
                    <a:lnTo>
                      <a:pt x="380" y="197"/>
                    </a:lnTo>
                    <a:lnTo>
                      <a:pt x="380" y="197"/>
                    </a:lnTo>
                    <a:lnTo>
                      <a:pt x="375" y="197"/>
                    </a:lnTo>
                    <a:lnTo>
                      <a:pt x="375" y="192"/>
                    </a:lnTo>
                    <a:lnTo>
                      <a:pt x="375" y="192"/>
                    </a:lnTo>
                    <a:lnTo>
                      <a:pt x="375" y="188"/>
                    </a:lnTo>
                    <a:lnTo>
                      <a:pt x="375" y="188"/>
                    </a:lnTo>
                    <a:lnTo>
                      <a:pt x="375" y="188"/>
                    </a:lnTo>
                    <a:lnTo>
                      <a:pt x="380" y="192"/>
                    </a:lnTo>
                    <a:lnTo>
                      <a:pt x="380" y="192"/>
                    </a:lnTo>
                    <a:lnTo>
                      <a:pt x="380" y="192"/>
                    </a:lnTo>
                    <a:lnTo>
                      <a:pt x="384" y="188"/>
                    </a:lnTo>
                    <a:lnTo>
                      <a:pt x="384" y="188"/>
                    </a:lnTo>
                    <a:lnTo>
                      <a:pt x="389" y="183"/>
                    </a:lnTo>
                    <a:lnTo>
                      <a:pt x="389" y="183"/>
                    </a:lnTo>
                    <a:lnTo>
                      <a:pt x="389" y="179"/>
                    </a:lnTo>
                    <a:lnTo>
                      <a:pt x="389" y="179"/>
                    </a:lnTo>
                    <a:lnTo>
                      <a:pt x="389" y="174"/>
                    </a:lnTo>
                    <a:lnTo>
                      <a:pt x="389" y="174"/>
                    </a:lnTo>
                    <a:lnTo>
                      <a:pt x="394" y="169"/>
                    </a:lnTo>
                    <a:lnTo>
                      <a:pt x="394" y="169"/>
                    </a:lnTo>
                    <a:lnTo>
                      <a:pt x="398" y="169"/>
                    </a:lnTo>
                    <a:lnTo>
                      <a:pt x="398" y="169"/>
                    </a:lnTo>
                    <a:lnTo>
                      <a:pt x="394" y="165"/>
                    </a:lnTo>
                    <a:lnTo>
                      <a:pt x="394" y="165"/>
                    </a:lnTo>
                    <a:lnTo>
                      <a:pt x="398" y="165"/>
                    </a:lnTo>
                    <a:lnTo>
                      <a:pt x="403" y="165"/>
                    </a:lnTo>
                    <a:lnTo>
                      <a:pt x="407" y="165"/>
                    </a:lnTo>
                    <a:lnTo>
                      <a:pt x="412" y="165"/>
                    </a:lnTo>
                    <a:lnTo>
                      <a:pt x="412" y="165"/>
                    </a:lnTo>
                    <a:lnTo>
                      <a:pt x="416" y="156"/>
                    </a:lnTo>
                    <a:lnTo>
                      <a:pt x="416" y="156"/>
                    </a:lnTo>
                    <a:lnTo>
                      <a:pt x="416" y="156"/>
                    </a:lnTo>
                    <a:lnTo>
                      <a:pt x="416" y="160"/>
                    </a:lnTo>
                    <a:lnTo>
                      <a:pt x="416" y="160"/>
                    </a:lnTo>
                    <a:lnTo>
                      <a:pt x="416" y="160"/>
                    </a:lnTo>
                    <a:lnTo>
                      <a:pt x="421" y="165"/>
                    </a:lnTo>
                    <a:lnTo>
                      <a:pt x="421" y="165"/>
                    </a:lnTo>
                    <a:lnTo>
                      <a:pt x="421" y="160"/>
                    </a:lnTo>
                    <a:lnTo>
                      <a:pt x="426" y="160"/>
                    </a:lnTo>
                    <a:lnTo>
                      <a:pt x="426" y="165"/>
                    </a:lnTo>
                    <a:lnTo>
                      <a:pt x="426" y="165"/>
                    </a:lnTo>
                    <a:lnTo>
                      <a:pt x="426" y="165"/>
                    </a:lnTo>
                    <a:lnTo>
                      <a:pt x="426" y="165"/>
                    </a:lnTo>
                    <a:lnTo>
                      <a:pt x="430" y="165"/>
                    </a:lnTo>
                    <a:lnTo>
                      <a:pt x="435" y="160"/>
                    </a:lnTo>
                    <a:lnTo>
                      <a:pt x="435" y="156"/>
                    </a:lnTo>
                    <a:lnTo>
                      <a:pt x="435" y="151"/>
                    </a:lnTo>
                    <a:lnTo>
                      <a:pt x="435" y="151"/>
                    </a:lnTo>
                    <a:lnTo>
                      <a:pt x="435" y="151"/>
                    </a:lnTo>
                    <a:lnTo>
                      <a:pt x="439" y="151"/>
                    </a:lnTo>
                    <a:lnTo>
                      <a:pt x="439" y="151"/>
                    </a:lnTo>
                    <a:lnTo>
                      <a:pt x="444" y="156"/>
                    </a:lnTo>
                    <a:lnTo>
                      <a:pt x="444" y="156"/>
                    </a:lnTo>
                    <a:lnTo>
                      <a:pt x="444" y="156"/>
                    </a:lnTo>
                    <a:lnTo>
                      <a:pt x="444" y="151"/>
                    </a:lnTo>
                    <a:lnTo>
                      <a:pt x="444" y="151"/>
                    </a:lnTo>
                    <a:lnTo>
                      <a:pt x="444" y="151"/>
                    </a:lnTo>
                    <a:lnTo>
                      <a:pt x="448" y="151"/>
                    </a:lnTo>
                    <a:lnTo>
                      <a:pt x="453" y="147"/>
                    </a:lnTo>
                    <a:lnTo>
                      <a:pt x="453" y="147"/>
                    </a:lnTo>
                    <a:lnTo>
                      <a:pt x="453" y="147"/>
                    </a:lnTo>
                    <a:lnTo>
                      <a:pt x="453" y="147"/>
                    </a:lnTo>
                    <a:lnTo>
                      <a:pt x="453" y="142"/>
                    </a:lnTo>
                    <a:lnTo>
                      <a:pt x="453" y="142"/>
                    </a:lnTo>
                    <a:lnTo>
                      <a:pt x="458" y="137"/>
                    </a:lnTo>
                    <a:lnTo>
                      <a:pt x="458" y="137"/>
                    </a:lnTo>
                    <a:lnTo>
                      <a:pt x="462" y="137"/>
                    </a:lnTo>
                    <a:lnTo>
                      <a:pt x="467" y="137"/>
                    </a:lnTo>
                    <a:lnTo>
                      <a:pt x="467" y="133"/>
                    </a:lnTo>
                    <a:lnTo>
                      <a:pt x="467" y="133"/>
                    </a:lnTo>
                    <a:lnTo>
                      <a:pt x="471" y="133"/>
                    </a:lnTo>
                    <a:lnTo>
                      <a:pt x="471" y="128"/>
                    </a:lnTo>
                    <a:lnTo>
                      <a:pt x="476" y="128"/>
                    </a:lnTo>
                    <a:lnTo>
                      <a:pt x="471" y="128"/>
                    </a:lnTo>
                    <a:lnTo>
                      <a:pt x="476" y="128"/>
                    </a:lnTo>
                    <a:lnTo>
                      <a:pt x="476" y="124"/>
                    </a:lnTo>
                    <a:lnTo>
                      <a:pt x="476" y="124"/>
                    </a:lnTo>
                    <a:lnTo>
                      <a:pt x="476" y="124"/>
                    </a:lnTo>
                    <a:lnTo>
                      <a:pt x="485" y="119"/>
                    </a:lnTo>
                    <a:lnTo>
                      <a:pt x="485" y="119"/>
                    </a:lnTo>
                    <a:lnTo>
                      <a:pt x="485" y="119"/>
                    </a:lnTo>
                    <a:lnTo>
                      <a:pt x="485" y="115"/>
                    </a:lnTo>
                    <a:lnTo>
                      <a:pt x="485" y="115"/>
                    </a:lnTo>
                    <a:lnTo>
                      <a:pt x="485" y="119"/>
                    </a:lnTo>
                    <a:lnTo>
                      <a:pt x="485" y="119"/>
                    </a:lnTo>
                    <a:lnTo>
                      <a:pt x="485" y="119"/>
                    </a:lnTo>
                    <a:lnTo>
                      <a:pt x="490" y="119"/>
                    </a:lnTo>
                    <a:lnTo>
                      <a:pt x="490" y="119"/>
                    </a:lnTo>
                    <a:lnTo>
                      <a:pt x="490" y="110"/>
                    </a:lnTo>
                    <a:lnTo>
                      <a:pt x="485" y="110"/>
                    </a:lnTo>
                    <a:lnTo>
                      <a:pt x="480" y="110"/>
                    </a:lnTo>
                    <a:lnTo>
                      <a:pt x="480" y="110"/>
                    </a:lnTo>
                    <a:lnTo>
                      <a:pt x="480" y="110"/>
                    </a:lnTo>
                    <a:lnTo>
                      <a:pt x="485" y="110"/>
                    </a:lnTo>
                    <a:lnTo>
                      <a:pt x="485" y="105"/>
                    </a:lnTo>
                    <a:lnTo>
                      <a:pt x="490" y="105"/>
                    </a:lnTo>
                    <a:lnTo>
                      <a:pt x="490" y="105"/>
                    </a:lnTo>
                    <a:lnTo>
                      <a:pt x="490" y="105"/>
                    </a:lnTo>
                    <a:lnTo>
                      <a:pt x="490" y="105"/>
                    </a:lnTo>
                    <a:lnTo>
                      <a:pt x="490" y="105"/>
                    </a:lnTo>
                    <a:lnTo>
                      <a:pt x="490" y="101"/>
                    </a:lnTo>
                    <a:lnTo>
                      <a:pt x="490" y="101"/>
                    </a:lnTo>
                    <a:lnTo>
                      <a:pt x="494" y="105"/>
                    </a:lnTo>
                    <a:lnTo>
                      <a:pt x="494" y="105"/>
                    </a:lnTo>
                    <a:lnTo>
                      <a:pt x="499" y="105"/>
                    </a:lnTo>
                    <a:lnTo>
                      <a:pt x="499" y="105"/>
                    </a:lnTo>
                    <a:lnTo>
                      <a:pt x="499" y="101"/>
                    </a:lnTo>
                    <a:lnTo>
                      <a:pt x="499" y="101"/>
                    </a:lnTo>
                    <a:lnTo>
                      <a:pt x="499" y="101"/>
                    </a:lnTo>
                    <a:lnTo>
                      <a:pt x="499" y="96"/>
                    </a:lnTo>
                    <a:lnTo>
                      <a:pt x="499" y="96"/>
                    </a:lnTo>
                    <a:lnTo>
                      <a:pt x="499" y="92"/>
                    </a:lnTo>
                    <a:lnTo>
                      <a:pt x="499" y="92"/>
                    </a:lnTo>
                    <a:lnTo>
                      <a:pt x="494" y="92"/>
                    </a:lnTo>
                    <a:lnTo>
                      <a:pt x="494" y="92"/>
                    </a:lnTo>
                    <a:lnTo>
                      <a:pt x="494" y="92"/>
                    </a:lnTo>
                    <a:lnTo>
                      <a:pt x="494" y="92"/>
                    </a:lnTo>
                    <a:lnTo>
                      <a:pt x="499" y="92"/>
                    </a:lnTo>
                    <a:lnTo>
                      <a:pt x="499" y="87"/>
                    </a:lnTo>
                    <a:lnTo>
                      <a:pt x="499" y="92"/>
                    </a:lnTo>
                    <a:lnTo>
                      <a:pt x="503" y="92"/>
                    </a:lnTo>
                    <a:lnTo>
                      <a:pt x="503" y="92"/>
                    </a:lnTo>
                    <a:lnTo>
                      <a:pt x="508" y="92"/>
                    </a:lnTo>
                    <a:lnTo>
                      <a:pt x="503" y="87"/>
                    </a:lnTo>
                    <a:lnTo>
                      <a:pt x="503" y="87"/>
                    </a:lnTo>
                    <a:lnTo>
                      <a:pt x="503" y="87"/>
                    </a:lnTo>
                    <a:lnTo>
                      <a:pt x="503" y="83"/>
                    </a:lnTo>
                    <a:lnTo>
                      <a:pt x="503" y="83"/>
                    </a:lnTo>
                    <a:lnTo>
                      <a:pt x="508" y="83"/>
                    </a:lnTo>
                    <a:lnTo>
                      <a:pt x="512" y="87"/>
                    </a:lnTo>
                    <a:lnTo>
                      <a:pt x="512" y="87"/>
                    </a:lnTo>
                    <a:lnTo>
                      <a:pt x="517" y="87"/>
                    </a:lnTo>
                    <a:lnTo>
                      <a:pt x="522" y="87"/>
                    </a:lnTo>
                    <a:lnTo>
                      <a:pt x="526" y="83"/>
                    </a:lnTo>
                    <a:lnTo>
                      <a:pt x="526" y="83"/>
                    </a:lnTo>
                    <a:lnTo>
                      <a:pt x="531" y="78"/>
                    </a:lnTo>
                    <a:lnTo>
                      <a:pt x="535" y="78"/>
                    </a:lnTo>
                    <a:lnTo>
                      <a:pt x="535" y="78"/>
                    </a:lnTo>
                    <a:lnTo>
                      <a:pt x="535" y="83"/>
                    </a:lnTo>
                    <a:lnTo>
                      <a:pt x="540" y="78"/>
                    </a:lnTo>
                    <a:lnTo>
                      <a:pt x="540" y="73"/>
                    </a:lnTo>
                    <a:lnTo>
                      <a:pt x="540" y="73"/>
                    </a:lnTo>
                    <a:lnTo>
                      <a:pt x="540" y="78"/>
                    </a:lnTo>
                    <a:lnTo>
                      <a:pt x="544" y="78"/>
                    </a:lnTo>
                    <a:lnTo>
                      <a:pt x="549" y="73"/>
                    </a:lnTo>
                    <a:lnTo>
                      <a:pt x="554" y="73"/>
                    </a:lnTo>
                    <a:lnTo>
                      <a:pt x="554" y="78"/>
                    </a:lnTo>
                    <a:lnTo>
                      <a:pt x="554" y="78"/>
                    </a:lnTo>
                    <a:lnTo>
                      <a:pt x="554" y="73"/>
                    </a:lnTo>
                    <a:lnTo>
                      <a:pt x="563" y="69"/>
                    </a:lnTo>
                    <a:lnTo>
                      <a:pt x="563" y="69"/>
                    </a:lnTo>
                    <a:lnTo>
                      <a:pt x="567" y="69"/>
                    </a:lnTo>
                    <a:lnTo>
                      <a:pt x="567" y="73"/>
                    </a:lnTo>
                    <a:lnTo>
                      <a:pt x="567" y="69"/>
                    </a:lnTo>
                    <a:lnTo>
                      <a:pt x="567" y="69"/>
                    </a:lnTo>
                    <a:lnTo>
                      <a:pt x="567" y="64"/>
                    </a:lnTo>
                    <a:lnTo>
                      <a:pt x="572" y="64"/>
                    </a:lnTo>
                    <a:lnTo>
                      <a:pt x="572" y="64"/>
                    </a:lnTo>
                    <a:lnTo>
                      <a:pt x="572" y="64"/>
                    </a:lnTo>
                    <a:lnTo>
                      <a:pt x="576" y="64"/>
                    </a:lnTo>
                    <a:lnTo>
                      <a:pt x="581" y="64"/>
                    </a:lnTo>
                    <a:lnTo>
                      <a:pt x="581" y="64"/>
                    </a:lnTo>
                    <a:lnTo>
                      <a:pt x="581" y="64"/>
                    </a:lnTo>
                    <a:lnTo>
                      <a:pt x="581" y="64"/>
                    </a:lnTo>
                    <a:lnTo>
                      <a:pt x="581" y="69"/>
                    </a:lnTo>
                    <a:lnTo>
                      <a:pt x="576" y="69"/>
                    </a:lnTo>
                    <a:lnTo>
                      <a:pt x="576" y="69"/>
                    </a:lnTo>
                    <a:lnTo>
                      <a:pt x="576" y="69"/>
                    </a:lnTo>
                    <a:lnTo>
                      <a:pt x="576" y="73"/>
                    </a:lnTo>
                    <a:lnTo>
                      <a:pt x="581" y="73"/>
                    </a:lnTo>
                    <a:lnTo>
                      <a:pt x="581" y="73"/>
                    </a:lnTo>
                    <a:lnTo>
                      <a:pt x="586" y="73"/>
                    </a:lnTo>
                    <a:lnTo>
                      <a:pt x="586" y="73"/>
                    </a:lnTo>
                    <a:lnTo>
                      <a:pt x="586" y="73"/>
                    </a:lnTo>
                    <a:lnTo>
                      <a:pt x="590" y="69"/>
                    </a:lnTo>
                    <a:lnTo>
                      <a:pt x="590" y="69"/>
                    </a:lnTo>
                    <a:lnTo>
                      <a:pt x="599" y="73"/>
                    </a:lnTo>
                    <a:lnTo>
                      <a:pt x="599" y="73"/>
                    </a:lnTo>
                    <a:lnTo>
                      <a:pt x="599" y="73"/>
                    </a:lnTo>
                    <a:lnTo>
                      <a:pt x="599" y="73"/>
                    </a:lnTo>
                    <a:lnTo>
                      <a:pt x="599" y="69"/>
                    </a:lnTo>
                    <a:lnTo>
                      <a:pt x="599" y="69"/>
                    </a:lnTo>
                    <a:lnTo>
                      <a:pt x="599" y="69"/>
                    </a:lnTo>
                    <a:lnTo>
                      <a:pt x="599" y="64"/>
                    </a:lnTo>
                    <a:lnTo>
                      <a:pt x="599" y="64"/>
                    </a:lnTo>
                    <a:lnTo>
                      <a:pt x="599" y="64"/>
                    </a:lnTo>
                    <a:lnTo>
                      <a:pt x="604" y="64"/>
                    </a:lnTo>
                    <a:lnTo>
                      <a:pt x="608" y="64"/>
                    </a:lnTo>
                    <a:lnTo>
                      <a:pt x="608" y="64"/>
                    </a:lnTo>
                    <a:lnTo>
                      <a:pt x="608" y="64"/>
                    </a:lnTo>
                    <a:lnTo>
                      <a:pt x="604" y="69"/>
                    </a:lnTo>
                    <a:lnTo>
                      <a:pt x="604" y="69"/>
                    </a:lnTo>
                    <a:lnTo>
                      <a:pt x="604" y="73"/>
                    </a:lnTo>
                    <a:lnTo>
                      <a:pt x="604" y="73"/>
                    </a:lnTo>
                    <a:lnTo>
                      <a:pt x="608" y="73"/>
                    </a:lnTo>
                    <a:lnTo>
                      <a:pt x="608" y="78"/>
                    </a:lnTo>
                    <a:lnTo>
                      <a:pt x="613" y="78"/>
                    </a:lnTo>
                    <a:lnTo>
                      <a:pt x="613" y="73"/>
                    </a:lnTo>
                    <a:lnTo>
                      <a:pt x="613" y="73"/>
                    </a:lnTo>
                    <a:lnTo>
                      <a:pt x="613" y="73"/>
                    </a:lnTo>
                    <a:lnTo>
                      <a:pt x="613" y="73"/>
                    </a:lnTo>
                    <a:lnTo>
                      <a:pt x="613" y="69"/>
                    </a:lnTo>
                    <a:lnTo>
                      <a:pt x="613" y="69"/>
                    </a:lnTo>
                    <a:lnTo>
                      <a:pt x="618" y="69"/>
                    </a:lnTo>
                    <a:lnTo>
                      <a:pt x="622" y="69"/>
                    </a:lnTo>
                    <a:lnTo>
                      <a:pt x="622" y="69"/>
                    </a:lnTo>
                    <a:lnTo>
                      <a:pt x="622" y="69"/>
                    </a:lnTo>
                    <a:lnTo>
                      <a:pt x="622" y="73"/>
                    </a:lnTo>
                    <a:lnTo>
                      <a:pt x="627" y="78"/>
                    </a:lnTo>
                    <a:lnTo>
                      <a:pt x="627" y="78"/>
                    </a:lnTo>
                    <a:lnTo>
                      <a:pt x="627" y="78"/>
                    </a:lnTo>
                    <a:lnTo>
                      <a:pt x="627" y="73"/>
                    </a:lnTo>
                    <a:lnTo>
                      <a:pt x="627" y="73"/>
                    </a:lnTo>
                    <a:lnTo>
                      <a:pt x="627" y="73"/>
                    </a:lnTo>
                    <a:lnTo>
                      <a:pt x="631" y="69"/>
                    </a:lnTo>
                    <a:lnTo>
                      <a:pt x="631" y="69"/>
                    </a:lnTo>
                    <a:lnTo>
                      <a:pt x="631" y="60"/>
                    </a:lnTo>
                    <a:lnTo>
                      <a:pt x="631" y="60"/>
                    </a:lnTo>
                    <a:lnTo>
                      <a:pt x="636" y="64"/>
                    </a:lnTo>
                    <a:lnTo>
                      <a:pt x="636" y="64"/>
                    </a:lnTo>
                    <a:lnTo>
                      <a:pt x="636" y="60"/>
                    </a:lnTo>
                    <a:lnTo>
                      <a:pt x="640" y="60"/>
                    </a:lnTo>
                    <a:lnTo>
                      <a:pt x="640" y="60"/>
                    </a:lnTo>
                    <a:lnTo>
                      <a:pt x="640" y="55"/>
                    </a:lnTo>
                    <a:lnTo>
                      <a:pt x="640" y="55"/>
                    </a:lnTo>
                    <a:lnTo>
                      <a:pt x="640" y="55"/>
                    </a:lnTo>
                    <a:lnTo>
                      <a:pt x="640" y="55"/>
                    </a:lnTo>
                    <a:lnTo>
                      <a:pt x="640" y="55"/>
                    </a:lnTo>
                    <a:lnTo>
                      <a:pt x="640" y="55"/>
                    </a:lnTo>
                    <a:lnTo>
                      <a:pt x="640" y="51"/>
                    </a:lnTo>
                    <a:lnTo>
                      <a:pt x="640" y="46"/>
                    </a:lnTo>
                    <a:lnTo>
                      <a:pt x="645" y="51"/>
                    </a:lnTo>
                    <a:lnTo>
                      <a:pt x="650" y="51"/>
                    </a:lnTo>
                    <a:lnTo>
                      <a:pt x="650" y="51"/>
                    </a:lnTo>
                    <a:lnTo>
                      <a:pt x="650" y="46"/>
                    </a:lnTo>
                    <a:lnTo>
                      <a:pt x="650" y="46"/>
                    </a:lnTo>
                    <a:lnTo>
                      <a:pt x="650" y="46"/>
                    </a:lnTo>
                    <a:lnTo>
                      <a:pt x="650" y="41"/>
                    </a:lnTo>
                    <a:lnTo>
                      <a:pt x="650" y="46"/>
                    </a:lnTo>
                    <a:lnTo>
                      <a:pt x="645" y="41"/>
                    </a:lnTo>
                    <a:lnTo>
                      <a:pt x="645" y="41"/>
                    </a:lnTo>
                    <a:lnTo>
                      <a:pt x="645" y="37"/>
                    </a:lnTo>
                    <a:lnTo>
                      <a:pt x="645" y="37"/>
                    </a:lnTo>
                    <a:lnTo>
                      <a:pt x="650" y="37"/>
                    </a:lnTo>
                    <a:lnTo>
                      <a:pt x="650" y="32"/>
                    </a:lnTo>
                    <a:lnTo>
                      <a:pt x="650" y="32"/>
                    </a:lnTo>
                    <a:lnTo>
                      <a:pt x="654" y="28"/>
                    </a:lnTo>
                    <a:lnTo>
                      <a:pt x="654" y="28"/>
                    </a:lnTo>
                    <a:lnTo>
                      <a:pt x="654" y="28"/>
                    </a:lnTo>
                    <a:lnTo>
                      <a:pt x="654" y="28"/>
                    </a:lnTo>
                    <a:lnTo>
                      <a:pt x="654" y="23"/>
                    </a:lnTo>
                    <a:lnTo>
                      <a:pt x="659" y="23"/>
                    </a:lnTo>
                    <a:lnTo>
                      <a:pt x="663" y="19"/>
                    </a:lnTo>
                    <a:lnTo>
                      <a:pt x="663" y="23"/>
                    </a:lnTo>
                    <a:lnTo>
                      <a:pt x="663" y="19"/>
                    </a:lnTo>
                    <a:lnTo>
                      <a:pt x="663" y="14"/>
                    </a:lnTo>
                    <a:lnTo>
                      <a:pt x="663" y="14"/>
                    </a:lnTo>
                    <a:lnTo>
                      <a:pt x="663" y="14"/>
                    </a:lnTo>
                    <a:lnTo>
                      <a:pt x="668" y="14"/>
                    </a:lnTo>
                    <a:lnTo>
                      <a:pt x="668" y="14"/>
                    </a:lnTo>
                    <a:lnTo>
                      <a:pt x="668" y="9"/>
                    </a:lnTo>
                    <a:lnTo>
                      <a:pt x="672" y="9"/>
                    </a:lnTo>
                    <a:lnTo>
                      <a:pt x="672" y="9"/>
                    </a:lnTo>
                    <a:lnTo>
                      <a:pt x="677" y="9"/>
                    </a:lnTo>
                    <a:lnTo>
                      <a:pt x="677" y="9"/>
                    </a:lnTo>
                    <a:lnTo>
                      <a:pt x="677" y="9"/>
                    </a:lnTo>
                    <a:lnTo>
                      <a:pt x="677" y="5"/>
                    </a:lnTo>
                    <a:lnTo>
                      <a:pt x="682" y="5"/>
                    </a:lnTo>
                    <a:lnTo>
                      <a:pt x="682" y="0"/>
                    </a:lnTo>
                    <a:lnTo>
                      <a:pt x="682" y="0"/>
                    </a:lnTo>
                    <a:lnTo>
                      <a:pt x="686" y="0"/>
                    </a:lnTo>
                    <a:lnTo>
                      <a:pt x="686" y="0"/>
                    </a:lnTo>
                    <a:lnTo>
                      <a:pt x="691" y="0"/>
                    </a:lnTo>
                    <a:lnTo>
                      <a:pt x="691" y="0"/>
                    </a:lnTo>
                    <a:lnTo>
                      <a:pt x="695" y="0"/>
                    </a:lnTo>
                    <a:lnTo>
                      <a:pt x="700" y="0"/>
                    </a:lnTo>
                    <a:lnTo>
                      <a:pt x="704" y="0"/>
                    </a:lnTo>
                    <a:lnTo>
                      <a:pt x="709" y="0"/>
                    </a:lnTo>
                    <a:lnTo>
                      <a:pt x="714" y="0"/>
                    </a:lnTo>
                    <a:lnTo>
                      <a:pt x="718" y="0"/>
                    </a:lnTo>
                    <a:lnTo>
                      <a:pt x="723" y="0"/>
                    </a:lnTo>
                    <a:lnTo>
                      <a:pt x="727" y="0"/>
                    </a:lnTo>
                    <a:lnTo>
                      <a:pt x="727" y="0"/>
                    </a:lnTo>
                    <a:lnTo>
                      <a:pt x="732" y="0"/>
                    </a:lnTo>
                    <a:lnTo>
                      <a:pt x="755" y="0"/>
                    </a:lnTo>
                    <a:lnTo>
                      <a:pt x="759" y="0"/>
                    </a:lnTo>
                    <a:lnTo>
                      <a:pt x="764" y="0"/>
                    </a:lnTo>
                    <a:lnTo>
                      <a:pt x="773" y="0"/>
                    </a:lnTo>
                    <a:lnTo>
                      <a:pt x="773" y="0"/>
                    </a:lnTo>
                    <a:lnTo>
                      <a:pt x="773" y="0"/>
                    </a:lnTo>
                    <a:lnTo>
                      <a:pt x="782" y="0"/>
                    </a:lnTo>
                    <a:lnTo>
                      <a:pt x="782" y="0"/>
                    </a:lnTo>
                    <a:lnTo>
                      <a:pt x="782" y="0"/>
                    </a:lnTo>
                    <a:lnTo>
                      <a:pt x="791" y="0"/>
                    </a:lnTo>
                    <a:lnTo>
                      <a:pt x="791" y="5"/>
                    </a:lnTo>
                    <a:lnTo>
                      <a:pt x="791" y="5"/>
                    </a:lnTo>
                    <a:lnTo>
                      <a:pt x="800" y="19"/>
                    </a:lnTo>
                    <a:lnTo>
                      <a:pt x="800" y="19"/>
                    </a:lnTo>
                    <a:lnTo>
                      <a:pt x="805" y="19"/>
                    </a:lnTo>
                    <a:lnTo>
                      <a:pt x="805" y="23"/>
                    </a:lnTo>
                    <a:lnTo>
                      <a:pt x="810" y="28"/>
                    </a:lnTo>
                    <a:lnTo>
                      <a:pt x="814" y="32"/>
                    </a:lnTo>
                    <a:lnTo>
                      <a:pt x="819" y="37"/>
                    </a:lnTo>
                    <a:lnTo>
                      <a:pt x="819" y="41"/>
                    </a:lnTo>
                    <a:lnTo>
                      <a:pt x="819" y="41"/>
                    </a:lnTo>
                    <a:lnTo>
                      <a:pt x="823" y="46"/>
                    </a:lnTo>
                    <a:lnTo>
                      <a:pt x="837" y="64"/>
                    </a:lnTo>
                    <a:lnTo>
                      <a:pt x="837" y="64"/>
                    </a:lnTo>
                    <a:lnTo>
                      <a:pt x="837" y="69"/>
                    </a:lnTo>
                    <a:lnTo>
                      <a:pt x="842" y="69"/>
                    </a:lnTo>
                    <a:lnTo>
                      <a:pt x="846" y="78"/>
                    </a:lnTo>
                    <a:lnTo>
                      <a:pt x="846" y="78"/>
                    </a:lnTo>
                    <a:lnTo>
                      <a:pt x="846" y="83"/>
                    </a:lnTo>
                    <a:lnTo>
                      <a:pt x="851" y="87"/>
                    </a:lnTo>
                    <a:lnTo>
                      <a:pt x="855" y="87"/>
                    </a:lnTo>
                    <a:lnTo>
                      <a:pt x="855" y="92"/>
                    </a:lnTo>
                    <a:lnTo>
                      <a:pt x="869" y="115"/>
                    </a:lnTo>
                    <a:lnTo>
                      <a:pt x="874" y="119"/>
                    </a:lnTo>
                    <a:lnTo>
                      <a:pt x="874" y="119"/>
                    </a:lnTo>
                    <a:lnTo>
                      <a:pt x="878" y="124"/>
                    </a:lnTo>
                    <a:lnTo>
                      <a:pt x="878" y="124"/>
                    </a:lnTo>
                    <a:lnTo>
                      <a:pt x="878" y="128"/>
                    </a:lnTo>
                    <a:lnTo>
                      <a:pt x="887" y="133"/>
                    </a:lnTo>
                    <a:lnTo>
                      <a:pt x="887" y="133"/>
                    </a:lnTo>
                    <a:lnTo>
                      <a:pt x="887" y="137"/>
                    </a:lnTo>
                    <a:lnTo>
                      <a:pt x="901" y="160"/>
                    </a:lnTo>
                    <a:lnTo>
                      <a:pt x="906" y="160"/>
                    </a:lnTo>
                    <a:lnTo>
                      <a:pt x="906" y="165"/>
                    </a:lnTo>
                    <a:lnTo>
                      <a:pt x="915" y="179"/>
                    </a:lnTo>
                    <a:lnTo>
                      <a:pt x="915" y="179"/>
                    </a:lnTo>
                    <a:lnTo>
                      <a:pt x="919" y="183"/>
                    </a:lnTo>
                    <a:lnTo>
                      <a:pt x="919" y="183"/>
                    </a:lnTo>
                    <a:lnTo>
                      <a:pt x="924" y="188"/>
                    </a:lnTo>
                    <a:lnTo>
                      <a:pt x="928" y="197"/>
                    </a:lnTo>
                    <a:lnTo>
                      <a:pt x="933" y="206"/>
                    </a:lnTo>
                    <a:lnTo>
                      <a:pt x="938" y="211"/>
                    </a:lnTo>
                    <a:lnTo>
                      <a:pt x="942" y="215"/>
                    </a:lnTo>
                    <a:lnTo>
                      <a:pt x="947" y="220"/>
                    </a:lnTo>
                    <a:lnTo>
                      <a:pt x="947" y="224"/>
                    </a:lnTo>
                    <a:lnTo>
                      <a:pt x="951" y="224"/>
                    </a:lnTo>
                    <a:lnTo>
                      <a:pt x="956" y="233"/>
                    </a:lnTo>
                    <a:lnTo>
                      <a:pt x="956" y="233"/>
                    </a:lnTo>
                    <a:lnTo>
                      <a:pt x="956" y="233"/>
                    </a:lnTo>
                    <a:lnTo>
                      <a:pt x="960" y="238"/>
                    </a:lnTo>
                    <a:lnTo>
                      <a:pt x="960" y="243"/>
                    </a:lnTo>
                    <a:lnTo>
                      <a:pt x="960" y="243"/>
                    </a:lnTo>
                    <a:lnTo>
                      <a:pt x="965" y="256"/>
                    </a:lnTo>
                    <a:lnTo>
                      <a:pt x="965" y="261"/>
                    </a:lnTo>
                    <a:lnTo>
                      <a:pt x="965" y="265"/>
                    </a:lnTo>
                    <a:lnTo>
                      <a:pt x="965" y="270"/>
                    </a:lnTo>
                    <a:lnTo>
                      <a:pt x="970" y="275"/>
                    </a:lnTo>
                    <a:lnTo>
                      <a:pt x="970" y="279"/>
                    </a:lnTo>
                    <a:lnTo>
                      <a:pt x="970" y="284"/>
                    </a:lnTo>
                    <a:lnTo>
                      <a:pt x="970" y="288"/>
                    </a:lnTo>
                    <a:lnTo>
                      <a:pt x="974" y="307"/>
                    </a:lnTo>
                    <a:lnTo>
                      <a:pt x="974" y="311"/>
                    </a:lnTo>
                    <a:lnTo>
                      <a:pt x="974" y="316"/>
                    </a:lnTo>
                    <a:lnTo>
                      <a:pt x="974" y="320"/>
                    </a:lnTo>
                    <a:lnTo>
                      <a:pt x="979" y="320"/>
                    </a:lnTo>
                    <a:lnTo>
                      <a:pt x="979" y="329"/>
                    </a:lnTo>
                    <a:lnTo>
                      <a:pt x="979" y="334"/>
                    </a:lnTo>
                    <a:lnTo>
                      <a:pt x="979" y="343"/>
                    </a:lnTo>
                    <a:lnTo>
                      <a:pt x="983" y="366"/>
                    </a:lnTo>
                    <a:lnTo>
                      <a:pt x="983" y="371"/>
                    </a:lnTo>
                    <a:lnTo>
                      <a:pt x="983" y="371"/>
                    </a:lnTo>
                    <a:lnTo>
                      <a:pt x="988" y="375"/>
                    </a:lnTo>
                    <a:lnTo>
                      <a:pt x="988" y="380"/>
                    </a:lnTo>
                    <a:lnTo>
                      <a:pt x="988" y="384"/>
                    </a:lnTo>
                    <a:lnTo>
                      <a:pt x="988" y="384"/>
                    </a:lnTo>
                    <a:lnTo>
                      <a:pt x="988" y="389"/>
                    </a:lnTo>
                    <a:lnTo>
                      <a:pt x="988" y="393"/>
                    </a:lnTo>
                    <a:lnTo>
                      <a:pt x="992" y="412"/>
                    </a:lnTo>
                    <a:lnTo>
                      <a:pt x="992" y="416"/>
                    </a:lnTo>
                    <a:lnTo>
                      <a:pt x="992" y="421"/>
                    </a:lnTo>
                    <a:lnTo>
                      <a:pt x="997" y="430"/>
                    </a:lnTo>
                    <a:lnTo>
                      <a:pt x="997" y="439"/>
                    </a:lnTo>
                    <a:lnTo>
                      <a:pt x="997" y="448"/>
                    </a:lnTo>
                    <a:lnTo>
                      <a:pt x="1002" y="453"/>
                    </a:lnTo>
                    <a:lnTo>
                      <a:pt x="1002" y="453"/>
                    </a:lnTo>
                    <a:lnTo>
                      <a:pt x="1006" y="453"/>
                    </a:lnTo>
                    <a:lnTo>
                      <a:pt x="1002" y="453"/>
                    </a:lnTo>
                    <a:lnTo>
                      <a:pt x="1006" y="457"/>
                    </a:lnTo>
                    <a:lnTo>
                      <a:pt x="1002" y="462"/>
                    </a:lnTo>
                    <a:lnTo>
                      <a:pt x="1002" y="467"/>
                    </a:lnTo>
                    <a:lnTo>
                      <a:pt x="997" y="467"/>
                    </a:lnTo>
                    <a:lnTo>
                      <a:pt x="997" y="471"/>
                    </a:lnTo>
                    <a:lnTo>
                      <a:pt x="997" y="476"/>
                    </a:lnTo>
                    <a:lnTo>
                      <a:pt x="997" y="476"/>
                    </a:lnTo>
                    <a:lnTo>
                      <a:pt x="997" y="476"/>
                    </a:lnTo>
                    <a:lnTo>
                      <a:pt x="997" y="480"/>
                    </a:lnTo>
                    <a:lnTo>
                      <a:pt x="1002" y="480"/>
                    </a:lnTo>
                    <a:lnTo>
                      <a:pt x="1002" y="480"/>
                    </a:lnTo>
                    <a:lnTo>
                      <a:pt x="1006" y="480"/>
                    </a:lnTo>
                    <a:lnTo>
                      <a:pt x="1002" y="480"/>
                    </a:lnTo>
                    <a:lnTo>
                      <a:pt x="1002" y="485"/>
                    </a:lnTo>
                    <a:lnTo>
                      <a:pt x="1002" y="485"/>
                    </a:lnTo>
                    <a:lnTo>
                      <a:pt x="1002" y="485"/>
                    </a:lnTo>
                    <a:lnTo>
                      <a:pt x="1002" y="485"/>
                    </a:lnTo>
                    <a:lnTo>
                      <a:pt x="1002" y="485"/>
                    </a:lnTo>
                    <a:lnTo>
                      <a:pt x="1002" y="489"/>
                    </a:lnTo>
                    <a:lnTo>
                      <a:pt x="997" y="489"/>
                    </a:lnTo>
                    <a:lnTo>
                      <a:pt x="997" y="489"/>
                    </a:lnTo>
                    <a:lnTo>
                      <a:pt x="997" y="489"/>
                    </a:lnTo>
                    <a:lnTo>
                      <a:pt x="997" y="489"/>
                    </a:lnTo>
                    <a:lnTo>
                      <a:pt x="997" y="494"/>
                    </a:lnTo>
                    <a:lnTo>
                      <a:pt x="997" y="494"/>
                    </a:lnTo>
                    <a:lnTo>
                      <a:pt x="997" y="494"/>
                    </a:lnTo>
                    <a:lnTo>
                      <a:pt x="1002" y="499"/>
                    </a:lnTo>
                    <a:lnTo>
                      <a:pt x="1006" y="503"/>
                    </a:lnTo>
                    <a:lnTo>
                      <a:pt x="1011" y="503"/>
                    </a:lnTo>
                    <a:lnTo>
                      <a:pt x="1011" y="508"/>
                    </a:lnTo>
                    <a:lnTo>
                      <a:pt x="1011" y="508"/>
                    </a:lnTo>
                    <a:lnTo>
                      <a:pt x="1011" y="512"/>
                    </a:lnTo>
                    <a:lnTo>
                      <a:pt x="1015" y="512"/>
                    </a:lnTo>
                    <a:lnTo>
                      <a:pt x="1015" y="512"/>
                    </a:lnTo>
                    <a:lnTo>
                      <a:pt x="1024" y="512"/>
                    </a:lnTo>
                    <a:lnTo>
                      <a:pt x="1024" y="512"/>
                    </a:lnTo>
                    <a:lnTo>
                      <a:pt x="1029" y="508"/>
                    </a:lnTo>
                    <a:lnTo>
                      <a:pt x="1029" y="508"/>
                    </a:lnTo>
                    <a:lnTo>
                      <a:pt x="1034" y="508"/>
                    </a:lnTo>
                    <a:lnTo>
                      <a:pt x="1034" y="508"/>
                    </a:lnTo>
                    <a:lnTo>
                      <a:pt x="1038" y="512"/>
                    </a:lnTo>
                    <a:lnTo>
                      <a:pt x="1038" y="517"/>
                    </a:lnTo>
                    <a:lnTo>
                      <a:pt x="1043" y="512"/>
                    </a:lnTo>
                    <a:lnTo>
                      <a:pt x="1038" y="512"/>
                    </a:lnTo>
                    <a:lnTo>
                      <a:pt x="1038" y="508"/>
                    </a:lnTo>
                    <a:lnTo>
                      <a:pt x="1043" y="508"/>
                    </a:lnTo>
                    <a:lnTo>
                      <a:pt x="1043" y="508"/>
                    </a:lnTo>
                    <a:lnTo>
                      <a:pt x="1043" y="512"/>
                    </a:lnTo>
                    <a:lnTo>
                      <a:pt x="1043" y="512"/>
                    </a:lnTo>
                    <a:lnTo>
                      <a:pt x="1047" y="512"/>
                    </a:lnTo>
                    <a:lnTo>
                      <a:pt x="1047" y="512"/>
                    </a:lnTo>
                    <a:lnTo>
                      <a:pt x="1052" y="508"/>
                    </a:lnTo>
                    <a:lnTo>
                      <a:pt x="1056" y="508"/>
                    </a:lnTo>
                    <a:lnTo>
                      <a:pt x="1061" y="512"/>
                    </a:lnTo>
                    <a:lnTo>
                      <a:pt x="1061" y="512"/>
                    </a:lnTo>
                    <a:lnTo>
                      <a:pt x="1066" y="512"/>
                    </a:lnTo>
                    <a:lnTo>
                      <a:pt x="1070" y="512"/>
                    </a:lnTo>
                    <a:lnTo>
                      <a:pt x="1075" y="512"/>
                    </a:lnTo>
                    <a:lnTo>
                      <a:pt x="1075" y="512"/>
                    </a:lnTo>
                    <a:lnTo>
                      <a:pt x="1084" y="512"/>
                    </a:lnTo>
                    <a:lnTo>
                      <a:pt x="1084" y="512"/>
                    </a:lnTo>
                    <a:lnTo>
                      <a:pt x="1084" y="512"/>
                    </a:lnTo>
                    <a:lnTo>
                      <a:pt x="1088" y="512"/>
                    </a:lnTo>
                    <a:lnTo>
                      <a:pt x="1093" y="512"/>
                    </a:lnTo>
                    <a:lnTo>
                      <a:pt x="1093" y="512"/>
                    </a:lnTo>
                    <a:lnTo>
                      <a:pt x="1098" y="512"/>
                    </a:lnTo>
                    <a:lnTo>
                      <a:pt x="1098" y="512"/>
                    </a:lnTo>
                    <a:lnTo>
                      <a:pt x="1098" y="517"/>
                    </a:lnTo>
                    <a:lnTo>
                      <a:pt x="1102" y="517"/>
                    </a:lnTo>
                    <a:lnTo>
                      <a:pt x="1102" y="517"/>
                    </a:lnTo>
                    <a:lnTo>
                      <a:pt x="1102" y="512"/>
                    </a:lnTo>
                    <a:lnTo>
                      <a:pt x="1107" y="512"/>
                    </a:lnTo>
                    <a:lnTo>
                      <a:pt x="1107" y="517"/>
                    </a:lnTo>
                    <a:lnTo>
                      <a:pt x="1111" y="517"/>
                    </a:lnTo>
                    <a:lnTo>
                      <a:pt x="1111" y="517"/>
                    </a:lnTo>
                    <a:lnTo>
                      <a:pt x="1111" y="517"/>
                    </a:lnTo>
                    <a:lnTo>
                      <a:pt x="1116" y="517"/>
                    </a:lnTo>
                    <a:lnTo>
                      <a:pt x="1116" y="521"/>
                    </a:lnTo>
                    <a:lnTo>
                      <a:pt x="1116" y="521"/>
                    </a:lnTo>
                    <a:lnTo>
                      <a:pt x="1116" y="521"/>
                    </a:lnTo>
                    <a:lnTo>
                      <a:pt x="1116" y="521"/>
                    </a:lnTo>
                    <a:lnTo>
                      <a:pt x="1120" y="526"/>
                    </a:lnTo>
                    <a:lnTo>
                      <a:pt x="1125" y="526"/>
                    </a:lnTo>
                    <a:lnTo>
                      <a:pt x="1130" y="531"/>
                    </a:lnTo>
                    <a:lnTo>
                      <a:pt x="1130" y="531"/>
                    </a:lnTo>
                    <a:lnTo>
                      <a:pt x="1130" y="531"/>
                    </a:lnTo>
                    <a:lnTo>
                      <a:pt x="1125" y="531"/>
                    </a:lnTo>
                    <a:lnTo>
                      <a:pt x="1125" y="531"/>
                    </a:lnTo>
                    <a:lnTo>
                      <a:pt x="1125" y="535"/>
                    </a:lnTo>
                    <a:lnTo>
                      <a:pt x="1125" y="535"/>
                    </a:lnTo>
                    <a:lnTo>
                      <a:pt x="1125" y="535"/>
                    </a:lnTo>
                    <a:lnTo>
                      <a:pt x="1125" y="540"/>
                    </a:lnTo>
                    <a:lnTo>
                      <a:pt x="1130" y="535"/>
                    </a:lnTo>
                    <a:lnTo>
                      <a:pt x="1130" y="540"/>
                    </a:lnTo>
                    <a:lnTo>
                      <a:pt x="1130" y="540"/>
                    </a:lnTo>
                    <a:lnTo>
                      <a:pt x="1134" y="540"/>
                    </a:lnTo>
                    <a:lnTo>
                      <a:pt x="1139" y="544"/>
                    </a:lnTo>
                    <a:lnTo>
                      <a:pt x="1139" y="544"/>
                    </a:lnTo>
                    <a:lnTo>
                      <a:pt x="1139" y="544"/>
                    </a:lnTo>
                    <a:lnTo>
                      <a:pt x="1139" y="549"/>
                    </a:lnTo>
                    <a:lnTo>
                      <a:pt x="1139" y="553"/>
                    </a:lnTo>
                    <a:lnTo>
                      <a:pt x="1139" y="553"/>
                    </a:lnTo>
                    <a:lnTo>
                      <a:pt x="1143" y="553"/>
                    </a:lnTo>
                    <a:lnTo>
                      <a:pt x="1143" y="553"/>
                    </a:lnTo>
                    <a:lnTo>
                      <a:pt x="1143" y="558"/>
                    </a:lnTo>
                    <a:lnTo>
                      <a:pt x="1139" y="558"/>
                    </a:lnTo>
                    <a:lnTo>
                      <a:pt x="1139" y="558"/>
                    </a:lnTo>
                    <a:lnTo>
                      <a:pt x="1139" y="558"/>
                    </a:lnTo>
                    <a:lnTo>
                      <a:pt x="1139" y="563"/>
                    </a:lnTo>
                    <a:lnTo>
                      <a:pt x="1148" y="563"/>
                    </a:lnTo>
                    <a:lnTo>
                      <a:pt x="1148" y="563"/>
                    </a:lnTo>
                    <a:lnTo>
                      <a:pt x="1152" y="563"/>
                    </a:lnTo>
                    <a:lnTo>
                      <a:pt x="1157" y="567"/>
                    </a:lnTo>
                    <a:lnTo>
                      <a:pt x="1157" y="567"/>
                    </a:lnTo>
                    <a:lnTo>
                      <a:pt x="1157" y="567"/>
                    </a:lnTo>
                    <a:lnTo>
                      <a:pt x="1157" y="572"/>
                    </a:lnTo>
                    <a:lnTo>
                      <a:pt x="1162" y="572"/>
                    </a:lnTo>
                    <a:lnTo>
                      <a:pt x="1157" y="576"/>
                    </a:lnTo>
                    <a:lnTo>
                      <a:pt x="1157" y="576"/>
                    </a:lnTo>
                    <a:lnTo>
                      <a:pt x="1157" y="576"/>
                    </a:lnTo>
                    <a:lnTo>
                      <a:pt x="1157" y="576"/>
                    </a:lnTo>
                    <a:lnTo>
                      <a:pt x="1162" y="576"/>
                    </a:lnTo>
                    <a:lnTo>
                      <a:pt x="1162" y="576"/>
                    </a:lnTo>
                    <a:lnTo>
                      <a:pt x="1166" y="581"/>
                    </a:lnTo>
                    <a:lnTo>
                      <a:pt x="1166" y="581"/>
                    </a:lnTo>
                    <a:lnTo>
                      <a:pt x="1171" y="581"/>
                    </a:lnTo>
                    <a:lnTo>
                      <a:pt x="1171" y="576"/>
                    </a:lnTo>
                    <a:lnTo>
                      <a:pt x="1171" y="576"/>
                    </a:lnTo>
                    <a:lnTo>
                      <a:pt x="1171" y="576"/>
                    </a:lnTo>
                    <a:lnTo>
                      <a:pt x="1171" y="576"/>
                    </a:lnTo>
                    <a:lnTo>
                      <a:pt x="1171" y="576"/>
                    </a:lnTo>
                    <a:lnTo>
                      <a:pt x="1175" y="576"/>
                    </a:lnTo>
                    <a:lnTo>
                      <a:pt x="1175" y="576"/>
                    </a:lnTo>
                    <a:lnTo>
                      <a:pt x="1180" y="576"/>
                    </a:lnTo>
                    <a:lnTo>
                      <a:pt x="1180" y="576"/>
                    </a:lnTo>
                    <a:lnTo>
                      <a:pt x="1180" y="581"/>
                    </a:lnTo>
                    <a:lnTo>
                      <a:pt x="1184" y="581"/>
                    </a:lnTo>
                    <a:lnTo>
                      <a:pt x="1184" y="585"/>
                    </a:lnTo>
                    <a:lnTo>
                      <a:pt x="1184" y="590"/>
                    </a:lnTo>
                    <a:lnTo>
                      <a:pt x="1184" y="590"/>
                    </a:lnTo>
                    <a:lnTo>
                      <a:pt x="1180" y="599"/>
                    </a:lnTo>
                    <a:lnTo>
                      <a:pt x="1175" y="599"/>
                    </a:lnTo>
                    <a:lnTo>
                      <a:pt x="1175" y="604"/>
                    </a:lnTo>
                    <a:lnTo>
                      <a:pt x="1175" y="608"/>
                    </a:lnTo>
                    <a:lnTo>
                      <a:pt x="1171" y="613"/>
                    </a:lnTo>
                    <a:lnTo>
                      <a:pt x="1171" y="613"/>
                    </a:lnTo>
                    <a:lnTo>
                      <a:pt x="1171" y="613"/>
                    </a:lnTo>
                    <a:lnTo>
                      <a:pt x="1171" y="617"/>
                    </a:lnTo>
                    <a:lnTo>
                      <a:pt x="1175" y="622"/>
                    </a:lnTo>
                    <a:lnTo>
                      <a:pt x="1175" y="627"/>
                    </a:lnTo>
                    <a:lnTo>
                      <a:pt x="1175" y="627"/>
                    </a:lnTo>
                    <a:lnTo>
                      <a:pt x="1171" y="627"/>
                    </a:lnTo>
                    <a:lnTo>
                      <a:pt x="1166" y="631"/>
                    </a:lnTo>
                    <a:lnTo>
                      <a:pt x="1166" y="636"/>
                    </a:lnTo>
                    <a:lnTo>
                      <a:pt x="1166" y="636"/>
                    </a:lnTo>
                    <a:lnTo>
                      <a:pt x="1166" y="640"/>
                    </a:lnTo>
                    <a:lnTo>
                      <a:pt x="1166" y="645"/>
                    </a:lnTo>
                    <a:lnTo>
                      <a:pt x="1166" y="645"/>
                    </a:lnTo>
                    <a:lnTo>
                      <a:pt x="1171" y="649"/>
                    </a:lnTo>
                    <a:lnTo>
                      <a:pt x="1175" y="659"/>
                    </a:lnTo>
                    <a:lnTo>
                      <a:pt x="1175" y="659"/>
                    </a:lnTo>
                    <a:lnTo>
                      <a:pt x="1175" y="659"/>
                    </a:lnTo>
                    <a:lnTo>
                      <a:pt x="1175" y="663"/>
                    </a:lnTo>
                    <a:lnTo>
                      <a:pt x="1180" y="663"/>
                    </a:lnTo>
                    <a:lnTo>
                      <a:pt x="1180" y="663"/>
                    </a:lnTo>
                    <a:lnTo>
                      <a:pt x="1175" y="668"/>
                    </a:lnTo>
                    <a:lnTo>
                      <a:pt x="1175" y="668"/>
                    </a:lnTo>
                    <a:lnTo>
                      <a:pt x="1171" y="677"/>
                    </a:lnTo>
                    <a:lnTo>
                      <a:pt x="1171" y="677"/>
                    </a:lnTo>
                    <a:lnTo>
                      <a:pt x="1171" y="681"/>
                    </a:lnTo>
                    <a:lnTo>
                      <a:pt x="1171" y="681"/>
                    </a:lnTo>
                    <a:lnTo>
                      <a:pt x="1171" y="681"/>
                    </a:lnTo>
                    <a:lnTo>
                      <a:pt x="1171" y="681"/>
                    </a:lnTo>
                    <a:lnTo>
                      <a:pt x="1171" y="686"/>
                    </a:lnTo>
                    <a:lnTo>
                      <a:pt x="1171" y="686"/>
                    </a:lnTo>
                    <a:lnTo>
                      <a:pt x="1166" y="686"/>
                    </a:lnTo>
                    <a:lnTo>
                      <a:pt x="1166" y="691"/>
                    </a:lnTo>
                    <a:lnTo>
                      <a:pt x="1166" y="686"/>
                    </a:lnTo>
                    <a:lnTo>
                      <a:pt x="1166" y="691"/>
                    </a:lnTo>
                    <a:lnTo>
                      <a:pt x="1157" y="700"/>
                    </a:lnTo>
                    <a:lnTo>
                      <a:pt x="1157" y="700"/>
                    </a:lnTo>
                    <a:lnTo>
                      <a:pt x="1157" y="700"/>
                    </a:lnTo>
                    <a:lnTo>
                      <a:pt x="1162" y="704"/>
                    </a:lnTo>
                    <a:lnTo>
                      <a:pt x="1162" y="704"/>
                    </a:lnTo>
                    <a:lnTo>
                      <a:pt x="1157" y="709"/>
                    </a:lnTo>
                    <a:lnTo>
                      <a:pt x="1157" y="709"/>
                    </a:lnTo>
                    <a:lnTo>
                      <a:pt x="1157" y="713"/>
                    </a:lnTo>
                    <a:lnTo>
                      <a:pt x="1162" y="718"/>
                    </a:lnTo>
                    <a:lnTo>
                      <a:pt x="1157" y="723"/>
                    </a:lnTo>
                    <a:lnTo>
                      <a:pt x="1157" y="727"/>
                    </a:lnTo>
                    <a:lnTo>
                      <a:pt x="1162" y="732"/>
                    </a:lnTo>
                    <a:lnTo>
                      <a:pt x="1162" y="732"/>
                    </a:lnTo>
                    <a:lnTo>
                      <a:pt x="1157" y="736"/>
                    </a:lnTo>
                    <a:lnTo>
                      <a:pt x="1157" y="741"/>
                    </a:lnTo>
                    <a:lnTo>
                      <a:pt x="1152" y="741"/>
                    </a:lnTo>
                    <a:lnTo>
                      <a:pt x="1152" y="741"/>
                    </a:lnTo>
                    <a:lnTo>
                      <a:pt x="1148" y="745"/>
                    </a:lnTo>
                    <a:lnTo>
                      <a:pt x="1143" y="750"/>
                    </a:lnTo>
                    <a:lnTo>
                      <a:pt x="1139" y="750"/>
                    </a:lnTo>
                    <a:lnTo>
                      <a:pt x="1139" y="750"/>
                    </a:lnTo>
                    <a:lnTo>
                      <a:pt x="1139" y="755"/>
                    </a:lnTo>
                    <a:lnTo>
                      <a:pt x="1139" y="759"/>
                    </a:lnTo>
                    <a:lnTo>
                      <a:pt x="1143" y="764"/>
                    </a:lnTo>
                    <a:lnTo>
                      <a:pt x="1148" y="764"/>
                    </a:lnTo>
                    <a:lnTo>
                      <a:pt x="1152" y="768"/>
                    </a:lnTo>
                    <a:lnTo>
                      <a:pt x="1157" y="773"/>
                    </a:lnTo>
                    <a:lnTo>
                      <a:pt x="1162" y="773"/>
                    </a:lnTo>
                    <a:lnTo>
                      <a:pt x="1162" y="777"/>
                    </a:lnTo>
                    <a:lnTo>
                      <a:pt x="1162" y="777"/>
                    </a:lnTo>
                    <a:lnTo>
                      <a:pt x="1166" y="777"/>
                    </a:lnTo>
                    <a:lnTo>
                      <a:pt x="1166" y="782"/>
                    </a:lnTo>
                    <a:lnTo>
                      <a:pt x="1171" y="782"/>
                    </a:lnTo>
                    <a:lnTo>
                      <a:pt x="1171" y="787"/>
                    </a:lnTo>
                    <a:lnTo>
                      <a:pt x="1171" y="787"/>
                    </a:lnTo>
                    <a:lnTo>
                      <a:pt x="1175" y="791"/>
                    </a:lnTo>
                    <a:lnTo>
                      <a:pt x="1175" y="796"/>
                    </a:lnTo>
                    <a:lnTo>
                      <a:pt x="1175" y="800"/>
                    </a:lnTo>
                    <a:lnTo>
                      <a:pt x="1171" y="809"/>
                    </a:lnTo>
                    <a:lnTo>
                      <a:pt x="1171" y="814"/>
                    </a:lnTo>
                    <a:lnTo>
                      <a:pt x="1171" y="823"/>
                    </a:lnTo>
                    <a:lnTo>
                      <a:pt x="1171" y="828"/>
                    </a:lnTo>
                    <a:lnTo>
                      <a:pt x="1166" y="828"/>
                    </a:lnTo>
                    <a:lnTo>
                      <a:pt x="1162" y="832"/>
                    </a:lnTo>
                    <a:lnTo>
                      <a:pt x="1157" y="832"/>
                    </a:lnTo>
                    <a:lnTo>
                      <a:pt x="1152" y="837"/>
                    </a:lnTo>
                    <a:lnTo>
                      <a:pt x="1148" y="837"/>
                    </a:lnTo>
                    <a:lnTo>
                      <a:pt x="1130" y="846"/>
                    </a:lnTo>
                    <a:lnTo>
                      <a:pt x="1125" y="846"/>
                    </a:lnTo>
                    <a:lnTo>
                      <a:pt x="1120" y="851"/>
                    </a:lnTo>
                    <a:lnTo>
                      <a:pt x="1111" y="851"/>
                    </a:lnTo>
                    <a:lnTo>
                      <a:pt x="1107" y="851"/>
                    </a:lnTo>
                    <a:lnTo>
                      <a:pt x="1102" y="851"/>
                    </a:lnTo>
                    <a:lnTo>
                      <a:pt x="1102" y="855"/>
                    </a:lnTo>
                    <a:lnTo>
                      <a:pt x="1098" y="855"/>
                    </a:lnTo>
                    <a:lnTo>
                      <a:pt x="1098" y="864"/>
                    </a:lnTo>
                    <a:lnTo>
                      <a:pt x="1093" y="869"/>
                    </a:lnTo>
                    <a:lnTo>
                      <a:pt x="1088" y="873"/>
                    </a:lnTo>
                    <a:lnTo>
                      <a:pt x="1088" y="873"/>
                    </a:lnTo>
                    <a:lnTo>
                      <a:pt x="1088" y="873"/>
                    </a:lnTo>
                    <a:lnTo>
                      <a:pt x="1079" y="873"/>
                    </a:lnTo>
                    <a:lnTo>
                      <a:pt x="1075" y="878"/>
                    </a:lnTo>
                    <a:lnTo>
                      <a:pt x="1070" y="883"/>
                    </a:lnTo>
                    <a:lnTo>
                      <a:pt x="1066" y="883"/>
                    </a:lnTo>
                    <a:lnTo>
                      <a:pt x="1056" y="883"/>
                    </a:lnTo>
                    <a:lnTo>
                      <a:pt x="1052" y="883"/>
                    </a:lnTo>
                    <a:lnTo>
                      <a:pt x="1047" y="887"/>
                    </a:lnTo>
                    <a:lnTo>
                      <a:pt x="1038" y="892"/>
                    </a:lnTo>
                    <a:lnTo>
                      <a:pt x="1029" y="896"/>
                    </a:lnTo>
                    <a:lnTo>
                      <a:pt x="1024" y="901"/>
                    </a:lnTo>
                    <a:lnTo>
                      <a:pt x="1020" y="905"/>
                    </a:lnTo>
                    <a:lnTo>
                      <a:pt x="1015" y="910"/>
                    </a:lnTo>
                    <a:lnTo>
                      <a:pt x="1015" y="915"/>
                    </a:lnTo>
                    <a:lnTo>
                      <a:pt x="1011" y="919"/>
                    </a:lnTo>
                    <a:lnTo>
                      <a:pt x="1006" y="919"/>
                    </a:lnTo>
                    <a:lnTo>
                      <a:pt x="1006" y="924"/>
                    </a:lnTo>
                    <a:lnTo>
                      <a:pt x="997" y="924"/>
                    </a:lnTo>
                    <a:lnTo>
                      <a:pt x="988" y="928"/>
                    </a:lnTo>
                    <a:lnTo>
                      <a:pt x="983" y="928"/>
                    </a:lnTo>
                    <a:lnTo>
                      <a:pt x="983" y="933"/>
                    </a:lnTo>
                    <a:lnTo>
                      <a:pt x="979" y="933"/>
                    </a:lnTo>
                    <a:lnTo>
                      <a:pt x="974" y="933"/>
                    </a:lnTo>
                    <a:lnTo>
                      <a:pt x="970" y="933"/>
                    </a:lnTo>
                    <a:lnTo>
                      <a:pt x="965" y="933"/>
                    </a:lnTo>
                    <a:lnTo>
                      <a:pt x="960" y="928"/>
                    </a:lnTo>
                    <a:lnTo>
                      <a:pt x="960" y="924"/>
                    </a:lnTo>
                    <a:lnTo>
                      <a:pt x="956" y="924"/>
                    </a:lnTo>
                    <a:lnTo>
                      <a:pt x="951" y="919"/>
                    </a:lnTo>
                    <a:lnTo>
                      <a:pt x="951" y="919"/>
                    </a:lnTo>
                    <a:lnTo>
                      <a:pt x="942" y="915"/>
                    </a:lnTo>
                    <a:lnTo>
                      <a:pt x="938" y="915"/>
                    </a:lnTo>
                    <a:lnTo>
                      <a:pt x="933" y="915"/>
                    </a:lnTo>
                    <a:lnTo>
                      <a:pt x="928" y="910"/>
                    </a:lnTo>
                    <a:lnTo>
                      <a:pt x="924" y="910"/>
                    </a:lnTo>
                    <a:lnTo>
                      <a:pt x="924" y="910"/>
                    </a:lnTo>
                    <a:lnTo>
                      <a:pt x="919" y="910"/>
                    </a:lnTo>
                    <a:lnTo>
                      <a:pt x="919" y="915"/>
                    </a:lnTo>
                    <a:lnTo>
                      <a:pt x="915" y="924"/>
                    </a:lnTo>
                    <a:lnTo>
                      <a:pt x="915" y="928"/>
                    </a:lnTo>
                    <a:lnTo>
                      <a:pt x="910" y="933"/>
                    </a:lnTo>
                    <a:lnTo>
                      <a:pt x="910" y="937"/>
                    </a:lnTo>
                    <a:lnTo>
                      <a:pt x="906" y="937"/>
                    </a:lnTo>
                    <a:lnTo>
                      <a:pt x="901" y="942"/>
                    </a:lnTo>
                    <a:lnTo>
                      <a:pt x="901" y="947"/>
                    </a:lnTo>
                    <a:lnTo>
                      <a:pt x="901" y="951"/>
                    </a:lnTo>
                    <a:lnTo>
                      <a:pt x="901" y="956"/>
                    </a:lnTo>
                    <a:lnTo>
                      <a:pt x="901" y="956"/>
                    </a:lnTo>
                    <a:lnTo>
                      <a:pt x="896" y="956"/>
                    </a:lnTo>
                    <a:lnTo>
                      <a:pt x="896" y="960"/>
                    </a:lnTo>
                    <a:lnTo>
                      <a:pt x="896" y="960"/>
                    </a:lnTo>
                    <a:lnTo>
                      <a:pt x="896" y="960"/>
                    </a:lnTo>
                    <a:lnTo>
                      <a:pt x="892" y="965"/>
                    </a:lnTo>
                    <a:lnTo>
                      <a:pt x="887" y="969"/>
                    </a:lnTo>
                    <a:lnTo>
                      <a:pt x="887" y="969"/>
                    </a:lnTo>
                    <a:lnTo>
                      <a:pt x="883" y="969"/>
                    </a:lnTo>
                    <a:lnTo>
                      <a:pt x="883" y="974"/>
                    </a:lnTo>
                    <a:lnTo>
                      <a:pt x="887" y="979"/>
                    </a:lnTo>
                    <a:lnTo>
                      <a:pt x="887" y="979"/>
                    </a:lnTo>
                    <a:lnTo>
                      <a:pt x="887" y="979"/>
                    </a:lnTo>
                    <a:lnTo>
                      <a:pt x="883" y="979"/>
                    </a:lnTo>
                    <a:lnTo>
                      <a:pt x="883" y="983"/>
                    </a:lnTo>
                    <a:lnTo>
                      <a:pt x="878" y="983"/>
                    </a:lnTo>
                    <a:lnTo>
                      <a:pt x="878" y="988"/>
                    </a:lnTo>
                    <a:lnTo>
                      <a:pt x="874" y="992"/>
                    </a:lnTo>
                    <a:lnTo>
                      <a:pt x="874" y="992"/>
                    </a:lnTo>
                    <a:lnTo>
                      <a:pt x="869" y="992"/>
                    </a:lnTo>
                    <a:lnTo>
                      <a:pt x="869" y="997"/>
                    </a:lnTo>
                    <a:lnTo>
                      <a:pt x="869" y="997"/>
                    </a:lnTo>
                    <a:lnTo>
                      <a:pt x="864" y="997"/>
                    </a:lnTo>
                    <a:lnTo>
                      <a:pt x="860" y="1006"/>
                    </a:lnTo>
                    <a:lnTo>
                      <a:pt x="860" y="1006"/>
                    </a:lnTo>
                    <a:lnTo>
                      <a:pt x="860" y="1011"/>
                    </a:lnTo>
                    <a:lnTo>
                      <a:pt x="860" y="1011"/>
                    </a:lnTo>
                    <a:lnTo>
                      <a:pt x="855" y="1015"/>
                    </a:lnTo>
                    <a:lnTo>
                      <a:pt x="855" y="1015"/>
                    </a:lnTo>
                    <a:lnTo>
                      <a:pt x="855" y="1015"/>
                    </a:lnTo>
                    <a:lnTo>
                      <a:pt x="855" y="1020"/>
                    </a:lnTo>
                    <a:lnTo>
                      <a:pt x="855" y="1020"/>
                    </a:lnTo>
                    <a:lnTo>
                      <a:pt x="851" y="1024"/>
                    </a:lnTo>
                    <a:lnTo>
                      <a:pt x="851" y="1024"/>
                    </a:lnTo>
                    <a:lnTo>
                      <a:pt x="846" y="1024"/>
                    </a:lnTo>
                    <a:lnTo>
                      <a:pt x="846" y="1024"/>
                    </a:lnTo>
                    <a:lnTo>
                      <a:pt x="846" y="1024"/>
                    </a:lnTo>
                    <a:lnTo>
                      <a:pt x="842" y="1024"/>
                    </a:lnTo>
                    <a:lnTo>
                      <a:pt x="832" y="1033"/>
                    </a:lnTo>
                    <a:lnTo>
                      <a:pt x="828" y="1033"/>
                    </a:lnTo>
                    <a:lnTo>
                      <a:pt x="819" y="1033"/>
                    </a:lnTo>
                    <a:lnTo>
                      <a:pt x="814" y="1038"/>
                    </a:lnTo>
                    <a:lnTo>
                      <a:pt x="814" y="1038"/>
                    </a:lnTo>
                    <a:lnTo>
                      <a:pt x="814" y="1047"/>
                    </a:lnTo>
                    <a:lnTo>
                      <a:pt x="814" y="1052"/>
                    </a:lnTo>
                    <a:lnTo>
                      <a:pt x="814" y="1056"/>
                    </a:lnTo>
                    <a:lnTo>
                      <a:pt x="814" y="1065"/>
                    </a:lnTo>
                    <a:lnTo>
                      <a:pt x="810" y="1065"/>
                    </a:lnTo>
                    <a:lnTo>
                      <a:pt x="791" y="1065"/>
                    </a:lnTo>
                    <a:lnTo>
                      <a:pt x="778" y="1065"/>
                    </a:lnTo>
                    <a:lnTo>
                      <a:pt x="768" y="1070"/>
                    </a:lnTo>
                    <a:lnTo>
                      <a:pt x="764" y="1070"/>
                    </a:lnTo>
                    <a:lnTo>
                      <a:pt x="759" y="1070"/>
                    </a:lnTo>
                    <a:lnTo>
                      <a:pt x="755" y="1070"/>
                    </a:lnTo>
                    <a:lnTo>
                      <a:pt x="750" y="1070"/>
                    </a:lnTo>
                    <a:lnTo>
                      <a:pt x="750" y="1075"/>
                    </a:lnTo>
                    <a:lnTo>
                      <a:pt x="750" y="1075"/>
                    </a:lnTo>
                    <a:lnTo>
                      <a:pt x="746" y="1075"/>
                    </a:lnTo>
                    <a:lnTo>
                      <a:pt x="727" y="1075"/>
                    </a:lnTo>
                    <a:lnTo>
                      <a:pt x="714" y="1075"/>
                    </a:lnTo>
                    <a:lnTo>
                      <a:pt x="704" y="1079"/>
                    </a:lnTo>
                    <a:lnTo>
                      <a:pt x="700" y="1079"/>
                    </a:lnTo>
                    <a:lnTo>
                      <a:pt x="695" y="1079"/>
                    </a:lnTo>
                    <a:lnTo>
                      <a:pt x="691" y="1084"/>
                    </a:lnTo>
                    <a:lnTo>
                      <a:pt x="686" y="1084"/>
                    </a:lnTo>
                    <a:lnTo>
                      <a:pt x="682" y="1088"/>
                    </a:lnTo>
                    <a:lnTo>
                      <a:pt x="682" y="1093"/>
                    </a:lnTo>
                    <a:lnTo>
                      <a:pt x="682" y="1097"/>
                    </a:lnTo>
                    <a:lnTo>
                      <a:pt x="682" y="1102"/>
                    </a:lnTo>
                    <a:lnTo>
                      <a:pt x="682" y="1111"/>
                    </a:lnTo>
                    <a:lnTo>
                      <a:pt x="677" y="1116"/>
                    </a:lnTo>
                    <a:lnTo>
                      <a:pt x="668" y="1134"/>
                    </a:lnTo>
                    <a:lnTo>
                      <a:pt x="659" y="1152"/>
                    </a:lnTo>
                    <a:lnTo>
                      <a:pt x="659" y="1157"/>
                    </a:lnTo>
                    <a:lnTo>
                      <a:pt x="659" y="1157"/>
                    </a:lnTo>
                    <a:lnTo>
                      <a:pt x="659" y="1161"/>
                    </a:lnTo>
                    <a:lnTo>
                      <a:pt x="659" y="1166"/>
                    </a:lnTo>
                    <a:lnTo>
                      <a:pt x="654" y="1171"/>
                    </a:lnTo>
                    <a:lnTo>
                      <a:pt x="650" y="1175"/>
                    </a:lnTo>
                    <a:lnTo>
                      <a:pt x="650" y="1180"/>
                    </a:lnTo>
                    <a:lnTo>
                      <a:pt x="650" y="1184"/>
                    </a:lnTo>
                    <a:lnTo>
                      <a:pt x="650" y="1189"/>
                    </a:lnTo>
                    <a:lnTo>
                      <a:pt x="650" y="1193"/>
                    </a:lnTo>
                    <a:lnTo>
                      <a:pt x="650" y="1198"/>
                    </a:lnTo>
                    <a:lnTo>
                      <a:pt x="650" y="1203"/>
                    </a:lnTo>
                    <a:lnTo>
                      <a:pt x="645" y="1203"/>
                    </a:lnTo>
                    <a:lnTo>
                      <a:pt x="645" y="1221"/>
                    </a:lnTo>
                    <a:lnTo>
                      <a:pt x="640" y="1225"/>
                    </a:lnTo>
                    <a:lnTo>
                      <a:pt x="640" y="1225"/>
                    </a:lnTo>
                    <a:lnTo>
                      <a:pt x="640" y="1225"/>
                    </a:lnTo>
                    <a:lnTo>
                      <a:pt x="640" y="1230"/>
                    </a:lnTo>
                    <a:lnTo>
                      <a:pt x="636" y="1235"/>
                    </a:lnTo>
                    <a:lnTo>
                      <a:pt x="627" y="1235"/>
                    </a:lnTo>
                    <a:lnTo>
                      <a:pt x="622" y="1239"/>
                    </a:lnTo>
                    <a:lnTo>
                      <a:pt x="618" y="1239"/>
                    </a:lnTo>
                    <a:lnTo>
                      <a:pt x="595" y="1235"/>
                    </a:lnTo>
                    <a:lnTo>
                      <a:pt x="586" y="1235"/>
                    </a:lnTo>
                    <a:lnTo>
                      <a:pt x="576" y="1235"/>
                    </a:lnTo>
                    <a:lnTo>
                      <a:pt x="572" y="1230"/>
                    </a:lnTo>
                    <a:lnTo>
                      <a:pt x="572" y="1230"/>
                    </a:lnTo>
                    <a:lnTo>
                      <a:pt x="567" y="1230"/>
                    </a:lnTo>
                    <a:lnTo>
                      <a:pt x="558" y="1225"/>
                    </a:lnTo>
                    <a:lnTo>
                      <a:pt x="554" y="1225"/>
                    </a:lnTo>
                    <a:lnTo>
                      <a:pt x="549" y="1225"/>
                    </a:lnTo>
                    <a:lnTo>
                      <a:pt x="549" y="1221"/>
                    </a:lnTo>
                    <a:lnTo>
                      <a:pt x="549" y="1221"/>
                    </a:lnTo>
                    <a:lnTo>
                      <a:pt x="544" y="1216"/>
                    </a:lnTo>
                    <a:lnTo>
                      <a:pt x="540" y="1216"/>
                    </a:lnTo>
                    <a:lnTo>
                      <a:pt x="535" y="1216"/>
                    </a:lnTo>
                    <a:lnTo>
                      <a:pt x="531" y="1212"/>
                    </a:lnTo>
                    <a:lnTo>
                      <a:pt x="531" y="1207"/>
                    </a:lnTo>
                    <a:lnTo>
                      <a:pt x="522" y="1203"/>
                    </a:lnTo>
                    <a:lnTo>
                      <a:pt x="517" y="1203"/>
                    </a:lnTo>
                    <a:lnTo>
                      <a:pt x="512" y="1198"/>
                    </a:lnTo>
                    <a:lnTo>
                      <a:pt x="508" y="1198"/>
                    </a:lnTo>
                    <a:lnTo>
                      <a:pt x="503" y="1193"/>
                    </a:lnTo>
                    <a:lnTo>
                      <a:pt x="499" y="1193"/>
                    </a:lnTo>
                    <a:lnTo>
                      <a:pt x="490" y="1193"/>
                    </a:lnTo>
                    <a:lnTo>
                      <a:pt x="485" y="1193"/>
                    </a:lnTo>
                    <a:lnTo>
                      <a:pt x="485" y="1198"/>
                    </a:lnTo>
                    <a:lnTo>
                      <a:pt x="476" y="1198"/>
                    </a:lnTo>
                    <a:lnTo>
                      <a:pt x="476" y="1203"/>
                    </a:lnTo>
                    <a:lnTo>
                      <a:pt x="471" y="1203"/>
                    </a:lnTo>
                    <a:lnTo>
                      <a:pt x="471" y="1203"/>
                    </a:lnTo>
                    <a:lnTo>
                      <a:pt x="467" y="1203"/>
                    </a:lnTo>
                    <a:lnTo>
                      <a:pt x="462" y="1207"/>
                    </a:lnTo>
                    <a:lnTo>
                      <a:pt x="462" y="1207"/>
                    </a:lnTo>
                    <a:lnTo>
                      <a:pt x="453" y="1216"/>
                    </a:lnTo>
                    <a:lnTo>
                      <a:pt x="448" y="1221"/>
                    </a:lnTo>
                    <a:lnTo>
                      <a:pt x="439" y="1225"/>
                    </a:lnTo>
                    <a:lnTo>
                      <a:pt x="435" y="1239"/>
                    </a:lnTo>
                    <a:lnTo>
                      <a:pt x="430" y="1244"/>
                    </a:lnTo>
                    <a:lnTo>
                      <a:pt x="426" y="1244"/>
                    </a:lnTo>
                    <a:lnTo>
                      <a:pt x="421" y="1244"/>
                    </a:lnTo>
                    <a:lnTo>
                      <a:pt x="416" y="1248"/>
                    </a:lnTo>
                    <a:lnTo>
                      <a:pt x="412" y="1253"/>
                    </a:lnTo>
                    <a:lnTo>
                      <a:pt x="412" y="1257"/>
                    </a:lnTo>
                    <a:lnTo>
                      <a:pt x="407" y="1257"/>
                    </a:lnTo>
                    <a:lnTo>
                      <a:pt x="389" y="1276"/>
                    </a:lnTo>
                    <a:lnTo>
                      <a:pt x="384" y="1280"/>
                    </a:lnTo>
                    <a:lnTo>
                      <a:pt x="375" y="1289"/>
                    </a:lnTo>
                    <a:lnTo>
                      <a:pt x="375" y="1289"/>
                    </a:lnTo>
                    <a:lnTo>
                      <a:pt x="371" y="1289"/>
                    </a:lnTo>
                    <a:lnTo>
                      <a:pt x="371" y="1294"/>
                    </a:lnTo>
                    <a:lnTo>
                      <a:pt x="366" y="1294"/>
                    </a:lnTo>
                    <a:lnTo>
                      <a:pt x="357" y="1294"/>
                    </a:lnTo>
                    <a:lnTo>
                      <a:pt x="348" y="1294"/>
                    </a:lnTo>
                    <a:lnTo>
                      <a:pt x="330" y="1294"/>
                    </a:lnTo>
                    <a:lnTo>
                      <a:pt x="316" y="1294"/>
                    </a:lnTo>
                    <a:lnTo>
                      <a:pt x="311" y="1294"/>
                    </a:lnTo>
                    <a:lnTo>
                      <a:pt x="302" y="1294"/>
                    </a:lnTo>
                    <a:lnTo>
                      <a:pt x="288" y="1299"/>
                    </a:lnTo>
                    <a:lnTo>
                      <a:pt x="288" y="1299"/>
                    </a:lnTo>
                    <a:lnTo>
                      <a:pt x="288" y="1299"/>
                    </a:lnTo>
                    <a:lnTo>
                      <a:pt x="284" y="1299"/>
                    </a:lnTo>
                    <a:lnTo>
                      <a:pt x="279" y="1303"/>
                    </a:lnTo>
                    <a:lnTo>
                      <a:pt x="275" y="1303"/>
                    </a:lnTo>
                    <a:lnTo>
                      <a:pt x="270" y="1308"/>
                    </a:lnTo>
                    <a:lnTo>
                      <a:pt x="266" y="1308"/>
                    </a:lnTo>
                    <a:lnTo>
                      <a:pt x="266" y="1312"/>
                    </a:lnTo>
                    <a:lnTo>
                      <a:pt x="261" y="1312"/>
                    </a:lnTo>
                    <a:lnTo>
                      <a:pt x="256" y="1312"/>
                    </a:lnTo>
                    <a:lnTo>
                      <a:pt x="247" y="1317"/>
                    </a:lnTo>
                    <a:lnTo>
                      <a:pt x="243" y="1317"/>
                    </a:lnTo>
                    <a:lnTo>
                      <a:pt x="243" y="1326"/>
                    </a:lnTo>
                    <a:lnTo>
                      <a:pt x="229" y="1335"/>
                    </a:lnTo>
                    <a:lnTo>
                      <a:pt x="224" y="1335"/>
                    </a:lnTo>
                    <a:lnTo>
                      <a:pt x="224" y="1340"/>
                    </a:lnTo>
                    <a:lnTo>
                      <a:pt x="220" y="1340"/>
                    </a:lnTo>
                    <a:lnTo>
                      <a:pt x="220" y="1349"/>
                    </a:lnTo>
                    <a:lnTo>
                      <a:pt x="215" y="1353"/>
                    </a:lnTo>
                    <a:lnTo>
                      <a:pt x="211" y="1353"/>
                    </a:lnTo>
                    <a:lnTo>
                      <a:pt x="211" y="1358"/>
                    </a:lnTo>
                    <a:lnTo>
                      <a:pt x="211" y="1363"/>
                    </a:lnTo>
                    <a:lnTo>
                      <a:pt x="206" y="1367"/>
                    </a:lnTo>
                    <a:lnTo>
                      <a:pt x="206" y="1372"/>
                    </a:lnTo>
                    <a:lnTo>
                      <a:pt x="202" y="1381"/>
                    </a:lnTo>
                    <a:lnTo>
                      <a:pt x="202" y="1399"/>
                    </a:lnTo>
                    <a:lnTo>
                      <a:pt x="202" y="1399"/>
                    </a:lnTo>
                    <a:lnTo>
                      <a:pt x="197" y="1404"/>
                    </a:lnTo>
                    <a:lnTo>
                      <a:pt x="183" y="1413"/>
                    </a:lnTo>
                    <a:lnTo>
                      <a:pt x="179" y="1413"/>
                    </a:lnTo>
                    <a:lnTo>
                      <a:pt x="165" y="1417"/>
                    </a:lnTo>
                    <a:lnTo>
                      <a:pt x="160" y="1413"/>
                    </a:lnTo>
                    <a:lnTo>
                      <a:pt x="156" y="1413"/>
                    </a:lnTo>
                    <a:lnTo>
                      <a:pt x="151" y="1417"/>
                    </a:lnTo>
                    <a:lnTo>
                      <a:pt x="133" y="1417"/>
                    </a:lnTo>
                    <a:lnTo>
                      <a:pt x="128" y="1413"/>
                    </a:lnTo>
                    <a:lnTo>
                      <a:pt x="106" y="1404"/>
                    </a:lnTo>
                    <a:lnTo>
                      <a:pt x="106" y="1399"/>
                    </a:lnTo>
                    <a:lnTo>
                      <a:pt x="106" y="1399"/>
                    </a:lnTo>
                    <a:lnTo>
                      <a:pt x="106" y="1395"/>
                    </a:lnTo>
                    <a:lnTo>
                      <a:pt x="101" y="1395"/>
                    </a:lnTo>
                    <a:lnTo>
                      <a:pt x="101" y="1390"/>
                    </a:lnTo>
                    <a:lnTo>
                      <a:pt x="101" y="1385"/>
                    </a:lnTo>
                    <a:lnTo>
                      <a:pt x="96" y="1381"/>
                    </a:lnTo>
                    <a:lnTo>
                      <a:pt x="96" y="1376"/>
                    </a:lnTo>
                    <a:lnTo>
                      <a:pt x="92" y="1376"/>
                    </a:lnTo>
                    <a:lnTo>
                      <a:pt x="92" y="1376"/>
                    </a:lnTo>
                    <a:lnTo>
                      <a:pt x="92" y="1376"/>
                    </a:lnTo>
                    <a:lnTo>
                      <a:pt x="92" y="1372"/>
                    </a:lnTo>
                    <a:lnTo>
                      <a:pt x="87" y="1372"/>
                    </a:lnTo>
                    <a:lnTo>
                      <a:pt x="87" y="1367"/>
                    </a:lnTo>
                    <a:lnTo>
                      <a:pt x="83" y="1367"/>
                    </a:lnTo>
                    <a:lnTo>
                      <a:pt x="78" y="1363"/>
                    </a:lnTo>
                    <a:lnTo>
                      <a:pt x="74" y="1358"/>
                    </a:lnTo>
                    <a:lnTo>
                      <a:pt x="69" y="1358"/>
                    </a:lnTo>
                    <a:lnTo>
                      <a:pt x="69" y="1358"/>
                    </a:lnTo>
                    <a:lnTo>
                      <a:pt x="60" y="1353"/>
                    </a:lnTo>
                    <a:lnTo>
                      <a:pt x="51" y="1349"/>
                    </a:lnTo>
                    <a:lnTo>
                      <a:pt x="46" y="1349"/>
                    </a:lnTo>
                    <a:lnTo>
                      <a:pt x="46" y="1344"/>
                    </a:lnTo>
                    <a:lnTo>
                      <a:pt x="42" y="1344"/>
                    </a:lnTo>
                    <a:lnTo>
                      <a:pt x="42" y="1340"/>
                    </a:lnTo>
                    <a:lnTo>
                      <a:pt x="37" y="1340"/>
                    </a:lnTo>
                    <a:lnTo>
                      <a:pt x="32" y="1335"/>
                    </a:lnTo>
                    <a:lnTo>
                      <a:pt x="32" y="1335"/>
                    </a:lnTo>
                    <a:lnTo>
                      <a:pt x="28" y="1326"/>
                    </a:lnTo>
                    <a:lnTo>
                      <a:pt x="28" y="1321"/>
                    </a:lnTo>
                    <a:lnTo>
                      <a:pt x="23" y="1321"/>
                    </a:lnTo>
                    <a:lnTo>
                      <a:pt x="23" y="1317"/>
                    </a:lnTo>
                    <a:lnTo>
                      <a:pt x="23" y="1312"/>
                    </a:lnTo>
                    <a:lnTo>
                      <a:pt x="19" y="1312"/>
                    </a:lnTo>
                    <a:lnTo>
                      <a:pt x="19" y="1312"/>
                    </a:lnTo>
                    <a:lnTo>
                      <a:pt x="14" y="1308"/>
                    </a:lnTo>
                    <a:lnTo>
                      <a:pt x="10" y="1308"/>
                    </a:lnTo>
                    <a:lnTo>
                      <a:pt x="5" y="1303"/>
                    </a:lnTo>
                    <a:lnTo>
                      <a:pt x="0" y="1303"/>
                    </a:lnTo>
                    <a:lnTo>
                      <a:pt x="0" y="1299"/>
                    </a:lnTo>
                    <a:lnTo>
                      <a:pt x="0" y="1294"/>
                    </a:lnTo>
                    <a:lnTo>
                      <a:pt x="0" y="1289"/>
                    </a:lnTo>
                    <a:lnTo>
                      <a:pt x="5" y="1289"/>
                    </a:lnTo>
                    <a:lnTo>
                      <a:pt x="5" y="1289"/>
                    </a:lnTo>
                    <a:lnTo>
                      <a:pt x="10" y="1285"/>
                    </a:lnTo>
                    <a:lnTo>
                      <a:pt x="10" y="1280"/>
                    </a:lnTo>
                    <a:lnTo>
                      <a:pt x="14" y="1276"/>
                    </a:lnTo>
                    <a:lnTo>
                      <a:pt x="19" y="1271"/>
                    </a:lnTo>
                    <a:lnTo>
                      <a:pt x="23" y="1267"/>
                    </a:lnTo>
                    <a:lnTo>
                      <a:pt x="23" y="1267"/>
                    </a:lnTo>
                    <a:lnTo>
                      <a:pt x="23" y="1267"/>
                    </a:lnTo>
                    <a:lnTo>
                      <a:pt x="28" y="1267"/>
                    </a:lnTo>
                    <a:lnTo>
                      <a:pt x="32" y="1262"/>
                    </a:lnTo>
                    <a:lnTo>
                      <a:pt x="37" y="1257"/>
                    </a:lnTo>
                    <a:lnTo>
                      <a:pt x="46" y="1257"/>
                    </a:lnTo>
                    <a:lnTo>
                      <a:pt x="46" y="1253"/>
                    </a:lnTo>
                    <a:lnTo>
                      <a:pt x="46" y="1253"/>
                    </a:lnTo>
                    <a:lnTo>
                      <a:pt x="51" y="1253"/>
                    </a:lnTo>
                    <a:lnTo>
                      <a:pt x="55" y="1248"/>
                    </a:lnTo>
                    <a:lnTo>
                      <a:pt x="60" y="1248"/>
                    </a:lnTo>
                    <a:lnTo>
                      <a:pt x="60" y="1244"/>
                    </a:lnTo>
                    <a:lnTo>
                      <a:pt x="64" y="1244"/>
                    </a:lnTo>
                    <a:lnTo>
                      <a:pt x="69" y="1244"/>
                    </a:lnTo>
                    <a:lnTo>
                      <a:pt x="69" y="1239"/>
                    </a:lnTo>
                    <a:lnTo>
                      <a:pt x="69" y="1235"/>
                    </a:lnTo>
                    <a:lnTo>
                      <a:pt x="64" y="1230"/>
                    </a:lnTo>
                    <a:lnTo>
                      <a:pt x="64" y="1225"/>
                    </a:lnTo>
                    <a:lnTo>
                      <a:pt x="60" y="1225"/>
                    </a:lnTo>
                    <a:lnTo>
                      <a:pt x="55" y="1225"/>
                    </a:lnTo>
                    <a:lnTo>
                      <a:pt x="51" y="1225"/>
                    </a:lnTo>
                    <a:lnTo>
                      <a:pt x="46" y="1221"/>
                    </a:lnTo>
                    <a:lnTo>
                      <a:pt x="37" y="1216"/>
                    </a:lnTo>
                    <a:lnTo>
                      <a:pt x="23" y="1212"/>
                    </a:lnTo>
                    <a:lnTo>
                      <a:pt x="23" y="1207"/>
                    </a:lnTo>
                    <a:lnTo>
                      <a:pt x="14" y="1207"/>
                    </a:lnTo>
                    <a:lnTo>
                      <a:pt x="10" y="1207"/>
                    </a:lnTo>
                    <a:lnTo>
                      <a:pt x="10" y="1203"/>
                    </a:lnTo>
                    <a:lnTo>
                      <a:pt x="5" y="1203"/>
                    </a:lnTo>
                    <a:lnTo>
                      <a:pt x="5" y="1198"/>
                    </a:lnTo>
                    <a:lnTo>
                      <a:pt x="5" y="1193"/>
                    </a:lnTo>
                    <a:lnTo>
                      <a:pt x="10" y="1189"/>
                    </a:lnTo>
                    <a:lnTo>
                      <a:pt x="14" y="1189"/>
                    </a:lnTo>
                    <a:lnTo>
                      <a:pt x="19" y="1184"/>
                    </a:lnTo>
                    <a:lnTo>
                      <a:pt x="23" y="1184"/>
                    </a:lnTo>
                    <a:lnTo>
                      <a:pt x="28" y="1184"/>
                    </a:lnTo>
                    <a:lnTo>
                      <a:pt x="28" y="1180"/>
                    </a:lnTo>
                    <a:lnTo>
                      <a:pt x="32" y="1180"/>
                    </a:lnTo>
                    <a:lnTo>
                      <a:pt x="37" y="1180"/>
                    </a:lnTo>
                    <a:lnTo>
                      <a:pt x="37" y="1180"/>
                    </a:lnTo>
                    <a:lnTo>
                      <a:pt x="42" y="1180"/>
                    </a:lnTo>
                    <a:lnTo>
                      <a:pt x="46" y="1175"/>
                    </a:lnTo>
                    <a:lnTo>
                      <a:pt x="46" y="1171"/>
                    </a:lnTo>
                    <a:lnTo>
                      <a:pt x="51" y="1166"/>
                    </a:lnTo>
                    <a:lnTo>
                      <a:pt x="51" y="1161"/>
                    </a:lnTo>
                    <a:lnTo>
                      <a:pt x="55" y="1157"/>
                    </a:lnTo>
                    <a:lnTo>
                      <a:pt x="55" y="1157"/>
                    </a:lnTo>
                    <a:lnTo>
                      <a:pt x="55" y="1148"/>
                    </a:lnTo>
                    <a:lnTo>
                      <a:pt x="55" y="1143"/>
                    </a:lnTo>
                    <a:lnTo>
                      <a:pt x="55" y="1139"/>
                    </a:lnTo>
                    <a:lnTo>
                      <a:pt x="51" y="1129"/>
                    </a:lnTo>
                    <a:lnTo>
                      <a:pt x="51" y="1125"/>
                    </a:lnTo>
                    <a:lnTo>
                      <a:pt x="51" y="1120"/>
                    </a:lnTo>
                    <a:lnTo>
                      <a:pt x="51" y="1116"/>
                    </a:lnTo>
                    <a:lnTo>
                      <a:pt x="51" y="1116"/>
                    </a:lnTo>
                    <a:lnTo>
                      <a:pt x="55" y="1102"/>
                    </a:lnTo>
                    <a:lnTo>
                      <a:pt x="55" y="1093"/>
                    </a:lnTo>
                    <a:lnTo>
                      <a:pt x="60" y="1088"/>
                    </a:lnTo>
                    <a:lnTo>
                      <a:pt x="64" y="1088"/>
                    </a:lnTo>
                    <a:lnTo>
                      <a:pt x="64" y="1084"/>
                    </a:lnTo>
                    <a:lnTo>
                      <a:pt x="69" y="1079"/>
                    </a:lnTo>
                    <a:lnTo>
                      <a:pt x="69" y="1075"/>
                    </a:lnTo>
                    <a:lnTo>
                      <a:pt x="69" y="1075"/>
                    </a:lnTo>
                    <a:lnTo>
                      <a:pt x="74" y="1070"/>
                    </a:lnTo>
                    <a:lnTo>
                      <a:pt x="74" y="1070"/>
                    </a:lnTo>
                    <a:lnTo>
                      <a:pt x="83" y="1070"/>
                    </a:lnTo>
                    <a:lnTo>
                      <a:pt x="87" y="1065"/>
                    </a:lnTo>
                    <a:lnTo>
                      <a:pt x="92" y="1065"/>
                    </a:lnTo>
                    <a:lnTo>
                      <a:pt x="96" y="1065"/>
                    </a:lnTo>
                    <a:lnTo>
                      <a:pt x="96" y="1061"/>
                    </a:lnTo>
                    <a:lnTo>
                      <a:pt x="101" y="1061"/>
                    </a:lnTo>
                    <a:lnTo>
                      <a:pt x="101" y="1061"/>
                    </a:lnTo>
                    <a:lnTo>
                      <a:pt x="106" y="1061"/>
                    </a:lnTo>
                    <a:lnTo>
                      <a:pt x="115" y="1056"/>
                    </a:lnTo>
                    <a:lnTo>
                      <a:pt x="119" y="1052"/>
                    </a:lnTo>
                    <a:lnTo>
                      <a:pt x="124" y="1052"/>
                    </a:lnTo>
                    <a:lnTo>
                      <a:pt x="128" y="1052"/>
                    </a:lnTo>
                    <a:lnTo>
                      <a:pt x="133" y="1052"/>
                    </a:lnTo>
                    <a:lnTo>
                      <a:pt x="133" y="1047"/>
                    </a:lnTo>
                    <a:lnTo>
                      <a:pt x="138" y="1047"/>
                    </a:lnTo>
                    <a:lnTo>
                      <a:pt x="142" y="1047"/>
                    </a:lnTo>
                    <a:lnTo>
                      <a:pt x="151" y="1047"/>
                    </a:lnTo>
                    <a:lnTo>
                      <a:pt x="151" y="1043"/>
                    </a:lnTo>
                    <a:lnTo>
                      <a:pt x="156" y="1043"/>
                    </a:lnTo>
                    <a:lnTo>
                      <a:pt x="156" y="1043"/>
                    </a:lnTo>
                    <a:lnTo>
                      <a:pt x="156" y="1038"/>
                    </a:lnTo>
                    <a:lnTo>
                      <a:pt x="160" y="1038"/>
                    </a:lnTo>
                    <a:lnTo>
                      <a:pt x="165" y="1038"/>
                    </a:lnTo>
                    <a:lnTo>
                      <a:pt x="170" y="1033"/>
                    </a:lnTo>
                    <a:lnTo>
                      <a:pt x="174" y="1033"/>
                    </a:lnTo>
                    <a:lnTo>
                      <a:pt x="179" y="1029"/>
                    </a:lnTo>
                    <a:lnTo>
                      <a:pt x="183" y="1024"/>
                    </a:lnTo>
                    <a:lnTo>
                      <a:pt x="183" y="1024"/>
                    </a:lnTo>
                    <a:lnTo>
                      <a:pt x="188" y="1020"/>
                    </a:lnTo>
                    <a:lnTo>
                      <a:pt x="192" y="1020"/>
                    </a:lnTo>
                    <a:lnTo>
                      <a:pt x="197" y="1015"/>
                    </a:lnTo>
                    <a:lnTo>
                      <a:pt x="202" y="1006"/>
                    </a:lnTo>
                    <a:lnTo>
                      <a:pt x="206" y="1006"/>
                    </a:lnTo>
                    <a:lnTo>
                      <a:pt x="211" y="1006"/>
                    </a:lnTo>
                    <a:lnTo>
                      <a:pt x="211" y="1001"/>
                    </a:lnTo>
                    <a:lnTo>
                      <a:pt x="215" y="997"/>
                    </a:lnTo>
                    <a:lnTo>
                      <a:pt x="215" y="988"/>
                    </a:lnTo>
                    <a:lnTo>
                      <a:pt x="215" y="983"/>
                    </a:lnTo>
                    <a:lnTo>
                      <a:pt x="215" y="983"/>
                    </a:lnTo>
                    <a:lnTo>
                      <a:pt x="211" y="983"/>
                    </a:lnTo>
                    <a:lnTo>
                      <a:pt x="206" y="969"/>
                    </a:lnTo>
                    <a:lnTo>
                      <a:pt x="206" y="965"/>
                    </a:lnTo>
                    <a:lnTo>
                      <a:pt x="202" y="956"/>
                    </a:lnTo>
                    <a:lnTo>
                      <a:pt x="202" y="951"/>
                    </a:lnTo>
                    <a:lnTo>
                      <a:pt x="202" y="937"/>
                    </a:lnTo>
                    <a:lnTo>
                      <a:pt x="206" y="937"/>
                    </a:lnTo>
                    <a:lnTo>
                      <a:pt x="211" y="928"/>
                    </a:lnTo>
                    <a:lnTo>
                      <a:pt x="215" y="924"/>
                    </a:lnTo>
                    <a:lnTo>
                      <a:pt x="220" y="919"/>
                    </a:lnTo>
                    <a:lnTo>
                      <a:pt x="224" y="915"/>
                    </a:lnTo>
                    <a:lnTo>
                      <a:pt x="229" y="915"/>
                    </a:lnTo>
                    <a:lnTo>
                      <a:pt x="234" y="915"/>
                    </a:lnTo>
                    <a:lnTo>
                      <a:pt x="234" y="910"/>
                    </a:lnTo>
                    <a:lnTo>
                      <a:pt x="238" y="910"/>
                    </a:lnTo>
                    <a:lnTo>
                      <a:pt x="238" y="905"/>
                    </a:lnTo>
                    <a:lnTo>
                      <a:pt x="238" y="901"/>
                    </a:lnTo>
                    <a:lnTo>
                      <a:pt x="243" y="901"/>
                    </a:lnTo>
                    <a:lnTo>
                      <a:pt x="243" y="896"/>
                    </a:lnTo>
                    <a:lnTo>
                      <a:pt x="243" y="896"/>
                    </a:lnTo>
                    <a:lnTo>
                      <a:pt x="243" y="892"/>
                    </a:lnTo>
                    <a:lnTo>
                      <a:pt x="243" y="887"/>
                    </a:lnTo>
                    <a:lnTo>
                      <a:pt x="243" y="883"/>
                    </a:lnTo>
                    <a:lnTo>
                      <a:pt x="243" y="878"/>
                    </a:lnTo>
                    <a:lnTo>
                      <a:pt x="247" y="878"/>
                    </a:lnTo>
                    <a:lnTo>
                      <a:pt x="247" y="873"/>
                    </a:lnTo>
                    <a:lnTo>
                      <a:pt x="247" y="873"/>
                    </a:lnTo>
                    <a:lnTo>
                      <a:pt x="252" y="869"/>
                    </a:lnTo>
                    <a:lnTo>
                      <a:pt x="261" y="860"/>
                    </a:lnTo>
                    <a:lnTo>
                      <a:pt x="261" y="855"/>
                    </a:lnTo>
                    <a:lnTo>
                      <a:pt x="266" y="855"/>
                    </a:lnTo>
                    <a:lnTo>
                      <a:pt x="266" y="851"/>
                    </a:lnTo>
                    <a:lnTo>
                      <a:pt x="270" y="851"/>
                    </a:lnTo>
                    <a:lnTo>
                      <a:pt x="275" y="851"/>
                    </a:lnTo>
                    <a:lnTo>
                      <a:pt x="279" y="851"/>
                    </a:lnTo>
                    <a:lnTo>
                      <a:pt x="284" y="841"/>
                    </a:lnTo>
                    <a:lnTo>
                      <a:pt x="288" y="837"/>
                    </a:lnTo>
                    <a:lnTo>
                      <a:pt x="288" y="832"/>
                    </a:lnTo>
                    <a:lnTo>
                      <a:pt x="288" y="828"/>
                    </a:lnTo>
                    <a:lnTo>
                      <a:pt x="284" y="828"/>
                    </a:lnTo>
                    <a:lnTo>
                      <a:pt x="279" y="819"/>
                    </a:lnTo>
                    <a:lnTo>
                      <a:pt x="279" y="814"/>
                    </a:lnTo>
                    <a:lnTo>
                      <a:pt x="279" y="809"/>
                    </a:lnTo>
                    <a:lnTo>
                      <a:pt x="275" y="809"/>
                    </a:lnTo>
                    <a:lnTo>
                      <a:pt x="275" y="805"/>
                    </a:lnTo>
                    <a:lnTo>
                      <a:pt x="266" y="796"/>
                    </a:lnTo>
                    <a:lnTo>
                      <a:pt x="266" y="791"/>
                    </a:lnTo>
                    <a:lnTo>
                      <a:pt x="261" y="787"/>
                    </a:lnTo>
                    <a:lnTo>
                      <a:pt x="256" y="787"/>
                    </a:lnTo>
                    <a:lnTo>
                      <a:pt x="252" y="787"/>
                    </a:lnTo>
                    <a:lnTo>
                      <a:pt x="247" y="787"/>
                    </a:lnTo>
                    <a:lnTo>
                      <a:pt x="243" y="782"/>
                    </a:lnTo>
                    <a:lnTo>
                      <a:pt x="243" y="782"/>
                    </a:lnTo>
                    <a:lnTo>
                      <a:pt x="243" y="777"/>
                    </a:lnTo>
                    <a:lnTo>
                      <a:pt x="238" y="773"/>
                    </a:lnTo>
                    <a:lnTo>
                      <a:pt x="234" y="768"/>
                    </a:lnTo>
                    <a:lnTo>
                      <a:pt x="234" y="764"/>
                    </a:lnTo>
                    <a:lnTo>
                      <a:pt x="234" y="764"/>
                    </a:lnTo>
                    <a:lnTo>
                      <a:pt x="238" y="755"/>
                    </a:lnTo>
                    <a:lnTo>
                      <a:pt x="238" y="750"/>
                    </a:lnTo>
                    <a:lnTo>
                      <a:pt x="238" y="745"/>
                    </a:lnTo>
                    <a:lnTo>
                      <a:pt x="243" y="741"/>
                    </a:lnTo>
                    <a:lnTo>
                      <a:pt x="243" y="741"/>
                    </a:lnTo>
                    <a:lnTo>
                      <a:pt x="243" y="736"/>
                    </a:lnTo>
                    <a:lnTo>
                      <a:pt x="247" y="736"/>
                    </a:lnTo>
                    <a:lnTo>
                      <a:pt x="247" y="732"/>
                    </a:lnTo>
                    <a:lnTo>
                      <a:pt x="252" y="732"/>
                    </a:lnTo>
                    <a:lnTo>
                      <a:pt x="252" y="727"/>
                    </a:lnTo>
                    <a:lnTo>
                      <a:pt x="256" y="723"/>
                    </a:lnTo>
                    <a:lnTo>
                      <a:pt x="256" y="718"/>
                    </a:lnTo>
                    <a:lnTo>
                      <a:pt x="256" y="713"/>
                    </a:lnTo>
                    <a:lnTo>
                      <a:pt x="256" y="704"/>
                    </a:lnTo>
                    <a:lnTo>
                      <a:pt x="256" y="700"/>
                    </a:lnTo>
                    <a:close/>
                  </a:path>
                </a:pathLst>
              </a:custGeom>
              <a:grpFill/>
              <a:ln w="9525" cap="flat" cmpd="sng" algn="ctr">
                <a:solidFill>
                  <a:srgbClr val="FFFFFF"/>
                </a:solidFill>
                <a:prstDash val="solid"/>
              </a:ln>
              <a:effectLst/>
            </p:spPr>
            <p:txBody>
              <a:bodyPr lIns="0" tIns="0" rIns="0" bIns="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cs typeface="Arial" pitchFamily="34" charset="0"/>
                  </a:rPr>
                  <a:t>Borno</a:t>
                </a:r>
              </a:p>
            </p:txBody>
          </p:sp>
          <p:sp>
            <p:nvSpPr>
              <p:cNvPr id="224" name="Freeform 51">
                <a:extLst>
                  <a:ext uri="{FF2B5EF4-FFF2-40B4-BE49-F238E27FC236}">
                    <a16:creationId xmlns:a16="http://schemas.microsoft.com/office/drawing/2014/main" id="{5070E221-8E3D-458A-A7E8-8082FC775AE2}"/>
                  </a:ext>
                </a:extLst>
              </p:cNvPr>
              <p:cNvSpPr>
                <a:spLocks noEditPoints="1"/>
              </p:cNvSpPr>
              <p:nvPr>
                <p:custDataLst>
                  <p:tags r:id="rId41"/>
                </p:custDataLst>
              </p:nvPr>
            </p:nvSpPr>
            <p:spPr bwMode="auto">
              <a:xfrm>
                <a:off x="1681361" y="4976902"/>
                <a:ext cx="1901599" cy="1120275"/>
              </a:xfrm>
              <a:custGeom>
                <a:avLst/>
                <a:gdLst/>
                <a:ahLst/>
                <a:cxnLst>
                  <a:cxn ang="0">
                    <a:pos x="1248" y="69"/>
                  </a:cxn>
                  <a:cxn ang="0">
                    <a:pos x="1275" y="96"/>
                  </a:cxn>
                  <a:cxn ang="0">
                    <a:pos x="1307" y="83"/>
                  </a:cxn>
                  <a:cxn ang="0">
                    <a:pos x="1371" y="83"/>
                  </a:cxn>
                  <a:cxn ang="0">
                    <a:pos x="1389" y="119"/>
                  </a:cxn>
                  <a:cxn ang="0">
                    <a:pos x="1426" y="156"/>
                  </a:cxn>
                  <a:cxn ang="0">
                    <a:pos x="1412" y="179"/>
                  </a:cxn>
                  <a:cxn ang="0">
                    <a:pos x="1398" y="215"/>
                  </a:cxn>
                  <a:cxn ang="0">
                    <a:pos x="1362" y="215"/>
                  </a:cxn>
                  <a:cxn ang="0">
                    <a:pos x="1357" y="229"/>
                  </a:cxn>
                  <a:cxn ang="0">
                    <a:pos x="1344" y="252"/>
                  </a:cxn>
                  <a:cxn ang="0">
                    <a:pos x="1298" y="284"/>
                  </a:cxn>
                  <a:cxn ang="0">
                    <a:pos x="1252" y="339"/>
                  </a:cxn>
                  <a:cxn ang="0">
                    <a:pos x="1193" y="389"/>
                  </a:cxn>
                  <a:cxn ang="0">
                    <a:pos x="1188" y="412"/>
                  </a:cxn>
                  <a:cxn ang="0">
                    <a:pos x="1170" y="444"/>
                  </a:cxn>
                  <a:cxn ang="0">
                    <a:pos x="1174" y="457"/>
                  </a:cxn>
                  <a:cxn ang="0">
                    <a:pos x="1202" y="489"/>
                  </a:cxn>
                  <a:cxn ang="0">
                    <a:pos x="1184" y="535"/>
                  </a:cxn>
                  <a:cxn ang="0">
                    <a:pos x="1174" y="567"/>
                  </a:cxn>
                  <a:cxn ang="0">
                    <a:pos x="1165" y="640"/>
                  </a:cxn>
                  <a:cxn ang="0">
                    <a:pos x="1147" y="672"/>
                  </a:cxn>
                  <a:cxn ang="0">
                    <a:pos x="1129" y="695"/>
                  </a:cxn>
                  <a:cxn ang="0">
                    <a:pos x="1115" y="713"/>
                  </a:cxn>
                  <a:cxn ang="0">
                    <a:pos x="1115" y="718"/>
                  </a:cxn>
                  <a:cxn ang="0">
                    <a:pos x="1101" y="736"/>
                  </a:cxn>
                  <a:cxn ang="0">
                    <a:pos x="1088" y="759"/>
                  </a:cxn>
                  <a:cxn ang="0">
                    <a:pos x="1083" y="787"/>
                  </a:cxn>
                  <a:cxn ang="0">
                    <a:pos x="1060" y="800"/>
                  </a:cxn>
                  <a:cxn ang="0">
                    <a:pos x="1051" y="828"/>
                  </a:cxn>
                  <a:cxn ang="0">
                    <a:pos x="1037" y="819"/>
                  </a:cxn>
                  <a:cxn ang="0">
                    <a:pos x="1028" y="814"/>
                  </a:cxn>
                  <a:cxn ang="0">
                    <a:pos x="1005" y="805"/>
                  </a:cxn>
                  <a:cxn ang="0">
                    <a:pos x="1001" y="796"/>
                  </a:cxn>
                  <a:cxn ang="0">
                    <a:pos x="982" y="777"/>
                  </a:cxn>
                  <a:cxn ang="0">
                    <a:pos x="941" y="727"/>
                  </a:cxn>
                  <a:cxn ang="0">
                    <a:pos x="882" y="649"/>
                  </a:cxn>
                  <a:cxn ang="0">
                    <a:pos x="818" y="608"/>
                  </a:cxn>
                  <a:cxn ang="0">
                    <a:pos x="800" y="585"/>
                  </a:cxn>
                  <a:cxn ang="0">
                    <a:pos x="827" y="572"/>
                  </a:cxn>
                  <a:cxn ang="0">
                    <a:pos x="818" y="503"/>
                  </a:cxn>
                  <a:cxn ang="0">
                    <a:pos x="818" y="425"/>
                  </a:cxn>
                  <a:cxn ang="0">
                    <a:pos x="841" y="371"/>
                  </a:cxn>
                  <a:cxn ang="0">
                    <a:pos x="877" y="329"/>
                  </a:cxn>
                  <a:cxn ang="0">
                    <a:pos x="918" y="357"/>
                  </a:cxn>
                  <a:cxn ang="0">
                    <a:pos x="955" y="329"/>
                  </a:cxn>
                  <a:cxn ang="0">
                    <a:pos x="978" y="311"/>
                  </a:cxn>
                  <a:cxn ang="0">
                    <a:pos x="982" y="279"/>
                  </a:cxn>
                  <a:cxn ang="0">
                    <a:pos x="1010" y="247"/>
                  </a:cxn>
                  <a:cxn ang="0">
                    <a:pos x="1037" y="220"/>
                  </a:cxn>
                  <a:cxn ang="0">
                    <a:pos x="1060" y="197"/>
                  </a:cxn>
                  <a:cxn ang="0">
                    <a:pos x="1037" y="169"/>
                  </a:cxn>
                  <a:cxn ang="0">
                    <a:pos x="1019" y="133"/>
                  </a:cxn>
                  <a:cxn ang="0">
                    <a:pos x="1014" y="87"/>
                  </a:cxn>
                  <a:cxn ang="0">
                    <a:pos x="1056" y="69"/>
                  </a:cxn>
                  <a:cxn ang="0">
                    <a:pos x="1106" y="64"/>
                  </a:cxn>
                  <a:cxn ang="0">
                    <a:pos x="1101" y="28"/>
                  </a:cxn>
                  <a:cxn ang="0">
                    <a:pos x="1097" y="14"/>
                  </a:cxn>
                  <a:cxn ang="0">
                    <a:pos x="1129" y="5"/>
                  </a:cxn>
                  <a:cxn ang="0">
                    <a:pos x="1211" y="23"/>
                  </a:cxn>
                  <a:cxn ang="0">
                    <a:pos x="1252" y="37"/>
                  </a:cxn>
                  <a:cxn ang="0">
                    <a:pos x="1248" y="69"/>
                  </a:cxn>
                </a:cxnLst>
                <a:rect l="0" t="0" r="r" b="b"/>
                <a:pathLst>
                  <a:path w="1426" h="905">
                    <a:moveTo>
                      <a:pt x="4" y="905"/>
                    </a:moveTo>
                    <a:lnTo>
                      <a:pt x="4" y="905"/>
                    </a:lnTo>
                    <a:lnTo>
                      <a:pt x="0" y="901"/>
                    </a:lnTo>
                    <a:lnTo>
                      <a:pt x="0" y="901"/>
                    </a:lnTo>
                    <a:lnTo>
                      <a:pt x="0" y="901"/>
                    </a:lnTo>
                    <a:lnTo>
                      <a:pt x="4" y="901"/>
                    </a:lnTo>
                    <a:lnTo>
                      <a:pt x="4" y="905"/>
                    </a:lnTo>
                    <a:lnTo>
                      <a:pt x="4" y="905"/>
                    </a:lnTo>
                    <a:close/>
                    <a:moveTo>
                      <a:pt x="1248" y="69"/>
                    </a:moveTo>
                    <a:lnTo>
                      <a:pt x="1248" y="73"/>
                    </a:lnTo>
                    <a:lnTo>
                      <a:pt x="1252" y="73"/>
                    </a:lnTo>
                    <a:lnTo>
                      <a:pt x="1257" y="83"/>
                    </a:lnTo>
                    <a:lnTo>
                      <a:pt x="1257" y="83"/>
                    </a:lnTo>
                    <a:lnTo>
                      <a:pt x="1261" y="83"/>
                    </a:lnTo>
                    <a:lnTo>
                      <a:pt x="1266" y="87"/>
                    </a:lnTo>
                    <a:lnTo>
                      <a:pt x="1266" y="87"/>
                    </a:lnTo>
                    <a:lnTo>
                      <a:pt x="1275" y="92"/>
                    </a:lnTo>
                    <a:lnTo>
                      <a:pt x="1275" y="96"/>
                    </a:lnTo>
                    <a:lnTo>
                      <a:pt x="1280" y="96"/>
                    </a:lnTo>
                    <a:lnTo>
                      <a:pt x="1280" y="96"/>
                    </a:lnTo>
                    <a:lnTo>
                      <a:pt x="1284" y="96"/>
                    </a:lnTo>
                    <a:lnTo>
                      <a:pt x="1289" y="96"/>
                    </a:lnTo>
                    <a:lnTo>
                      <a:pt x="1293" y="92"/>
                    </a:lnTo>
                    <a:lnTo>
                      <a:pt x="1298" y="87"/>
                    </a:lnTo>
                    <a:lnTo>
                      <a:pt x="1302" y="87"/>
                    </a:lnTo>
                    <a:lnTo>
                      <a:pt x="1302" y="83"/>
                    </a:lnTo>
                    <a:lnTo>
                      <a:pt x="1307" y="83"/>
                    </a:lnTo>
                    <a:lnTo>
                      <a:pt x="1312" y="83"/>
                    </a:lnTo>
                    <a:lnTo>
                      <a:pt x="1321" y="78"/>
                    </a:lnTo>
                    <a:lnTo>
                      <a:pt x="1325" y="78"/>
                    </a:lnTo>
                    <a:lnTo>
                      <a:pt x="1334" y="78"/>
                    </a:lnTo>
                    <a:lnTo>
                      <a:pt x="1348" y="78"/>
                    </a:lnTo>
                    <a:lnTo>
                      <a:pt x="1353" y="78"/>
                    </a:lnTo>
                    <a:lnTo>
                      <a:pt x="1357" y="78"/>
                    </a:lnTo>
                    <a:lnTo>
                      <a:pt x="1366" y="78"/>
                    </a:lnTo>
                    <a:lnTo>
                      <a:pt x="1371" y="83"/>
                    </a:lnTo>
                    <a:lnTo>
                      <a:pt x="1376" y="87"/>
                    </a:lnTo>
                    <a:lnTo>
                      <a:pt x="1380" y="92"/>
                    </a:lnTo>
                    <a:lnTo>
                      <a:pt x="1380" y="96"/>
                    </a:lnTo>
                    <a:lnTo>
                      <a:pt x="1380" y="101"/>
                    </a:lnTo>
                    <a:lnTo>
                      <a:pt x="1385" y="101"/>
                    </a:lnTo>
                    <a:lnTo>
                      <a:pt x="1385" y="105"/>
                    </a:lnTo>
                    <a:lnTo>
                      <a:pt x="1385" y="110"/>
                    </a:lnTo>
                    <a:lnTo>
                      <a:pt x="1389" y="110"/>
                    </a:lnTo>
                    <a:lnTo>
                      <a:pt x="1389" y="119"/>
                    </a:lnTo>
                    <a:lnTo>
                      <a:pt x="1394" y="124"/>
                    </a:lnTo>
                    <a:lnTo>
                      <a:pt x="1398" y="128"/>
                    </a:lnTo>
                    <a:lnTo>
                      <a:pt x="1403" y="133"/>
                    </a:lnTo>
                    <a:lnTo>
                      <a:pt x="1412" y="133"/>
                    </a:lnTo>
                    <a:lnTo>
                      <a:pt x="1417" y="137"/>
                    </a:lnTo>
                    <a:lnTo>
                      <a:pt x="1421" y="142"/>
                    </a:lnTo>
                    <a:lnTo>
                      <a:pt x="1426" y="147"/>
                    </a:lnTo>
                    <a:lnTo>
                      <a:pt x="1426" y="151"/>
                    </a:lnTo>
                    <a:lnTo>
                      <a:pt x="1426" y="156"/>
                    </a:lnTo>
                    <a:lnTo>
                      <a:pt x="1426" y="165"/>
                    </a:lnTo>
                    <a:lnTo>
                      <a:pt x="1417" y="165"/>
                    </a:lnTo>
                    <a:lnTo>
                      <a:pt x="1412" y="165"/>
                    </a:lnTo>
                    <a:lnTo>
                      <a:pt x="1412" y="169"/>
                    </a:lnTo>
                    <a:lnTo>
                      <a:pt x="1412" y="169"/>
                    </a:lnTo>
                    <a:lnTo>
                      <a:pt x="1412" y="174"/>
                    </a:lnTo>
                    <a:lnTo>
                      <a:pt x="1408" y="174"/>
                    </a:lnTo>
                    <a:lnTo>
                      <a:pt x="1412" y="179"/>
                    </a:lnTo>
                    <a:lnTo>
                      <a:pt x="1412" y="179"/>
                    </a:lnTo>
                    <a:lnTo>
                      <a:pt x="1408" y="188"/>
                    </a:lnTo>
                    <a:lnTo>
                      <a:pt x="1408" y="192"/>
                    </a:lnTo>
                    <a:lnTo>
                      <a:pt x="1408" y="192"/>
                    </a:lnTo>
                    <a:lnTo>
                      <a:pt x="1403" y="192"/>
                    </a:lnTo>
                    <a:lnTo>
                      <a:pt x="1403" y="192"/>
                    </a:lnTo>
                    <a:lnTo>
                      <a:pt x="1403" y="197"/>
                    </a:lnTo>
                    <a:lnTo>
                      <a:pt x="1403" y="197"/>
                    </a:lnTo>
                    <a:lnTo>
                      <a:pt x="1398" y="215"/>
                    </a:lnTo>
                    <a:lnTo>
                      <a:pt x="1398" y="215"/>
                    </a:lnTo>
                    <a:lnTo>
                      <a:pt x="1385" y="211"/>
                    </a:lnTo>
                    <a:lnTo>
                      <a:pt x="1380" y="206"/>
                    </a:lnTo>
                    <a:lnTo>
                      <a:pt x="1380" y="206"/>
                    </a:lnTo>
                    <a:lnTo>
                      <a:pt x="1376" y="206"/>
                    </a:lnTo>
                    <a:lnTo>
                      <a:pt x="1371" y="201"/>
                    </a:lnTo>
                    <a:lnTo>
                      <a:pt x="1366" y="201"/>
                    </a:lnTo>
                    <a:lnTo>
                      <a:pt x="1366" y="206"/>
                    </a:lnTo>
                    <a:lnTo>
                      <a:pt x="1366" y="211"/>
                    </a:lnTo>
                    <a:lnTo>
                      <a:pt x="1362" y="215"/>
                    </a:lnTo>
                    <a:lnTo>
                      <a:pt x="1366" y="215"/>
                    </a:lnTo>
                    <a:lnTo>
                      <a:pt x="1366" y="220"/>
                    </a:lnTo>
                    <a:lnTo>
                      <a:pt x="1366" y="220"/>
                    </a:lnTo>
                    <a:lnTo>
                      <a:pt x="1366" y="224"/>
                    </a:lnTo>
                    <a:lnTo>
                      <a:pt x="1362" y="224"/>
                    </a:lnTo>
                    <a:lnTo>
                      <a:pt x="1362" y="224"/>
                    </a:lnTo>
                    <a:lnTo>
                      <a:pt x="1362" y="229"/>
                    </a:lnTo>
                    <a:lnTo>
                      <a:pt x="1362" y="229"/>
                    </a:lnTo>
                    <a:lnTo>
                      <a:pt x="1357" y="229"/>
                    </a:lnTo>
                    <a:lnTo>
                      <a:pt x="1357" y="229"/>
                    </a:lnTo>
                    <a:lnTo>
                      <a:pt x="1362" y="229"/>
                    </a:lnTo>
                    <a:lnTo>
                      <a:pt x="1362" y="229"/>
                    </a:lnTo>
                    <a:lnTo>
                      <a:pt x="1357" y="233"/>
                    </a:lnTo>
                    <a:lnTo>
                      <a:pt x="1357" y="233"/>
                    </a:lnTo>
                    <a:lnTo>
                      <a:pt x="1353" y="238"/>
                    </a:lnTo>
                    <a:lnTo>
                      <a:pt x="1348" y="247"/>
                    </a:lnTo>
                    <a:lnTo>
                      <a:pt x="1344" y="252"/>
                    </a:lnTo>
                    <a:lnTo>
                      <a:pt x="1344" y="252"/>
                    </a:lnTo>
                    <a:lnTo>
                      <a:pt x="1334" y="265"/>
                    </a:lnTo>
                    <a:lnTo>
                      <a:pt x="1334" y="265"/>
                    </a:lnTo>
                    <a:lnTo>
                      <a:pt x="1330" y="265"/>
                    </a:lnTo>
                    <a:lnTo>
                      <a:pt x="1325" y="270"/>
                    </a:lnTo>
                    <a:lnTo>
                      <a:pt x="1321" y="270"/>
                    </a:lnTo>
                    <a:lnTo>
                      <a:pt x="1316" y="270"/>
                    </a:lnTo>
                    <a:lnTo>
                      <a:pt x="1307" y="279"/>
                    </a:lnTo>
                    <a:lnTo>
                      <a:pt x="1302" y="284"/>
                    </a:lnTo>
                    <a:lnTo>
                      <a:pt x="1298" y="284"/>
                    </a:lnTo>
                    <a:lnTo>
                      <a:pt x="1298" y="293"/>
                    </a:lnTo>
                    <a:lnTo>
                      <a:pt x="1293" y="302"/>
                    </a:lnTo>
                    <a:lnTo>
                      <a:pt x="1289" y="307"/>
                    </a:lnTo>
                    <a:lnTo>
                      <a:pt x="1275" y="316"/>
                    </a:lnTo>
                    <a:lnTo>
                      <a:pt x="1275" y="316"/>
                    </a:lnTo>
                    <a:lnTo>
                      <a:pt x="1266" y="329"/>
                    </a:lnTo>
                    <a:lnTo>
                      <a:pt x="1261" y="329"/>
                    </a:lnTo>
                    <a:lnTo>
                      <a:pt x="1252" y="339"/>
                    </a:lnTo>
                    <a:lnTo>
                      <a:pt x="1252" y="339"/>
                    </a:lnTo>
                    <a:lnTo>
                      <a:pt x="1238" y="352"/>
                    </a:lnTo>
                    <a:lnTo>
                      <a:pt x="1234" y="352"/>
                    </a:lnTo>
                    <a:lnTo>
                      <a:pt x="1229" y="357"/>
                    </a:lnTo>
                    <a:lnTo>
                      <a:pt x="1229" y="357"/>
                    </a:lnTo>
                    <a:lnTo>
                      <a:pt x="1225" y="361"/>
                    </a:lnTo>
                    <a:lnTo>
                      <a:pt x="1211" y="371"/>
                    </a:lnTo>
                    <a:lnTo>
                      <a:pt x="1202" y="375"/>
                    </a:lnTo>
                    <a:lnTo>
                      <a:pt x="1202" y="375"/>
                    </a:lnTo>
                    <a:lnTo>
                      <a:pt x="1193" y="389"/>
                    </a:lnTo>
                    <a:lnTo>
                      <a:pt x="1184" y="393"/>
                    </a:lnTo>
                    <a:lnTo>
                      <a:pt x="1179" y="398"/>
                    </a:lnTo>
                    <a:lnTo>
                      <a:pt x="1174" y="403"/>
                    </a:lnTo>
                    <a:lnTo>
                      <a:pt x="1174" y="403"/>
                    </a:lnTo>
                    <a:lnTo>
                      <a:pt x="1179" y="407"/>
                    </a:lnTo>
                    <a:lnTo>
                      <a:pt x="1179" y="407"/>
                    </a:lnTo>
                    <a:lnTo>
                      <a:pt x="1184" y="412"/>
                    </a:lnTo>
                    <a:lnTo>
                      <a:pt x="1188" y="412"/>
                    </a:lnTo>
                    <a:lnTo>
                      <a:pt x="1188" y="412"/>
                    </a:lnTo>
                    <a:lnTo>
                      <a:pt x="1188" y="416"/>
                    </a:lnTo>
                    <a:lnTo>
                      <a:pt x="1184" y="416"/>
                    </a:lnTo>
                    <a:lnTo>
                      <a:pt x="1179" y="421"/>
                    </a:lnTo>
                    <a:lnTo>
                      <a:pt x="1179" y="421"/>
                    </a:lnTo>
                    <a:lnTo>
                      <a:pt x="1179" y="425"/>
                    </a:lnTo>
                    <a:lnTo>
                      <a:pt x="1184" y="425"/>
                    </a:lnTo>
                    <a:lnTo>
                      <a:pt x="1184" y="430"/>
                    </a:lnTo>
                    <a:lnTo>
                      <a:pt x="1179" y="435"/>
                    </a:lnTo>
                    <a:lnTo>
                      <a:pt x="1170" y="444"/>
                    </a:lnTo>
                    <a:lnTo>
                      <a:pt x="1170" y="444"/>
                    </a:lnTo>
                    <a:lnTo>
                      <a:pt x="1165" y="439"/>
                    </a:lnTo>
                    <a:lnTo>
                      <a:pt x="1165" y="444"/>
                    </a:lnTo>
                    <a:lnTo>
                      <a:pt x="1165" y="444"/>
                    </a:lnTo>
                    <a:lnTo>
                      <a:pt x="1170" y="448"/>
                    </a:lnTo>
                    <a:lnTo>
                      <a:pt x="1170" y="453"/>
                    </a:lnTo>
                    <a:lnTo>
                      <a:pt x="1170" y="453"/>
                    </a:lnTo>
                    <a:lnTo>
                      <a:pt x="1174" y="457"/>
                    </a:lnTo>
                    <a:lnTo>
                      <a:pt x="1174" y="457"/>
                    </a:lnTo>
                    <a:lnTo>
                      <a:pt x="1179" y="462"/>
                    </a:lnTo>
                    <a:lnTo>
                      <a:pt x="1184" y="467"/>
                    </a:lnTo>
                    <a:lnTo>
                      <a:pt x="1184" y="471"/>
                    </a:lnTo>
                    <a:lnTo>
                      <a:pt x="1188" y="476"/>
                    </a:lnTo>
                    <a:lnTo>
                      <a:pt x="1193" y="476"/>
                    </a:lnTo>
                    <a:lnTo>
                      <a:pt x="1197" y="480"/>
                    </a:lnTo>
                    <a:lnTo>
                      <a:pt x="1197" y="480"/>
                    </a:lnTo>
                    <a:lnTo>
                      <a:pt x="1197" y="485"/>
                    </a:lnTo>
                    <a:lnTo>
                      <a:pt x="1202" y="489"/>
                    </a:lnTo>
                    <a:lnTo>
                      <a:pt x="1202" y="494"/>
                    </a:lnTo>
                    <a:lnTo>
                      <a:pt x="1202" y="499"/>
                    </a:lnTo>
                    <a:lnTo>
                      <a:pt x="1197" y="503"/>
                    </a:lnTo>
                    <a:lnTo>
                      <a:pt x="1193" y="508"/>
                    </a:lnTo>
                    <a:lnTo>
                      <a:pt x="1188" y="517"/>
                    </a:lnTo>
                    <a:lnTo>
                      <a:pt x="1188" y="521"/>
                    </a:lnTo>
                    <a:lnTo>
                      <a:pt x="1184" y="521"/>
                    </a:lnTo>
                    <a:lnTo>
                      <a:pt x="1184" y="526"/>
                    </a:lnTo>
                    <a:lnTo>
                      <a:pt x="1184" y="535"/>
                    </a:lnTo>
                    <a:lnTo>
                      <a:pt x="1184" y="535"/>
                    </a:lnTo>
                    <a:lnTo>
                      <a:pt x="1179" y="540"/>
                    </a:lnTo>
                    <a:lnTo>
                      <a:pt x="1174" y="544"/>
                    </a:lnTo>
                    <a:lnTo>
                      <a:pt x="1174" y="549"/>
                    </a:lnTo>
                    <a:lnTo>
                      <a:pt x="1174" y="553"/>
                    </a:lnTo>
                    <a:lnTo>
                      <a:pt x="1174" y="558"/>
                    </a:lnTo>
                    <a:lnTo>
                      <a:pt x="1174" y="558"/>
                    </a:lnTo>
                    <a:lnTo>
                      <a:pt x="1174" y="563"/>
                    </a:lnTo>
                    <a:lnTo>
                      <a:pt x="1174" y="567"/>
                    </a:lnTo>
                    <a:lnTo>
                      <a:pt x="1174" y="572"/>
                    </a:lnTo>
                    <a:lnTo>
                      <a:pt x="1170" y="585"/>
                    </a:lnTo>
                    <a:lnTo>
                      <a:pt x="1170" y="595"/>
                    </a:lnTo>
                    <a:lnTo>
                      <a:pt x="1165" y="604"/>
                    </a:lnTo>
                    <a:lnTo>
                      <a:pt x="1165" y="613"/>
                    </a:lnTo>
                    <a:lnTo>
                      <a:pt x="1165" y="622"/>
                    </a:lnTo>
                    <a:lnTo>
                      <a:pt x="1165" y="627"/>
                    </a:lnTo>
                    <a:lnTo>
                      <a:pt x="1165" y="631"/>
                    </a:lnTo>
                    <a:lnTo>
                      <a:pt x="1165" y="640"/>
                    </a:lnTo>
                    <a:lnTo>
                      <a:pt x="1165" y="645"/>
                    </a:lnTo>
                    <a:lnTo>
                      <a:pt x="1161" y="649"/>
                    </a:lnTo>
                    <a:lnTo>
                      <a:pt x="1161" y="654"/>
                    </a:lnTo>
                    <a:lnTo>
                      <a:pt x="1156" y="659"/>
                    </a:lnTo>
                    <a:lnTo>
                      <a:pt x="1156" y="659"/>
                    </a:lnTo>
                    <a:lnTo>
                      <a:pt x="1156" y="659"/>
                    </a:lnTo>
                    <a:lnTo>
                      <a:pt x="1156" y="663"/>
                    </a:lnTo>
                    <a:lnTo>
                      <a:pt x="1152" y="668"/>
                    </a:lnTo>
                    <a:lnTo>
                      <a:pt x="1147" y="672"/>
                    </a:lnTo>
                    <a:lnTo>
                      <a:pt x="1138" y="672"/>
                    </a:lnTo>
                    <a:lnTo>
                      <a:pt x="1138" y="677"/>
                    </a:lnTo>
                    <a:lnTo>
                      <a:pt x="1138" y="677"/>
                    </a:lnTo>
                    <a:lnTo>
                      <a:pt x="1138" y="681"/>
                    </a:lnTo>
                    <a:lnTo>
                      <a:pt x="1138" y="681"/>
                    </a:lnTo>
                    <a:lnTo>
                      <a:pt x="1133" y="681"/>
                    </a:lnTo>
                    <a:lnTo>
                      <a:pt x="1129" y="686"/>
                    </a:lnTo>
                    <a:lnTo>
                      <a:pt x="1129" y="691"/>
                    </a:lnTo>
                    <a:lnTo>
                      <a:pt x="1129" y="695"/>
                    </a:lnTo>
                    <a:lnTo>
                      <a:pt x="1124" y="695"/>
                    </a:lnTo>
                    <a:lnTo>
                      <a:pt x="1129" y="700"/>
                    </a:lnTo>
                    <a:lnTo>
                      <a:pt x="1124" y="700"/>
                    </a:lnTo>
                    <a:lnTo>
                      <a:pt x="1124" y="700"/>
                    </a:lnTo>
                    <a:lnTo>
                      <a:pt x="1124" y="704"/>
                    </a:lnTo>
                    <a:lnTo>
                      <a:pt x="1124" y="704"/>
                    </a:lnTo>
                    <a:lnTo>
                      <a:pt x="1124" y="704"/>
                    </a:lnTo>
                    <a:lnTo>
                      <a:pt x="1120" y="704"/>
                    </a:lnTo>
                    <a:lnTo>
                      <a:pt x="1115" y="713"/>
                    </a:lnTo>
                    <a:lnTo>
                      <a:pt x="1115" y="713"/>
                    </a:lnTo>
                    <a:lnTo>
                      <a:pt x="1115" y="713"/>
                    </a:lnTo>
                    <a:lnTo>
                      <a:pt x="1120" y="713"/>
                    </a:lnTo>
                    <a:lnTo>
                      <a:pt x="1124" y="718"/>
                    </a:lnTo>
                    <a:lnTo>
                      <a:pt x="1124" y="718"/>
                    </a:lnTo>
                    <a:lnTo>
                      <a:pt x="1120" y="718"/>
                    </a:lnTo>
                    <a:lnTo>
                      <a:pt x="1120" y="718"/>
                    </a:lnTo>
                    <a:lnTo>
                      <a:pt x="1120" y="718"/>
                    </a:lnTo>
                    <a:lnTo>
                      <a:pt x="1115" y="718"/>
                    </a:lnTo>
                    <a:lnTo>
                      <a:pt x="1115" y="723"/>
                    </a:lnTo>
                    <a:lnTo>
                      <a:pt x="1115" y="723"/>
                    </a:lnTo>
                    <a:lnTo>
                      <a:pt x="1110" y="727"/>
                    </a:lnTo>
                    <a:lnTo>
                      <a:pt x="1110" y="727"/>
                    </a:lnTo>
                    <a:lnTo>
                      <a:pt x="1110" y="732"/>
                    </a:lnTo>
                    <a:lnTo>
                      <a:pt x="1110" y="732"/>
                    </a:lnTo>
                    <a:lnTo>
                      <a:pt x="1106" y="736"/>
                    </a:lnTo>
                    <a:lnTo>
                      <a:pt x="1106" y="732"/>
                    </a:lnTo>
                    <a:lnTo>
                      <a:pt x="1101" y="736"/>
                    </a:lnTo>
                    <a:lnTo>
                      <a:pt x="1101" y="736"/>
                    </a:lnTo>
                    <a:lnTo>
                      <a:pt x="1106" y="741"/>
                    </a:lnTo>
                    <a:lnTo>
                      <a:pt x="1106" y="745"/>
                    </a:lnTo>
                    <a:lnTo>
                      <a:pt x="1101" y="745"/>
                    </a:lnTo>
                    <a:lnTo>
                      <a:pt x="1097" y="745"/>
                    </a:lnTo>
                    <a:lnTo>
                      <a:pt x="1092" y="750"/>
                    </a:lnTo>
                    <a:lnTo>
                      <a:pt x="1088" y="755"/>
                    </a:lnTo>
                    <a:lnTo>
                      <a:pt x="1088" y="755"/>
                    </a:lnTo>
                    <a:lnTo>
                      <a:pt x="1088" y="759"/>
                    </a:lnTo>
                    <a:lnTo>
                      <a:pt x="1088" y="759"/>
                    </a:lnTo>
                    <a:lnTo>
                      <a:pt x="1088" y="764"/>
                    </a:lnTo>
                    <a:lnTo>
                      <a:pt x="1088" y="764"/>
                    </a:lnTo>
                    <a:lnTo>
                      <a:pt x="1092" y="768"/>
                    </a:lnTo>
                    <a:lnTo>
                      <a:pt x="1097" y="773"/>
                    </a:lnTo>
                    <a:lnTo>
                      <a:pt x="1097" y="777"/>
                    </a:lnTo>
                    <a:lnTo>
                      <a:pt x="1092" y="782"/>
                    </a:lnTo>
                    <a:lnTo>
                      <a:pt x="1083" y="787"/>
                    </a:lnTo>
                    <a:lnTo>
                      <a:pt x="1083" y="787"/>
                    </a:lnTo>
                    <a:lnTo>
                      <a:pt x="1078" y="787"/>
                    </a:lnTo>
                    <a:lnTo>
                      <a:pt x="1074" y="787"/>
                    </a:lnTo>
                    <a:lnTo>
                      <a:pt x="1074" y="782"/>
                    </a:lnTo>
                    <a:lnTo>
                      <a:pt x="1069" y="782"/>
                    </a:lnTo>
                    <a:lnTo>
                      <a:pt x="1069" y="782"/>
                    </a:lnTo>
                    <a:lnTo>
                      <a:pt x="1065" y="787"/>
                    </a:lnTo>
                    <a:lnTo>
                      <a:pt x="1065" y="787"/>
                    </a:lnTo>
                    <a:lnTo>
                      <a:pt x="1060" y="791"/>
                    </a:lnTo>
                    <a:lnTo>
                      <a:pt x="1060" y="800"/>
                    </a:lnTo>
                    <a:lnTo>
                      <a:pt x="1056" y="809"/>
                    </a:lnTo>
                    <a:lnTo>
                      <a:pt x="1056" y="819"/>
                    </a:lnTo>
                    <a:lnTo>
                      <a:pt x="1060" y="819"/>
                    </a:lnTo>
                    <a:lnTo>
                      <a:pt x="1060" y="823"/>
                    </a:lnTo>
                    <a:lnTo>
                      <a:pt x="1060" y="823"/>
                    </a:lnTo>
                    <a:lnTo>
                      <a:pt x="1060" y="823"/>
                    </a:lnTo>
                    <a:lnTo>
                      <a:pt x="1056" y="823"/>
                    </a:lnTo>
                    <a:lnTo>
                      <a:pt x="1051" y="823"/>
                    </a:lnTo>
                    <a:lnTo>
                      <a:pt x="1051" y="828"/>
                    </a:lnTo>
                    <a:lnTo>
                      <a:pt x="1046" y="828"/>
                    </a:lnTo>
                    <a:lnTo>
                      <a:pt x="1042" y="832"/>
                    </a:lnTo>
                    <a:lnTo>
                      <a:pt x="1042" y="832"/>
                    </a:lnTo>
                    <a:lnTo>
                      <a:pt x="1037" y="828"/>
                    </a:lnTo>
                    <a:lnTo>
                      <a:pt x="1033" y="828"/>
                    </a:lnTo>
                    <a:lnTo>
                      <a:pt x="1033" y="823"/>
                    </a:lnTo>
                    <a:lnTo>
                      <a:pt x="1033" y="819"/>
                    </a:lnTo>
                    <a:lnTo>
                      <a:pt x="1037" y="814"/>
                    </a:lnTo>
                    <a:lnTo>
                      <a:pt x="1037" y="819"/>
                    </a:lnTo>
                    <a:lnTo>
                      <a:pt x="1037" y="814"/>
                    </a:lnTo>
                    <a:lnTo>
                      <a:pt x="1037" y="814"/>
                    </a:lnTo>
                    <a:lnTo>
                      <a:pt x="1037" y="809"/>
                    </a:lnTo>
                    <a:lnTo>
                      <a:pt x="1033" y="805"/>
                    </a:lnTo>
                    <a:lnTo>
                      <a:pt x="1033" y="805"/>
                    </a:lnTo>
                    <a:lnTo>
                      <a:pt x="1033" y="809"/>
                    </a:lnTo>
                    <a:lnTo>
                      <a:pt x="1033" y="809"/>
                    </a:lnTo>
                    <a:lnTo>
                      <a:pt x="1028" y="814"/>
                    </a:lnTo>
                    <a:lnTo>
                      <a:pt x="1028" y="814"/>
                    </a:lnTo>
                    <a:lnTo>
                      <a:pt x="1024" y="814"/>
                    </a:lnTo>
                    <a:lnTo>
                      <a:pt x="1024" y="814"/>
                    </a:lnTo>
                    <a:lnTo>
                      <a:pt x="1019" y="819"/>
                    </a:lnTo>
                    <a:lnTo>
                      <a:pt x="1014" y="819"/>
                    </a:lnTo>
                    <a:lnTo>
                      <a:pt x="1014" y="814"/>
                    </a:lnTo>
                    <a:lnTo>
                      <a:pt x="1014" y="814"/>
                    </a:lnTo>
                    <a:lnTo>
                      <a:pt x="1010" y="814"/>
                    </a:lnTo>
                    <a:lnTo>
                      <a:pt x="1010" y="814"/>
                    </a:lnTo>
                    <a:lnTo>
                      <a:pt x="1005" y="805"/>
                    </a:lnTo>
                    <a:lnTo>
                      <a:pt x="1005" y="805"/>
                    </a:lnTo>
                    <a:lnTo>
                      <a:pt x="1010" y="800"/>
                    </a:lnTo>
                    <a:lnTo>
                      <a:pt x="1010" y="800"/>
                    </a:lnTo>
                    <a:lnTo>
                      <a:pt x="1010" y="800"/>
                    </a:lnTo>
                    <a:lnTo>
                      <a:pt x="1010" y="796"/>
                    </a:lnTo>
                    <a:lnTo>
                      <a:pt x="1010" y="796"/>
                    </a:lnTo>
                    <a:lnTo>
                      <a:pt x="1005" y="796"/>
                    </a:lnTo>
                    <a:lnTo>
                      <a:pt x="1001" y="796"/>
                    </a:lnTo>
                    <a:lnTo>
                      <a:pt x="1001" y="796"/>
                    </a:lnTo>
                    <a:lnTo>
                      <a:pt x="996" y="796"/>
                    </a:lnTo>
                    <a:lnTo>
                      <a:pt x="996" y="791"/>
                    </a:lnTo>
                    <a:lnTo>
                      <a:pt x="987" y="791"/>
                    </a:lnTo>
                    <a:lnTo>
                      <a:pt x="982" y="787"/>
                    </a:lnTo>
                    <a:lnTo>
                      <a:pt x="982" y="782"/>
                    </a:lnTo>
                    <a:lnTo>
                      <a:pt x="987" y="777"/>
                    </a:lnTo>
                    <a:lnTo>
                      <a:pt x="987" y="777"/>
                    </a:lnTo>
                    <a:lnTo>
                      <a:pt x="982" y="777"/>
                    </a:lnTo>
                    <a:lnTo>
                      <a:pt x="982" y="777"/>
                    </a:lnTo>
                    <a:lnTo>
                      <a:pt x="973" y="773"/>
                    </a:lnTo>
                    <a:lnTo>
                      <a:pt x="973" y="768"/>
                    </a:lnTo>
                    <a:lnTo>
                      <a:pt x="969" y="768"/>
                    </a:lnTo>
                    <a:lnTo>
                      <a:pt x="969" y="768"/>
                    </a:lnTo>
                    <a:lnTo>
                      <a:pt x="969" y="768"/>
                    </a:lnTo>
                    <a:lnTo>
                      <a:pt x="964" y="768"/>
                    </a:lnTo>
                    <a:lnTo>
                      <a:pt x="960" y="755"/>
                    </a:lnTo>
                    <a:lnTo>
                      <a:pt x="941" y="732"/>
                    </a:lnTo>
                    <a:lnTo>
                      <a:pt x="941" y="727"/>
                    </a:lnTo>
                    <a:lnTo>
                      <a:pt x="928" y="723"/>
                    </a:lnTo>
                    <a:lnTo>
                      <a:pt x="918" y="718"/>
                    </a:lnTo>
                    <a:lnTo>
                      <a:pt x="914" y="718"/>
                    </a:lnTo>
                    <a:lnTo>
                      <a:pt x="905" y="704"/>
                    </a:lnTo>
                    <a:lnTo>
                      <a:pt x="891" y="686"/>
                    </a:lnTo>
                    <a:lnTo>
                      <a:pt x="882" y="672"/>
                    </a:lnTo>
                    <a:lnTo>
                      <a:pt x="882" y="659"/>
                    </a:lnTo>
                    <a:lnTo>
                      <a:pt x="882" y="654"/>
                    </a:lnTo>
                    <a:lnTo>
                      <a:pt x="882" y="649"/>
                    </a:lnTo>
                    <a:lnTo>
                      <a:pt x="886" y="636"/>
                    </a:lnTo>
                    <a:lnTo>
                      <a:pt x="886" y="631"/>
                    </a:lnTo>
                    <a:lnTo>
                      <a:pt x="882" y="617"/>
                    </a:lnTo>
                    <a:lnTo>
                      <a:pt x="873" y="613"/>
                    </a:lnTo>
                    <a:lnTo>
                      <a:pt x="859" y="613"/>
                    </a:lnTo>
                    <a:lnTo>
                      <a:pt x="850" y="613"/>
                    </a:lnTo>
                    <a:lnTo>
                      <a:pt x="841" y="613"/>
                    </a:lnTo>
                    <a:lnTo>
                      <a:pt x="832" y="613"/>
                    </a:lnTo>
                    <a:lnTo>
                      <a:pt x="818" y="608"/>
                    </a:lnTo>
                    <a:lnTo>
                      <a:pt x="818" y="604"/>
                    </a:lnTo>
                    <a:lnTo>
                      <a:pt x="809" y="599"/>
                    </a:lnTo>
                    <a:lnTo>
                      <a:pt x="800" y="595"/>
                    </a:lnTo>
                    <a:lnTo>
                      <a:pt x="795" y="595"/>
                    </a:lnTo>
                    <a:lnTo>
                      <a:pt x="790" y="595"/>
                    </a:lnTo>
                    <a:lnTo>
                      <a:pt x="790" y="590"/>
                    </a:lnTo>
                    <a:lnTo>
                      <a:pt x="790" y="585"/>
                    </a:lnTo>
                    <a:lnTo>
                      <a:pt x="795" y="585"/>
                    </a:lnTo>
                    <a:lnTo>
                      <a:pt x="800" y="585"/>
                    </a:lnTo>
                    <a:lnTo>
                      <a:pt x="804" y="585"/>
                    </a:lnTo>
                    <a:lnTo>
                      <a:pt x="804" y="576"/>
                    </a:lnTo>
                    <a:lnTo>
                      <a:pt x="800" y="572"/>
                    </a:lnTo>
                    <a:lnTo>
                      <a:pt x="795" y="572"/>
                    </a:lnTo>
                    <a:lnTo>
                      <a:pt x="804" y="567"/>
                    </a:lnTo>
                    <a:lnTo>
                      <a:pt x="809" y="563"/>
                    </a:lnTo>
                    <a:lnTo>
                      <a:pt x="813" y="567"/>
                    </a:lnTo>
                    <a:lnTo>
                      <a:pt x="818" y="572"/>
                    </a:lnTo>
                    <a:lnTo>
                      <a:pt x="827" y="572"/>
                    </a:lnTo>
                    <a:lnTo>
                      <a:pt x="836" y="563"/>
                    </a:lnTo>
                    <a:lnTo>
                      <a:pt x="832" y="553"/>
                    </a:lnTo>
                    <a:lnTo>
                      <a:pt x="827" y="549"/>
                    </a:lnTo>
                    <a:lnTo>
                      <a:pt x="827" y="540"/>
                    </a:lnTo>
                    <a:lnTo>
                      <a:pt x="818" y="526"/>
                    </a:lnTo>
                    <a:lnTo>
                      <a:pt x="818" y="517"/>
                    </a:lnTo>
                    <a:lnTo>
                      <a:pt x="818" y="512"/>
                    </a:lnTo>
                    <a:lnTo>
                      <a:pt x="818" y="508"/>
                    </a:lnTo>
                    <a:lnTo>
                      <a:pt x="818" y="503"/>
                    </a:lnTo>
                    <a:lnTo>
                      <a:pt x="818" y="499"/>
                    </a:lnTo>
                    <a:lnTo>
                      <a:pt x="813" y="485"/>
                    </a:lnTo>
                    <a:lnTo>
                      <a:pt x="809" y="467"/>
                    </a:lnTo>
                    <a:lnTo>
                      <a:pt x="809" y="457"/>
                    </a:lnTo>
                    <a:lnTo>
                      <a:pt x="809" y="453"/>
                    </a:lnTo>
                    <a:lnTo>
                      <a:pt x="804" y="444"/>
                    </a:lnTo>
                    <a:lnTo>
                      <a:pt x="809" y="439"/>
                    </a:lnTo>
                    <a:lnTo>
                      <a:pt x="818" y="430"/>
                    </a:lnTo>
                    <a:lnTo>
                      <a:pt x="818" y="425"/>
                    </a:lnTo>
                    <a:lnTo>
                      <a:pt x="818" y="421"/>
                    </a:lnTo>
                    <a:lnTo>
                      <a:pt x="822" y="421"/>
                    </a:lnTo>
                    <a:lnTo>
                      <a:pt x="832" y="416"/>
                    </a:lnTo>
                    <a:lnTo>
                      <a:pt x="827" y="403"/>
                    </a:lnTo>
                    <a:lnTo>
                      <a:pt x="822" y="398"/>
                    </a:lnTo>
                    <a:lnTo>
                      <a:pt x="822" y="393"/>
                    </a:lnTo>
                    <a:lnTo>
                      <a:pt x="832" y="393"/>
                    </a:lnTo>
                    <a:lnTo>
                      <a:pt x="841" y="384"/>
                    </a:lnTo>
                    <a:lnTo>
                      <a:pt x="841" y="371"/>
                    </a:lnTo>
                    <a:lnTo>
                      <a:pt x="845" y="357"/>
                    </a:lnTo>
                    <a:lnTo>
                      <a:pt x="845" y="348"/>
                    </a:lnTo>
                    <a:lnTo>
                      <a:pt x="841" y="343"/>
                    </a:lnTo>
                    <a:lnTo>
                      <a:pt x="841" y="334"/>
                    </a:lnTo>
                    <a:lnTo>
                      <a:pt x="841" y="329"/>
                    </a:lnTo>
                    <a:lnTo>
                      <a:pt x="850" y="329"/>
                    </a:lnTo>
                    <a:lnTo>
                      <a:pt x="868" y="329"/>
                    </a:lnTo>
                    <a:lnTo>
                      <a:pt x="873" y="334"/>
                    </a:lnTo>
                    <a:lnTo>
                      <a:pt x="877" y="329"/>
                    </a:lnTo>
                    <a:lnTo>
                      <a:pt x="882" y="329"/>
                    </a:lnTo>
                    <a:lnTo>
                      <a:pt x="886" y="329"/>
                    </a:lnTo>
                    <a:lnTo>
                      <a:pt x="886" y="334"/>
                    </a:lnTo>
                    <a:lnTo>
                      <a:pt x="891" y="334"/>
                    </a:lnTo>
                    <a:lnTo>
                      <a:pt x="896" y="339"/>
                    </a:lnTo>
                    <a:lnTo>
                      <a:pt x="900" y="348"/>
                    </a:lnTo>
                    <a:lnTo>
                      <a:pt x="905" y="352"/>
                    </a:lnTo>
                    <a:lnTo>
                      <a:pt x="909" y="357"/>
                    </a:lnTo>
                    <a:lnTo>
                      <a:pt x="918" y="357"/>
                    </a:lnTo>
                    <a:lnTo>
                      <a:pt x="918" y="352"/>
                    </a:lnTo>
                    <a:lnTo>
                      <a:pt x="923" y="352"/>
                    </a:lnTo>
                    <a:lnTo>
                      <a:pt x="928" y="352"/>
                    </a:lnTo>
                    <a:lnTo>
                      <a:pt x="928" y="348"/>
                    </a:lnTo>
                    <a:lnTo>
                      <a:pt x="932" y="343"/>
                    </a:lnTo>
                    <a:lnTo>
                      <a:pt x="946" y="334"/>
                    </a:lnTo>
                    <a:lnTo>
                      <a:pt x="950" y="329"/>
                    </a:lnTo>
                    <a:lnTo>
                      <a:pt x="950" y="329"/>
                    </a:lnTo>
                    <a:lnTo>
                      <a:pt x="955" y="329"/>
                    </a:lnTo>
                    <a:lnTo>
                      <a:pt x="960" y="329"/>
                    </a:lnTo>
                    <a:lnTo>
                      <a:pt x="964" y="329"/>
                    </a:lnTo>
                    <a:lnTo>
                      <a:pt x="973" y="334"/>
                    </a:lnTo>
                    <a:lnTo>
                      <a:pt x="973" y="334"/>
                    </a:lnTo>
                    <a:lnTo>
                      <a:pt x="973" y="329"/>
                    </a:lnTo>
                    <a:lnTo>
                      <a:pt x="973" y="329"/>
                    </a:lnTo>
                    <a:lnTo>
                      <a:pt x="978" y="325"/>
                    </a:lnTo>
                    <a:lnTo>
                      <a:pt x="978" y="320"/>
                    </a:lnTo>
                    <a:lnTo>
                      <a:pt x="978" y="311"/>
                    </a:lnTo>
                    <a:lnTo>
                      <a:pt x="978" y="307"/>
                    </a:lnTo>
                    <a:lnTo>
                      <a:pt x="973" y="302"/>
                    </a:lnTo>
                    <a:lnTo>
                      <a:pt x="973" y="293"/>
                    </a:lnTo>
                    <a:lnTo>
                      <a:pt x="973" y="293"/>
                    </a:lnTo>
                    <a:lnTo>
                      <a:pt x="973" y="288"/>
                    </a:lnTo>
                    <a:lnTo>
                      <a:pt x="973" y="288"/>
                    </a:lnTo>
                    <a:lnTo>
                      <a:pt x="973" y="284"/>
                    </a:lnTo>
                    <a:lnTo>
                      <a:pt x="978" y="279"/>
                    </a:lnTo>
                    <a:lnTo>
                      <a:pt x="982" y="279"/>
                    </a:lnTo>
                    <a:lnTo>
                      <a:pt x="987" y="275"/>
                    </a:lnTo>
                    <a:lnTo>
                      <a:pt x="987" y="270"/>
                    </a:lnTo>
                    <a:lnTo>
                      <a:pt x="992" y="265"/>
                    </a:lnTo>
                    <a:lnTo>
                      <a:pt x="992" y="265"/>
                    </a:lnTo>
                    <a:lnTo>
                      <a:pt x="996" y="261"/>
                    </a:lnTo>
                    <a:lnTo>
                      <a:pt x="1001" y="261"/>
                    </a:lnTo>
                    <a:lnTo>
                      <a:pt x="1005" y="252"/>
                    </a:lnTo>
                    <a:lnTo>
                      <a:pt x="1010" y="252"/>
                    </a:lnTo>
                    <a:lnTo>
                      <a:pt x="1010" y="247"/>
                    </a:lnTo>
                    <a:lnTo>
                      <a:pt x="1014" y="243"/>
                    </a:lnTo>
                    <a:lnTo>
                      <a:pt x="1014" y="243"/>
                    </a:lnTo>
                    <a:lnTo>
                      <a:pt x="1014" y="238"/>
                    </a:lnTo>
                    <a:lnTo>
                      <a:pt x="1014" y="233"/>
                    </a:lnTo>
                    <a:lnTo>
                      <a:pt x="1019" y="233"/>
                    </a:lnTo>
                    <a:lnTo>
                      <a:pt x="1019" y="229"/>
                    </a:lnTo>
                    <a:lnTo>
                      <a:pt x="1028" y="224"/>
                    </a:lnTo>
                    <a:lnTo>
                      <a:pt x="1037" y="220"/>
                    </a:lnTo>
                    <a:lnTo>
                      <a:pt x="1037" y="220"/>
                    </a:lnTo>
                    <a:lnTo>
                      <a:pt x="1046" y="220"/>
                    </a:lnTo>
                    <a:lnTo>
                      <a:pt x="1051" y="220"/>
                    </a:lnTo>
                    <a:lnTo>
                      <a:pt x="1056" y="220"/>
                    </a:lnTo>
                    <a:lnTo>
                      <a:pt x="1060" y="220"/>
                    </a:lnTo>
                    <a:lnTo>
                      <a:pt x="1060" y="215"/>
                    </a:lnTo>
                    <a:lnTo>
                      <a:pt x="1060" y="211"/>
                    </a:lnTo>
                    <a:lnTo>
                      <a:pt x="1060" y="201"/>
                    </a:lnTo>
                    <a:lnTo>
                      <a:pt x="1060" y="201"/>
                    </a:lnTo>
                    <a:lnTo>
                      <a:pt x="1060" y="197"/>
                    </a:lnTo>
                    <a:lnTo>
                      <a:pt x="1056" y="197"/>
                    </a:lnTo>
                    <a:lnTo>
                      <a:pt x="1051" y="197"/>
                    </a:lnTo>
                    <a:lnTo>
                      <a:pt x="1046" y="192"/>
                    </a:lnTo>
                    <a:lnTo>
                      <a:pt x="1046" y="188"/>
                    </a:lnTo>
                    <a:lnTo>
                      <a:pt x="1046" y="179"/>
                    </a:lnTo>
                    <a:lnTo>
                      <a:pt x="1042" y="179"/>
                    </a:lnTo>
                    <a:lnTo>
                      <a:pt x="1037" y="174"/>
                    </a:lnTo>
                    <a:lnTo>
                      <a:pt x="1037" y="169"/>
                    </a:lnTo>
                    <a:lnTo>
                      <a:pt x="1037" y="169"/>
                    </a:lnTo>
                    <a:lnTo>
                      <a:pt x="1037" y="165"/>
                    </a:lnTo>
                    <a:lnTo>
                      <a:pt x="1033" y="156"/>
                    </a:lnTo>
                    <a:lnTo>
                      <a:pt x="1033" y="156"/>
                    </a:lnTo>
                    <a:lnTo>
                      <a:pt x="1033" y="151"/>
                    </a:lnTo>
                    <a:lnTo>
                      <a:pt x="1028" y="147"/>
                    </a:lnTo>
                    <a:lnTo>
                      <a:pt x="1028" y="142"/>
                    </a:lnTo>
                    <a:lnTo>
                      <a:pt x="1024" y="137"/>
                    </a:lnTo>
                    <a:lnTo>
                      <a:pt x="1019" y="133"/>
                    </a:lnTo>
                    <a:lnTo>
                      <a:pt x="1019" y="133"/>
                    </a:lnTo>
                    <a:lnTo>
                      <a:pt x="1005" y="119"/>
                    </a:lnTo>
                    <a:lnTo>
                      <a:pt x="1001" y="119"/>
                    </a:lnTo>
                    <a:lnTo>
                      <a:pt x="1001" y="110"/>
                    </a:lnTo>
                    <a:lnTo>
                      <a:pt x="996" y="110"/>
                    </a:lnTo>
                    <a:lnTo>
                      <a:pt x="992" y="101"/>
                    </a:lnTo>
                    <a:lnTo>
                      <a:pt x="996" y="101"/>
                    </a:lnTo>
                    <a:lnTo>
                      <a:pt x="1001" y="101"/>
                    </a:lnTo>
                    <a:lnTo>
                      <a:pt x="1005" y="96"/>
                    </a:lnTo>
                    <a:lnTo>
                      <a:pt x="1014" y="87"/>
                    </a:lnTo>
                    <a:lnTo>
                      <a:pt x="1014" y="87"/>
                    </a:lnTo>
                    <a:lnTo>
                      <a:pt x="1014" y="83"/>
                    </a:lnTo>
                    <a:lnTo>
                      <a:pt x="1019" y="83"/>
                    </a:lnTo>
                    <a:lnTo>
                      <a:pt x="1028" y="73"/>
                    </a:lnTo>
                    <a:lnTo>
                      <a:pt x="1033" y="73"/>
                    </a:lnTo>
                    <a:lnTo>
                      <a:pt x="1037" y="69"/>
                    </a:lnTo>
                    <a:lnTo>
                      <a:pt x="1037" y="69"/>
                    </a:lnTo>
                    <a:lnTo>
                      <a:pt x="1051" y="69"/>
                    </a:lnTo>
                    <a:lnTo>
                      <a:pt x="1056" y="69"/>
                    </a:lnTo>
                    <a:lnTo>
                      <a:pt x="1065" y="69"/>
                    </a:lnTo>
                    <a:lnTo>
                      <a:pt x="1078" y="69"/>
                    </a:lnTo>
                    <a:lnTo>
                      <a:pt x="1083" y="69"/>
                    </a:lnTo>
                    <a:lnTo>
                      <a:pt x="1083" y="69"/>
                    </a:lnTo>
                    <a:lnTo>
                      <a:pt x="1083" y="69"/>
                    </a:lnTo>
                    <a:lnTo>
                      <a:pt x="1092" y="69"/>
                    </a:lnTo>
                    <a:lnTo>
                      <a:pt x="1101" y="69"/>
                    </a:lnTo>
                    <a:lnTo>
                      <a:pt x="1101" y="64"/>
                    </a:lnTo>
                    <a:lnTo>
                      <a:pt x="1106" y="64"/>
                    </a:lnTo>
                    <a:lnTo>
                      <a:pt x="1110" y="60"/>
                    </a:lnTo>
                    <a:lnTo>
                      <a:pt x="1115" y="51"/>
                    </a:lnTo>
                    <a:lnTo>
                      <a:pt x="1115" y="46"/>
                    </a:lnTo>
                    <a:lnTo>
                      <a:pt x="1115" y="41"/>
                    </a:lnTo>
                    <a:lnTo>
                      <a:pt x="1110" y="37"/>
                    </a:lnTo>
                    <a:lnTo>
                      <a:pt x="1106" y="32"/>
                    </a:lnTo>
                    <a:lnTo>
                      <a:pt x="1101" y="32"/>
                    </a:lnTo>
                    <a:lnTo>
                      <a:pt x="1101" y="28"/>
                    </a:lnTo>
                    <a:lnTo>
                      <a:pt x="1101" y="28"/>
                    </a:lnTo>
                    <a:lnTo>
                      <a:pt x="1092" y="32"/>
                    </a:lnTo>
                    <a:lnTo>
                      <a:pt x="1083" y="32"/>
                    </a:lnTo>
                    <a:lnTo>
                      <a:pt x="1083" y="28"/>
                    </a:lnTo>
                    <a:lnTo>
                      <a:pt x="1083" y="23"/>
                    </a:lnTo>
                    <a:lnTo>
                      <a:pt x="1083" y="23"/>
                    </a:lnTo>
                    <a:lnTo>
                      <a:pt x="1083" y="23"/>
                    </a:lnTo>
                    <a:lnTo>
                      <a:pt x="1088" y="19"/>
                    </a:lnTo>
                    <a:lnTo>
                      <a:pt x="1092" y="19"/>
                    </a:lnTo>
                    <a:lnTo>
                      <a:pt x="1097" y="14"/>
                    </a:lnTo>
                    <a:lnTo>
                      <a:pt x="1101" y="9"/>
                    </a:lnTo>
                    <a:lnTo>
                      <a:pt x="1101" y="5"/>
                    </a:lnTo>
                    <a:lnTo>
                      <a:pt x="1101" y="0"/>
                    </a:lnTo>
                    <a:lnTo>
                      <a:pt x="1106" y="0"/>
                    </a:lnTo>
                    <a:lnTo>
                      <a:pt x="1110" y="0"/>
                    </a:lnTo>
                    <a:lnTo>
                      <a:pt x="1115" y="0"/>
                    </a:lnTo>
                    <a:lnTo>
                      <a:pt x="1120" y="0"/>
                    </a:lnTo>
                    <a:lnTo>
                      <a:pt x="1124" y="5"/>
                    </a:lnTo>
                    <a:lnTo>
                      <a:pt x="1129" y="5"/>
                    </a:lnTo>
                    <a:lnTo>
                      <a:pt x="1142" y="5"/>
                    </a:lnTo>
                    <a:lnTo>
                      <a:pt x="1147" y="5"/>
                    </a:lnTo>
                    <a:lnTo>
                      <a:pt x="1161" y="9"/>
                    </a:lnTo>
                    <a:lnTo>
                      <a:pt x="1165" y="9"/>
                    </a:lnTo>
                    <a:lnTo>
                      <a:pt x="1170" y="9"/>
                    </a:lnTo>
                    <a:lnTo>
                      <a:pt x="1174" y="14"/>
                    </a:lnTo>
                    <a:lnTo>
                      <a:pt x="1193" y="19"/>
                    </a:lnTo>
                    <a:lnTo>
                      <a:pt x="1197" y="19"/>
                    </a:lnTo>
                    <a:lnTo>
                      <a:pt x="1211" y="23"/>
                    </a:lnTo>
                    <a:lnTo>
                      <a:pt x="1216" y="23"/>
                    </a:lnTo>
                    <a:lnTo>
                      <a:pt x="1229" y="23"/>
                    </a:lnTo>
                    <a:lnTo>
                      <a:pt x="1234" y="23"/>
                    </a:lnTo>
                    <a:lnTo>
                      <a:pt x="1234" y="28"/>
                    </a:lnTo>
                    <a:lnTo>
                      <a:pt x="1238" y="28"/>
                    </a:lnTo>
                    <a:lnTo>
                      <a:pt x="1243" y="28"/>
                    </a:lnTo>
                    <a:lnTo>
                      <a:pt x="1248" y="32"/>
                    </a:lnTo>
                    <a:lnTo>
                      <a:pt x="1252" y="32"/>
                    </a:lnTo>
                    <a:lnTo>
                      <a:pt x="1252" y="37"/>
                    </a:lnTo>
                    <a:lnTo>
                      <a:pt x="1248" y="41"/>
                    </a:lnTo>
                    <a:lnTo>
                      <a:pt x="1248" y="46"/>
                    </a:lnTo>
                    <a:lnTo>
                      <a:pt x="1248" y="46"/>
                    </a:lnTo>
                    <a:lnTo>
                      <a:pt x="1243" y="46"/>
                    </a:lnTo>
                    <a:lnTo>
                      <a:pt x="1243" y="51"/>
                    </a:lnTo>
                    <a:lnTo>
                      <a:pt x="1243" y="55"/>
                    </a:lnTo>
                    <a:lnTo>
                      <a:pt x="1243" y="60"/>
                    </a:lnTo>
                    <a:lnTo>
                      <a:pt x="1243" y="64"/>
                    </a:lnTo>
                    <a:lnTo>
                      <a:pt x="1248" y="69"/>
                    </a:lnTo>
                    <a:close/>
                  </a:path>
                </a:pathLst>
              </a:custGeom>
              <a:grpFill/>
              <a:ln w="6350" cap="flat" cmpd="sng" algn="ctr">
                <a:solidFill>
                  <a:sysClr val="window" lastClr="FFFFFF"/>
                </a:solidFill>
                <a:prstDash val="solid"/>
              </a:ln>
              <a:effectLst/>
            </p:spPr>
            <p:txBody>
              <a:bodyPr lIns="1005840" tIns="0" rIns="182880" bIns="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cs typeface="Arial" pitchFamily="34" charset="0"/>
                  </a:rPr>
                  <a:t>Cross River</a:t>
                </a:r>
              </a:p>
            </p:txBody>
          </p:sp>
          <p:sp>
            <p:nvSpPr>
              <p:cNvPr id="225" name="Freeform 59">
                <a:extLst>
                  <a:ext uri="{FF2B5EF4-FFF2-40B4-BE49-F238E27FC236}">
                    <a16:creationId xmlns:a16="http://schemas.microsoft.com/office/drawing/2014/main" id="{D148C15D-336D-44B6-8821-E78B794DBEF6}"/>
                  </a:ext>
                </a:extLst>
              </p:cNvPr>
              <p:cNvSpPr>
                <a:spLocks/>
              </p:cNvSpPr>
              <p:nvPr>
                <p:custDataLst>
                  <p:tags r:id="rId42"/>
                </p:custDataLst>
              </p:nvPr>
            </p:nvSpPr>
            <p:spPr bwMode="auto">
              <a:xfrm>
                <a:off x="2141199" y="5395223"/>
                <a:ext cx="407946" cy="366768"/>
              </a:xfrm>
              <a:custGeom>
                <a:avLst/>
                <a:gdLst/>
                <a:ahLst/>
                <a:cxnLst>
                  <a:cxn ang="0">
                    <a:pos x="292" y="105"/>
                  </a:cxn>
                  <a:cxn ang="0">
                    <a:pos x="306" y="119"/>
                  </a:cxn>
                  <a:cxn ang="0">
                    <a:pos x="306" y="133"/>
                  </a:cxn>
                  <a:cxn ang="0">
                    <a:pos x="306" y="151"/>
                  </a:cxn>
                  <a:cxn ang="0">
                    <a:pos x="297" y="160"/>
                  </a:cxn>
                  <a:cxn ang="0">
                    <a:pos x="288" y="174"/>
                  </a:cxn>
                  <a:cxn ang="0">
                    <a:pos x="283" y="188"/>
                  </a:cxn>
                  <a:cxn ang="0">
                    <a:pos x="274" y="197"/>
                  </a:cxn>
                  <a:cxn ang="0">
                    <a:pos x="260" y="220"/>
                  </a:cxn>
                  <a:cxn ang="0">
                    <a:pos x="260" y="229"/>
                  </a:cxn>
                  <a:cxn ang="0">
                    <a:pos x="256" y="243"/>
                  </a:cxn>
                  <a:cxn ang="0">
                    <a:pos x="247" y="252"/>
                  </a:cxn>
                  <a:cxn ang="0">
                    <a:pos x="238" y="270"/>
                  </a:cxn>
                  <a:cxn ang="0">
                    <a:pos x="238" y="288"/>
                  </a:cxn>
                  <a:cxn ang="0">
                    <a:pos x="224" y="297"/>
                  </a:cxn>
                  <a:cxn ang="0">
                    <a:pos x="206" y="288"/>
                  </a:cxn>
                  <a:cxn ang="0">
                    <a:pos x="196" y="293"/>
                  </a:cxn>
                  <a:cxn ang="0">
                    <a:pos x="183" y="293"/>
                  </a:cxn>
                  <a:cxn ang="0">
                    <a:pos x="164" y="288"/>
                  </a:cxn>
                  <a:cxn ang="0">
                    <a:pos x="146" y="288"/>
                  </a:cxn>
                  <a:cxn ang="0">
                    <a:pos x="128" y="288"/>
                  </a:cxn>
                  <a:cxn ang="0">
                    <a:pos x="110" y="288"/>
                  </a:cxn>
                  <a:cxn ang="0">
                    <a:pos x="87" y="284"/>
                  </a:cxn>
                  <a:cxn ang="0">
                    <a:pos x="73" y="284"/>
                  </a:cxn>
                  <a:cxn ang="0">
                    <a:pos x="64" y="270"/>
                  </a:cxn>
                  <a:cxn ang="0">
                    <a:pos x="59" y="261"/>
                  </a:cxn>
                  <a:cxn ang="0">
                    <a:pos x="46" y="252"/>
                  </a:cxn>
                  <a:cxn ang="0">
                    <a:pos x="41" y="243"/>
                  </a:cxn>
                  <a:cxn ang="0">
                    <a:pos x="41" y="233"/>
                  </a:cxn>
                  <a:cxn ang="0">
                    <a:pos x="46" y="220"/>
                  </a:cxn>
                  <a:cxn ang="0">
                    <a:pos x="50" y="197"/>
                  </a:cxn>
                  <a:cxn ang="0">
                    <a:pos x="50" y="188"/>
                  </a:cxn>
                  <a:cxn ang="0">
                    <a:pos x="36" y="192"/>
                  </a:cxn>
                  <a:cxn ang="0">
                    <a:pos x="14" y="188"/>
                  </a:cxn>
                  <a:cxn ang="0">
                    <a:pos x="0" y="179"/>
                  </a:cxn>
                  <a:cxn ang="0">
                    <a:pos x="9" y="160"/>
                  </a:cxn>
                  <a:cxn ang="0">
                    <a:pos x="18" y="137"/>
                  </a:cxn>
                  <a:cxn ang="0">
                    <a:pos x="18" y="128"/>
                  </a:cxn>
                  <a:cxn ang="0">
                    <a:pos x="23" y="115"/>
                  </a:cxn>
                  <a:cxn ang="0">
                    <a:pos x="18" y="83"/>
                  </a:cxn>
                  <a:cxn ang="0">
                    <a:pos x="36" y="64"/>
                  </a:cxn>
                  <a:cxn ang="0">
                    <a:pos x="55" y="64"/>
                  </a:cxn>
                  <a:cxn ang="0">
                    <a:pos x="87" y="73"/>
                  </a:cxn>
                  <a:cxn ang="0">
                    <a:pos x="100" y="64"/>
                  </a:cxn>
                  <a:cxn ang="0">
                    <a:pos x="119" y="51"/>
                  </a:cxn>
                  <a:cxn ang="0">
                    <a:pos x="119" y="28"/>
                  </a:cxn>
                  <a:cxn ang="0">
                    <a:pos x="123" y="19"/>
                  </a:cxn>
                  <a:cxn ang="0">
                    <a:pos x="137" y="14"/>
                  </a:cxn>
                  <a:cxn ang="0">
                    <a:pos x="174" y="9"/>
                  </a:cxn>
                  <a:cxn ang="0">
                    <a:pos x="210" y="14"/>
                  </a:cxn>
                  <a:cxn ang="0">
                    <a:pos x="233" y="9"/>
                  </a:cxn>
                  <a:cxn ang="0">
                    <a:pos x="247" y="5"/>
                  </a:cxn>
                  <a:cxn ang="0">
                    <a:pos x="260" y="14"/>
                  </a:cxn>
                  <a:cxn ang="0">
                    <a:pos x="279" y="19"/>
                  </a:cxn>
                  <a:cxn ang="0">
                    <a:pos x="292" y="23"/>
                  </a:cxn>
                  <a:cxn ang="0">
                    <a:pos x="297" y="37"/>
                  </a:cxn>
                  <a:cxn ang="0">
                    <a:pos x="302" y="51"/>
                  </a:cxn>
                  <a:cxn ang="0">
                    <a:pos x="302" y="73"/>
                  </a:cxn>
                  <a:cxn ang="0">
                    <a:pos x="302" y="92"/>
                  </a:cxn>
                  <a:cxn ang="0">
                    <a:pos x="297" y="101"/>
                  </a:cxn>
                </a:cxnLst>
                <a:rect l="0" t="0" r="r" b="b"/>
                <a:pathLst>
                  <a:path w="306" h="297">
                    <a:moveTo>
                      <a:pt x="288" y="96"/>
                    </a:moveTo>
                    <a:lnTo>
                      <a:pt x="288" y="101"/>
                    </a:lnTo>
                    <a:lnTo>
                      <a:pt x="292" y="105"/>
                    </a:lnTo>
                    <a:lnTo>
                      <a:pt x="297" y="110"/>
                    </a:lnTo>
                    <a:lnTo>
                      <a:pt x="297" y="110"/>
                    </a:lnTo>
                    <a:lnTo>
                      <a:pt x="306" y="119"/>
                    </a:lnTo>
                    <a:lnTo>
                      <a:pt x="306" y="124"/>
                    </a:lnTo>
                    <a:lnTo>
                      <a:pt x="306" y="128"/>
                    </a:lnTo>
                    <a:lnTo>
                      <a:pt x="306" y="133"/>
                    </a:lnTo>
                    <a:lnTo>
                      <a:pt x="306" y="133"/>
                    </a:lnTo>
                    <a:lnTo>
                      <a:pt x="306" y="147"/>
                    </a:lnTo>
                    <a:lnTo>
                      <a:pt x="306" y="151"/>
                    </a:lnTo>
                    <a:lnTo>
                      <a:pt x="302" y="151"/>
                    </a:lnTo>
                    <a:lnTo>
                      <a:pt x="297" y="156"/>
                    </a:lnTo>
                    <a:lnTo>
                      <a:pt x="297" y="160"/>
                    </a:lnTo>
                    <a:lnTo>
                      <a:pt x="292" y="169"/>
                    </a:lnTo>
                    <a:lnTo>
                      <a:pt x="288" y="174"/>
                    </a:lnTo>
                    <a:lnTo>
                      <a:pt x="288" y="174"/>
                    </a:lnTo>
                    <a:lnTo>
                      <a:pt x="283" y="179"/>
                    </a:lnTo>
                    <a:lnTo>
                      <a:pt x="283" y="183"/>
                    </a:lnTo>
                    <a:lnTo>
                      <a:pt x="283" y="188"/>
                    </a:lnTo>
                    <a:lnTo>
                      <a:pt x="283" y="192"/>
                    </a:lnTo>
                    <a:lnTo>
                      <a:pt x="279" y="197"/>
                    </a:lnTo>
                    <a:lnTo>
                      <a:pt x="274" y="197"/>
                    </a:lnTo>
                    <a:lnTo>
                      <a:pt x="270" y="201"/>
                    </a:lnTo>
                    <a:lnTo>
                      <a:pt x="265" y="215"/>
                    </a:lnTo>
                    <a:lnTo>
                      <a:pt x="260" y="220"/>
                    </a:lnTo>
                    <a:lnTo>
                      <a:pt x="260" y="220"/>
                    </a:lnTo>
                    <a:lnTo>
                      <a:pt x="260" y="224"/>
                    </a:lnTo>
                    <a:lnTo>
                      <a:pt x="260" y="229"/>
                    </a:lnTo>
                    <a:lnTo>
                      <a:pt x="260" y="233"/>
                    </a:lnTo>
                    <a:lnTo>
                      <a:pt x="256" y="238"/>
                    </a:lnTo>
                    <a:lnTo>
                      <a:pt x="256" y="243"/>
                    </a:lnTo>
                    <a:lnTo>
                      <a:pt x="251" y="243"/>
                    </a:lnTo>
                    <a:lnTo>
                      <a:pt x="247" y="247"/>
                    </a:lnTo>
                    <a:lnTo>
                      <a:pt x="247" y="252"/>
                    </a:lnTo>
                    <a:lnTo>
                      <a:pt x="242" y="261"/>
                    </a:lnTo>
                    <a:lnTo>
                      <a:pt x="242" y="265"/>
                    </a:lnTo>
                    <a:lnTo>
                      <a:pt x="238" y="270"/>
                    </a:lnTo>
                    <a:lnTo>
                      <a:pt x="238" y="279"/>
                    </a:lnTo>
                    <a:lnTo>
                      <a:pt x="238" y="284"/>
                    </a:lnTo>
                    <a:lnTo>
                      <a:pt x="238" y="288"/>
                    </a:lnTo>
                    <a:lnTo>
                      <a:pt x="238" y="293"/>
                    </a:lnTo>
                    <a:lnTo>
                      <a:pt x="228" y="297"/>
                    </a:lnTo>
                    <a:lnTo>
                      <a:pt x="224" y="297"/>
                    </a:lnTo>
                    <a:lnTo>
                      <a:pt x="215" y="293"/>
                    </a:lnTo>
                    <a:lnTo>
                      <a:pt x="210" y="293"/>
                    </a:lnTo>
                    <a:lnTo>
                      <a:pt x="206" y="288"/>
                    </a:lnTo>
                    <a:lnTo>
                      <a:pt x="201" y="288"/>
                    </a:lnTo>
                    <a:lnTo>
                      <a:pt x="196" y="293"/>
                    </a:lnTo>
                    <a:lnTo>
                      <a:pt x="196" y="293"/>
                    </a:lnTo>
                    <a:lnTo>
                      <a:pt x="187" y="288"/>
                    </a:lnTo>
                    <a:lnTo>
                      <a:pt x="187" y="293"/>
                    </a:lnTo>
                    <a:lnTo>
                      <a:pt x="183" y="293"/>
                    </a:lnTo>
                    <a:lnTo>
                      <a:pt x="178" y="288"/>
                    </a:lnTo>
                    <a:lnTo>
                      <a:pt x="169" y="288"/>
                    </a:lnTo>
                    <a:lnTo>
                      <a:pt x="164" y="288"/>
                    </a:lnTo>
                    <a:lnTo>
                      <a:pt x="160" y="288"/>
                    </a:lnTo>
                    <a:lnTo>
                      <a:pt x="155" y="288"/>
                    </a:lnTo>
                    <a:lnTo>
                      <a:pt x="146" y="288"/>
                    </a:lnTo>
                    <a:lnTo>
                      <a:pt x="137" y="288"/>
                    </a:lnTo>
                    <a:lnTo>
                      <a:pt x="132" y="288"/>
                    </a:lnTo>
                    <a:lnTo>
                      <a:pt x="128" y="288"/>
                    </a:lnTo>
                    <a:lnTo>
                      <a:pt x="123" y="288"/>
                    </a:lnTo>
                    <a:lnTo>
                      <a:pt x="110" y="288"/>
                    </a:lnTo>
                    <a:lnTo>
                      <a:pt x="110" y="288"/>
                    </a:lnTo>
                    <a:lnTo>
                      <a:pt x="105" y="288"/>
                    </a:lnTo>
                    <a:lnTo>
                      <a:pt x="91" y="288"/>
                    </a:lnTo>
                    <a:lnTo>
                      <a:pt x="87" y="284"/>
                    </a:lnTo>
                    <a:lnTo>
                      <a:pt x="82" y="284"/>
                    </a:lnTo>
                    <a:lnTo>
                      <a:pt x="78" y="284"/>
                    </a:lnTo>
                    <a:lnTo>
                      <a:pt x="73" y="284"/>
                    </a:lnTo>
                    <a:lnTo>
                      <a:pt x="68" y="279"/>
                    </a:lnTo>
                    <a:lnTo>
                      <a:pt x="64" y="270"/>
                    </a:lnTo>
                    <a:lnTo>
                      <a:pt x="64" y="270"/>
                    </a:lnTo>
                    <a:lnTo>
                      <a:pt x="64" y="265"/>
                    </a:lnTo>
                    <a:lnTo>
                      <a:pt x="59" y="265"/>
                    </a:lnTo>
                    <a:lnTo>
                      <a:pt x="59" y="261"/>
                    </a:lnTo>
                    <a:lnTo>
                      <a:pt x="55" y="261"/>
                    </a:lnTo>
                    <a:lnTo>
                      <a:pt x="50" y="256"/>
                    </a:lnTo>
                    <a:lnTo>
                      <a:pt x="46" y="252"/>
                    </a:lnTo>
                    <a:lnTo>
                      <a:pt x="41" y="247"/>
                    </a:lnTo>
                    <a:lnTo>
                      <a:pt x="41" y="247"/>
                    </a:lnTo>
                    <a:lnTo>
                      <a:pt x="41" y="243"/>
                    </a:lnTo>
                    <a:lnTo>
                      <a:pt x="41" y="243"/>
                    </a:lnTo>
                    <a:lnTo>
                      <a:pt x="41" y="238"/>
                    </a:lnTo>
                    <a:lnTo>
                      <a:pt x="41" y="233"/>
                    </a:lnTo>
                    <a:lnTo>
                      <a:pt x="41" y="229"/>
                    </a:lnTo>
                    <a:lnTo>
                      <a:pt x="46" y="229"/>
                    </a:lnTo>
                    <a:lnTo>
                      <a:pt x="46" y="220"/>
                    </a:lnTo>
                    <a:lnTo>
                      <a:pt x="46" y="220"/>
                    </a:lnTo>
                    <a:lnTo>
                      <a:pt x="46" y="211"/>
                    </a:lnTo>
                    <a:lnTo>
                      <a:pt x="50" y="197"/>
                    </a:lnTo>
                    <a:lnTo>
                      <a:pt x="55" y="197"/>
                    </a:lnTo>
                    <a:lnTo>
                      <a:pt x="55" y="192"/>
                    </a:lnTo>
                    <a:lnTo>
                      <a:pt x="50" y="188"/>
                    </a:lnTo>
                    <a:lnTo>
                      <a:pt x="46" y="188"/>
                    </a:lnTo>
                    <a:lnTo>
                      <a:pt x="41" y="188"/>
                    </a:lnTo>
                    <a:lnTo>
                      <a:pt x="36" y="192"/>
                    </a:lnTo>
                    <a:lnTo>
                      <a:pt x="27" y="188"/>
                    </a:lnTo>
                    <a:lnTo>
                      <a:pt x="18" y="188"/>
                    </a:lnTo>
                    <a:lnTo>
                      <a:pt x="14" y="188"/>
                    </a:lnTo>
                    <a:lnTo>
                      <a:pt x="0" y="188"/>
                    </a:lnTo>
                    <a:lnTo>
                      <a:pt x="0" y="183"/>
                    </a:lnTo>
                    <a:lnTo>
                      <a:pt x="0" y="179"/>
                    </a:lnTo>
                    <a:lnTo>
                      <a:pt x="4" y="174"/>
                    </a:lnTo>
                    <a:lnTo>
                      <a:pt x="9" y="165"/>
                    </a:lnTo>
                    <a:lnTo>
                      <a:pt x="9" y="160"/>
                    </a:lnTo>
                    <a:lnTo>
                      <a:pt x="14" y="151"/>
                    </a:lnTo>
                    <a:lnTo>
                      <a:pt x="18" y="142"/>
                    </a:lnTo>
                    <a:lnTo>
                      <a:pt x="18" y="137"/>
                    </a:lnTo>
                    <a:lnTo>
                      <a:pt x="18" y="133"/>
                    </a:lnTo>
                    <a:lnTo>
                      <a:pt x="18" y="133"/>
                    </a:lnTo>
                    <a:lnTo>
                      <a:pt x="18" y="128"/>
                    </a:lnTo>
                    <a:lnTo>
                      <a:pt x="18" y="124"/>
                    </a:lnTo>
                    <a:lnTo>
                      <a:pt x="18" y="119"/>
                    </a:lnTo>
                    <a:lnTo>
                      <a:pt x="23" y="115"/>
                    </a:lnTo>
                    <a:lnTo>
                      <a:pt x="23" y="105"/>
                    </a:lnTo>
                    <a:lnTo>
                      <a:pt x="23" y="101"/>
                    </a:lnTo>
                    <a:lnTo>
                      <a:pt x="18" y="83"/>
                    </a:lnTo>
                    <a:lnTo>
                      <a:pt x="18" y="78"/>
                    </a:lnTo>
                    <a:lnTo>
                      <a:pt x="23" y="69"/>
                    </a:lnTo>
                    <a:lnTo>
                      <a:pt x="36" y="64"/>
                    </a:lnTo>
                    <a:lnTo>
                      <a:pt x="46" y="64"/>
                    </a:lnTo>
                    <a:lnTo>
                      <a:pt x="55" y="64"/>
                    </a:lnTo>
                    <a:lnTo>
                      <a:pt x="55" y="64"/>
                    </a:lnTo>
                    <a:lnTo>
                      <a:pt x="64" y="64"/>
                    </a:lnTo>
                    <a:lnTo>
                      <a:pt x="78" y="69"/>
                    </a:lnTo>
                    <a:lnTo>
                      <a:pt x="87" y="73"/>
                    </a:lnTo>
                    <a:lnTo>
                      <a:pt x="96" y="73"/>
                    </a:lnTo>
                    <a:lnTo>
                      <a:pt x="96" y="73"/>
                    </a:lnTo>
                    <a:lnTo>
                      <a:pt x="100" y="64"/>
                    </a:lnTo>
                    <a:lnTo>
                      <a:pt x="110" y="60"/>
                    </a:lnTo>
                    <a:lnTo>
                      <a:pt x="110" y="55"/>
                    </a:lnTo>
                    <a:lnTo>
                      <a:pt x="119" y="51"/>
                    </a:lnTo>
                    <a:lnTo>
                      <a:pt x="123" y="41"/>
                    </a:lnTo>
                    <a:lnTo>
                      <a:pt x="123" y="37"/>
                    </a:lnTo>
                    <a:lnTo>
                      <a:pt x="119" y="28"/>
                    </a:lnTo>
                    <a:lnTo>
                      <a:pt x="119" y="23"/>
                    </a:lnTo>
                    <a:lnTo>
                      <a:pt x="114" y="23"/>
                    </a:lnTo>
                    <a:lnTo>
                      <a:pt x="123" y="19"/>
                    </a:lnTo>
                    <a:lnTo>
                      <a:pt x="128" y="19"/>
                    </a:lnTo>
                    <a:lnTo>
                      <a:pt x="132" y="19"/>
                    </a:lnTo>
                    <a:lnTo>
                      <a:pt x="137" y="14"/>
                    </a:lnTo>
                    <a:lnTo>
                      <a:pt x="151" y="14"/>
                    </a:lnTo>
                    <a:lnTo>
                      <a:pt x="169" y="9"/>
                    </a:lnTo>
                    <a:lnTo>
                      <a:pt x="174" y="9"/>
                    </a:lnTo>
                    <a:lnTo>
                      <a:pt x="187" y="14"/>
                    </a:lnTo>
                    <a:lnTo>
                      <a:pt x="196" y="14"/>
                    </a:lnTo>
                    <a:lnTo>
                      <a:pt x="210" y="14"/>
                    </a:lnTo>
                    <a:lnTo>
                      <a:pt x="219" y="14"/>
                    </a:lnTo>
                    <a:lnTo>
                      <a:pt x="219" y="14"/>
                    </a:lnTo>
                    <a:lnTo>
                      <a:pt x="233" y="9"/>
                    </a:lnTo>
                    <a:lnTo>
                      <a:pt x="238" y="5"/>
                    </a:lnTo>
                    <a:lnTo>
                      <a:pt x="242" y="0"/>
                    </a:lnTo>
                    <a:lnTo>
                      <a:pt x="247" y="5"/>
                    </a:lnTo>
                    <a:lnTo>
                      <a:pt x="251" y="5"/>
                    </a:lnTo>
                    <a:lnTo>
                      <a:pt x="256" y="9"/>
                    </a:lnTo>
                    <a:lnTo>
                      <a:pt x="260" y="14"/>
                    </a:lnTo>
                    <a:lnTo>
                      <a:pt x="265" y="19"/>
                    </a:lnTo>
                    <a:lnTo>
                      <a:pt x="270" y="19"/>
                    </a:lnTo>
                    <a:lnTo>
                      <a:pt x="279" y="19"/>
                    </a:lnTo>
                    <a:lnTo>
                      <a:pt x="283" y="23"/>
                    </a:lnTo>
                    <a:lnTo>
                      <a:pt x="288" y="23"/>
                    </a:lnTo>
                    <a:lnTo>
                      <a:pt x="292" y="23"/>
                    </a:lnTo>
                    <a:lnTo>
                      <a:pt x="292" y="28"/>
                    </a:lnTo>
                    <a:lnTo>
                      <a:pt x="297" y="28"/>
                    </a:lnTo>
                    <a:lnTo>
                      <a:pt x="297" y="37"/>
                    </a:lnTo>
                    <a:lnTo>
                      <a:pt x="302" y="41"/>
                    </a:lnTo>
                    <a:lnTo>
                      <a:pt x="302" y="41"/>
                    </a:lnTo>
                    <a:lnTo>
                      <a:pt x="302" y="51"/>
                    </a:lnTo>
                    <a:lnTo>
                      <a:pt x="302" y="64"/>
                    </a:lnTo>
                    <a:lnTo>
                      <a:pt x="302" y="64"/>
                    </a:lnTo>
                    <a:lnTo>
                      <a:pt x="302" y="73"/>
                    </a:lnTo>
                    <a:lnTo>
                      <a:pt x="302" y="83"/>
                    </a:lnTo>
                    <a:lnTo>
                      <a:pt x="302" y="87"/>
                    </a:lnTo>
                    <a:lnTo>
                      <a:pt x="302" y="92"/>
                    </a:lnTo>
                    <a:lnTo>
                      <a:pt x="302" y="96"/>
                    </a:lnTo>
                    <a:lnTo>
                      <a:pt x="302" y="101"/>
                    </a:lnTo>
                    <a:lnTo>
                      <a:pt x="297" y="101"/>
                    </a:lnTo>
                    <a:lnTo>
                      <a:pt x="292" y="96"/>
                    </a:lnTo>
                    <a:lnTo>
                      <a:pt x="288" y="96"/>
                    </a:lnTo>
                    <a:close/>
                  </a:path>
                </a:pathLst>
              </a:custGeom>
              <a:grpFill/>
              <a:ln w="9525" cap="flat" cmpd="sng" algn="ctr">
                <a:solidFill>
                  <a:sysClr val="window" lastClr="FFFFFF"/>
                </a:solidFill>
                <a:prstDash val="solid"/>
              </a:ln>
              <a:effectLst/>
            </p:spPr>
            <p:txBody>
              <a:bodyPr lIns="0" tIns="0" rIns="0" bIns="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cs typeface="Arial" pitchFamily="34" charset="0"/>
                  </a:rPr>
                  <a:t>Imo</a:t>
                </a:r>
              </a:p>
            </p:txBody>
          </p:sp>
          <p:sp>
            <p:nvSpPr>
              <p:cNvPr id="226" name="Freeform 60">
                <a:extLst>
                  <a:ext uri="{FF2B5EF4-FFF2-40B4-BE49-F238E27FC236}">
                    <a16:creationId xmlns:a16="http://schemas.microsoft.com/office/drawing/2014/main" id="{DC08BA8E-8108-47E5-822E-192D2D0906DF}"/>
                  </a:ext>
                </a:extLst>
              </p:cNvPr>
              <p:cNvSpPr>
                <a:spLocks/>
              </p:cNvSpPr>
              <p:nvPr>
                <p:custDataLst>
                  <p:tags r:id="rId43"/>
                </p:custDataLst>
              </p:nvPr>
            </p:nvSpPr>
            <p:spPr bwMode="auto">
              <a:xfrm>
                <a:off x="2931366" y="2160448"/>
                <a:ext cx="1230319" cy="982283"/>
              </a:xfrm>
              <a:custGeom>
                <a:avLst/>
                <a:gdLst/>
                <a:ahLst/>
                <a:cxnLst>
                  <a:cxn ang="0">
                    <a:pos x="755" y="375"/>
                  </a:cxn>
                  <a:cxn ang="0">
                    <a:pos x="704" y="407"/>
                  </a:cxn>
                  <a:cxn ang="0">
                    <a:pos x="645" y="434"/>
                  </a:cxn>
                  <a:cxn ang="0">
                    <a:pos x="590" y="457"/>
                  </a:cxn>
                  <a:cxn ang="0">
                    <a:pos x="558" y="489"/>
                  </a:cxn>
                  <a:cxn ang="0">
                    <a:pos x="604" y="494"/>
                  </a:cxn>
                  <a:cxn ang="0">
                    <a:pos x="631" y="526"/>
                  </a:cxn>
                  <a:cxn ang="0">
                    <a:pos x="622" y="576"/>
                  </a:cxn>
                  <a:cxn ang="0">
                    <a:pos x="645" y="603"/>
                  </a:cxn>
                  <a:cxn ang="0">
                    <a:pos x="668" y="649"/>
                  </a:cxn>
                  <a:cxn ang="0">
                    <a:pos x="732" y="676"/>
                  </a:cxn>
                  <a:cxn ang="0">
                    <a:pos x="823" y="699"/>
                  </a:cxn>
                  <a:cxn ang="0">
                    <a:pos x="819" y="727"/>
                  </a:cxn>
                  <a:cxn ang="0">
                    <a:pos x="755" y="754"/>
                  </a:cxn>
                  <a:cxn ang="0">
                    <a:pos x="759" y="795"/>
                  </a:cxn>
                  <a:cxn ang="0">
                    <a:pos x="677" y="786"/>
                  </a:cxn>
                  <a:cxn ang="0">
                    <a:pos x="654" y="718"/>
                  </a:cxn>
                  <a:cxn ang="0">
                    <a:pos x="618" y="676"/>
                  </a:cxn>
                  <a:cxn ang="0">
                    <a:pos x="554" y="681"/>
                  </a:cxn>
                  <a:cxn ang="0">
                    <a:pos x="522" y="654"/>
                  </a:cxn>
                  <a:cxn ang="0">
                    <a:pos x="467" y="649"/>
                  </a:cxn>
                  <a:cxn ang="0">
                    <a:pos x="426" y="631"/>
                  </a:cxn>
                  <a:cxn ang="0">
                    <a:pos x="448" y="590"/>
                  </a:cxn>
                  <a:cxn ang="0">
                    <a:pos x="453" y="558"/>
                  </a:cxn>
                  <a:cxn ang="0">
                    <a:pos x="416" y="516"/>
                  </a:cxn>
                  <a:cxn ang="0">
                    <a:pos x="394" y="503"/>
                  </a:cxn>
                  <a:cxn ang="0">
                    <a:pos x="394" y="457"/>
                  </a:cxn>
                  <a:cxn ang="0">
                    <a:pos x="407" y="393"/>
                  </a:cxn>
                  <a:cxn ang="0">
                    <a:pos x="384" y="370"/>
                  </a:cxn>
                  <a:cxn ang="0">
                    <a:pos x="362" y="370"/>
                  </a:cxn>
                  <a:cxn ang="0">
                    <a:pos x="298" y="356"/>
                  </a:cxn>
                  <a:cxn ang="0">
                    <a:pos x="316" y="324"/>
                  </a:cxn>
                  <a:cxn ang="0">
                    <a:pos x="288" y="283"/>
                  </a:cxn>
                  <a:cxn ang="0">
                    <a:pos x="238" y="260"/>
                  </a:cxn>
                  <a:cxn ang="0">
                    <a:pos x="229" y="228"/>
                  </a:cxn>
                  <a:cxn ang="0">
                    <a:pos x="215" y="187"/>
                  </a:cxn>
                  <a:cxn ang="0">
                    <a:pos x="165" y="174"/>
                  </a:cxn>
                  <a:cxn ang="0">
                    <a:pos x="119" y="174"/>
                  </a:cxn>
                  <a:cxn ang="0">
                    <a:pos x="87" y="224"/>
                  </a:cxn>
                  <a:cxn ang="0">
                    <a:pos x="74" y="206"/>
                  </a:cxn>
                  <a:cxn ang="0">
                    <a:pos x="37" y="174"/>
                  </a:cxn>
                  <a:cxn ang="0">
                    <a:pos x="0" y="119"/>
                  </a:cxn>
                  <a:cxn ang="0">
                    <a:pos x="32" y="73"/>
                  </a:cxn>
                  <a:cxn ang="0">
                    <a:pos x="92" y="82"/>
                  </a:cxn>
                  <a:cxn ang="0">
                    <a:pos x="160" y="96"/>
                  </a:cxn>
                  <a:cxn ang="0">
                    <a:pos x="192" y="132"/>
                  </a:cxn>
                  <a:cxn ang="0">
                    <a:pos x="279" y="128"/>
                  </a:cxn>
                  <a:cxn ang="0">
                    <a:pos x="302" y="100"/>
                  </a:cxn>
                  <a:cxn ang="0">
                    <a:pos x="348" y="68"/>
                  </a:cxn>
                  <a:cxn ang="0">
                    <a:pos x="403" y="73"/>
                  </a:cxn>
                  <a:cxn ang="0">
                    <a:pos x="448" y="78"/>
                  </a:cxn>
                  <a:cxn ang="0">
                    <a:pos x="526" y="82"/>
                  </a:cxn>
                  <a:cxn ang="0">
                    <a:pos x="604" y="87"/>
                  </a:cxn>
                  <a:cxn ang="0">
                    <a:pos x="659" y="68"/>
                  </a:cxn>
                  <a:cxn ang="0">
                    <a:pos x="695" y="23"/>
                  </a:cxn>
                  <a:cxn ang="0">
                    <a:pos x="759" y="0"/>
                  </a:cxn>
                  <a:cxn ang="0">
                    <a:pos x="796" y="64"/>
                  </a:cxn>
                  <a:cxn ang="0">
                    <a:pos x="828" y="82"/>
                  </a:cxn>
                  <a:cxn ang="0">
                    <a:pos x="901" y="87"/>
                  </a:cxn>
                  <a:cxn ang="0">
                    <a:pos x="910" y="201"/>
                  </a:cxn>
                  <a:cxn ang="0">
                    <a:pos x="874" y="233"/>
                  </a:cxn>
                  <a:cxn ang="0">
                    <a:pos x="810" y="233"/>
                  </a:cxn>
                  <a:cxn ang="0">
                    <a:pos x="778" y="260"/>
                  </a:cxn>
                </a:cxnLst>
                <a:rect l="0" t="0" r="r" b="b"/>
                <a:pathLst>
                  <a:path w="924" h="795">
                    <a:moveTo>
                      <a:pt x="773" y="265"/>
                    </a:moveTo>
                    <a:lnTo>
                      <a:pt x="773" y="270"/>
                    </a:lnTo>
                    <a:lnTo>
                      <a:pt x="768" y="279"/>
                    </a:lnTo>
                    <a:lnTo>
                      <a:pt x="764" y="288"/>
                    </a:lnTo>
                    <a:lnTo>
                      <a:pt x="764" y="302"/>
                    </a:lnTo>
                    <a:lnTo>
                      <a:pt x="759" y="306"/>
                    </a:lnTo>
                    <a:lnTo>
                      <a:pt x="759" y="334"/>
                    </a:lnTo>
                    <a:lnTo>
                      <a:pt x="759" y="356"/>
                    </a:lnTo>
                    <a:lnTo>
                      <a:pt x="755" y="366"/>
                    </a:lnTo>
                    <a:lnTo>
                      <a:pt x="755" y="370"/>
                    </a:lnTo>
                    <a:lnTo>
                      <a:pt x="755" y="370"/>
                    </a:lnTo>
                    <a:lnTo>
                      <a:pt x="755" y="375"/>
                    </a:lnTo>
                    <a:lnTo>
                      <a:pt x="750" y="384"/>
                    </a:lnTo>
                    <a:lnTo>
                      <a:pt x="746" y="388"/>
                    </a:lnTo>
                    <a:lnTo>
                      <a:pt x="741" y="393"/>
                    </a:lnTo>
                    <a:lnTo>
                      <a:pt x="736" y="393"/>
                    </a:lnTo>
                    <a:lnTo>
                      <a:pt x="736" y="398"/>
                    </a:lnTo>
                    <a:lnTo>
                      <a:pt x="732" y="398"/>
                    </a:lnTo>
                    <a:lnTo>
                      <a:pt x="732" y="398"/>
                    </a:lnTo>
                    <a:lnTo>
                      <a:pt x="727" y="402"/>
                    </a:lnTo>
                    <a:lnTo>
                      <a:pt x="718" y="402"/>
                    </a:lnTo>
                    <a:lnTo>
                      <a:pt x="714" y="407"/>
                    </a:lnTo>
                    <a:lnTo>
                      <a:pt x="709" y="407"/>
                    </a:lnTo>
                    <a:lnTo>
                      <a:pt x="704" y="407"/>
                    </a:lnTo>
                    <a:lnTo>
                      <a:pt x="700" y="411"/>
                    </a:lnTo>
                    <a:lnTo>
                      <a:pt x="695" y="411"/>
                    </a:lnTo>
                    <a:lnTo>
                      <a:pt x="691" y="416"/>
                    </a:lnTo>
                    <a:lnTo>
                      <a:pt x="691" y="416"/>
                    </a:lnTo>
                    <a:lnTo>
                      <a:pt x="686" y="416"/>
                    </a:lnTo>
                    <a:lnTo>
                      <a:pt x="682" y="416"/>
                    </a:lnTo>
                    <a:lnTo>
                      <a:pt x="677" y="420"/>
                    </a:lnTo>
                    <a:lnTo>
                      <a:pt x="672" y="420"/>
                    </a:lnTo>
                    <a:lnTo>
                      <a:pt x="668" y="425"/>
                    </a:lnTo>
                    <a:lnTo>
                      <a:pt x="668" y="425"/>
                    </a:lnTo>
                    <a:lnTo>
                      <a:pt x="659" y="430"/>
                    </a:lnTo>
                    <a:lnTo>
                      <a:pt x="645" y="434"/>
                    </a:lnTo>
                    <a:lnTo>
                      <a:pt x="640" y="434"/>
                    </a:lnTo>
                    <a:lnTo>
                      <a:pt x="636" y="439"/>
                    </a:lnTo>
                    <a:lnTo>
                      <a:pt x="631" y="439"/>
                    </a:lnTo>
                    <a:lnTo>
                      <a:pt x="627" y="443"/>
                    </a:lnTo>
                    <a:lnTo>
                      <a:pt x="622" y="443"/>
                    </a:lnTo>
                    <a:lnTo>
                      <a:pt x="618" y="443"/>
                    </a:lnTo>
                    <a:lnTo>
                      <a:pt x="613" y="443"/>
                    </a:lnTo>
                    <a:lnTo>
                      <a:pt x="604" y="448"/>
                    </a:lnTo>
                    <a:lnTo>
                      <a:pt x="604" y="448"/>
                    </a:lnTo>
                    <a:lnTo>
                      <a:pt x="599" y="448"/>
                    </a:lnTo>
                    <a:lnTo>
                      <a:pt x="595" y="452"/>
                    </a:lnTo>
                    <a:lnTo>
                      <a:pt x="590" y="457"/>
                    </a:lnTo>
                    <a:lnTo>
                      <a:pt x="586" y="457"/>
                    </a:lnTo>
                    <a:lnTo>
                      <a:pt x="581" y="457"/>
                    </a:lnTo>
                    <a:lnTo>
                      <a:pt x="581" y="462"/>
                    </a:lnTo>
                    <a:lnTo>
                      <a:pt x="581" y="466"/>
                    </a:lnTo>
                    <a:lnTo>
                      <a:pt x="581" y="471"/>
                    </a:lnTo>
                    <a:lnTo>
                      <a:pt x="576" y="471"/>
                    </a:lnTo>
                    <a:lnTo>
                      <a:pt x="572" y="475"/>
                    </a:lnTo>
                    <a:lnTo>
                      <a:pt x="567" y="480"/>
                    </a:lnTo>
                    <a:lnTo>
                      <a:pt x="563" y="480"/>
                    </a:lnTo>
                    <a:lnTo>
                      <a:pt x="563" y="480"/>
                    </a:lnTo>
                    <a:lnTo>
                      <a:pt x="558" y="480"/>
                    </a:lnTo>
                    <a:lnTo>
                      <a:pt x="558" y="489"/>
                    </a:lnTo>
                    <a:lnTo>
                      <a:pt x="558" y="494"/>
                    </a:lnTo>
                    <a:lnTo>
                      <a:pt x="563" y="498"/>
                    </a:lnTo>
                    <a:lnTo>
                      <a:pt x="563" y="503"/>
                    </a:lnTo>
                    <a:lnTo>
                      <a:pt x="567" y="503"/>
                    </a:lnTo>
                    <a:lnTo>
                      <a:pt x="572" y="503"/>
                    </a:lnTo>
                    <a:lnTo>
                      <a:pt x="576" y="503"/>
                    </a:lnTo>
                    <a:lnTo>
                      <a:pt x="581" y="503"/>
                    </a:lnTo>
                    <a:lnTo>
                      <a:pt x="586" y="498"/>
                    </a:lnTo>
                    <a:lnTo>
                      <a:pt x="590" y="498"/>
                    </a:lnTo>
                    <a:lnTo>
                      <a:pt x="595" y="498"/>
                    </a:lnTo>
                    <a:lnTo>
                      <a:pt x="599" y="498"/>
                    </a:lnTo>
                    <a:lnTo>
                      <a:pt x="604" y="494"/>
                    </a:lnTo>
                    <a:lnTo>
                      <a:pt x="604" y="494"/>
                    </a:lnTo>
                    <a:lnTo>
                      <a:pt x="608" y="494"/>
                    </a:lnTo>
                    <a:lnTo>
                      <a:pt x="613" y="494"/>
                    </a:lnTo>
                    <a:lnTo>
                      <a:pt x="618" y="498"/>
                    </a:lnTo>
                    <a:lnTo>
                      <a:pt x="622" y="503"/>
                    </a:lnTo>
                    <a:lnTo>
                      <a:pt x="622" y="503"/>
                    </a:lnTo>
                    <a:lnTo>
                      <a:pt x="622" y="507"/>
                    </a:lnTo>
                    <a:lnTo>
                      <a:pt x="627" y="512"/>
                    </a:lnTo>
                    <a:lnTo>
                      <a:pt x="627" y="516"/>
                    </a:lnTo>
                    <a:lnTo>
                      <a:pt x="631" y="521"/>
                    </a:lnTo>
                    <a:lnTo>
                      <a:pt x="631" y="526"/>
                    </a:lnTo>
                    <a:lnTo>
                      <a:pt x="631" y="526"/>
                    </a:lnTo>
                    <a:lnTo>
                      <a:pt x="631" y="530"/>
                    </a:lnTo>
                    <a:lnTo>
                      <a:pt x="636" y="535"/>
                    </a:lnTo>
                    <a:lnTo>
                      <a:pt x="631" y="544"/>
                    </a:lnTo>
                    <a:lnTo>
                      <a:pt x="631" y="548"/>
                    </a:lnTo>
                    <a:lnTo>
                      <a:pt x="631" y="558"/>
                    </a:lnTo>
                    <a:lnTo>
                      <a:pt x="627" y="562"/>
                    </a:lnTo>
                    <a:lnTo>
                      <a:pt x="627" y="567"/>
                    </a:lnTo>
                    <a:lnTo>
                      <a:pt x="627" y="567"/>
                    </a:lnTo>
                    <a:lnTo>
                      <a:pt x="622" y="567"/>
                    </a:lnTo>
                    <a:lnTo>
                      <a:pt x="622" y="571"/>
                    </a:lnTo>
                    <a:lnTo>
                      <a:pt x="622" y="576"/>
                    </a:lnTo>
                    <a:lnTo>
                      <a:pt x="622" y="576"/>
                    </a:lnTo>
                    <a:lnTo>
                      <a:pt x="622" y="580"/>
                    </a:lnTo>
                    <a:lnTo>
                      <a:pt x="622" y="585"/>
                    </a:lnTo>
                    <a:lnTo>
                      <a:pt x="622" y="590"/>
                    </a:lnTo>
                    <a:lnTo>
                      <a:pt x="622" y="590"/>
                    </a:lnTo>
                    <a:lnTo>
                      <a:pt x="622" y="594"/>
                    </a:lnTo>
                    <a:lnTo>
                      <a:pt x="622" y="594"/>
                    </a:lnTo>
                    <a:lnTo>
                      <a:pt x="622" y="599"/>
                    </a:lnTo>
                    <a:lnTo>
                      <a:pt x="627" y="599"/>
                    </a:lnTo>
                    <a:lnTo>
                      <a:pt x="627" y="603"/>
                    </a:lnTo>
                    <a:lnTo>
                      <a:pt x="636" y="603"/>
                    </a:lnTo>
                    <a:lnTo>
                      <a:pt x="640" y="603"/>
                    </a:lnTo>
                    <a:lnTo>
                      <a:pt x="645" y="603"/>
                    </a:lnTo>
                    <a:lnTo>
                      <a:pt x="645" y="608"/>
                    </a:lnTo>
                    <a:lnTo>
                      <a:pt x="645" y="612"/>
                    </a:lnTo>
                    <a:lnTo>
                      <a:pt x="645" y="612"/>
                    </a:lnTo>
                    <a:lnTo>
                      <a:pt x="650" y="612"/>
                    </a:lnTo>
                    <a:lnTo>
                      <a:pt x="659" y="631"/>
                    </a:lnTo>
                    <a:lnTo>
                      <a:pt x="659" y="635"/>
                    </a:lnTo>
                    <a:lnTo>
                      <a:pt x="663" y="635"/>
                    </a:lnTo>
                    <a:lnTo>
                      <a:pt x="663" y="635"/>
                    </a:lnTo>
                    <a:lnTo>
                      <a:pt x="663" y="640"/>
                    </a:lnTo>
                    <a:lnTo>
                      <a:pt x="668" y="640"/>
                    </a:lnTo>
                    <a:lnTo>
                      <a:pt x="668" y="644"/>
                    </a:lnTo>
                    <a:lnTo>
                      <a:pt x="668" y="649"/>
                    </a:lnTo>
                    <a:lnTo>
                      <a:pt x="668" y="654"/>
                    </a:lnTo>
                    <a:lnTo>
                      <a:pt x="672" y="654"/>
                    </a:lnTo>
                    <a:lnTo>
                      <a:pt x="677" y="658"/>
                    </a:lnTo>
                    <a:lnTo>
                      <a:pt x="677" y="663"/>
                    </a:lnTo>
                    <a:lnTo>
                      <a:pt x="682" y="667"/>
                    </a:lnTo>
                    <a:lnTo>
                      <a:pt x="686" y="672"/>
                    </a:lnTo>
                    <a:lnTo>
                      <a:pt x="695" y="676"/>
                    </a:lnTo>
                    <a:lnTo>
                      <a:pt x="700" y="676"/>
                    </a:lnTo>
                    <a:lnTo>
                      <a:pt x="714" y="676"/>
                    </a:lnTo>
                    <a:lnTo>
                      <a:pt x="714" y="676"/>
                    </a:lnTo>
                    <a:lnTo>
                      <a:pt x="723" y="676"/>
                    </a:lnTo>
                    <a:lnTo>
                      <a:pt x="732" y="676"/>
                    </a:lnTo>
                    <a:lnTo>
                      <a:pt x="736" y="676"/>
                    </a:lnTo>
                    <a:lnTo>
                      <a:pt x="750" y="681"/>
                    </a:lnTo>
                    <a:lnTo>
                      <a:pt x="759" y="686"/>
                    </a:lnTo>
                    <a:lnTo>
                      <a:pt x="768" y="686"/>
                    </a:lnTo>
                    <a:lnTo>
                      <a:pt x="778" y="690"/>
                    </a:lnTo>
                    <a:lnTo>
                      <a:pt x="782" y="690"/>
                    </a:lnTo>
                    <a:lnTo>
                      <a:pt x="796" y="695"/>
                    </a:lnTo>
                    <a:lnTo>
                      <a:pt x="800" y="695"/>
                    </a:lnTo>
                    <a:lnTo>
                      <a:pt x="805" y="695"/>
                    </a:lnTo>
                    <a:lnTo>
                      <a:pt x="810" y="699"/>
                    </a:lnTo>
                    <a:lnTo>
                      <a:pt x="814" y="699"/>
                    </a:lnTo>
                    <a:lnTo>
                      <a:pt x="823" y="699"/>
                    </a:lnTo>
                    <a:lnTo>
                      <a:pt x="823" y="699"/>
                    </a:lnTo>
                    <a:lnTo>
                      <a:pt x="828" y="699"/>
                    </a:lnTo>
                    <a:lnTo>
                      <a:pt x="832" y="704"/>
                    </a:lnTo>
                    <a:lnTo>
                      <a:pt x="832" y="708"/>
                    </a:lnTo>
                    <a:lnTo>
                      <a:pt x="828" y="708"/>
                    </a:lnTo>
                    <a:lnTo>
                      <a:pt x="828" y="713"/>
                    </a:lnTo>
                    <a:lnTo>
                      <a:pt x="828" y="718"/>
                    </a:lnTo>
                    <a:lnTo>
                      <a:pt x="823" y="718"/>
                    </a:lnTo>
                    <a:lnTo>
                      <a:pt x="823" y="722"/>
                    </a:lnTo>
                    <a:lnTo>
                      <a:pt x="823" y="722"/>
                    </a:lnTo>
                    <a:lnTo>
                      <a:pt x="823" y="722"/>
                    </a:lnTo>
                    <a:lnTo>
                      <a:pt x="819" y="727"/>
                    </a:lnTo>
                    <a:lnTo>
                      <a:pt x="814" y="731"/>
                    </a:lnTo>
                    <a:lnTo>
                      <a:pt x="810" y="736"/>
                    </a:lnTo>
                    <a:lnTo>
                      <a:pt x="805" y="736"/>
                    </a:lnTo>
                    <a:lnTo>
                      <a:pt x="800" y="740"/>
                    </a:lnTo>
                    <a:lnTo>
                      <a:pt x="796" y="740"/>
                    </a:lnTo>
                    <a:lnTo>
                      <a:pt x="782" y="740"/>
                    </a:lnTo>
                    <a:lnTo>
                      <a:pt x="778" y="740"/>
                    </a:lnTo>
                    <a:lnTo>
                      <a:pt x="778" y="745"/>
                    </a:lnTo>
                    <a:lnTo>
                      <a:pt x="768" y="745"/>
                    </a:lnTo>
                    <a:lnTo>
                      <a:pt x="764" y="745"/>
                    </a:lnTo>
                    <a:lnTo>
                      <a:pt x="755" y="750"/>
                    </a:lnTo>
                    <a:lnTo>
                      <a:pt x="755" y="754"/>
                    </a:lnTo>
                    <a:lnTo>
                      <a:pt x="755" y="759"/>
                    </a:lnTo>
                    <a:lnTo>
                      <a:pt x="755" y="763"/>
                    </a:lnTo>
                    <a:lnTo>
                      <a:pt x="755" y="772"/>
                    </a:lnTo>
                    <a:lnTo>
                      <a:pt x="755" y="777"/>
                    </a:lnTo>
                    <a:lnTo>
                      <a:pt x="755" y="777"/>
                    </a:lnTo>
                    <a:lnTo>
                      <a:pt x="755" y="782"/>
                    </a:lnTo>
                    <a:lnTo>
                      <a:pt x="759" y="786"/>
                    </a:lnTo>
                    <a:lnTo>
                      <a:pt x="764" y="786"/>
                    </a:lnTo>
                    <a:lnTo>
                      <a:pt x="768" y="791"/>
                    </a:lnTo>
                    <a:lnTo>
                      <a:pt x="768" y="795"/>
                    </a:lnTo>
                    <a:lnTo>
                      <a:pt x="764" y="795"/>
                    </a:lnTo>
                    <a:lnTo>
                      <a:pt x="759" y="795"/>
                    </a:lnTo>
                    <a:lnTo>
                      <a:pt x="755" y="795"/>
                    </a:lnTo>
                    <a:lnTo>
                      <a:pt x="755" y="791"/>
                    </a:lnTo>
                    <a:lnTo>
                      <a:pt x="750" y="791"/>
                    </a:lnTo>
                    <a:lnTo>
                      <a:pt x="746" y="791"/>
                    </a:lnTo>
                    <a:lnTo>
                      <a:pt x="746" y="786"/>
                    </a:lnTo>
                    <a:lnTo>
                      <a:pt x="736" y="786"/>
                    </a:lnTo>
                    <a:lnTo>
                      <a:pt x="732" y="786"/>
                    </a:lnTo>
                    <a:lnTo>
                      <a:pt x="714" y="786"/>
                    </a:lnTo>
                    <a:lnTo>
                      <a:pt x="691" y="782"/>
                    </a:lnTo>
                    <a:lnTo>
                      <a:pt x="686" y="782"/>
                    </a:lnTo>
                    <a:lnTo>
                      <a:pt x="682" y="786"/>
                    </a:lnTo>
                    <a:lnTo>
                      <a:pt x="677" y="786"/>
                    </a:lnTo>
                    <a:lnTo>
                      <a:pt x="672" y="782"/>
                    </a:lnTo>
                    <a:lnTo>
                      <a:pt x="668" y="782"/>
                    </a:lnTo>
                    <a:lnTo>
                      <a:pt x="668" y="777"/>
                    </a:lnTo>
                    <a:lnTo>
                      <a:pt x="668" y="772"/>
                    </a:lnTo>
                    <a:lnTo>
                      <a:pt x="668" y="768"/>
                    </a:lnTo>
                    <a:lnTo>
                      <a:pt x="668" y="763"/>
                    </a:lnTo>
                    <a:lnTo>
                      <a:pt x="663" y="759"/>
                    </a:lnTo>
                    <a:lnTo>
                      <a:pt x="663" y="754"/>
                    </a:lnTo>
                    <a:lnTo>
                      <a:pt x="659" y="736"/>
                    </a:lnTo>
                    <a:lnTo>
                      <a:pt x="654" y="722"/>
                    </a:lnTo>
                    <a:lnTo>
                      <a:pt x="654" y="722"/>
                    </a:lnTo>
                    <a:lnTo>
                      <a:pt x="654" y="718"/>
                    </a:lnTo>
                    <a:lnTo>
                      <a:pt x="650" y="708"/>
                    </a:lnTo>
                    <a:lnTo>
                      <a:pt x="645" y="699"/>
                    </a:lnTo>
                    <a:lnTo>
                      <a:pt x="645" y="695"/>
                    </a:lnTo>
                    <a:lnTo>
                      <a:pt x="645" y="690"/>
                    </a:lnTo>
                    <a:lnTo>
                      <a:pt x="640" y="690"/>
                    </a:lnTo>
                    <a:lnTo>
                      <a:pt x="636" y="681"/>
                    </a:lnTo>
                    <a:lnTo>
                      <a:pt x="631" y="681"/>
                    </a:lnTo>
                    <a:lnTo>
                      <a:pt x="631" y="676"/>
                    </a:lnTo>
                    <a:lnTo>
                      <a:pt x="627" y="676"/>
                    </a:lnTo>
                    <a:lnTo>
                      <a:pt x="622" y="676"/>
                    </a:lnTo>
                    <a:lnTo>
                      <a:pt x="622" y="676"/>
                    </a:lnTo>
                    <a:lnTo>
                      <a:pt x="618" y="676"/>
                    </a:lnTo>
                    <a:lnTo>
                      <a:pt x="613" y="676"/>
                    </a:lnTo>
                    <a:lnTo>
                      <a:pt x="604" y="676"/>
                    </a:lnTo>
                    <a:lnTo>
                      <a:pt x="599" y="676"/>
                    </a:lnTo>
                    <a:lnTo>
                      <a:pt x="595" y="681"/>
                    </a:lnTo>
                    <a:lnTo>
                      <a:pt x="586" y="681"/>
                    </a:lnTo>
                    <a:lnTo>
                      <a:pt x="581" y="686"/>
                    </a:lnTo>
                    <a:lnTo>
                      <a:pt x="576" y="686"/>
                    </a:lnTo>
                    <a:lnTo>
                      <a:pt x="572" y="686"/>
                    </a:lnTo>
                    <a:lnTo>
                      <a:pt x="567" y="686"/>
                    </a:lnTo>
                    <a:lnTo>
                      <a:pt x="558" y="686"/>
                    </a:lnTo>
                    <a:lnTo>
                      <a:pt x="558" y="686"/>
                    </a:lnTo>
                    <a:lnTo>
                      <a:pt x="554" y="681"/>
                    </a:lnTo>
                    <a:lnTo>
                      <a:pt x="549" y="681"/>
                    </a:lnTo>
                    <a:lnTo>
                      <a:pt x="549" y="676"/>
                    </a:lnTo>
                    <a:lnTo>
                      <a:pt x="544" y="676"/>
                    </a:lnTo>
                    <a:lnTo>
                      <a:pt x="544" y="676"/>
                    </a:lnTo>
                    <a:lnTo>
                      <a:pt x="540" y="672"/>
                    </a:lnTo>
                    <a:lnTo>
                      <a:pt x="540" y="667"/>
                    </a:lnTo>
                    <a:lnTo>
                      <a:pt x="540" y="663"/>
                    </a:lnTo>
                    <a:lnTo>
                      <a:pt x="535" y="658"/>
                    </a:lnTo>
                    <a:lnTo>
                      <a:pt x="535" y="654"/>
                    </a:lnTo>
                    <a:lnTo>
                      <a:pt x="531" y="654"/>
                    </a:lnTo>
                    <a:lnTo>
                      <a:pt x="526" y="654"/>
                    </a:lnTo>
                    <a:lnTo>
                      <a:pt x="522" y="654"/>
                    </a:lnTo>
                    <a:lnTo>
                      <a:pt x="512" y="654"/>
                    </a:lnTo>
                    <a:lnTo>
                      <a:pt x="512" y="658"/>
                    </a:lnTo>
                    <a:lnTo>
                      <a:pt x="499" y="663"/>
                    </a:lnTo>
                    <a:lnTo>
                      <a:pt x="494" y="663"/>
                    </a:lnTo>
                    <a:lnTo>
                      <a:pt x="490" y="658"/>
                    </a:lnTo>
                    <a:lnTo>
                      <a:pt x="485" y="658"/>
                    </a:lnTo>
                    <a:lnTo>
                      <a:pt x="480" y="658"/>
                    </a:lnTo>
                    <a:lnTo>
                      <a:pt x="480" y="654"/>
                    </a:lnTo>
                    <a:lnTo>
                      <a:pt x="476" y="654"/>
                    </a:lnTo>
                    <a:lnTo>
                      <a:pt x="471" y="654"/>
                    </a:lnTo>
                    <a:lnTo>
                      <a:pt x="471" y="654"/>
                    </a:lnTo>
                    <a:lnTo>
                      <a:pt x="467" y="649"/>
                    </a:lnTo>
                    <a:lnTo>
                      <a:pt x="462" y="649"/>
                    </a:lnTo>
                    <a:lnTo>
                      <a:pt x="458" y="644"/>
                    </a:lnTo>
                    <a:lnTo>
                      <a:pt x="448" y="644"/>
                    </a:lnTo>
                    <a:lnTo>
                      <a:pt x="448" y="640"/>
                    </a:lnTo>
                    <a:lnTo>
                      <a:pt x="439" y="640"/>
                    </a:lnTo>
                    <a:lnTo>
                      <a:pt x="435" y="640"/>
                    </a:lnTo>
                    <a:lnTo>
                      <a:pt x="430" y="640"/>
                    </a:lnTo>
                    <a:lnTo>
                      <a:pt x="426" y="644"/>
                    </a:lnTo>
                    <a:lnTo>
                      <a:pt x="426" y="644"/>
                    </a:lnTo>
                    <a:lnTo>
                      <a:pt x="421" y="640"/>
                    </a:lnTo>
                    <a:lnTo>
                      <a:pt x="426" y="635"/>
                    </a:lnTo>
                    <a:lnTo>
                      <a:pt x="426" y="631"/>
                    </a:lnTo>
                    <a:lnTo>
                      <a:pt x="426" y="626"/>
                    </a:lnTo>
                    <a:lnTo>
                      <a:pt x="421" y="617"/>
                    </a:lnTo>
                    <a:lnTo>
                      <a:pt x="426" y="612"/>
                    </a:lnTo>
                    <a:lnTo>
                      <a:pt x="426" y="608"/>
                    </a:lnTo>
                    <a:lnTo>
                      <a:pt x="426" y="603"/>
                    </a:lnTo>
                    <a:lnTo>
                      <a:pt x="426" y="603"/>
                    </a:lnTo>
                    <a:lnTo>
                      <a:pt x="430" y="594"/>
                    </a:lnTo>
                    <a:lnTo>
                      <a:pt x="430" y="590"/>
                    </a:lnTo>
                    <a:lnTo>
                      <a:pt x="435" y="590"/>
                    </a:lnTo>
                    <a:lnTo>
                      <a:pt x="439" y="590"/>
                    </a:lnTo>
                    <a:lnTo>
                      <a:pt x="444" y="590"/>
                    </a:lnTo>
                    <a:lnTo>
                      <a:pt x="448" y="590"/>
                    </a:lnTo>
                    <a:lnTo>
                      <a:pt x="453" y="590"/>
                    </a:lnTo>
                    <a:lnTo>
                      <a:pt x="458" y="585"/>
                    </a:lnTo>
                    <a:lnTo>
                      <a:pt x="458" y="580"/>
                    </a:lnTo>
                    <a:lnTo>
                      <a:pt x="462" y="576"/>
                    </a:lnTo>
                    <a:lnTo>
                      <a:pt x="462" y="571"/>
                    </a:lnTo>
                    <a:lnTo>
                      <a:pt x="467" y="567"/>
                    </a:lnTo>
                    <a:lnTo>
                      <a:pt x="471" y="567"/>
                    </a:lnTo>
                    <a:lnTo>
                      <a:pt x="471" y="562"/>
                    </a:lnTo>
                    <a:lnTo>
                      <a:pt x="471" y="558"/>
                    </a:lnTo>
                    <a:lnTo>
                      <a:pt x="467" y="558"/>
                    </a:lnTo>
                    <a:lnTo>
                      <a:pt x="462" y="558"/>
                    </a:lnTo>
                    <a:lnTo>
                      <a:pt x="453" y="558"/>
                    </a:lnTo>
                    <a:lnTo>
                      <a:pt x="448" y="558"/>
                    </a:lnTo>
                    <a:lnTo>
                      <a:pt x="448" y="553"/>
                    </a:lnTo>
                    <a:lnTo>
                      <a:pt x="448" y="548"/>
                    </a:lnTo>
                    <a:lnTo>
                      <a:pt x="448" y="544"/>
                    </a:lnTo>
                    <a:lnTo>
                      <a:pt x="444" y="544"/>
                    </a:lnTo>
                    <a:lnTo>
                      <a:pt x="435" y="539"/>
                    </a:lnTo>
                    <a:lnTo>
                      <a:pt x="430" y="535"/>
                    </a:lnTo>
                    <a:lnTo>
                      <a:pt x="426" y="535"/>
                    </a:lnTo>
                    <a:lnTo>
                      <a:pt x="426" y="530"/>
                    </a:lnTo>
                    <a:lnTo>
                      <a:pt x="421" y="526"/>
                    </a:lnTo>
                    <a:lnTo>
                      <a:pt x="421" y="526"/>
                    </a:lnTo>
                    <a:lnTo>
                      <a:pt x="416" y="516"/>
                    </a:lnTo>
                    <a:lnTo>
                      <a:pt x="421" y="516"/>
                    </a:lnTo>
                    <a:lnTo>
                      <a:pt x="421" y="512"/>
                    </a:lnTo>
                    <a:lnTo>
                      <a:pt x="421" y="507"/>
                    </a:lnTo>
                    <a:lnTo>
                      <a:pt x="426" y="507"/>
                    </a:lnTo>
                    <a:lnTo>
                      <a:pt x="426" y="503"/>
                    </a:lnTo>
                    <a:lnTo>
                      <a:pt x="426" y="498"/>
                    </a:lnTo>
                    <a:lnTo>
                      <a:pt x="421" y="498"/>
                    </a:lnTo>
                    <a:lnTo>
                      <a:pt x="416" y="498"/>
                    </a:lnTo>
                    <a:lnTo>
                      <a:pt x="407" y="503"/>
                    </a:lnTo>
                    <a:lnTo>
                      <a:pt x="403" y="503"/>
                    </a:lnTo>
                    <a:lnTo>
                      <a:pt x="398" y="503"/>
                    </a:lnTo>
                    <a:lnTo>
                      <a:pt x="394" y="503"/>
                    </a:lnTo>
                    <a:lnTo>
                      <a:pt x="389" y="503"/>
                    </a:lnTo>
                    <a:lnTo>
                      <a:pt x="384" y="498"/>
                    </a:lnTo>
                    <a:lnTo>
                      <a:pt x="384" y="494"/>
                    </a:lnTo>
                    <a:lnTo>
                      <a:pt x="384" y="489"/>
                    </a:lnTo>
                    <a:lnTo>
                      <a:pt x="384" y="484"/>
                    </a:lnTo>
                    <a:lnTo>
                      <a:pt x="384" y="480"/>
                    </a:lnTo>
                    <a:lnTo>
                      <a:pt x="384" y="475"/>
                    </a:lnTo>
                    <a:lnTo>
                      <a:pt x="384" y="471"/>
                    </a:lnTo>
                    <a:lnTo>
                      <a:pt x="389" y="471"/>
                    </a:lnTo>
                    <a:lnTo>
                      <a:pt x="389" y="466"/>
                    </a:lnTo>
                    <a:lnTo>
                      <a:pt x="389" y="462"/>
                    </a:lnTo>
                    <a:lnTo>
                      <a:pt x="394" y="457"/>
                    </a:lnTo>
                    <a:lnTo>
                      <a:pt x="398" y="457"/>
                    </a:lnTo>
                    <a:lnTo>
                      <a:pt x="403" y="457"/>
                    </a:lnTo>
                    <a:lnTo>
                      <a:pt x="403" y="452"/>
                    </a:lnTo>
                    <a:lnTo>
                      <a:pt x="407" y="452"/>
                    </a:lnTo>
                    <a:lnTo>
                      <a:pt x="407" y="448"/>
                    </a:lnTo>
                    <a:lnTo>
                      <a:pt x="412" y="443"/>
                    </a:lnTo>
                    <a:lnTo>
                      <a:pt x="412" y="425"/>
                    </a:lnTo>
                    <a:lnTo>
                      <a:pt x="412" y="416"/>
                    </a:lnTo>
                    <a:lnTo>
                      <a:pt x="412" y="407"/>
                    </a:lnTo>
                    <a:lnTo>
                      <a:pt x="412" y="402"/>
                    </a:lnTo>
                    <a:lnTo>
                      <a:pt x="412" y="398"/>
                    </a:lnTo>
                    <a:lnTo>
                      <a:pt x="407" y="393"/>
                    </a:lnTo>
                    <a:lnTo>
                      <a:pt x="407" y="393"/>
                    </a:lnTo>
                    <a:lnTo>
                      <a:pt x="407" y="379"/>
                    </a:lnTo>
                    <a:lnTo>
                      <a:pt x="403" y="370"/>
                    </a:lnTo>
                    <a:lnTo>
                      <a:pt x="403" y="370"/>
                    </a:lnTo>
                    <a:lnTo>
                      <a:pt x="403" y="366"/>
                    </a:lnTo>
                    <a:lnTo>
                      <a:pt x="398" y="366"/>
                    </a:lnTo>
                    <a:lnTo>
                      <a:pt x="394" y="361"/>
                    </a:lnTo>
                    <a:lnTo>
                      <a:pt x="394" y="361"/>
                    </a:lnTo>
                    <a:lnTo>
                      <a:pt x="389" y="366"/>
                    </a:lnTo>
                    <a:lnTo>
                      <a:pt x="384" y="366"/>
                    </a:lnTo>
                    <a:lnTo>
                      <a:pt x="384" y="370"/>
                    </a:lnTo>
                    <a:lnTo>
                      <a:pt x="384" y="370"/>
                    </a:lnTo>
                    <a:lnTo>
                      <a:pt x="384" y="375"/>
                    </a:lnTo>
                    <a:lnTo>
                      <a:pt x="384" y="384"/>
                    </a:lnTo>
                    <a:lnTo>
                      <a:pt x="384" y="388"/>
                    </a:lnTo>
                    <a:lnTo>
                      <a:pt x="380" y="388"/>
                    </a:lnTo>
                    <a:lnTo>
                      <a:pt x="371" y="388"/>
                    </a:lnTo>
                    <a:lnTo>
                      <a:pt x="366" y="384"/>
                    </a:lnTo>
                    <a:lnTo>
                      <a:pt x="362" y="384"/>
                    </a:lnTo>
                    <a:lnTo>
                      <a:pt x="357" y="384"/>
                    </a:lnTo>
                    <a:lnTo>
                      <a:pt x="357" y="379"/>
                    </a:lnTo>
                    <a:lnTo>
                      <a:pt x="357" y="375"/>
                    </a:lnTo>
                    <a:lnTo>
                      <a:pt x="362" y="375"/>
                    </a:lnTo>
                    <a:lnTo>
                      <a:pt x="362" y="370"/>
                    </a:lnTo>
                    <a:lnTo>
                      <a:pt x="362" y="366"/>
                    </a:lnTo>
                    <a:lnTo>
                      <a:pt x="357" y="366"/>
                    </a:lnTo>
                    <a:lnTo>
                      <a:pt x="352" y="361"/>
                    </a:lnTo>
                    <a:lnTo>
                      <a:pt x="339" y="366"/>
                    </a:lnTo>
                    <a:lnTo>
                      <a:pt x="339" y="366"/>
                    </a:lnTo>
                    <a:lnTo>
                      <a:pt x="334" y="366"/>
                    </a:lnTo>
                    <a:lnTo>
                      <a:pt x="325" y="370"/>
                    </a:lnTo>
                    <a:lnTo>
                      <a:pt x="320" y="370"/>
                    </a:lnTo>
                    <a:lnTo>
                      <a:pt x="311" y="366"/>
                    </a:lnTo>
                    <a:lnTo>
                      <a:pt x="307" y="366"/>
                    </a:lnTo>
                    <a:lnTo>
                      <a:pt x="302" y="361"/>
                    </a:lnTo>
                    <a:lnTo>
                      <a:pt x="298" y="356"/>
                    </a:lnTo>
                    <a:lnTo>
                      <a:pt x="298" y="352"/>
                    </a:lnTo>
                    <a:lnTo>
                      <a:pt x="298" y="347"/>
                    </a:lnTo>
                    <a:lnTo>
                      <a:pt x="302" y="347"/>
                    </a:lnTo>
                    <a:lnTo>
                      <a:pt x="302" y="347"/>
                    </a:lnTo>
                    <a:lnTo>
                      <a:pt x="307" y="347"/>
                    </a:lnTo>
                    <a:lnTo>
                      <a:pt x="307" y="343"/>
                    </a:lnTo>
                    <a:lnTo>
                      <a:pt x="311" y="343"/>
                    </a:lnTo>
                    <a:lnTo>
                      <a:pt x="311" y="338"/>
                    </a:lnTo>
                    <a:lnTo>
                      <a:pt x="311" y="334"/>
                    </a:lnTo>
                    <a:lnTo>
                      <a:pt x="311" y="329"/>
                    </a:lnTo>
                    <a:lnTo>
                      <a:pt x="316" y="324"/>
                    </a:lnTo>
                    <a:lnTo>
                      <a:pt x="316" y="324"/>
                    </a:lnTo>
                    <a:lnTo>
                      <a:pt x="311" y="320"/>
                    </a:lnTo>
                    <a:lnTo>
                      <a:pt x="311" y="315"/>
                    </a:lnTo>
                    <a:lnTo>
                      <a:pt x="307" y="315"/>
                    </a:lnTo>
                    <a:lnTo>
                      <a:pt x="307" y="311"/>
                    </a:lnTo>
                    <a:lnTo>
                      <a:pt x="302" y="302"/>
                    </a:lnTo>
                    <a:lnTo>
                      <a:pt x="298" y="297"/>
                    </a:lnTo>
                    <a:lnTo>
                      <a:pt x="298" y="292"/>
                    </a:lnTo>
                    <a:lnTo>
                      <a:pt x="293" y="288"/>
                    </a:lnTo>
                    <a:lnTo>
                      <a:pt x="293" y="283"/>
                    </a:lnTo>
                    <a:lnTo>
                      <a:pt x="293" y="283"/>
                    </a:lnTo>
                    <a:lnTo>
                      <a:pt x="293" y="283"/>
                    </a:lnTo>
                    <a:lnTo>
                      <a:pt x="288" y="283"/>
                    </a:lnTo>
                    <a:lnTo>
                      <a:pt x="284" y="283"/>
                    </a:lnTo>
                    <a:lnTo>
                      <a:pt x="275" y="283"/>
                    </a:lnTo>
                    <a:lnTo>
                      <a:pt x="270" y="283"/>
                    </a:lnTo>
                    <a:lnTo>
                      <a:pt x="256" y="283"/>
                    </a:lnTo>
                    <a:lnTo>
                      <a:pt x="252" y="283"/>
                    </a:lnTo>
                    <a:lnTo>
                      <a:pt x="252" y="283"/>
                    </a:lnTo>
                    <a:lnTo>
                      <a:pt x="243" y="283"/>
                    </a:lnTo>
                    <a:lnTo>
                      <a:pt x="238" y="279"/>
                    </a:lnTo>
                    <a:lnTo>
                      <a:pt x="234" y="270"/>
                    </a:lnTo>
                    <a:lnTo>
                      <a:pt x="234" y="265"/>
                    </a:lnTo>
                    <a:lnTo>
                      <a:pt x="238" y="265"/>
                    </a:lnTo>
                    <a:lnTo>
                      <a:pt x="238" y="260"/>
                    </a:lnTo>
                    <a:lnTo>
                      <a:pt x="238" y="260"/>
                    </a:lnTo>
                    <a:lnTo>
                      <a:pt x="243" y="256"/>
                    </a:lnTo>
                    <a:lnTo>
                      <a:pt x="247" y="256"/>
                    </a:lnTo>
                    <a:lnTo>
                      <a:pt x="247" y="251"/>
                    </a:lnTo>
                    <a:lnTo>
                      <a:pt x="247" y="247"/>
                    </a:lnTo>
                    <a:lnTo>
                      <a:pt x="247" y="242"/>
                    </a:lnTo>
                    <a:lnTo>
                      <a:pt x="243" y="238"/>
                    </a:lnTo>
                    <a:lnTo>
                      <a:pt x="243" y="238"/>
                    </a:lnTo>
                    <a:lnTo>
                      <a:pt x="238" y="238"/>
                    </a:lnTo>
                    <a:lnTo>
                      <a:pt x="238" y="233"/>
                    </a:lnTo>
                    <a:lnTo>
                      <a:pt x="229" y="233"/>
                    </a:lnTo>
                    <a:lnTo>
                      <a:pt x="229" y="228"/>
                    </a:lnTo>
                    <a:lnTo>
                      <a:pt x="215" y="228"/>
                    </a:lnTo>
                    <a:lnTo>
                      <a:pt x="211" y="228"/>
                    </a:lnTo>
                    <a:lnTo>
                      <a:pt x="206" y="224"/>
                    </a:lnTo>
                    <a:lnTo>
                      <a:pt x="206" y="219"/>
                    </a:lnTo>
                    <a:lnTo>
                      <a:pt x="206" y="219"/>
                    </a:lnTo>
                    <a:lnTo>
                      <a:pt x="206" y="219"/>
                    </a:lnTo>
                    <a:lnTo>
                      <a:pt x="206" y="215"/>
                    </a:lnTo>
                    <a:lnTo>
                      <a:pt x="206" y="210"/>
                    </a:lnTo>
                    <a:lnTo>
                      <a:pt x="206" y="201"/>
                    </a:lnTo>
                    <a:lnTo>
                      <a:pt x="211" y="196"/>
                    </a:lnTo>
                    <a:lnTo>
                      <a:pt x="211" y="187"/>
                    </a:lnTo>
                    <a:lnTo>
                      <a:pt x="215" y="187"/>
                    </a:lnTo>
                    <a:lnTo>
                      <a:pt x="211" y="183"/>
                    </a:lnTo>
                    <a:lnTo>
                      <a:pt x="211" y="178"/>
                    </a:lnTo>
                    <a:lnTo>
                      <a:pt x="206" y="174"/>
                    </a:lnTo>
                    <a:lnTo>
                      <a:pt x="206" y="174"/>
                    </a:lnTo>
                    <a:lnTo>
                      <a:pt x="197" y="178"/>
                    </a:lnTo>
                    <a:lnTo>
                      <a:pt x="188" y="178"/>
                    </a:lnTo>
                    <a:lnTo>
                      <a:pt x="183" y="178"/>
                    </a:lnTo>
                    <a:lnTo>
                      <a:pt x="183" y="178"/>
                    </a:lnTo>
                    <a:lnTo>
                      <a:pt x="179" y="174"/>
                    </a:lnTo>
                    <a:lnTo>
                      <a:pt x="174" y="174"/>
                    </a:lnTo>
                    <a:lnTo>
                      <a:pt x="170" y="174"/>
                    </a:lnTo>
                    <a:lnTo>
                      <a:pt x="165" y="174"/>
                    </a:lnTo>
                    <a:lnTo>
                      <a:pt x="165" y="174"/>
                    </a:lnTo>
                    <a:lnTo>
                      <a:pt x="165" y="169"/>
                    </a:lnTo>
                    <a:lnTo>
                      <a:pt x="160" y="169"/>
                    </a:lnTo>
                    <a:lnTo>
                      <a:pt x="156" y="169"/>
                    </a:lnTo>
                    <a:lnTo>
                      <a:pt x="151" y="174"/>
                    </a:lnTo>
                    <a:lnTo>
                      <a:pt x="147" y="174"/>
                    </a:lnTo>
                    <a:lnTo>
                      <a:pt x="142" y="174"/>
                    </a:lnTo>
                    <a:lnTo>
                      <a:pt x="142" y="174"/>
                    </a:lnTo>
                    <a:lnTo>
                      <a:pt x="142" y="174"/>
                    </a:lnTo>
                    <a:lnTo>
                      <a:pt x="128" y="174"/>
                    </a:lnTo>
                    <a:lnTo>
                      <a:pt x="119" y="174"/>
                    </a:lnTo>
                    <a:lnTo>
                      <a:pt x="119" y="174"/>
                    </a:lnTo>
                    <a:lnTo>
                      <a:pt x="115" y="178"/>
                    </a:lnTo>
                    <a:lnTo>
                      <a:pt x="106" y="183"/>
                    </a:lnTo>
                    <a:lnTo>
                      <a:pt x="101" y="187"/>
                    </a:lnTo>
                    <a:lnTo>
                      <a:pt x="96" y="192"/>
                    </a:lnTo>
                    <a:lnTo>
                      <a:pt x="96" y="196"/>
                    </a:lnTo>
                    <a:lnTo>
                      <a:pt x="96" y="196"/>
                    </a:lnTo>
                    <a:lnTo>
                      <a:pt x="96" y="196"/>
                    </a:lnTo>
                    <a:lnTo>
                      <a:pt x="92" y="206"/>
                    </a:lnTo>
                    <a:lnTo>
                      <a:pt x="92" y="215"/>
                    </a:lnTo>
                    <a:lnTo>
                      <a:pt x="87" y="215"/>
                    </a:lnTo>
                    <a:lnTo>
                      <a:pt x="87" y="219"/>
                    </a:lnTo>
                    <a:lnTo>
                      <a:pt x="87" y="224"/>
                    </a:lnTo>
                    <a:lnTo>
                      <a:pt x="87" y="228"/>
                    </a:lnTo>
                    <a:lnTo>
                      <a:pt x="83" y="228"/>
                    </a:lnTo>
                    <a:lnTo>
                      <a:pt x="83" y="233"/>
                    </a:lnTo>
                    <a:lnTo>
                      <a:pt x="78" y="238"/>
                    </a:lnTo>
                    <a:lnTo>
                      <a:pt x="78" y="233"/>
                    </a:lnTo>
                    <a:lnTo>
                      <a:pt x="74" y="233"/>
                    </a:lnTo>
                    <a:lnTo>
                      <a:pt x="74" y="228"/>
                    </a:lnTo>
                    <a:lnTo>
                      <a:pt x="74" y="219"/>
                    </a:lnTo>
                    <a:lnTo>
                      <a:pt x="74" y="219"/>
                    </a:lnTo>
                    <a:lnTo>
                      <a:pt x="74" y="215"/>
                    </a:lnTo>
                    <a:lnTo>
                      <a:pt x="74" y="210"/>
                    </a:lnTo>
                    <a:lnTo>
                      <a:pt x="74" y="206"/>
                    </a:lnTo>
                    <a:lnTo>
                      <a:pt x="74" y="201"/>
                    </a:lnTo>
                    <a:lnTo>
                      <a:pt x="69" y="201"/>
                    </a:lnTo>
                    <a:lnTo>
                      <a:pt x="69" y="196"/>
                    </a:lnTo>
                    <a:lnTo>
                      <a:pt x="64" y="196"/>
                    </a:lnTo>
                    <a:lnTo>
                      <a:pt x="60" y="192"/>
                    </a:lnTo>
                    <a:lnTo>
                      <a:pt x="55" y="187"/>
                    </a:lnTo>
                    <a:lnTo>
                      <a:pt x="55" y="183"/>
                    </a:lnTo>
                    <a:lnTo>
                      <a:pt x="51" y="174"/>
                    </a:lnTo>
                    <a:lnTo>
                      <a:pt x="46" y="174"/>
                    </a:lnTo>
                    <a:lnTo>
                      <a:pt x="42" y="174"/>
                    </a:lnTo>
                    <a:lnTo>
                      <a:pt x="42" y="174"/>
                    </a:lnTo>
                    <a:lnTo>
                      <a:pt x="37" y="174"/>
                    </a:lnTo>
                    <a:lnTo>
                      <a:pt x="32" y="174"/>
                    </a:lnTo>
                    <a:lnTo>
                      <a:pt x="32" y="169"/>
                    </a:lnTo>
                    <a:lnTo>
                      <a:pt x="19" y="169"/>
                    </a:lnTo>
                    <a:lnTo>
                      <a:pt x="14" y="164"/>
                    </a:lnTo>
                    <a:lnTo>
                      <a:pt x="10" y="160"/>
                    </a:lnTo>
                    <a:lnTo>
                      <a:pt x="5" y="151"/>
                    </a:lnTo>
                    <a:lnTo>
                      <a:pt x="5" y="146"/>
                    </a:lnTo>
                    <a:lnTo>
                      <a:pt x="0" y="142"/>
                    </a:lnTo>
                    <a:lnTo>
                      <a:pt x="0" y="142"/>
                    </a:lnTo>
                    <a:lnTo>
                      <a:pt x="0" y="132"/>
                    </a:lnTo>
                    <a:lnTo>
                      <a:pt x="0" y="128"/>
                    </a:lnTo>
                    <a:lnTo>
                      <a:pt x="0" y="119"/>
                    </a:lnTo>
                    <a:lnTo>
                      <a:pt x="0" y="114"/>
                    </a:lnTo>
                    <a:lnTo>
                      <a:pt x="0" y="100"/>
                    </a:lnTo>
                    <a:lnTo>
                      <a:pt x="0" y="96"/>
                    </a:lnTo>
                    <a:lnTo>
                      <a:pt x="0" y="91"/>
                    </a:lnTo>
                    <a:lnTo>
                      <a:pt x="0" y="87"/>
                    </a:lnTo>
                    <a:lnTo>
                      <a:pt x="5" y="87"/>
                    </a:lnTo>
                    <a:lnTo>
                      <a:pt x="5" y="87"/>
                    </a:lnTo>
                    <a:lnTo>
                      <a:pt x="10" y="82"/>
                    </a:lnTo>
                    <a:lnTo>
                      <a:pt x="14" y="78"/>
                    </a:lnTo>
                    <a:lnTo>
                      <a:pt x="28" y="73"/>
                    </a:lnTo>
                    <a:lnTo>
                      <a:pt x="32" y="73"/>
                    </a:lnTo>
                    <a:lnTo>
                      <a:pt x="32" y="73"/>
                    </a:lnTo>
                    <a:lnTo>
                      <a:pt x="37" y="73"/>
                    </a:lnTo>
                    <a:lnTo>
                      <a:pt x="42" y="73"/>
                    </a:lnTo>
                    <a:lnTo>
                      <a:pt x="42" y="78"/>
                    </a:lnTo>
                    <a:lnTo>
                      <a:pt x="46" y="78"/>
                    </a:lnTo>
                    <a:lnTo>
                      <a:pt x="55" y="78"/>
                    </a:lnTo>
                    <a:lnTo>
                      <a:pt x="55" y="82"/>
                    </a:lnTo>
                    <a:lnTo>
                      <a:pt x="64" y="82"/>
                    </a:lnTo>
                    <a:lnTo>
                      <a:pt x="69" y="82"/>
                    </a:lnTo>
                    <a:lnTo>
                      <a:pt x="74" y="87"/>
                    </a:lnTo>
                    <a:lnTo>
                      <a:pt x="83" y="87"/>
                    </a:lnTo>
                    <a:lnTo>
                      <a:pt x="87" y="82"/>
                    </a:lnTo>
                    <a:lnTo>
                      <a:pt x="92" y="82"/>
                    </a:lnTo>
                    <a:lnTo>
                      <a:pt x="96" y="82"/>
                    </a:lnTo>
                    <a:lnTo>
                      <a:pt x="96" y="82"/>
                    </a:lnTo>
                    <a:lnTo>
                      <a:pt x="106" y="82"/>
                    </a:lnTo>
                    <a:lnTo>
                      <a:pt x="110" y="78"/>
                    </a:lnTo>
                    <a:lnTo>
                      <a:pt x="124" y="73"/>
                    </a:lnTo>
                    <a:lnTo>
                      <a:pt x="133" y="73"/>
                    </a:lnTo>
                    <a:lnTo>
                      <a:pt x="142" y="78"/>
                    </a:lnTo>
                    <a:lnTo>
                      <a:pt x="142" y="82"/>
                    </a:lnTo>
                    <a:lnTo>
                      <a:pt x="151" y="87"/>
                    </a:lnTo>
                    <a:lnTo>
                      <a:pt x="156" y="87"/>
                    </a:lnTo>
                    <a:lnTo>
                      <a:pt x="156" y="96"/>
                    </a:lnTo>
                    <a:lnTo>
                      <a:pt x="160" y="96"/>
                    </a:lnTo>
                    <a:lnTo>
                      <a:pt x="160" y="100"/>
                    </a:lnTo>
                    <a:lnTo>
                      <a:pt x="165" y="105"/>
                    </a:lnTo>
                    <a:lnTo>
                      <a:pt x="165" y="110"/>
                    </a:lnTo>
                    <a:lnTo>
                      <a:pt x="165" y="110"/>
                    </a:lnTo>
                    <a:lnTo>
                      <a:pt x="170" y="110"/>
                    </a:lnTo>
                    <a:lnTo>
                      <a:pt x="174" y="114"/>
                    </a:lnTo>
                    <a:lnTo>
                      <a:pt x="174" y="114"/>
                    </a:lnTo>
                    <a:lnTo>
                      <a:pt x="179" y="123"/>
                    </a:lnTo>
                    <a:lnTo>
                      <a:pt x="183" y="123"/>
                    </a:lnTo>
                    <a:lnTo>
                      <a:pt x="183" y="128"/>
                    </a:lnTo>
                    <a:lnTo>
                      <a:pt x="188" y="128"/>
                    </a:lnTo>
                    <a:lnTo>
                      <a:pt x="192" y="132"/>
                    </a:lnTo>
                    <a:lnTo>
                      <a:pt x="197" y="132"/>
                    </a:lnTo>
                    <a:lnTo>
                      <a:pt x="202" y="137"/>
                    </a:lnTo>
                    <a:lnTo>
                      <a:pt x="211" y="142"/>
                    </a:lnTo>
                    <a:lnTo>
                      <a:pt x="224" y="142"/>
                    </a:lnTo>
                    <a:lnTo>
                      <a:pt x="229" y="146"/>
                    </a:lnTo>
                    <a:lnTo>
                      <a:pt x="234" y="142"/>
                    </a:lnTo>
                    <a:lnTo>
                      <a:pt x="252" y="142"/>
                    </a:lnTo>
                    <a:lnTo>
                      <a:pt x="252" y="142"/>
                    </a:lnTo>
                    <a:lnTo>
                      <a:pt x="261" y="142"/>
                    </a:lnTo>
                    <a:lnTo>
                      <a:pt x="270" y="137"/>
                    </a:lnTo>
                    <a:lnTo>
                      <a:pt x="275" y="132"/>
                    </a:lnTo>
                    <a:lnTo>
                      <a:pt x="279" y="128"/>
                    </a:lnTo>
                    <a:lnTo>
                      <a:pt x="284" y="128"/>
                    </a:lnTo>
                    <a:lnTo>
                      <a:pt x="288" y="128"/>
                    </a:lnTo>
                    <a:lnTo>
                      <a:pt x="288" y="123"/>
                    </a:lnTo>
                    <a:lnTo>
                      <a:pt x="293" y="123"/>
                    </a:lnTo>
                    <a:lnTo>
                      <a:pt x="293" y="119"/>
                    </a:lnTo>
                    <a:lnTo>
                      <a:pt x="293" y="114"/>
                    </a:lnTo>
                    <a:lnTo>
                      <a:pt x="293" y="114"/>
                    </a:lnTo>
                    <a:lnTo>
                      <a:pt x="293" y="110"/>
                    </a:lnTo>
                    <a:lnTo>
                      <a:pt x="298" y="110"/>
                    </a:lnTo>
                    <a:lnTo>
                      <a:pt x="298" y="110"/>
                    </a:lnTo>
                    <a:lnTo>
                      <a:pt x="302" y="105"/>
                    </a:lnTo>
                    <a:lnTo>
                      <a:pt x="302" y="100"/>
                    </a:lnTo>
                    <a:lnTo>
                      <a:pt x="307" y="100"/>
                    </a:lnTo>
                    <a:lnTo>
                      <a:pt x="311" y="91"/>
                    </a:lnTo>
                    <a:lnTo>
                      <a:pt x="298" y="68"/>
                    </a:lnTo>
                    <a:lnTo>
                      <a:pt x="302" y="68"/>
                    </a:lnTo>
                    <a:lnTo>
                      <a:pt x="307" y="73"/>
                    </a:lnTo>
                    <a:lnTo>
                      <a:pt x="307" y="73"/>
                    </a:lnTo>
                    <a:lnTo>
                      <a:pt x="311" y="68"/>
                    </a:lnTo>
                    <a:lnTo>
                      <a:pt x="316" y="68"/>
                    </a:lnTo>
                    <a:lnTo>
                      <a:pt x="325" y="68"/>
                    </a:lnTo>
                    <a:lnTo>
                      <a:pt x="339" y="68"/>
                    </a:lnTo>
                    <a:lnTo>
                      <a:pt x="339" y="68"/>
                    </a:lnTo>
                    <a:lnTo>
                      <a:pt x="348" y="68"/>
                    </a:lnTo>
                    <a:lnTo>
                      <a:pt x="348" y="73"/>
                    </a:lnTo>
                    <a:lnTo>
                      <a:pt x="352" y="73"/>
                    </a:lnTo>
                    <a:lnTo>
                      <a:pt x="357" y="73"/>
                    </a:lnTo>
                    <a:lnTo>
                      <a:pt x="357" y="73"/>
                    </a:lnTo>
                    <a:lnTo>
                      <a:pt x="371" y="73"/>
                    </a:lnTo>
                    <a:lnTo>
                      <a:pt x="371" y="73"/>
                    </a:lnTo>
                    <a:lnTo>
                      <a:pt x="375" y="73"/>
                    </a:lnTo>
                    <a:lnTo>
                      <a:pt x="380" y="73"/>
                    </a:lnTo>
                    <a:lnTo>
                      <a:pt x="380" y="73"/>
                    </a:lnTo>
                    <a:lnTo>
                      <a:pt x="380" y="73"/>
                    </a:lnTo>
                    <a:lnTo>
                      <a:pt x="384" y="73"/>
                    </a:lnTo>
                    <a:lnTo>
                      <a:pt x="403" y="73"/>
                    </a:lnTo>
                    <a:lnTo>
                      <a:pt x="403" y="73"/>
                    </a:lnTo>
                    <a:lnTo>
                      <a:pt x="403" y="78"/>
                    </a:lnTo>
                    <a:lnTo>
                      <a:pt x="412" y="73"/>
                    </a:lnTo>
                    <a:lnTo>
                      <a:pt x="412" y="78"/>
                    </a:lnTo>
                    <a:lnTo>
                      <a:pt x="416" y="78"/>
                    </a:lnTo>
                    <a:lnTo>
                      <a:pt x="426" y="78"/>
                    </a:lnTo>
                    <a:lnTo>
                      <a:pt x="426" y="82"/>
                    </a:lnTo>
                    <a:lnTo>
                      <a:pt x="430" y="78"/>
                    </a:lnTo>
                    <a:lnTo>
                      <a:pt x="435" y="82"/>
                    </a:lnTo>
                    <a:lnTo>
                      <a:pt x="439" y="82"/>
                    </a:lnTo>
                    <a:lnTo>
                      <a:pt x="444" y="82"/>
                    </a:lnTo>
                    <a:lnTo>
                      <a:pt x="448" y="78"/>
                    </a:lnTo>
                    <a:lnTo>
                      <a:pt x="453" y="78"/>
                    </a:lnTo>
                    <a:lnTo>
                      <a:pt x="458" y="78"/>
                    </a:lnTo>
                    <a:lnTo>
                      <a:pt x="462" y="78"/>
                    </a:lnTo>
                    <a:lnTo>
                      <a:pt x="467" y="78"/>
                    </a:lnTo>
                    <a:lnTo>
                      <a:pt x="467" y="78"/>
                    </a:lnTo>
                    <a:lnTo>
                      <a:pt x="476" y="78"/>
                    </a:lnTo>
                    <a:lnTo>
                      <a:pt x="480" y="78"/>
                    </a:lnTo>
                    <a:lnTo>
                      <a:pt x="480" y="78"/>
                    </a:lnTo>
                    <a:lnTo>
                      <a:pt x="503" y="82"/>
                    </a:lnTo>
                    <a:lnTo>
                      <a:pt x="512" y="82"/>
                    </a:lnTo>
                    <a:lnTo>
                      <a:pt x="517" y="82"/>
                    </a:lnTo>
                    <a:lnTo>
                      <a:pt x="526" y="82"/>
                    </a:lnTo>
                    <a:lnTo>
                      <a:pt x="526" y="82"/>
                    </a:lnTo>
                    <a:lnTo>
                      <a:pt x="535" y="82"/>
                    </a:lnTo>
                    <a:lnTo>
                      <a:pt x="540" y="82"/>
                    </a:lnTo>
                    <a:lnTo>
                      <a:pt x="540" y="82"/>
                    </a:lnTo>
                    <a:lnTo>
                      <a:pt x="540" y="91"/>
                    </a:lnTo>
                    <a:lnTo>
                      <a:pt x="567" y="87"/>
                    </a:lnTo>
                    <a:lnTo>
                      <a:pt x="576" y="87"/>
                    </a:lnTo>
                    <a:lnTo>
                      <a:pt x="581" y="87"/>
                    </a:lnTo>
                    <a:lnTo>
                      <a:pt x="581" y="87"/>
                    </a:lnTo>
                    <a:lnTo>
                      <a:pt x="590" y="87"/>
                    </a:lnTo>
                    <a:lnTo>
                      <a:pt x="599" y="87"/>
                    </a:lnTo>
                    <a:lnTo>
                      <a:pt x="604" y="87"/>
                    </a:lnTo>
                    <a:lnTo>
                      <a:pt x="604" y="87"/>
                    </a:lnTo>
                    <a:lnTo>
                      <a:pt x="613" y="87"/>
                    </a:lnTo>
                    <a:lnTo>
                      <a:pt x="618" y="87"/>
                    </a:lnTo>
                    <a:lnTo>
                      <a:pt x="622" y="87"/>
                    </a:lnTo>
                    <a:lnTo>
                      <a:pt x="636" y="87"/>
                    </a:lnTo>
                    <a:lnTo>
                      <a:pt x="645" y="87"/>
                    </a:lnTo>
                    <a:lnTo>
                      <a:pt x="645" y="82"/>
                    </a:lnTo>
                    <a:lnTo>
                      <a:pt x="645" y="82"/>
                    </a:lnTo>
                    <a:lnTo>
                      <a:pt x="650" y="78"/>
                    </a:lnTo>
                    <a:lnTo>
                      <a:pt x="654" y="73"/>
                    </a:lnTo>
                    <a:lnTo>
                      <a:pt x="654" y="68"/>
                    </a:lnTo>
                    <a:lnTo>
                      <a:pt x="659" y="68"/>
                    </a:lnTo>
                    <a:lnTo>
                      <a:pt x="663" y="59"/>
                    </a:lnTo>
                    <a:lnTo>
                      <a:pt x="668" y="50"/>
                    </a:lnTo>
                    <a:lnTo>
                      <a:pt x="668" y="46"/>
                    </a:lnTo>
                    <a:lnTo>
                      <a:pt x="668" y="41"/>
                    </a:lnTo>
                    <a:lnTo>
                      <a:pt x="668" y="41"/>
                    </a:lnTo>
                    <a:lnTo>
                      <a:pt x="672" y="41"/>
                    </a:lnTo>
                    <a:lnTo>
                      <a:pt x="677" y="36"/>
                    </a:lnTo>
                    <a:lnTo>
                      <a:pt x="682" y="32"/>
                    </a:lnTo>
                    <a:lnTo>
                      <a:pt x="686" y="32"/>
                    </a:lnTo>
                    <a:lnTo>
                      <a:pt x="691" y="27"/>
                    </a:lnTo>
                    <a:lnTo>
                      <a:pt x="691" y="27"/>
                    </a:lnTo>
                    <a:lnTo>
                      <a:pt x="695" y="23"/>
                    </a:lnTo>
                    <a:lnTo>
                      <a:pt x="700" y="23"/>
                    </a:lnTo>
                    <a:lnTo>
                      <a:pt x="704" y="23"/>
                    </a:lnTo>
                    <a:lnTo>
                      <a:pt x="714" y="18"/>
                    </a:lnTo>
                    <a:lnTo>
                      <a:pt x="723" y="18"/>
                    </a:lnTo>
                    <a:lnTo>
                      <a:pt x="727" y="18"/>
                    </a:lnTo>
                    <a:lnTo>
                      <a:pt x="736" y="18"/>
                    </a:lnTo>
                    <a:lnTo>
                      <a:pt x="736" y="14"/>
                    </a:lnTo>
                    <a:lnTo>
                      <a:pt x="741" y="14"/>
                    </a:lnTo>
                    <a:lnTo>
                      <a:pt x="746" y="9"/>
                    </a:lnTo>
                    <a:lnTo>
                      <a:pt x="750" y="9"/>
                    </a:lnTo>
                    <a:lnTo>
                      <a:pt x="755" y="0"/>
                    </a:lnTo>
                    <a:lnTo>
                      <a:pt x="759" y="0"/>
                    </a:lnTo>
                    <a:lnTo>
                      <a:pt x="768" y="0"/>
                    </a:lnTo>
                    <a:lnTo>
                      <a:pt x="773" y="0"/>
                    </a:lnTo>
                    <a:lnTo>
                      <a:pt x="778" y="0"/>
                    </a:lnTo>
                    <a:lnTo>
                      <a:pt x="778" y="0"/>
                    </a:lnTo>
                    <a:lnTo>
                      <a:pt x="782" y="4"/>
                    </a:lnTo>
                    <a:lnTo>
                      <a:pt x="782" y="9"/>
                    </a:lnTo>
                    <a:lnTo>
                      <a:pt x="787" y="14"/>
                    </a:lnTo>
                    <a:lnTo>
                      <a:pt x="787" y="18"/>
                    </a:lnTo>
                    <a:lnTo>
                      <a:pt x="791" y="32"/>
                    </a:lnTo>
                    <a:lnTo>
                      <a:pt x="796" y="41"/>
                    </a:lnTo>
                    <a:lnTo>
                      <a:pt x="800" y="55"/>
                    </a:lnTo>
                    <a:lnTo>
                      <a:pt x="796" y="64"/>
                    </a:lnTo>
                    <a:lnTo>
                      <a:pt x="800" y="68"/>
                    </a:lnTo>
                    <a:lnTo>
                      <a:pt x="800" y="73"/>
                    </a:lnTo>
                    <a:lnTo>
                      <a:pt x="800" y="78"/>
                    </a:lnTo>
                    <a:lnTo>
                      <a:pt x="800" y="82"/>
                    </a:lnTo>
                    <a:lnTo>
                      <a:pt x="805" y="87"/>
                    </a:lnTo>
                    <a:lnTo>
                      <a:pt x="810" y="87"/>
                    </a:lnTo>
                    <a:lnTo>
                      <a:pt x="814" y="87"/>
                    </a:lnTo>
                    <a:lnTo>
                      <a:pt x="819" y="87"/>
                    </a:lnTo>
                    <a:lnTo>
                      <a:pt x="823" y="87"/>
                    </a:lnTo>
                    <a:lnTo>
                      <a:pt x="823" y="82"/>
                    </a:lnTo>
                    <a:lnTo>
                      <a:pt x="823" y="82"/>
                    </a:lnTo>
                    <a:lnTo>
                      <a:pt x="828" y="82"/>
                    </a:lnTo>
                    <a:lnTo>
                      <a:pt x="832" y="78"/>
                    </a:lnTo>
                    <a:lnTo>
                      <a:pt x="837" y="78"/>
                    </a:lnTo>
                    <a:lnTo>
                      <a:pt x="842" y="82"/>
                    </a:lnTo>
                    <a:lnTo>
                      <a:pt x="846" y="82"/>
                    </a:lnTo>
                    <a:lnTo>
                      <a:pt x="846" y="87"/>
                    </a:lnTo>
                    <a:lnTo>
                      <a:pt x="855" y="87"/>
                    </a:lnTo>
                    <a:lnTo>
                      <a:pt x="864" y="87"/>
                    </a:lnTo>
                    <a:lnTo>
                      <a:pt x="869" y="87"/>
                    </a:lnTo>
                    <a:lnTo>
                      <a:pt x="878" y="87"/>
                    </a:lnTo>
                    <a:lnTo>
                      <a:pt x="892" y="87"/>
                    </a:lnTo>
                    <a:lnTo>
                      <a:pt x="896" y="87"/>
                    </a:lnTo>
                    <a:lnTo>
                      <a:pt x="901" y="87"/>
                    </a:lnTo>
                    <a:lnTo>
                      <a:pt x="906" y="91"/>
                    </a:lnTo>
                    <a:lnTo>
                      <a:pt x="910" y="96"/>
                    </a:lnTo>
                    <a:lnTo>
                      <a:pt x="910" y="110"/>
                    </a:lnTo>
                    <a:lnTo>
                      <a:pt x="910" y="123"/>
                    </a:lnTo>
                    <a:lnTo>
                      <a:pt x="915" y="137"/>
                    </a:lnTo>
                    <a:lnTo>
                      <a:pt x="915" y="151"/>
                    </a:lnTo>
                    <a:lnTo>
                      <a:pt x="919" y="174"/>
                    </a:lnTo>
                    <a:lnTo>
                      <a:pt x="924" y="187"/>
                    </a:lnTo>
                    <a:lnTo>
                      <a:pt x="919" y="196"/>
                    </a:lnTo>
                    <a:lnTo>
                      <a:pt x="919" y="196"/>
                    </a:lnTo>
                    <a:lnTo>
                      <a:pt x="915" y="201"/>
                    </a:lnTo>
                    <a:lnTo>
                      <a:pt x="910" y="201"/>
                    </a:lnTo>
                    <a:lnTo>
                      <a:pt x="910" y="206"/>
                    </a:lnTo>
                    <a:lnTo>
                      <a:pt x="910" y="206"/>
                    </a:lnTo>
                    <a:lnTo>
                      <a:pt x="906" y="210"/>
                    </a:lnTo>
                    <a:lnTo>
                      <a:pt x="896" y="215"/>
                    </a:lnTo>
                    <a:lnTo>
                      <a:pt x="887" y="219"/>
                    </a:lnTo>
                    <a:lnTo>
                      <a:pt x="887" y="219"/>
                    </a:lnTo>
                    <a:lnTo>
                      <a:pt x="883" y="219"/>
                    </a:lnTo>
                    <a:lnTo>
                      <a:pt x="883" y="224"/>
                    </a:lnTo>
                    <a:lnTo>
                      <a:pt x="878" y="224"/>
                    </a:lnTo>
                    <a:lnTo>
                      <a:pt x="878" y="228"/>
                    </a:lnTo>
                    <a:lnTo>
                      <a:pt x="874" y="228"/>
                    </a:lnTo>
                    <a:lnTo>
                      <a:pt x="874" y="233"/>
                    </a:lnTo>
                    <a:lnTo>
                      <a:pt x="869" y="233"/>
                    </a:lnTo>
                    <a:lnTo>
                      <a:pt x="864" y="233"/>
                    </a:lnTo>
                    <a:lnTo>
                      <a:pt x="864" y="233"/>
                    </a:lnTo>
                    <a:lnTo>
                      <a:pt x="860" y="228"/>
                    </a:lnTo>
                    <a:lnTo>
                      <a:pt x="855" y="224"/>
                    </a:lnTo>
                    <a:lnTo>
                      <a:pt x="851" y="224"/>
                    </a:lnTo>
                    <a:lnTo>
                      <a:pt x="846" y="224"/>
                    </a:lnTo>
                    <a:lnTo>
                      <a:pt x="837" y="228"/>
                    </a:lnTo>
                    <a:lnTo>
                      <a:pt x="832" y="228"/>
                    </a:lnTo>
                    <a:lnTo>
                      <a:pt x="823" y="228"/>
                    </a:lnTo>
                    <a:lnTo>
                      <a:pt x="814" y="233"/>
                    </a:lnTo>
                    <a:lnTo>
                      <a:pt x="810" y="233"/>
                    </a:lnTo>
                    <a:lnTo>
                      <a:pt x="805" y="233"/>
                    </a:lnTo>
                    <a:lnTo>
                      <a:pt x="800" y="238"/>
                    </a:lnTo>
                    <a:lnTo>
                      <a:pt x="796" y="238"/>
                    </a:lnTo>
                    <a:lnTo>
                      <a:pt x="796" y="238"/>
                    </a:lnTo>
                    <a:lnTo>
                      <a:pt x="791" y="242"/>
                    </a:lnTo>
                    <a:lnTo>
                      <a:pt x="787" y="242"/>
                    </a:lnTo>
                    <a:lnTo>
                      <a:pt x="787" y="247"/>
                    </a:lnTo>
                    <a:lnTo>
                      <a:pt x="782" y="247"/>
                    </a:lnTo>
                    <a:lnTo>
                      <a:pt x="778" y="251"/>
                    </a:lnTo>
                    <a:lnTo>
                      <a:pt x="778" y="256"/>
                    </a:lnTo>
                    <a:lnTo>
                      <a:pt x="778" y="260"/>
                    </a:lnTo>
                    <a:lnTo>
                      <a:pt x="778" y="260"/>
                    </a:lnTo>
                    <a:lnTo>
                      <a:pt x="773" y="265"/>
                    </a:lnTo>
                    <a:close/>
                  </a:path>
                </a:pathLst>
              </a:custGeom>
              <a:grpFill/>
              <a:ln w="9525" cmpd="sng">
                <a:solidFill>
                  <a:srgbClr val="FFFFFF"/>
                </a:solidFill>
                <a:miter lim="800000"/>
                <a:headEnd/>
                <a:tailEnd/>
              </a:ln>
              <a:effectLst/>
            </p:spPr>
            <p:txBody>
              <a:bodyPr tIns="182880" bIns="0"/>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Jigawa</a:t>
                </a:r>
              </a:p>
            </p:txBody>
          </p:sp>
          <p:sp>
            <p:nvSpPr>
              <p:cNvPr id="227" name="Freeform 61">
                <a:extLst>
                  <a:ext uri="{FF2B5EF4-FFF2-40B4-BE49-F238E27FC236}">
                    <a16:creationId xmlns:a16="http://schemas.microsoft.com/office/drawing/2014/main" id="{F1D73B32-EEDB-40B9-B758-0D0038E143A2}"/>
                  </a:ext>
                </a:extLst>
              </p:cNvPr>
              <p:cNvSpPr>
                <a:spLocks/>
              </p:cNvSpPr>
              <p:nvPr>
                <p:custDataLst>
                  <p:tags r:id="rId44"/>
                </p:custDataLst>
              </p:nvPr>
            </p:nvSpPr>
            <p:spPr bwMode="auto">
              <a:xfrm>
                <a:off x="1895309" y="2877643"/>
                <a:ext cx="1364143" cy="1174747"/>
              </a:xfrm>
              <a:custGeom>
                <a:avLst/>
                <a:gdLst/>
                <a:ahLst/>
                <a:cxnLst>
                  <a:cxn ang="0">
                    <a:pos x="686" y="819"/>
                  </a:cxn>
                  <a:cxn ang="0">
                    <a:pos x="627" y="823"/>
                  </a:cxn>
                  <a:cxn ang="0">
                    <a:pos x="563" y="800"/>
                  </a:cxn>
                  <a:cxn ang="0">
                    <a:pos x="453" y="828"/>
                  </a:cxn>
                  <a:cxn ang="0">
                    <a:pos x="430" y="791"/>
                  </a:cxn>
                  <a:cxn ang="0">
                    <a:pos x="457" y="741"/>
                  </a:cxn>
                  <a:cxn ang="0">
                    <a:pos x="462" y="704"/>
                  </a:cxn>
                  <a:cxn ang="0">
                    <a:pos x="444" y="672"/>
                  </a:cxn>
                  <a:cxn ang="0">
                    <a:pos x="457" y="645"/>
                  </a:cxn>
                  <a:cxn ang="0">
                    <a:pos x="453" y="567"/>
                  </a:cxn>
                  <a:cxn ang="0">
                    <a:pos x="371" y="558"/>
                  </a:cxn>
                  <a:cxn ang="0">
                    <a:pos x="307" y="535"/>
                  </a:cxn>
                  <a:cxn ang="0">
                    <a:pos x="334" y="494"/>
                  </a:cxn>
                  <a:cxn ang="0">
                    <a:pos x="357" y="444"/>
                  </a:cxn>
                  <a:cxn ang="0">
                    <a:pos x="325" y="403"/>
                  </a:cxn>
                  <a:cxn ang="0">
                    <a:pos x="284" y="362"/>
                  </a:cxn>
                  <a:cxn ang="0">
                    <a:pos x="247" y="325"/>
                  </a:cxn>
                  <a:cxn ang="0">
                    <a:pos x="197" y="362"/>
                  </a:cxn>
                  <a:cxn ang="0">
                    <a:pos x="147" y="339"/>
                  </a:cxn>
                  <a:cxn ang="0">
                    <a:pos x="96" y="380"/>
                  </a:cxn>
                  <a:cxn ang="0">
                    <a:pos x="64" y="412"/>
                  </a:cxn>
                  <a:cxn ang="0">
                    <a:pos x="19" y="412"/>
                  </a:cxn>
                  <a:cxn ang="0">
                    <a:pos x="5" y="371"/>
                  </a:cxn>
                  <a:cxn ang="0">
                    <a:pos x="5" y="302"/>
                  </a:cxn>
                  <a:cxn ang="0">
                    <a:pos x="32" y="243"/>
                  </a:cxn>
                  <a:cxn ang="0">
                    <a:pos x="78" y="202"/>
                  </a:cxn>
                  <a:cxn ang="0">
                    <a:pos x="160" y="183"/>
                  </a:cxn>
                  <a:cxn ang="0">
                    <a:pos x="238" y="151"/>
                  </a:cxn>
                  <a:cxn ang="0">
                    <a:pos x="270" y="87"/>
                  </a:cxn>
                  <a:cxn ang="0">
                    <a:pos x="316" y="55"/>
                  </a:cxn>
                  <a:cxn ang="0">
                    <a:pos x="334" y="106"/>
                  </a:cxn>
                  <a:cxn ang="0">
                    <a:pos x="384" y="133"/>
                  </a:cxn>
                  <a:cxn ang="0">
                    <a:pos x="416" y="96"/>
                  </a:cxn>
                  <a:cxn ang="0">
                    <a:pos x="480" y="69"/>
                  </a:cxn>
                  <a:cxn ang="0">
                    <a:pos x="540" y="55"/>
                  </a:cxn>
                  <a:cxn ang="0">
                    <a:pos x="572" y="119"/>
                  </a:cxn>
                  <a:cxn ang="0">
                    <a:pos x="622" y="87"/>
                  </a:cxn>
                  <a:cxn ang="0">
                    <a:pos x="677" y="51"/>
                  </a:cxn>
                  <a:cxn ang="0">
                    <a:pos x="755" y="10"/>
                  </a:cxn>
                  <a:cxn ang="0">
                    <a:pos x="777" y="55"/>
                  </a:cxn>
                  <a:cxn ang="0">
                    <a:pos x="828" y="83"/>
                  </a:cxn>
                  <a:cxn ang="0">
                    <a:pos x="896" y="124"/>
                  </a:cxn>
                  <a:cxn ang="0">
                    <a:pos x="933" y="165"/>
                  </a:cxn>
                  <a:cxn ang="0">
                    <a:pos x="942" y="206"/>
                  </a:cxn>
                  <a:cxn ang="0">
                    <a:pos x="942" y="307"/>
                  </a:cxn>
                  <a:cxn ang="0">
                    <a:pos x="965" y="343"/>
                  </a:cxn>
                  <a:cxn ang="0">
                    <a:pos x="1006" y="371"/>
                  </a:cxn>
                  <a:cxn ang="0">
                    <a:pos x="1024" y="462"/>
                  </a:cxn>
                  <a:cxn ang="0">
                    <a:pos x="983" y="517"/>
                  </a:cxn>
                  <a:cxn ang="0">
                    <a:pos x="974" y="604"/>
                  </a:cxn>
                  <a:cxn ang="0">
                    <a:pos x="960" y="695"/>
                  </a:cxn>
                  <a:cxn ang="0">
                    <a:pos x="947" y="782"/>
                  </a:cxn>
                  <a:cxn ang="0">
                    <a:pos x="992" y="823"/>
                  </a:cxn>
                  <a:cxn ang="0">
                    <a:pos x="974" y="883"/>
                  </a:cxn>
                  <a:cxn ang="0">
                    <a:pos x="947" y="942"/>
                  </a:cxn>
                  <a:cxn ang="0">
                    <a:pos x="887" y="933"/>
                  </a:cxn>
                  <a:cxn ang="0">
                    <a:pos x="823" y="906"/>
                  </a:cxn>
                  <a:cxn ang="0">
                    <a:pos x="787" y="947"/>
                  </a:cxn>
                  <a:cxn ang="0">
                    <a:pos x="764" y="883"/>
                  </a:cxn>
                  <a:cxn ang="0">
                    <a:pos x="736" y="823"/>
                  </a:cxn>
                </a:cxnLst>
                <a:rect l="0" t="0" r="r" b="b"/>
                <a:pathLst>
                  <a:path w="1024" h="951">
                    <a:moveTo>
                      <a:pt x="732" y="819"/>
                    </a:moveTo>
                    <a:lnTo>
                      <a:pt x="727" y="819"/>
                    </a:lnTo>
                    <a:lnTo>
                      <a:pt x="727" y="814"/>
                    </a:lnTo>
                    <a:lnTo>
                      <a:pt x="723" y="810"/>
                    </a:lnTo>
                    <a:lnTo>
                      <a:pt x="723" y="810"/>
                    </a:lnTo>
                    <a:lnTo>
                      <a:pt x="723" y="805"/>
                    </a:lnTo>
                    <a:lnTo>
                      <a:pt x="718" y="805"/>
                    </a:lnTo>
                    <a:lnTo>
                      <a:pt x="709" y="805"/>
                    </a:lnTo>
                    <a:lnTo>
                      <a:pt x="704" y="805"/>
                    </a:lnTo>
                    <a:lnTo>
                      <a:pt x="700" y="810"/>
                    </a:lnTo>
                    <a:lnTo>
                      <a:pt x="700" y="810"/>
                    </a:lnTo>
                    <a:lnTo>
                      <a:pt x="691" y="810"/>
                    </a:lnTo>
                    <a:lnTo>
                      <a:pt x="691" y="814"/>
                    </a:lnTo>
                    <a:lnTo>
                      <a:pt x="686" y="814"/>
                    </a:lnTo>
                    <a:lnTo>
                      <a:pt x="686" y="819"/>
                    </a:lnTo>
                    <a:lnTo>
                      <a:pt x="681" y="819"/>
                    </a:lnTo>
                    <a:lnTo>
                      <a:pt x="681" y="823"/>
                    </a:lnTo>
                    <a:lnTo>
                      <a:pt x="677" y="823"/>
                    </a:lnTo>
                    <a:lnTo>
                      <a:pt x="677" y="828"/>
                    </a:lnTo>
                    <a:lnTo>
                      <a:pt x="668" y="832"/>
                    </a:lnTo>
                    <a:lnTo>
                      <a:pt x="659" y="837"/>
                    </a:lnTo>
                    <a:lnTo>
                      <a:pt x="654" y="837"/>
                    </a:lnTo>
                    <a:lnTo>
                      <a:pt x="654" y="832"/>
                    </a:lnTo>
                    <a:lnTo>
                      <a:pt x="645" y="832"/>
                    </a:lnTo>
                    <a:lnTo>
                      <a:pt x="645" y="828"/>
                    </a:lnTo>
                    <a:lnTo>
                      <a:pt x="640" y="828"/>
                    </a:lnTo>
                    <a:lnTo>
                      <a:pt x="636" y="823"/>
                    </a:lnTo>
                    <a:lnTo>
                      <a:pt x="631" y="823"/>
                    </a:lnTo>
                    <a:lnTo>
                      <a:pt x="631" y="823"/>
                    </a:lnTo>
                    <a:lnTo>
                      <a:pt x="627" y="823"/>
                    </a:lnTo>
                    <a:lnTo>
                      <a:pt x="622" y="828"/>
                    </a:lnTo>
                    <a:lnTo>
                      <a:pt x="617" y="823"/>
                    </a:lnTo>
                    <a:lnTo>
                      <a:pt x="617" y="823"/>
                    </a:lnTo>
                    <a:lnTo>
                      <a:pt x="617" y="819"/>
                    </a:lnTo>
                    <a:lnTo>
                      <a:pt x="613" y="814"/>
                    </a:lnTo>
                    <a:lnTo>
                      <a:pt x="613" y="814"/>
                    </a:lnTo>
                    <a:lnTo>
                      <a:pt x="608" y="814"/>
                    </a:lnTo>
                    <a:lnTo>
                      <a:pt x="604" y="814"/>
                    </a:lnTo>
                    <a:lnTo>
                      <a:pt x="599" y="814"/>
                    </a:lnTo>
                    <a:lnTo>
                      <a:pt x="599" y="819"/>
                    </a:lnTo>
                    <a:lnTo>
                      <a:pt x="595" y="819"/>
                    </a:lnTo>
                    <a:lnTo>
                      <a:pt x="590" y="819"/>
                    </a:lnTo>
                    <a:lnTo>
                      <a:pt x="590" y="819"/>
                    </a:lnTo>
                    <a:lnTo>
                      <a:pt x="585" y="823"/>
                    </a:lnTo>
                    <a:lnTo>
                      <a:pt x="563" y="800"/>
                    </a:lnTo>
                    <a:lnTo>
                      <a:pt x="540" y="819"/>
                    </a:lnTo>
                    <a:lnTo>
                      <a:pt x="526" y="823"/>
                    </a:lnTo>
                    <a:lnTo>
                      <a:pt x="517" y="819"/>
                    </a:lnTo>
                    <a:lnTo>
                      <a:pt x="499" y="823"/>
                    </a:lnTo>
                    <a:lnTo>
                      <a:pt x="499" y="819"/>
                    </a:lnTo>
                    <a:lnTo>
                      <a:pt x="489" y="819"/>
                    </a:lnTo>
                    <a:lnTo>
                      <a:pt x="485" y="819"/>
                    </a:lnTo>
                    <a:lnTo>
                      <a:pt x="480" y="819"/>
                    </a:lnTo>
                    <a:lnTo>
                      <a:pt x="480" y="823"/>
                    </a:lnTo>
                    <a:lnTo>
                      <a:pt x="480" y="823"/>
                    </a:lnTo>
                    <a:lnTo>
                      <a:pt x="476" y="823"/>
                    </a:lnTo>
                    <a:lnTo>
                      <a:pt x="471" y="823"/>
                    </a:lnTo>
                    <a:lnTo>
                      <a:pt x="462" y="823"/>
                    </a:lnTo>
                    <a:lnTo>
                      <a:pt x="457" y="828"/>
                    </a:lnTo>
                    <a:lnTo>
                      <a:pt x="453" y="828"/>
                    </a:lnTo>
                    <a:lnTo>
                      <a:pt x="448" y="828"/>
                    </a:lnTo>
                    <a:lnTo>
                      <a:pt x="444" y="823"/>
                    </a:lnTo>
                    <a:lnTo>
                      <a:pt x="439" y="823"/>
                    </a:lnTo>
                    <a:lnTo>
                      <a:pt x="439" y="819"/>
                    </a:lnTo>
                    <a:lnTo>
                      <a:pt x="444" y="819"/>
                    </a:lnTo>
                    <a:lnTo>
                      <a:pt x="444" y="814"/>
                    </a:lnTo>
                    <a:lnTo>
                      <a:pt x="453" y="805"/>
                    </a:lnTo>
                    <a:lnTo>
                      <a:pt x="453" y="800"/>
                    </a:lnTo>
                    <a:lnTo>
                      <a:pt x="453" y="800"/>
                    </a:lnTo>
                    <a:lnTo>
                      <a:pt x="448" y="796"/>
                    </a:lnTo>
                    <a:lnTo>
                      <a:pt x="444" y="796"/>
                    </a:lnTo>
                    <a:lnTo>
                      <a:pt x="435" y="800"/>
                    </a:lnTo>
                    <a:lnTo>
                      <a:pt x="435" y="800"/>
                    </a:lnTo>
                    <a:lnTo>
                      <a:pt x="430" y="796"/>
                    </a:lnTo>
                    <a:lnTo>
                      <a:pt x="430" y="791"/>
                    </a:lnTo>
                    <a:lnTo>
                      <a:pt x="425" y="787"/>
                    </a:lnTo>
                    <a:lnTo>
                      <a:pt x="425" y="782"/>
                    </a:lnTo>
                    <a:lnTo>
                      <a:pt x="425" y="778"/>
                    </a:lnTo>
                    <a:lnTo>
                      <a:pt x="425" y="773"/>
                    </a:lnTo>
                    <a:lnTo>
                      <a:pt x="430" y="768"/>
                    </a:lnTo>
                    <a:lnTo>
                      <a:pt x="430" y="764"/>
                    </a:lnTo>
                    <a:lnTo>
                      <a:pt x="435" y="764"/>
                    </a:lnTo>
                    <a:lnTo>
                      <a:pt x="435" y="759"/>
                    </a:lnTo>
                    <a:lnTo>
                      <a:pt x="435" y="759"/>
                    </a:lnTo>
                    <a:lnTo>
                      <a:pt x="439" y="755"/>
                    </a:lnTo>
                    <a:lnTo>
                      <a:pt x="444" y="755"/>
                    </a:lnTo>
                    <a:lnTo>
                      <a:pt x="448" y="755"/>
                    </a:lnTo>
                    <a:lnTo>
                      <a:pt x="448" y="750"/>
                    </a:lnTo>
                    <a:lnTo>
                      <a:pt x="453" y="746"/>
                    </a:lnTo>
                    <a:lnTo>
                      <a:pt x="457" y="741"/>
                    </a:lnTo>
                    <a:lnTo>
                      <a:pt x="457" y="736"/>
                    </a:lnTo>
                    <a:lnTo>
                      <a:pt x="457" y="732"/>
                    </a:lnTo>
                    <a:lnTo>
                      <a:pt x="457" y="732"/>
                    </a:lnTo>
                    <a:lnTo>
                      <a:pt x="462" y="727"/>
                    </a:lnTo>
                    <a:lnTo>
                      <a:pt x="462" y="723"/>
                    </a:lnTo>
                    <a:lnTo>
                      <a:pt x="467" y="723"/>
                    </a:lnTo>
                    <a:lnTo>
                      <a:pt x="467" y="718"/>
                    </a:lnTo>
                    <a:lnTo>
                      <a:pt x="471" y="718"/>
                    </a:lnTo>
                    <a:lnTo>
                      <a:pt x="476" y="714"/>
                    </a:lnTo>
                    <a:lnTo>
                      <a:pt x="476" y="714"/>
                    </a:lnTo>
                    <a:lnTo>
                      <a:pt x="471" y="714"/>
                    </a:lnTo>
                    <a:lnTo>
                      <a:pt x="471" y="709"/>
                    </a:lnTo>
                    <a:lnTo>
                      <a:pt x="467" y="709"/>
                    </a:lnTo>
                    <a:lnTo>
                      <a:pt x="462" y="709"/>
                    </a:lnTo>
                    <a:lnTo>
                      <a:pt x="462" y="704"/>
                    </a:lnTo>
                    <a:lnTo>
                      <a:pt x="457" y="704"/>
                    </a:lnTo>
                    <a:lnTo>
                      <a:pt x="457" y="700"/>
                    </a:lnTo>
                    <a:lnTo>
                      <a:pt x="457" y="700"/>
                    </a:lnTo>
                    <a:lnTo>
                      <a:pt x="453" y="700"/>
                    </a:lnTo>
                    <a:lnTo>
                      <a:pt x="448" y="695"/>
                    </a:lnTo>
                    <a:lnTo>
                      <a:pt x="448" y="691"/>
                    </a:lnTo>
                    <a:lnTo>
                      <a:pt x="448" y="691"/>
                    </a:lnTo>
                    <a:lnTo>
                      <a:pt x="453" y="686"/>
                    </a:lnTo>
                    <a:lnTo>
                      <a:pt x="453" y="682"/>
                    </a:lnTo>
                    <a:lnTo>
                      <a:pt x="457" y="682"/>
                    </a:lnTo>
                    <a:lnTo>
                      <a:pt x="457" y="677"/>
                    </a:lnTo>
                    <a:lnTo>
                      <a:pt x="453" y="677"/>
                    </a:lnTo>
                    <a:lnTo>
                      <a:pt x="453" y="672"/>
                    </a:lnTo>
                    <a:lnTo>
                      <a:pt x="448" y="672"/>
                    </a:lnTo>
                    <a:lnTo>
                      <a:pt x="444" y="672"/>
                    </a:lnTo>
                    <a:lnTo>
                      <a:pt x="439" y="672"/>
                    </a:lnTo>
                    <a:lnTo>
                      <a:pt x="435" y="672"/>
                    </a:lnTo>
                    <a:lnTo>
                      <a:pt x="435" y="672"/>
                    </a:lnTo>
                    <a:lnTo>
                      <a:pt x="430" y="668"/>
                    </a:lnTo>
                    <a:lnTo>
                      <a:pt x="425" y="668"/>
                    </a:lnTo>
                    <a:lnTo>
                      <a:pt x="425" y="663"/>
                    </a:lnTo>
                    <a:lnTo>
                      <a:pt x="430" y="663"/>
                    </a:lnTo>
                    <a:lnTo>
                      <a:pt x="430" y="659"/>
                    </a:lnTo>
                    <a:lnTo>
                      <a:pt x="435" y="659"/>
                    </a:lnTo>
                    <a:lnTo>
                      <a:pt x="435" y="654"/>
                    </a:lnTo>
                    <a:lnTo>
                      <a:pt x="439" y="654"/>
                    </a:lnTo>
                    <a:lnTo>
                      <a:pt x="444" y="650"/>
                    </a:lnTo>
                    <a:lnTo>
                      <a:pt x="448" y="650"/>
                    </a:lnTo>
                    <a:lnTo>
                      <a:pt x="453" y="645"/>
                    </a:lnTo>
                    <a:lnTo>
                      <a:pt x="457" y="645"/>
                    </a:lnTo>
                    <a:lnTo>
                      <a:pt x="457" y="640"/>
                    </a:lnTo>
                    <a:lnTo>
                      <a:pt x="457" y="636"/>
                    </a:lnTo>
                    <a:lnTo>
                      <a:pt x="457" y="627"/>
                    </a:lnTo>
                    <a:lnTo>
                      <a:pt x="457" y="618"/>
                    </a:lnTo>
                    <a:lnTo>
                      <a:pt x="457" y="618"/>
                    </a:lnTo>
                    <a:lnTo>
                      <a:pt x="457" y="613"/>
                    </a:lnTo>
                    <a:lnTo>
                      <a:pt x="457" y="604"/>
                    </a:lnTo>
                    <a:lnTo>
                      <a:pt x="453" y="599"/>
                    </a:lnTo>
                    <a:lnTo>
                      <a:pt x="453" y="595"/>
                    </a:lnTo>
                    <a:lnTo>
                      <a:pt x="453" y="590"/>
                    </a:lnTo>
                    <a:lnTo>
                      <a:pt x="457" y="581"/>
                    </a:lnTo>
                    <a:lnTo>
                      <a:pt x="457" y="576"/>
                    </a:lnTo>
                    <a:lnTo>
                      <a:pt x="457" y="572"/>
                    </a:lnTo>
                    <a:lnTo>
                      <a:pt x="457" y="567"/>
                    </a:lnTo>
                    <a:lnTo>
                      <a:pt x="453" y="567"/>
                    </a:lnTo>
                    <a:lnTo>
                      <a:pt x="453" y="563"/>
                    </a:lnTo>
                    <a:lnTo>
                      <a:pt x="448" y="558"/>
                    </a:lnTo>
                    <a:lnTo>
                      <a:pt x="444" y="558"/>
                    </a:lnTo>
                    <a:lnTo>
                      <a:pt x="439" y="558"/>
                    </a:lnTo>
                    <a:lnTo>
                      <a:pt x="435" y="558"/>
                    </a:lnTo>
                    <a:lnTo>
                      <a:pt x="425" y="558"/>
                    </a:lnTo>
                    <a:lnTo>
                      <a:pt x="416" y="558"/>
                    </a:lnTo>
                    <a:lnTo>
                      <a:pt x="416" y="558"/>
                    </a:lnTo>
                    <a:lnTo>
                      <a:pt x="412" y="558"/>
                    </a:lnTo>
                    <a:lnTo>
                      <a:pt x="403" y="563"/>
                    </a:lnTo>
                    <a:lnTo>
                      <a:pt x="393" y="563"/>
                    </a:lnTo>
                    <a:lnTo>
                      <a:pt x="389" y="563"/>
                    </a:lnTo>
                    <a:lnTo>
                      <a:pt x="384" y="558"/>
                    </a:lnTo>
                    <a:lnTo>
                      <a:pt x="375" y="558"/>
                    </a:lnTo>
                    <a:lnTo>
                      <a:pt x="371" y="558"/>
                    </a:lnTo>
                    <a:lnTo>
                      <a:pt x="371" y="558"/>
                    </a:lnTo>
                    <a:lnTo>
                      <a:pt x="366" y="558"/>
                    </a:lnTo>
                    <a:lnTo>
                      <a:pt x="357" y="554"/>
                    </a:lnTo>
                    <a:lnTo>
                      <a:pt x="352" y="554"/>
                    </a:lnTo>
                    <a:lnTo>
                      <a:pt x="348" y="554"/>
                    </a:lnTo>
                    <a:lnTo>
                      <a:pt x="348" y="554"/>
                    </a:lnTo>
                    <a:lnTo>
                      <a:pt x="343" y="554"/>
                    </a:lnTo>
                    <a:lnTo>
                      <a:pt x="339" y="554"/>
                    </a:lnTo>
                    <a:lnTo>
                      <a:pt x="334" y="554"/>
                    </a:lnTo>
                    <a:lnTo>
                      <a:pt x="329" y="549"/>
                    </a:lnTo>
                    <a:lnTo>
                      <a:pt x="325" y="544"/>
                    </a:lnTo>
                    <a:lnTo>
                      <a:pt x="316" y="535"/>
                    </a:lnTo>
                    <a:lnTo>
                      <a:pt x="311" y="535"/>
                    </a:lnTo>
                    <a:lnTo>
                      <a:pt x="311" y="535"/>
                    </a:lnTo>
                    <a:lnTo>
                      <a:pt x="307" y="535"/>
                    </a:lnTo>
                    <a:lnTo>
                      <a:pt x="307" y="526"/>
                    </a:lnTo>
                    <a:lnTo>
                      <a:pt x="307" y="522"/>
                    </a:lnTo>
                    <a:lnTo>
                      <a:pt x="307" y="517"/>
                    </a:lnTo>
                    <a:lnTo>
                      <a:pt x="307" y="512"/>
                    </a:lnTo>
                    <a:lnTo>
                      <a:pt x="311" y="512"/>
                    </a:lnTo>
                    <a:lnTo>
                      <a:pt x="311" y="512"/>
                    </a:lnTo>
                    <a:lnTo>
                      <a:pt x="316" y="512"/>
                    </a:lnTo>
                    <a:lnTo>
                      <a:pt x="320" y="508"/>
                    </a:lnTo>
                    <a:lnTo>
                      <a:pt x="320" y="503"/>
                    </a:lnTo>
                    <a:lnTo>
                      <a:pt x="325" y="503"/>
                    </a:lnTo>
                    <a:lnTo>
                      <a:pt x="325" y="499"/>
                    </a:lnTo>
                    <a:lnTo>
                      <a:pt x="325" y="499"/>
                    </a:lnTo>
                    <a:lnTo>
                      <a:pt x="325" y="494"/>
                    </a:lnTo>
                    <a:lnTo>
                      <a:pt x="329" y="494"/>
                    </a:lnTo>
                    <a:lnTo>
                      <a:pt x="334" y="494"/>
                    </a:lnTo>
                    <a:lnTo>
                      <a:pt x="334" y="490"/>
                    </a:lnTo>
                    <a:lnTo>
                      <a:pt x="343" y="480"/>
                    </a:lnTo>
                    <a:lnTo>
                      <a:pt x="348" y="480"/>
                    </a:lnTo>
                    <a:lnTo>
                      <a:pt x="348" y="476"/>
                    </a:lnTo>
                    <a:lnTo>
                      <a:pt x="352" y="476"/>
                    </a:lnTo>
                    <a:lnTo>
                      <a:pt x="352" y="471"/>
                    </a:lnTo>
                    <a:lnTo>
                      <a:pt x="361" y="471"/>
                    </a:lnTo>
                    <a:lnTo>
                      <a:pt x="361" y="467"/>
                    </a:lnTo>
                    <a:lnTo>
                      <a:pt x="361" y="462"/>
                    </a:lnTo>
                    <a:lnTo>
                      <a:pt x="366" y="458"/>
                    </a:lnTo>
                    <a:lnTo>
                      <a:pt x="366" y="453"/>
                    </a:lnTo>
                    <a:lnTo>
                      <a:pt x="366" y="448"/>
                    </a:lnTo>
                    <a:lnTo>
                      <a:pt x="361" y="448"/>
                    </a:lnTo>
                    <a:lnTo>
                      <a:pt x="361" y="448"/>
                    </a:lnTo>
                    <a:lnTo>
                      <a:pt x="357" y="444"/>
                    </a:lnTo>
                    <a:lnTo>
                      <a:pt x="352" y="439"/>
                    </a:lnTo>
                    <a:lnTo>
                      <a:pt x="348" y="435"/>
                    </a:lnTo>
                    <a:lnTo>
                      <a:pt x="348" y="435"/>
                    </a:lnTo>
                    <a:lnTo>
                      <a:pt x="343" y="435"/>
                    </a:lnTo>
                    <a:lnTo>
                      <a:pt x="334" y="435"/>
                    </a:lnTo>
                    <a:lnTo>
                      <a:pt x="329" y="435"/>
                    </a:lnTo>
                    <a:lnTo>
                      <a:pt x="325" y="435"/>
                    </a:lnTo>
                    <a:lnTo>
                      <a:pt x="320" y="430"/>
                    </a:lnTo>
                    <a:lnTo>
                      <a:pt x="316" y="426"/>
                    </a:lnTo>
                    <a:lnTo>
                      <a:pt x="316" y="426"/>
                    </a:lnTo>
                    <a:lnTo>
                      <a:pt x="320" y="416"/>
                    </a:lnTo>
                    <a:lnTo>
                      <a:pt x="320" y="412"/>
                    </a:lnTo>
                    <a:lnTo>
                      <a:pt x="320" y="407"/>
                    </a:lnTo>
                    <a:lnTo>
                      <a:pt x="325" y="403"/>
                    </a:lnTo>
                    <a:lnTo>
                      <a:pt x="325" y="403"/>
                    </a:lnTo>
                    <a:lnTo>
                      <a:pt x="325" y="398"/>
                    </a:lnTo>
                    <a:lnTo>
                      <a:pt x="325" y="394"/>
                    </a:lnTo>
                    <a:lnTo>
                      <a:pt x="325" y="384"/>
                    </a:lnTo>
                    <a:lnTo>
                      <a:pt x="320" y="380"/>
                    </a:lnTo>
                    <a:lnTo>
                      <a:pt x="316" y="375"/>
                    </a:lnTo>
                    <a:lnTo>
                      <a:pt x="316" y="371"/>
                    </a:lnTo>
                    <a:lnTo>
                      <a:pt x="311" y="371"/>
                    </a:lnTo>
                    <a:lnTo>
                      <a:pt x="307" y="371"/>
                    </a:lnTo>
                    <a:lnTo>
                      <a:pt x="307" y="371"/>
                    </a:lnTo>
                    <a:lnTo>
                      <a:pt x="293" y="371"/>
                    </a:lnTo>
                    <a:lnTo>
                      <a:pt x="288" y="371"/>
                    </a:lnTo>
                    <a:lnTo>
                      <a:pt x="284" y="371"/>
                    </a:lnTo>
                    <a:lnTo>
                      <a:pt x="284" y="366"/>
                    </a:lnTo>
                    <a:lnTo>
                      <a:pt x="284" y="362"/>
                    </a:lnTo>
                    <a:lnTo>
                      <a:pt x="284" y="362"/>
                    </a:lnTo>
                    <a:lnTo>
                      <a:pt x="284" y="362"/>
                    </a:lnTo>
                    <a:lnTo>
                      <a:pt x="284" y="357"/>
                    </a:lnTo>
                    <a:lnTo>
                      <a:pt x="284" y="352"/>
                    </a:lnTo>
                    <a:lnTo>
                      <a:pt x="288" y="348"/>
                    </a:lnTo>
                    <a:lnTo>
                      <a:pt x="288" y="343"/>
                    </a:lnTo>
                    <a:lnTo>
                      <a:pt x="284" y="339"/>
                    </a:lnTo>
                    <a:lnTo>
                      <a:pt x="284" y="339"/>
                    </a:lnTo>
                    <a:lnTo>
                      <a:pt x="284" y="339"/>
                    </a:lnTo>
                    <a:lnTo>
                      <a:pt x="284" y="334"/>
                    </a:lnTo>
                    <a:lnTo>
                      <a:pt x="279" y="330"/>
                    </a:lnTo>
                    <a:lnTo>
                      <a:pt x="270" y="330"/>
                    </a:lnTo>
                    <a:lnTo>
                      <a:pt x="261" y="325"/>
                    </a:lnTo>
                    <a:lnTo>
                      <a:pt x="256" y="325"/>
                    </a:lnTo>
                    <a:lnTo>
                      <a:pt x="252" y="325"/>
                    </a:lnTo>
                    <a:lnTo>
                      <a:pt x="247" y="325"/>
                    </a:lnTo>
                    <a:lnTo>
                      <a:pt x="243" y="330"/>
                    </a:lnTo>
                    <a:lnTo>
                      <a:pt x="238" y="330"/>
                    </a:lnTo>
                    <a:lnTo>
                      <a:pt x="238" y="334"/>
                    </a:lnTo>
                    <a:lnTo>
                      <a:pt x="238" y="339"/>
                    </a:lnTo>
                    <a:lnTo>
                      <a:pt x="238" y="339"/>
                    </a:lnTo>
                    <a:lnTo>
                      <a:pt x="243" y="343"/>
                    </a:lnTo>
                    <a:lnTo>
                      <a:pt x="243" y="348"/>
                    </a:lnTo>
                    <a:lnTo>
                      <a:pt x="243" y="352"/>
                    </a:lnTo>
                    <a:lnTo>
                      <a:pt x="229" y="352"/>
                    </a:lnTo>
                    <a:lnTo>
                      <a:pt x="215" y="352"/>
                    </a:lnTo>
                    <a:lnTo>
                      <a:pt x="215" y="357"/>
                    </a:lnTo>
                    <a:lnTo>
                      <a:pt x="206" y="357"/>
                    </a:lnTo>
                    <a:lnTo>
                      <a:pt x="197" y="357"/>
                    </a:lnTo>
                    <a:lnTo>
                      <a:pt x="197" y="362"/>
                    </a:lnTo>
                    <a:lnTo>
                      <a:pt x="197" y="362"/>
                    </a:lnTo>
                    <a:lnTo>
                      <a:pt x="188" y="362"/>
                    </a:lnTo>
                    <a:lnTo>
                      <a:pt x="183" y="362"/>
                    </a:lnTo>
                    <a:lnTo>
                      <a:pt x="179" y="362"/>
                    </a:lnTo>
                    <a:lnTo>
                      <a:pt x="174" y="366"/>
                    </a:lnTo>
                    <a:lnTo>
                      <a:pt x="174" y="366"/>
                    </a:lnTo>
                    <a:lnTo>
                      <a:pt x="169" y="362"/>
                    </a:lnTo>
                    <a:lnTo>
                      <a:pt x="169" y="362"/>
                    </a:lnTo>
                    <a:lnTo>
                      <a:pt x="165" y="357"/>
                    </a:lnTo>
                    <a:lnTo>
                      <a:pt x="165" y="348"/>
                    </a:lnTo>
                    <a:lnTo>
                      <a:pt x="160" y="348"/>
                    </a:lnTo>
                    <a:lnTo>
                      <a:pt x="160" y="343"/>
                    </a:lnTo>
                    <a:lnTo>
                      <a:pt x="156" y="343"/>
                    </a:lnTo>
                    <a:lnTo>
                      <a:pt x="151" y="339"/>
                    </a:lnTo>
                    <a:lnTo>
                      <a:pt x="151" y="339"/>
                    </a:lnTo>
                    <a:lnTo>
                      <a:pt x="147" y="339"/>
                    </a:lnTo>
                    <a:lnTo>
                      <a:pt x="147" y="343"/>
                    </a:lnTo>
                    <a:lnTo>
                      <a:pt x="142" y="343"/>
                    </a:lnTo>
                    <a:lnTo>
                      <a:pt x="137" y="343"/>
                    </a:lnTo>
                    <a:lnTo>
                      <a:pt x="137" y="348"/>
                    </a:lnTo>
                    <a:lnTo>
                      <a:pt x="128" y="348"/>
                    </a:lnTo>
                    <a:lnTo>
                      <a:pt x="128" y="352"/>
                    </a:lnTo>
                    <a:lnTo>
                      <a:pt x="128" y="352"/>
                    </a:lnTo>
                    <a:lnTo>
                      <a:pt x="124" y="357"/>
                    </a:lnTo>
                    <a:lnTo>
                      <a:pt x="119" y="357"/>
                    </a:lnTo>
                    <a:lnTo>
                      <a:pt x="119" y="362"/>
                    </a:lnTo>
                    <a:lnTo>
                      <a:pt x="105" y="371"/>
                    </a:lnTo>
                    <a:lnTo>
                      <a:pt x="105" y="371"/>
                    </a:lnTo>
                    <a:lnTo>
                      <a:pt x="101" y="375"/>
                    </a:lnTo>
                    <a:lnTo>
                      <a:pt x="101" y="380"/>
                    </a:lnTo>
                    <a:lnTo>
                      <a:pt x="96" y="380"/>
                    </a:lnTo>
                    <a:lnTo>
                      <a:pt x="92" y="380"/>
                    </a:lnTo>
                    <a:lnTo>
                      <a:pt x="92" y="384"/>
                    </a:lnTo>
                    <a:lnTo>
                      <a:pt x="87" y="384"/>
                    </a:lnTo>
                    <a:lnTo>
                      <a:pt x="87" y="384"/>
                    </a:lnTo>
                    <a:lnTo>
                      <a:pt x="87" y="384"/>
                    </a:lnTo>
                    <a:lnTo>
                      <a:pt x="87" y="389"/>
                    </a:lnTo>
                    <a:lnTo>
                      <a:pt x="83" y="389"/>
                    </a:lnTo>
                    <a:lnTo>
                      <a:pt x="78" y="394"/>
                    </a:lnTo>
                    <a:lnTo>
                      <a:pt x="73" y="394"/>
                    </a:lnTo>
                    <a:lnTo>
                      <a:pt x="73" y="398"/>
                    </a:lnTo>
                    <a:lnTo>
                      <a:pt x="69" y="403"/>
                    </a:lnTo>
                    <a:lnTo>
                      <a:pt x="69" y="403"/>
                    </a:lnTo>
                    <a:lnTo>
                      <a:pt x="64" y="403"/>
                    </a:lnTo>
                    <a:lnTo>
                      <a:pt x="64" y="407"/>
                    </a:lnTo>
                    <a:lnTo>
                      <a:pt x="64" y="412"/>
                    </a:lnTo>
                    <a:lnTo>
                      <a:pt x="64" y="412"/>
                    </a:lnTo>
                    <a:lnTo>
                      <a:pt x="60" y="421"/>
                    </a:lnTo>
                    <a:lnTo>
                      <a:pt x="55" y="421"/>
                    </a:lnTo>
                    <a:lnTo>
                      <a:pt x="55" y="426"/>
                    </a:lnTo>
                    <a:lnTo>
                      <a:pt x="51" y="426"/>
                    </a:lnTo>
                    <a:lnTo>
                      <a:pt x="46" y="426"/>
                    </a:lnTo>
                    <a:lnTo>
                      <a:pt x="46" y="430"/>
                    </a:lnTo>
                    <a:lnTo>
                      <a:pt x="41" y="430"/>
                    </a:lnTo>
                    <a:lnTo>
                      <a:pt x="37" y="430"/>
                    </a:lnTo>
                    <a:lnTo>
                      <a:pt x="32" y="426"/>
                    </a:lnTo>
                    <a:lnTo>
                      <a:pt x="28" y="426"/>
                    </a:lnTo>
                    <a:lnTo>
                      <a:pt x="23" y="426"/>
                    </a:lnTo>
                    <a:lnTo>
                      <a:pt x="23" y="426"/>
                    </a:lnTo>
                    <a:lnTo>
                      <a:pt x="19" y="416"/>
                    </a:lnTo>
                    <a:lnTo>
                      <a:pt x="19" y="412"/>
                    </a:lnTo>
                    <a:lnTo>
                      <a:pt x="19" y="407"/>
                    </a:lnTo>
                    <a:lnTo>
                      <a:pt x="19" y="403"/>
                    </a:lnTo>
                    <a:lnTo>
                      <a:pt x="19" y="403"/>
                    </a:lnTo>
                    <a:lnTo>
                      <a:pt x="19" y="403"/>
                    </a:lnTo>
                    <a:lnTo>
                      <a:pt x="14" y="403"/>
                    </a:lnTo>
                    <a:lnTo>
                      <a:pt x="9" y="403"/>
                    </a:lnTo>
                    <a:lnTo>
                      <a:pt x="5" y="398"/>
                    </a:lnTo>
                    <a:lnTo>
                      <a:pt x="0" y="398"/>
                    </a:lnTo>
                    <a:lnTo>
                      <a:pt x="0" y="394"/>
                    </a:lnTo>
                    <a:lnTo>
                      <a:pt x="0" y="389"/>
                    </a:lnTo>
                    <a:lnTo>
                      <a:pt x="0" y="384"/>
                    </a:lnTo>
                    <a:lnTo>
                      <a:pt x="0" y="384"/>
                    </a:lnTo>
                    <a:lnTo>
                      <a:pt x="0" y="380"/>
                    </a:lnTo>
                    <a:lnTo>
                      <a:pt x="5" y="375"/>
                    </a:lnTo>
                    <a:lnTo>
                      <a:pt x="5" y="371"/>
                    </a:lnTo>
                    <a:lnTo>
                      <a:pt x="14" y="362"/>
                    </a:lnTo>
                    <a:lnTo>
                      <a:pt x="14" y="357"/>
                    </a:lnTo>
                    <a:lnTo>
                      <a:pt x="19" y="357"/>
                    </a:lnTo>
                    <a:lnTo>
                      <a:pt x="19" y="348"/>
                    </a:lnTo>
                    <a:lnTo>
                      <a:pt x="14" y="339"/>
                    </a:lnTo>
                    <a:lnTo>
                      <a:pt x="14" y="334"/>
                    </a:lnTo>
                    <a:lnTo>
                      <a:pt x="19" y="330"/>
                    </a:lnTo>
                    <a:lnTo>
                      <a:pt x="19" y="320"/>
                    </a:lnTo>
                    <a:lnTo>
                      <a:pt x="19" y="316"/>
                    </a:lnTo>
                    <a:lnTo>
                      <a:pt x="14" y="316"/>
                    </a:lnTo>
                    <a:lnTo>
                      <a:pt x="14" y="316"/>
                    </a:lnTo>
                    <a:lnTo>
                      <a:pt x="9" y="311"/>
                    </a:lnTo>
                    <a:lnTo>
                      <a:pt x="9" y="307"/>
                    </a:lnTo>
                    <a:lnTo>
                      <a:pt x="5" y="307"/>
                    </a:lnTo>
                    <a:lnTo>
                      <a:pt x="5" y="302"/>
                    </a:lnTo>
                    <a:lnTo>
                      <a:pt x="5" y="298"/>
                    </a:lnTo>
                    <a:lnTo>
                      <a:pt x="5" y="293"/>
                    </a:lnTo>
                    <a:lnTo>
                      <a:pt x="9" y="293"/>
                    </a:lnTo>
                    <a:lnTo>
                      <a:pt x="9" y="288"/>
                    </a:lnTo>
                    <a:lnTo>
                      <a:pt x="9" y="284"/>
                    </a:lnTo>
                    <a:lnTo>
                      <a:pt x="9" y="279"/>
                    </a:lnTo>
                    <a:lnTo>
                      <a:pt x="9" y="275"/>
                    </a:lnTo>
                    <a:lnTo>
                      <a:pt x="14" y="275"/>
                    </a:lnTo>
                    <a:lnTo>
                      <a:pt x="14" y="275"/>
                    </a:lnTo>
                    <a:lnTo>
                      <a:pt x="14" y="270"/>
                    </a:lnTo>
                    <a:lnTo>
                      <a:pt x="19" y="256"/>
                    </a:lnTo>
                    <a:lnTo>
                      <a:pt x="19" y="252"/>
                    </a:lnTo>
                    <a:lnTo>
                      <a:pt x="19" y="252"/>
                    </a:lnTo>
                    <a:lnTo>
                      <a:pt x="28" y="243"/>
                    </a:lnTo>
                    <a:lnTo>
                      <a:pt x="32" y="243"/>
                    </a:lnTo>
                    <a:lnTo>
                      <a:pt x="41" y="243"/>
                    </a:lnTo>
                    <a:lnTo>
                      <a:pt x="46" y="243"/>
                    </a:lnTo>
                    <a:lnTo>
                      <a:pt x="51" y="243"/>
                    </a:lnTo>
                    <a:lnTo>
                      <a:pt x="51" y="238"/>
                    </a:lnTo>
                    <a:lnTo>
                      <a:pt x="55" y="238"/>
                    </a:lnTo>
                    <a:lnTo>
                      <a:pt x="55" y="234"/>
                    </a:lnTo>
                    <a:lnTo>
                      <a:pt x="55" y="229"/>
                    </a:lnTo>
                    <a:lnTo>
                      <a:pt x="60" y="229"/>
                    </a:lnTo>
                    <a:lnTo>
                      <a:pt x="60" y="220"/>
                    </a:lnTo>
                    <a:lnTo>
                      <a:pt x="64" y="215"/>
                    </a:lnTo>
                    <a:lnTo>
                      <a:pt x="64" y="211"/>
                    </a:lnTo>
                    <a:lnTo>
                      <a:pt x="64" y="211"/>
                    </a:lnTo>
                    <a:lnTo>
                      <a:pt x="73" y="206"/>
                    </a:lnTo>
                    <a:lnTo>
                      <a:pt x="78" y="206"/>
                    </a:lnTo>
                    <a:lnTo>
                      <a:pt x="78" y="202"/>
                    </a:lnTo>
                    <a:lnTo>
                      <a:pt x="83" y="197"/>
                    </a:lnTo>
                    <a:lnTo>
                      <a:pt x="87" y="192"/>
                    </a:lnTo>
                    <a:lnTo>
                      <a:pt x="87" y="192"/>
                    </a:lnTo>
                    <a:lnTo>
                      <a:pt x="101" y="183"/>
                    </a:lnTo>
                    <a:lnTo>
                      <a:pt x="105" y="183"/>
                    </a:lnTo>
                    <a:lnTo>
                      <a:pt x="110" y="183"/>
                    </a:lnTo>
                    <a:lnTo>
                      <a:pt x="110" y="179"/>
                    </a:lnTo>
                    <a:lnTo>
                      <a:pt x="119" y="179"/>
                    </a:lnTo>
                    <a:lnTo>
                      <a:pt x="128" y="183"/>
                    </a:lnTo>
                    <a:lnTo>
                      <a:pt x="128" y="183"/>
                    </a:lnTo>
                    <a:lnTo>
                      <a:pt x="137" y="183"/>
                    </a:lnTo>
                    <a:lnTo>
                      <a:pt x="147" y="183"/>
                    </a:lnTo>
                    <a:lnTo>
                      <a:pt x="151" y="183"/>
                    </a:lnTo>
                    <a:lnTo>
                      <a:pt x="156" y="183"/>
                    </a:lnTo>
                    <a:lnTo>
                      <a:pt x="160" y="183"/>
                    </a:lnTo>
                    <a:lnTo>
                      <a:pt x="169" y="183"/>
                    </a:lnTo>
                    <a:lnTo>
                      <a:pt x="174" y="183"/>
                    </a:lnTo>
                    <a:lnTo>
                      <a:pt x="192" y="183"/>
                    </a:lnTo>
                    <a:lnTo>
                      <a:pt x="197" y="183"/>
                    </a:lnTo>
                    <a:lnTo>
                      <a:pt x="201" y="179"/>
                    </a:lnTo>
                    <a:lnTo>
                      <a:pt x="211" y="174"/>
                    </a:lnTo>
                    <a:lnTo>
                      <a:pt x="215" y="174"/>
                    </a:lnTo>
                    <a:lnTo>
                      <a:pt x="215" y="170"/>
                    </a:lnTo>
                    <a:lnTo>
                      <a:pt x="215" y="170"/>
                    </a:lnTo>
                    <a:lnTo>
                      <a:pt x="220" y="165"/>
                    </a:lnTo>
                    <a:lnTo>
                      <a:pt x="224" y="165"/>
                    </a:lnTo>
                    <a:lnTo>
                      <a:pt x="229" y="165"/>
                    </a:lnTo>
                    <a:lnTo>
                      <a:pt x="233" y="160"/>
                    </a:lnTo>
                    <a:lnTo>
                      <a:pt x="238" y="156"/>
                    </a:lnTo>
                    <a:lnTo>
                      <a:pt x="238" y="151"/>
                    </a:lnTo>
                    <a:lnTo>
                      <a:pt x="238" y="151"/>
                    </a:lnTo>
                    <a:lnTo>
                      <a:pt x="238" y="142"/>
                    </a:lnTo>
                    <a:lnTo>
                      <a:pt x="243" y="138"/>
                    </a:lnTo>
                    <a:lnTo>
                      <a:pt x="243" y="133"/>
                    </a:lnTo>
                    <a:lnTo>
                      <a:pt x="247" y="133"/>
                    </a:lnTo>
                    <a:lnTo>
                      <a:pt x="247" y="128"/>
                    </a:lnTo>
                    <a:lnTo>
                      <a:pt x="247" y="124"/>
                    </a:lnTo>
                    <a:lnTo>
                      <a:pt x="247" y="119"/>
                    </a:lnTo>
                    <a:lnTo>
                      <a:pt x="247" y="115"/>
                    </a:lnTo>
                    <a:lnTo>
                      <a:pt x="252" y="101"/>
                    </a:lnTo>
                    <a:lnTo>
                      <a:pt x="256" y="96"/>
                    </a:lnTo>
                    <a:lnTo>
                      <a:pt x="261" y="92"/>
                    </a:lnTo>
                    <a:lnTo>
                      <a:pt x="261" y="92"/>
                    </a:lnTo>
                    <a:lnTo>
                      <a:pt x="265" y="87"/>
                    </a:lnTo>
                    <a:lnTo>
                      <a:pt x="270" y="87"/>
                    </a:lnTo>
                    <a:lnTo>
                      <a:pt x="275" y="83"/>
                    </a:lnTo>
                    <a:lnTo>
                      <a:pt x="279" y="83"/>
                    </a:lnTo>
                    <a:lnTo>
                      <a:pt x="279" y="78"/>
                    </a:lnTo>
                    <a:lnTo>
                      <a:pt x="284" y="78"/>
                    </a:lnTo>
                    <a:lnTo>
                      <a:pt x="284" y="74"/>
                    </a:lnTo>
                    <a:lnTo>
                      <a:pt x="284" y="74"/>
                    </a:lnTo>
                    <a:lnTo>
                      <a:pt x="288" y="74"/>
                    </a:lnTo>
                    <a:lnTo>
                      <a:pt x="293" y="64"/>
                    </a:lnTo>
                    <a:lnTo>
                      <a:pt x="297" y="64"/>
                    </a:lnTo>
                    <a:lnTo>
                      <a:pt x="302" y="60"/>
                    </a:lnTo>
                    <a:lnTo>
                      <a:pt x="307" y="55"/>
                    </a:lnTo>
                    <a:lnTo>
                      <a:pt x="307" y="55"/>
                    </a:lnTo>
                    <a:lnTo>
                      <a:pt x="302" y="51"/>
                    </a:lnTo>
                    <a:lnTo>
                      <a:pt x="307" y="55"/>
                    </a:lnTo>
                    <a:lnTo>
                      <a:pt x="316" y="55"/>
                    </a:lnTo>
                    <a:lnTo>
                      <a:pt x="320" y="55"/>
                    </a:lnTo>
                    <a:lnTo>
                      <a:pt x="329" y="55"/>
                    </a:lnTo>
                    <a:lnTo>
                      <a:pt x="339" y="60"/>
                    </a:lnTo>
                    <a:lnTo>
                      <a:pt x="343" y="60"/>
                    </a:lnTo>
                    <a:lnTo>
                      <a:pt x="343" y="64"/>
                    </a:lnTo>
                    <a:lnTo>
                      <a:pt x="348" y="69"/>
                    </a:lnTo>
                    <a:lnTo>
                      <a:pt x="348" y="74"/>
                    </a:lnTo>
                    <a:lnTo>
                      <a:pt x="348" y="74"/>
                    </a:lnTo>
                    <a:lnTo>
                      <a:pt x="343" y="83"/>
                    </a:lnTo>
                    <a:lnTo>
                      <a:pt x="339" y="83"/>
                    </a:lnTo>
                    <a:lnTo>
                      <a:pt x="339" y="87"/>
                    </a:lnTo>
                    <a:lnTo>
                      <a:pt x="334" y="92"/>
                    </a:lnTo>
                    <a:lnTo>
                      <a:pt x="334" y="96"/>
                    </a:lnTo>
                    <a:lnTo>
                      <a:pt x="334" y="96"/>
                    </a:lnTo>
                    <a:lnTo>
                      <a:pt x="334" y="106"/>
                    </a:lnTo>
                    <a:lnTo>
                      <a:pt x="339" y="106"/>
                    </a:lnTo>
                    <a:lnTo>
                      <a:pt x="343" y="106"/>
                    </a:lnTo>
                    <a:lnTo>
                      <a:pt x="343" y="110"/>
                    </a:lnTo>
                    <a:lnTo>
                      <a:pt x="348" y="110"/>
                    </a:lnTo>
                    <a:lnTo>
                      <a:pt x="348" y="110"/>
                    </a:lnTo>
                    <a:lnTo>
                      <a:pt x="352" y="115"/>
                    </a:lnTo>
                    <a:lnTo>
                      <a:pt x="357" y="115"/>
                    </a:lnTo>
                    <a:lnTo>
                      <a:pt x="361" y="115"/>
                    </a:lnTo>
                    <a:lnTo>
                      <a:pt x="366" y="119"/>
                    </a:lnTo>
                    <a:lnTo>
                      <a:pt x="371" y="119"/>
                    </a:lnTo>
                    <a:lnTo>
                      <a:pt x="371" y="119"/>
                    </a:lnTo>
                    <a:lnTo>
                      <a:pt x="371" y="119"/>
                    </a:lnTo>
                    <a:lnTo>
                      <a:pt x="375" y="124"/>
                    </a:lnTo>
                    <a:lnTo>
                      <a:pt x="380" y="128"/>
                    </a:lnTo>
                    <a:lnTo>
                      <a:pt x="384" y="133"/>
                    </a:lnTo>
                    <a:lnTo>
                      <a:pt x="389" y="133"/>
                    </a:lnTo>
                    <a:lnTo>
                      <a:pt x="389" y="138"/>
                    </a:lnTo>
                    <a:lnTo>
                      <a:pt x="393" y="142"/>
                    </a:lnTo>
                    <a:lnTo>
                      <a:pt x="398" y="142"/>
                    </a:lnTo>
                    <a:lnTo>
                      <a:pt x="403" y="142"/>
                    </a:lnTo>
                    <a:lnTo>
                      <a:pt x="412" y="142"/>
                    </a:lnTo>
                    <a:lnTo>
                      <a:pt x="412" y="138"/>
                    </a:lnTo>
                    <a:lnTo>
                      <a:pt x="416" y="138"/>
                    </a:lnTo>
                    <a:lnTo>
                      <a:pt x="416" y="133"/>
                    </a:lnTo>
                    <a:lnTo>
                      <a:pt x="416" y="128"/>
                    </a:lnTo>
                    <a:lnTo>
                      <a:pt x="416" y="119"/>
                    </a:lnTo>
                    <a:lnTo>
                      <a:pt x="416" y="119"/>
                    </a:lnTo>
                    <a:lnTo>
                      <a:pt x="416" y="106"/>
                    </a:lnTo>
                    <a:lnTo>
                      <a:pt x="416" y="96"/>
                    </a:lnTo>
                    <a:lnTo>
                      <a:pt x="416" y="96"/>
                    </a:lnTo>
                    <a:lnTo>
                      <a:pt x="416" y="92"/>
                    </a:lnTo>
                    <a:lnTo>
                      <a:pt x="416" y="92"/>
                    </a:lnTo>
                    <a:lnTo>
                      <a:pt x="425" y="87"/>
                    </a:lnTo>
                    <a:lnTo>
                      <a:pt x="430" y="87"/>
                    </a:lnTo>
                    <a:lnTo>
                      <a:pt x="435" y="87"/>
                    </a:lnTo>
                    <a:lnTo>
                      <a:pt x="448" y="87"/>
                    </a:lnTo>
                    <a:lnTo>
                      <a:pt x="453" y="92"/>
                    </a:lnTo>
                    <a:lnTo>
                      <a:pt x="457" y="92"/>
                    </a:lnTo>
                    <a:lnTo>
                      <a:pt x="457" y="92"/>
                    </a:lnTo>
                    <a:lnTo>
                      <a:pt x="462" y="92"/>
                    </a:lnTo>
                    <a:lnTo>
                      <a:pt x="471" y="92"/>
                    </a:lnTo>
                    <a:lnTo>
                      <a:pt x="471" y="87"/>
                    </a:lnTo>
                    <a:lnTo>
                      <a:pt x="476" y="87"/>
                    </a:lnTo>
                    <a:lnTo>
                      <a:pt x="476" y="83"/>
                    </a:lnTo>
                    <a:lnTo>
                      <a:pt x="480" y="69"/>
                    </a:lnTo>
                    <a:lnTo>
                      <a:pt x="480" y="60"/>
                    </a:lnTo>
                    <a:lnTo>
                      <a:pt x="480" y="55"/>
                    </a:lnTo>
                    <a:lnTo>
                      <a:pt x="485" y="55"/>
                    </a:lnTo>
                    <a:lnTo>
                      <a:pt x="489" y="55"/>
                    </a:lnTo>
                    <a:lnTo>
                      <a:pt x="494" y="55"/>
                    </a:lnTo>
                    <a:lnTo>
                      <a:pt x="503" y="51"/>
                    </a:lnTo>
                    <a:lnTo>
                      <a:pt x="503" y="51"/>
                    </a:lnTo>
                    <a:lnTo>
                      <a:pt x="508" y="51"/>
                    </a:lnTo>
                    <a:lnTo>
                      <a:pt x="517" y="51"/>
                    </a:lnTo>
                    <a:lnTo>
                      <a:pt x="521" y="51"/>
                    </a:lnTo>
                    <a:lnTo>
                      <a:pt x="521" y="51"/>
                    </a:lnTo>
                    <a:lnTo>
                      <a:pt x="526" y="55"/>
                    </a:lnTo>
                    <a:lnTo>
                      <a:pt x="531" y="55"/>
                    </a:lnTo>
                    <a:lnTo>
                      <a:pt x="535" y="55"/>
                    </a:lnTo>
                    <a:lnTo>
                      <a:pt x="540" y="55"/>
                    </a:lnTo>
                    <a:lnTo>
                      <a:pt x="540" y="60"/>
                    </a:lnTo>
                    <a:lnTo>
                      <a:pt x="544" y="64"/>
                    </a:lnTo>
                    <a:lnTo>
                      <a:pt x="544" y="64"/>
                    </a:lnTo>
                    <a:lnTo>
                      <a:pt x="549" y="69"/>
                    </a:lnTo>
                    <a:lnTo>
                      <a:pt x="553" y="74"/>
                    </a:lnTo>
                    <a:lnTo>
                      <a:pt x="558" y="74"/>
                    </a:lnTo>
                    <a:lnTo>
                      <a:pt x="563" y="74"/>
                    </a:lnTo>
                    <a:lnTo>
                      <a:pt x="567" y="83"/>
                    </a:lnTo>
                    <a:lnTo>
                      <a:pt x="567" y="87"/>
                    </a:lnTo>
                    <a:lnTo>
                      <a:pt x="567" y="87"/>
                    </a:lnTo>
                    <a:lnTo>
                      <a:pt x="567" y="92"/>
                    </a:lnTo>
                    <a:lnTo>
                      <a:pt x="567" y="96"/>
                    </a:lnTo>
                    <a:lnTo>
                      <a:pt x="567" y="110"/>
                    </a:lnTo>
                    <a:lnTo>
                      <a:pt x="567" y="115"/>
                    </a:lnTo>
                    <a:lnTo>
                      <a:pt x="572" y="119"/>
                    </a:lnTo>
                    <a:lnTo>
                      <a:pt x="576" y="119"/>
                    </a:lnTo>
                    <a:lnTo>
                      <a:pt x="581" y="119"/>
                    </a:lnTo>
                    <a:lnTo>
                      <a:pt x="585" y="119"/>
                    </a:lnTo>
                    <a:lnTo>
                      <a:pt x="585" y="115"/>
                    </a:lnTo>
                    <a:lnTo>
                      <a:pt x="590" y="115"/>
                    </a:lnTo>
                    <a:lnTo>
                      <a:pt x="590" y="115"/>
                    </a:lnTo>
                    <a:lnTo>
                      <a:pt x="595" y="110"/>
                    </a:lnTo>
                    <a:lnTo>
                      <a:pt x="599" y="106"/>
                    </a:lnTo>
                    <a:lnTo>
                      <a:pt x="608" y="96"/>
                    </a:lnTo>
                    <a:lnTo>
                      <a:pt x="613" y="96"/>
                    </a:lnTo>
                    <a:lnTo>
                      <a:pt x="613" y="96"/>
                    </a:lnTo>
                    <a:lnTo>
                      <a:pt x="613" y="96"/>
                    </a:lnTo>
                    <a:lnTo>
                      <a:pt x="613" y="92"/>
                    </a:lnTo>
                    <a:lnTo>
                      <a:pt x="617" y="92"/>
                    </a:lnTo>
                    <a:lnTo>
                      <a:pt x="622" y="87"/>
                    </a:lnTo>
                    <a:lnTo>
                      <a:pt x="627" y="87"/>
                    </a:lnTo>
                    <a:lnTo>
                      <a:pt x="627" y="83"/>
                    </a:lnTo>
                    <a:lnTo>
                      <a:pt x="631" y="83"/>
                    </a:lnTo>
                    <a:lnTo>
                      <a:pt x="631" y="78"/>
                    </a:lnTo>
                    <a:lnTo>
                      <a:pt x="631" y="78"/>
                    </a:lnTo>
                    <a:lnTo>
                      <a:pt x="636" y="74"/>
                    </a:lnTo>
                    <a:lnTo>
                      <a:pt x="640" y="74"/>
                    </a:lnTo>
                    <a:lnTo>
                      <a:pt x="645" y="74"/>
                    </a:lnTo>
                    <a:lnTo>
                      <a:pt x="654" y="64"/>
                    </a:lnTo>
                    <a:lnTo>
                      <a:pt x="659" y="60"/>
                    </a:lnTo>
                    <a:lnTo>
                      <a:pt x="663" y="55"/>
                    </a:lnTo>
                    <a:lnTo>
                      <a:pt x="668" y="55"/>
                    </a:lnTo>
                    <a:lnTo>
                      <a:pt x="668" y="55"/>
                    </a:lnTo>
                    <a:lnTo>
                      <a:pt x="672" y="55"/>
                    </a:lnTo>
                    <a:lnTo>
                      <a:pt x="677" y="51"/>
                    </a:lnTo>
                    <a:lnTo>
                      <a:pt x="677" y="46"/>
                    </a:lnTo>
                    <a:lnTo>
                      <a:pt x="686" y="37"/>
                    </a:lnTo>
                    <a:lnTo>
                      <a:pt x="691" y="37"/>
                    </a:lnTo>
                    <a:lnTo>
                      <a:pt x="700" y="28"/>
                    </a:lnTo>
                    <a:lnTo>
                      <a:pt x="700" y="28"/>
                    </a:lnTo>
                    <a:lnTo>
                      <a:pt x="709" y="23"/>
                    </a:lnTo>
                    <a:lnTo>
                      <a:pt x="713" y="23"/>
                    </a:lnTo>
                    <a:lnTo>
                      <a:pt x="723" y="19"/>
                    </a:lnTo>
                    <a:lnTo>
                      <a:pt x="723" y="14"/>
                    </a:lnTo>
                    <a:lnTo>
                      <a:pt x="727" y="14"/>
                    </a:lnTo>
                    <a:lnTo>
                      <a:pt x="732" y="14"/>
                    </a:lnTo>
                    <a:lnTo>
                      <a:pt x="736" y="14"/>
                    </a:lnTo>
                    <a:lnTo>
                      <a:pt x="741" y="10"/>
                    </a:lnTo>
                    <a:lnTo>
                      <a:pt x="750" y="10"/>
                    </a:lnTo>
                    <a:lnTo>
                      <a:pt x="755" y="10"/>
                    </a:lnTo>
                    <a:lnTo>
                      <a:pt x="755" y="5"/>
                    </a:lnTo>
                    <a:lnTo>
                      <a:pt x="759" y="5"/>
                    </a:lnTo>
                    <a:lnTo>
                      <a:pt x="764" y="5"/>
                    </a:lnTo>
                    <a:lnTo>
                      <a:pt x="764" y="0"/>
                    </a:lnTo>
                    <a:lnTo>
                      <a:pt x="768" y="5"/>
                    </a:lnTo>
                    <a:lnTo>
                      <a:pt x="773" y="10"/>
                    </a:lnTo>
                    <a:lnTo>
                      <a:pt x="782" y="19"/>
                    </a:lnTo>
                    <a:lnTo>
                      <a:pt x="782" y="23"/>
                    </a:lnTo>
                    <a:lnTo>
                      <a:pt x="782" y="28"/>
                    </a:lnTo>
                    <a:lnTo>
                      <a:pt x="777" y="37"/>
                    </a:lnTo>
                    <a:lnTo>
                      <a:pt x="777" y="42"/>
                    </a:lnTo>
                    <a:lnTo>
                      <a:pt x="773" y="46"/>
                    </a:lnTo>
                    <a:lnTo>
                      <a:pt x="773" y="51"/>
                    </a:lnTo>
                    <a:lnTo>
                      <a:pt x="777" y="51"/>
                    </a:lnTo>
                    <a:lnTo>
                      <a:pt x="777" y="55"/>
                    </a:lnTo>
                    <a:lnTo>
                      <a:pt x="782" y="60"/>
                    </a:lnTo>
                    <a:lnTo>
                      <a:pt x="782" y="64"/>
                    </a:lnTo>
                    <a:lnTo>
                      <a:pt x="787" y="64"/>
                    </a:lnTo>
                    <a:lnTo>
                      <a:pt x="787" y="69"/>
                    </a:lnTo>
                    <a:lnTo>
                      <a:pt x="791" y="69"/>
                    </a:lnTo>
                    <a:lnTo>
                      <a:pt x="796" y="69"/>
                    </a:lnTo>
                    <a:lnTo>
                      <a:pt x="800" y="74"/>
                    </a:lnTo>
                    <a:lnTo>
                      <a:pt x="805" y="74"/>
                    </a:lnTo>
                    <a:lnTo>
                      <a:pt x="809" y="74"/>
                    </a:lnTo>
                    <a:lnTo>
                      <a:pt x="809" y="74"/>
                    </a:lnTo>
                    <a:lnTo>
                      <a:pt x="814" y="78"/>
                    </a:lnTo>
                    <a:lnTo>
                      <a:pt x="819" y="78"/>
                    </a:lnTo>
                    <a:lnTo>
                      <a:pt x="823" y="78"/>
                    </a:lnTo>
                    <a:lnTo>
                      <a:pt x="823" y="83"/>
                    </a:lnTo>
                    <a:lnTo>
                      <a:pt x="828" y="83"/>
                    </a:lnTo>
                    <a:lnTo>
                      <a:pt x="828" y="87"/>
                    </a:lnTo>
                    <a:lnTo>
                      <a:pt x="828" y="96"/>
                    </a:lnTo>
                    <a:lnTo>
                      <a:pt x="832" y="101"/>
                    </a:lnTo>
                    <a:lnTo>
                      <a:pt x="832" y="106"/>
                    </a:lnTo>
                    <a:lnTo>
                      <a:pt x="837" y="110"/>
                    </a:lnTo>
                    <a:lnTo>
                      <a:pt x="841" y="115"/>
                    </a:lnTo>
                    <a:lnTo>
                      <a:pt x="846" y="115"/>
                    </a:lnTo>
                    <a:lnTo>
                      <a:pt x="851" y="115"/>
                    </a:lnTo>
                    <a:lnTo>
                      <a:pt x="855" y="119"/>
                    </a:lnTo>
                    <a:lnTo>
                      <a:pt x="860" y="119"/>
                    </a:lnTo>
                    <a:lnTo>
                      <a:pt x="869" y="119"/>
                    </a:lnTo>
                    <a:lnTo>
                      <a:pt x="873" y="119"/>
                    </a:lnTo>
                    <a:lnTo>
                      <a:pt x="887" y="124"/>
                    </a:lnTo>
                    <a:lnTo>
                      <a:pt x="892" y="124"/>
                    </a:lnTo>
                    <a:lnTo>
                      <a:pt x="896" y="124"/>
                    </a:lnTo>
                    <a:lnTo>
                      <a:pt x="896" y="128"/>
                    </a:lnTo>
                    <a:lnTo>
                      <a:pt x="896" y="128"/>
                    </a:lnTo>
                    <a:lnTo>
                      <a:pt x="901" y="133"/>
                    </a:lnTo>
                    <a:lnTo>
                      <a:pt x="905" y="133"/>
                    </a:lnTo>
                    <a:lnTo>
                      <a:pt x="910" y="138"/>
                    </a:lnTo>
                    <a:lnTo>
                      <a:pt x="910" y="142"/>
                    </a:lnTo>
                    <a:lnTo>
                      <a:pt x="915" y="142"/>
                    </a:lnTo>
                    <a:lnTo>
                      <a:pt x="919" y="142"/>
                    </a:lnTo>
                    <a:lnTo>
                      <a:pt x="919" y="142"/>
                    </a:lnTo>
                    <a:lnTo>
                      <a:pt x="919" y="147"/>
                    </a:lnTo>
                    <a:lnTo>
                      <a:pt x="924" y="147"/>
                    </a:lnTo>
                    <a:lnTo>
                      <a:pt x="924" y="151"/>
                    </a:lnTo>
                    <a:lnTo>
                      <a:pt x="928" y="156"/>
                    </a:lnTo>
                    <a:lnTo>
                      <a:pt x="933" y="160"/>
                    </a:lnTo>
                    <a:lnTo>
                      <a:pt x="933" y="165"/>
                    </a:lnTo>
                    <a:lnTo>
                      <a:pt x="937" y="165"/>
                    </a:lnTo>
                    <a:lnTo>
                      <a:pt x="937" y="165"/>
                    </a:lnTo>
                    <a:lnTo>
                      <a:pt x="937" y="165"/>
                    </a:lnTo>
                    <a:lnTo>
                      <a:pt x="942" y="165"/>
                    </a:lnTo>
                    <a:lnTo>
                      <a:pt x="942" y="170"/>
                    </a:lnTo>
                    <a:lnTo>
                      <a:pt x="942" y="174"/>
                    </a:lnTo>
                    <a:lnTo>
                      <a:pt x="942" y="179"/>
                    </a:lnTo>
                    <a:lnTo>
                      <a:pt x="942" y="183"/>
                    </a:lnTo>
                    <a:lnTo>
                      <a:pt x="947" y="183"/>
                    </a:lnTo>
                    <a:lnTo>
                      <a:pt x="947" y="183"/>
                    </a:lnTo>
                    <a:lnTo>
                      <a:pt x="947" y="188"/>
                    </a:lnTo>
                    <a:lnTo>
                      <a:pt x="947" y="192"/>
                    </a:lnTo>
                    <a:lnTo>
                      <a:pt x="947" y="202"/>
                    </a:lnTo>
                    <a:lnTo>
                      <a:pt x="947" y="206"/>
                    </a:lnTo>
                    <a:lnTo>
                      <a:pt x="942" y="206"/>
                    </a:lnTo>
                    <a:lnTo>
                      <a:pt x="942" y="229"/>
                    </a:lnTo>
                    <a:lnTo>
                      <a:pt x="942" y="234"/>
                    </a:lnTo>
                    <a:lnTo>
                      <a:pt x="942" y="238"/>
                    </a:lnTo>
                    <a:lnTo>
                      <a:pt x="942" y="243"/>
                    </a:lnTo>
                    <a:lnTo>
                      <a:pt x="942" y="252"/>
                    </a:lnTo>
                    <a:lnTo>
                      <a:pt x="942" y="261"/>
                    </a:lnTo>
                    <a:lnTo>
                      <a:pt x="942" y="275"/>
                    </a:lnTo>
                    <a:lnTo>
                      <a:pt x="947" y="288"/>
                    </a:lnTo>
                    <a:lnTo>
                      <a:pt x="947" y="293"/>
                    </a:lnTo>
                    <a:lnTo>
                      <a:pt x="947" y="293"/>
                    </a:lnTo>
                    <a:lnTo>
                      <a:pt x="947" y="298"/>
                    </a:lnTo>
                    <a:lnTo>
                      <a:pt x="947" y="302"/>
                    </a:lnTo>
                    <a:lnTo>
                      <a:pt x="947" y="307"/>
                    </a:lnTo>
                    <a:lnTo>
                      <a:pt x="942" y="307"/>
                    </a:lnTo>
                    <a:lnTo>
                      <a:pt x="942" y="307"/>
                    </a:lnTo>
                    <a:lnTo>
                      <a:pt x="937" y="311"/>
                    </a:lnTo>
                    <a:lnTo>
                      <a:pt x="928" y="311"/>
                    </a:lnTo>
                    <a:lnTo>
                      <a:pt x="919" y="316"/>
                    </a:lnTo>
                    <a:lnTo>
                      <a:pt x="919" y="316"/>
                    </a:lnTo>
                    <a:lnTo>
                      <a:pt x="924" y="325"/>
                    </a:lnTo>
                    <a:lnTo>
                      <a:pt x="928" y="325"/>
                    </a:lnTo>
                    <a:lnTo>
                      <a:pt x="937" y="325"/>
                    </a:lnTo>
                    <a:lnTo>
                      <a:pt x="942" y="330"/>
                    </a:lnTo>
                    <a:lnTo>
                      <a:pt x="942" y="330"/>
                    </a:lnTo>
                    <a:lnTo>
                      <a:pt x="951" y="330"/>
                    </a:lnTo>
                    <a:lnTo>
                      <a:pt x="956" y="330"/>
                    </a:lnTo>
                    <a:lnTo>
                      <a:pt x="960" y="334"/>
                    </a:lnTo>
                    <a:lnTo>
                      <a:pt x="960" y="339"/>
                    </a:lnTo>
                    <a:lnTo>
                      <a:pt x="965" y="339"/>
                    </a:lnTo>
                    <a:lnTo>
                      <a:pt x="965" y="343"/>
                    </a:lnTo>
                    <a:lnTo>
                      <a:pt x="969" y="348"/>
                    </a:lnTo>
                    <a:lnTo>
                      <a:pt x="969" y="352"/>
                    </a:lnTo>
                    <a:lnTo>
                      <a:pt x="974" y="357"/>
                    </a:lnTo>
                    <a:lnTo>
                      <a:pt x="979" y="362"/>
                    </a:lnTo>
                    <a:lnTo>
                      <a:pt x="983" y="362"/>
                    </a:lnTo>
                    <a:lnTo>
                      <a:pt x="983" y="362"/>
                    </a:lnTo>
                    <a:lnTo>
                      <a:pt x="983" y="362"/>
                    </a:lnTo>
                    <a:lnTo>
                      <a:pt x="992" y="366"/>
                    </a:lnTo>
                    <a:lnTo>
                      <a:pt x="997" y="366"/>
                    </a:lnTo>
                    <a:lnTo>
                      <a:pt x="1001" y="366"/>
                    </a:lnTo>
                    <a:lnTo>
                      <a:pt x="1006" y="362"/>
                    </a:lnTo>
                    <a:lnTo>
                      <a:pt x="1006" y="362"/>
                    </a:lnTo>
                    <a:lnTo>
                      <a:pt x="1011" y="366"/>
                    </a:lnTo>
                    <a:lnTo>
                      <a:pt x="1011" y="371"/>
                    </a:lnTo>
                    <a:lnTo>
                      <a:pt x="1006" y="371"/>
                    </a:lnTo>
                    <a:lnTo>
                      <a:pt x="1006" y="375"/>
                    </a:lnTo>
                    <a:lnTo>
                      <a:pt x="1006" y="380"/>
                    </a:lnTo>
                    <a:lnTo>
                      <a:pt x="1006" y="384"/>
                    </a:lnTo>
                    <a:lnTo>
                      <a:pt x="1006" y="389"/>
                    </a:lnTo>
                    <a:lnTo>
                      <a:pt x="1006" y="403"/>
                    </a:lnTo>
                    <a:lnTo>
                      <a:pt x="1006" y="407"/>
                    </a:lnTo>
                    <a:lnTo>
                      <a:pt x="1006" y="412"/>
                    </a:lnTo>
                    <a:lnTo>
                      <a:pt x="1011" y="426"/>
                    </a:lnTo>
                    <a:lnTo>
                      <a:pt x="1015" y="426"/>
                    </a:lnTo>
                    <a:lnTo>
                      <a:pt x="1020" y="426"/>
                    </a:lnTo>
                    <a:lnTo>
                      <a:pt x="1020" y="430"/>
                    </a:lnTo>
                    <a:lnTo>
                      <a:pt x="1024" y="435"/>
                    </a:lnTo>
                    <a:lnTo>
                      <a:pt x="1024" y="444"/>
                    </a:lnTo>
                    <a:lnTo>
                      <a:pt x="1024" y="448"/>
                    </a:lnTo>
                    <a:lnTo>
                      <a:pt x="1024" y="462"/>
                    </a:lnTo>
                    <a:lnTo>
                      <a:pt x="1024" y="467"/>
                    </a:lnTo>
                    <a:lnTo>
                      <a:pt x="1020" y="471"/>
                    </a:lnTo>
                    <a:lnTo>
                      <a:pt x="1015" y="476"/>
                    </a:lnTo>
                    <a:lnTo>
                      <a:pt x="1015" y="480"/>
                    </a:lnTo>
                    <a:lnTo>
                      <a:pt x="1011" y="485"/>
                    </a:lnTo>
                    <a:lnTo>
                      <a:pt x="1006" y="490"/>
                    </a:lnTo>
                    <a:lnTo>
                      <a:pt x="1006" y="494"/>
                    </a:lnTo>
                    <a:lnTo>
                      <a:pt x="1001" y="494"/>
                    </a:lnTo>
                    <a:lnTo>
                      <a:pt x="1001" y="494"/>
                    </a:lnTo>
                    <a:lnTo>
                      <a:pt x="997" y="494"/>
                    </a:lnTo>
                    <a:lnTo>
                      <a:pt x="992" y="499"/>
                    </a:lnTo>
                    <a:lnTo>
                      <a:pt x="988" y="503"/>
                    </a:lnTo>
                    <a:lnTo>
                      <a:pt x="983" y="508"/>
                    </a:lnTo>
                    <a:lnTo>
                      <a:pt x="983" y="512"/>
                    </a:lnTo>
                    <a:lnTo>
                      <a:pt x="983" y="517"/>
                    </a:lnTo>
                    <a:lnTo>
                      <a:pt x="983" y="526"/>
                    </a:lnTo>
                    <a:lnTo>
                      <a:pt x="983" y="535"/>
                    </a:lnTo>
                    <a:lnTo>
                      <a:pt x="983" y="554"/>
                    </a:lnTo>
                    <a:lnTo>
                      <a:pt x="983" y="558"/>
                    </a:lnTo>
                    <a:lnTo>
                      <a:pt x="983" y="563"/>
                    </a:lnTo>
                    <a:lnTo>
                      <a:pt x="983" y="567"/>
                    </a:lnTo>
                    <a:lnTo>
                      <a:pt x="983" y="572"/>
                    </a:lnTo>
                    <a:lnTo>
                      <a:pt x="983" y="576"/>
                    </a:lnTo>
                    <a:lnTo>
                      <a:pt x="983" y="581"/>
                    </a:lnTo>
                    <a:lnTo>
                      <a:pt x="979" y="581"/>
                    </a:lnTo>
                    <a:lnTo>
                      <a:pt x="979" y="590"/>
                    </a:lnTo>
                    <a:lnTo>
                      <a:pt x="974" y="590"/>
                    </a:lnTo>
                    <a:lnTo>
                      <a:pt x="974" y="595"/>
                    </a:lnTo>
                    <a:lnTo>
                      <a:pt x="974" y="599"/>
                    </a:lnTo>
                    <a:lnTo>
                      <a:pt x="974" y="604"/>
                    </a:lnTo>
                    <a:lnTo>
                      <a:pt x="965" y="608"/>
                    </a:lnTo>
                    <a:lnTo>
                      <a:pt x="965" y="613"/>
                    </a:lnTo>
                    <a:lnTo>
                      <a:pt x="965" y="618"/>
                    </a:lnTo>
                    <a:lnTo>
                      <a:pt x="960" y="622"/>
                    </a:lnTo>
                    <a:lnTo>
                      <a:pt x="960" y="631"/>
                    </a:lnTo>
                    <a:lnTo>
                      <a:pt x="960" y="636"/>
                    </a:lnTo>
                    <a:lnTo>
                      <a:pt x="960" y="659"/>
                    </a:lnTo>
                    <a:lnTo>
                      <a:pt x="960" y="663"/>
                    </a:lnTo>
                    <a:lnTo>
                      <a:pt x="960" y="668"/>
                    </a:lnTo>
                    <a:lnTo>
                      <a:pt x="960" y="672"/>
                    </a:lnTo>
                    <a:lnTo>
                      <a:pt x="960" y="677"/>
                    </a:lnTo>
                    <a:lnTo>
                      <a:pt x="960" y="686"/>
                    </a:lnTo>
                    <a:lnTo>
                      <a:pt x="960" y="691"/>
                    </a:lnTo>
                    <a:lnTo>
                      <a:pt x="960" y="691"/>
                    </a:lnTo>
                    <a:lnTo>
                      <a:pt x="960" y="695"/>
                    </a:lnTo>
                    <a:lnTo>
                      <a:pt x="956" y="700"/>
                    </a:lnTo>
                    <a:lnTo>
                      <a:pt x="956" y="704"/>
                    </a:lnTo>
                    <a:lnTo>
                      <a:pt x="956" y="709"/>
                    </a:lnTo>
                    <a:lnTo>
                      <a:pt x="951" y="714"/>
                    </a:lnTo>
                    <a:lnTo>
                      <a:pt x="947" y="727"/>
                    </a:lnTo>
                    <a:lnTo>
                      <a:pt x="942" y="732"/>
                    </a:lnTo>
                    <a:lnTo>
                      <a:pt x="942" y="736"/>
                    </a:lnTo>
                    <a:lnTo>
                      <a:pt x="942" y="741"/>
                    </a:lnTo>
                    <a:lnTo>
                      <a:pt x="942" y="750"/>
                    </a:lnTo>
                    <a:lnTo>
                      <a:pt x="942" y="759"/>
                    </a:lnTo>
                    <a:lnTo>
                      <a:pt x="942" y="768"/>
                    </a:lnTo>
                    <a:lnTo>
                      <a:pt x="942" y="773"/>
                    </a:lnTo>
                    <a:lnTo>
                      <a:pt x="942" y="778"/>
                    </a:lnTo>
                    <a:lnTo>
                      <a:pt x="947" y="778"/>
                    </a:lnTo>
                    <a:lnTo>
                      <a:pt x="947" y="782"/>
                    </a:lnTo>
                    <a:lnTo>
                      <a:pt x="951" y="787"/>
                    </a:lnTo>
                    <a:lnTo>
                      <a:pt x="951" y="791"/>
                    </a:lnTo>
                    <a:lnTo>
                      <a:pt x="956" y="791"/>
                    </a:lnTo>
                    <a:lnTo>
                      <a:pt x="956" y="791"/>
                    </a:lnTo>
                    <a:lnTo>
                      <a:pt x="960" y="800"/>
                    </a:lnTo>
                    <a:lnTo>
                      <a:pt x="969" y="810"/>
                    </a:lnTo>
                    <a:lnTo>
                      <a:pt x="974" y="810"/>
                    </a:lnTo>
                    <a:lnTo>
                      <a:pt x="974" y="814"/>
                    </a:lnTo>
                    <a:lnTo>
                      <a:pt x="979" y="814"/>
                    </a:lnTo>
                    <a:lnTo>
                      <a:pt x="983" y="814"/>
                    </a:lnTo>
                    <a:lnTo>
                      <a:pt x="983" y="819"/>
                    </a:lnTo>
                    <a:lnTo>
                      <a:pt x="983" y="819"/>
                    </a:lnTo>
                    <a:lnTo>
                      <a:pt x="988" y="819"/>
                    </a:lnTo>
                    <a:lnTo>
                      <a:pt x="988" y="823"/>
                    </a:lnTo>
                    <a:lnTo>
                      <a:pt x="992" y="823"/>
                    </a:lnTo>
                    <a:lnTo>
                      <a:pt x="997" y="828"/>
                    </a:lnTo>
                    <a:lnTo>
                      <a:pt x="997" y="832"/>
                    </a:lnTo>
                    <a:lnTo>
                      <a:pt x="997" y="837"/>
                    </a:lnTo>
                    <a:lnTo>
                      <a:pt x="992" y="842"/>
                    </a:lnTo>
                    <a:lnTo>
                      <a:pt x="992" y="842"/>
                    </a:lnTo>
                    <a:lnTo>
                      <a:pt x="988" y="846"/>
                    </a:lnTo>
                    <a:lnTo>
                      <a:pt x="988" y="851"/>
                    </a:lnTo>
                    <a:lnTo>
                      <a:pt x="983" y="855"/>
                    </a:lnTo>
                    <a:lnTo>
                      <a:pt x="983" y="860"/>
                    </a:lnTo>
                    <a:lnTo>
                      <a:pt x="983" y="864"/>
                    </a:lnTo>
                    <a:lnTo>
                      <a:pt x="983" y="864"/>
                    </a:lnTo>
                    <a:lnTo>
                      <a:pt x="979" y="869"/>
                    </a:lnTo>
                    <a:lnTo>
                      <a:pt x="979" y="874"/>
                    </a:lnTo>
                    <a:lnTo>
                      <a:pt x="974" y="878"/>
                    </a:lnTo>
                    <a:lnTo>
                      <a:pt x="974" y="883"/>
                    </a:lnTo>
                    <a:lnTo>
                      <a:pt x="969" y="887"/>
                    </a:lnTo>
                    <a:lnTo>
                      <a:pt x="969" y="887"/>
                    </a:lnTo>
                    <a:lnTo>
                      <a:pt x="969" y="892"/>
                    </a:lnTo>
                    <a:lnTo>
                      <a:pt x="965" y="896"/>
                    </a:lnTo>
                    <a:lnTo>
                      <a:pt x="965" y="901"/>
                    </a:lnTo>
                    <a:lnTo>
                      <a:pt x="960" y="906"/>
                    </a:lnTo>
                    <a:lnTo>
                      <a:pt x="960" y="910"/>
                    </a:lnTo>
                    <a:lnTo>
                      <a:pt x="960" y="915"/>
                    </a:lnTo>
                    <a:lnTo>
                      <a:pt x="960" y="919"/>
                    </a:lnTo>
                    <a:lnTo>
                      <a:pt x="956" y="924"/>
                    </a:lnTo>
                    <a:lnTo>
                      <a:pt x="956" y="929"/>
                    </a:lnTo>
                    <a:lnTo>
                      <a:pt x="956" y="933"/>
                    </a:lnTo>
                    <a:lnTo>
                      <a:pt x="956" y="938"/>
                    </a:lnTo>
                    <a:lnTo>
                      <a:pt x="951" y="942"/>
                    </a:lnTo>
                    <a:lnTo>
                      <a:pt x="947" y="942"/>
                    </a:lnTo>
                    <a:lnTo>
                      <a:pt x="942" y="947"/>
                    </a:lnTo>
                    <a:lnTo>
                      <a:pt x="942" y="951"/>
                    </a:lnTo>
                    <a:lnTo>
                      <a:pt x="937" y="951"/>
                    </a:lnTo>
                    <a:lnTo>
                      <a:pt x="933" y="951"/>
                    </a:lnTo>
                    <a:lnTo>
                      <a:pt x="928" y="951"/>
                    </a:lnTo>
                    <a:lnTo>
                      <a:pt x="924" y="951"/>
                    </a:lnTo>
                    <a:lnTo>
                      <a:pt x="915" y="951"/>
                    </a:lnTo>
                    <a:lnTo>
                      <a:pt x="910" y="951"/>
                    </a:lnTo>
                    <a:lnTo>
                      <a:pt x="901" y="951"/>
                    </a:lnTo>
                    <a:lnTo>
                      <a:pt x="896" y="947"/>
                    </a:lnTo>
                    <a:lnTo>
                      <a:pt x="896" y="942"/>
                    </a:lnTo>
                    <a:lnTo>
                      <a:pt x="892" y="942"/>
                    </a:lnTo>
                    <a:lnTo>
                      <a:pt x="892" y="938"/>
                    </a:lnTo>
                    <a:lnTo>
                      <a:pt x="887" y="938"/>
                    </a:lnTo>
                    <a:lnTo>
                      <a:pt x="887" y="933"/>
                    </a:lnTo>
                    <a:lnTo>
                      <a:pt x="883" y="933"/>
                    </a:lnTo>
                    <a:lnTo>
                      <a:pt x="883" y="929"/>
                    </a:lnTo>
                    <a:lnTo>
                      <a:pt x="878" y="924"/>
                    </a:lnTo>
                    <a:lnTo>
                      <a:pt x="873" y="919"/>
                    </a:lnTo>
                    <a:lnTo>
                      <a:pt x="873" y="915"/>
                    </a:lnTo>
                    <a:lnTo>
                      <a:pt x="869" y="910"/>
                    </a:lnTo>
                    <a:lnTo>
                      <a:pt x="869" y="910"/>
                    </a:lnTo>
                    <a:lnTo>
                      <a:pt x="864" y="906"/>
                    </a:lnTo>
                    <a:lnTo>
                      <a:pt x="860" y="906"/>
                    </a:lnTo>
                    <a:lnTo>
                      <a:pt x="855" y="906"/>
                    </a:lnTo>
                    <a:lnTo>
                      <a:pt x="846" y="906"/>
                    </a:lnTo>
                    <a:lnTo>
                      <a:pt x="841" y="901"/>
                    </a:lnTo>
                    <a:lnTo>
                      <a:pt x="832" y="906"/>
                    </a:lnTo>
                    <a:lnTo>
                      <a:pt x="828" y="906"/>
                    </a:lnTo>
                    <a:lnTo>
                      <a:pt x="823" y="906"/>
                    </a:lnTo>
                    <a:lnTo>
                      <a:pt x="819" y="910"/>
                    </a:lnTo>
                    <a:lnTo>
                      <a:pt x="814" y="910"/>
                    </a:lnTo>
                    <a:lnTo>
                      <a:pt x="814" y="910"/>
                    </a:lnTo>
                    <a:lnTo>
                      <a:pt x="809" y="915"/>
                    </a:lnTo>
                    <a:lnTo>
                      <a:pt x="809" y="919"/>
                    </a:lnTo>
                    <a:lnTo>
                      <a:pt x="809" y="924"/>
                    </a:lnTo>
                    <a:lnTo>
                      <a:pt x="805" y="924"/>
                    </a:lnTo>
                    <a:lnTo>
                      <a:pt x="805" y="929"/>
                    </a:lnTo>
                    <a:lnTo>
                      <a:pt x="800" y="933"/>
                    </a:lnTo>
                    <a:lnTo>
                      <a:pt x="796" y="933"/>
                    </a:lnTo>
                    <a:lnTo>
                      <a:pt x="791" y="933"/>
                    </a:lnTo>
                    <a:lnTo>
                      <a:pt x="791" y="938"/>
                    </a:lnTo>
                    <a:lnTo>
                      <a:pt x="791" y="938"/>
                    </a:lnTo>
                    <a:lnTo>
                      <a:pt x="787" y="942"/>
                    </a:lnTo>
                    <a:lnTo>
                      <a:pt x="787" y="947"/>
                    </a:lnTo>
                    <a:lnTo>
                      <a:pt x="782" y="951"/>
                    </a:lnTo>
                    <a:lnTo>
                      <a:pt x="777" y="951"/>
                    </a:lnTo>
                    <a:lnTo>
                      <a:pt x="773" y="951"/>
                    </a:lnTo>
                    <a:lnTo>
                      <a:pt x="768" y="951"/>
                    </a:lnTo>
                    <a:lnTo>
                      <a:pt x="768" y="951"/>
                    </a:lnTo>
                    <a:lnTo>
                      <a:pt x="764" y="938"/>
                    </a:lnTo>
                    <a:lnTo>
                      <a:pt x="764" y="933"/>
                    </a:lnTo>
                    <a:lnTo>
                      <a:pt x="768" y="915"/>
                    </a:lnTo>
                    <a:lnTo>
                      <a:pt x="768" y="910"/>
                    </a:lnTo>
                    <a:lnTo>
                      <a:pt x="768" y="906"/>
                    </a:lnTo>
                    <a:lnTo>
                      <a:pt x="768" y="896"/>
                    </a:lnTo>
                    <a:lnTo>
                      <a:pt x="768" y="892"/>
                    </a:lnTo>
                    <a:lnTo>
                      <a:pt x="764" y="887"/>
                    </a:lnTo>
                    <a:lnTo>
                      <a:pt x="764" y="887"/>
                    </a:lnTo>
                    <a:lnTo>
                      <a:pt x="764" y="883"/>
                    </a:lnTo>
                    <a:lnTo>
                      <a:pt x="764" y="878"/>
                    </a:lnTo>
                    <a:lnTo>
                      <a:pt x="759" y="878"/>
                    </a:lnTo>
                    <a:lnTo>
                      <a:pt x="759" y="874"/>
                    </a:lnTo>
                    <a:lnTo>
                      <a:pt x="755" y="869"/>
                    </a:lnTo>
                    <a:lnTo>
                      <a:pt x="755" y="864"/>
                    </a:lnTo>
                    <a:lnTo>
                      <a:pt x="750" y="864"/>
                    </a:lnTo>
                    <a:lnTo>
                      <a:pt x="750" y="864"/>
                    </a:lnTo>
                    <a:lnTo>
                      <a:pt x="745" y="860"/>
                    </a:lnTo>
                    <a:lnTo>
                      <a:pt x="745" y="855"/>
                    </a:lnTo>
                    <a:lnTo>
                      <a:pt x="741" y="846"/>
                    </a:lnTo>
                    <a:lnTo>
                      <a:pt x="741" y="842"/>
                    </a:lnTo>
                    <a:lnTo>
                      <a:pt x="741" y="837"/>
                    </a:lnTo>
                    <a:lnTo>
                      <a:pt x="741" y="832"/>
                    </a:lnTo>
                    <a:lnTo>
                      <a:pt x="736" y="832"/>
                    </a:lnTo>
                    <a:lnTo>
                      <a:pt x="736" y="823"/>
                    </a:lnTo>
                    <a:lnTo>
                      <a:pt x="732" y="823"/>
                    </a:lnTo>
                    <a:lnTo>
                      <a:pt x="732" y="819"/>
                    </a:lnTo>
                    <a:close/>
                  </a:path>
                </a:pathLst>
              </a:custGeom>
              <a:solidFill>
                <a:srgbClr val="006301"/>
              </a:solidFill>
              <a:ln w="9525" cmpd="sng">
                <a:solidFill>
                  <a:srgbClr val="FFFFFF"/>
                </a:solidFill>
                <a:miter lim="800000"/>
                <a:headEnd/>
                <a:tailEnd/>
              </a:ln>
              <a:effectLst/>
            </p:spPr>
            <p:txBody>
              <a:bodyPr lIns="36576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Kaduna</a:t>
                </a:r>
              </a:p>
            </p:txBody>
          </p:sp>
          <p:sp>
            <p:nvSpPr>
              <p:cNvPr id="228" name="Freeform 62">
                <a:extLst>
                  <a:ext uri="{FF2B5EF4-FFF2-40B4-BE49-F238E27FC236}">
                    <a16:creationId xmlns:a16="http://schemas.microsoft.com/office/drawing/2014/main" id="{75D0C973-0419-4C84-8C34-1B2ADC5F7F01}"/>
                  </a:ext>
                </a:extLst>
              </p:cNvPr>
              <p:cNvSpPr>
                <a:spLocks/>
              </p:cNvSpPr>
              <p:nvPr>
                <p:custDataLst>
                  <p:tags r:id="rId45"/>
                </p:custDataLst>
              </p:nvPr>
            </p:nvSpPr>
            <p:spPr bwMode="auto">
              <a:xfrm>
                <a:off x="2680988" y="2369252"/>
                <a:ext cx="878490" cy="960497"/>
              </a:xfrm>
              <a:custGeom>
                <a:avLst/>
                <a:gdLst/>
                <a:ahLst/>
                <a:cxnLst>
                  <a:cxn ang="0">
                    <a:pos x="430" y="594"/>
                  </a:cxn>
                  <a:cxn ang="0">
                    <a:pos x="430" y="667"/>
                  </a:cxn>
                  <a:cxn ang="0">
                    <a:pos x="453" y="709"/>
                  </a:cxn>
                  <a:cxn ang="0">
                    <a:pos x="439" y="750"/>
                  </a:cxn>
                  <a:cxn ang="0">
                    <a:pos x="411" y="777"/>
                  </a:cxn>
                  <a:cxn ang="0">
                    <a:pos x="375" y="754"/>
                  </a:cxn>
                  <a:cxn ang="0">
                    <a:pos x="334" y="736"/>
                  </a:cxn>
                  <a:cxn ang="0">
                    <a:pos x="357" y="704"/>
                  </a:cxn>
                  <a:cxn ang="0">
                    <a:pos x="352" y="617"/>
                  </a:cxn>
                  <a:cxn ang="0">
                    <a:pos x="352" y="581"/>
                  </a:cxn>
                  <a:cxn ang="0">
                    <a:pos x="329" y="553"/>
                  </a:cxn>
                  <a:cxn ang="0">
                    <a:pos x="306" y="535"/>
                  </a:cxn>
                  <a:cxn ang="0">
                    <a:pos x="247" y="521"/>
                  </a:cxn>
                  <a:cxn ang="0">
                    <a:pos x="219" y="485"/>
                  </a:cxn>
                  <a:cxn ang="0">
                    <a:pos x="187" y="466"/>
                  </a:cxn>
                  <a:cxn ang="0">
                    <a:pos x="178" y="416"/>
                  </a:cxn>
                  <a:cxn ang="0">
                    <a:pos x="142" y="425"/>
                  </a:cxn>
                  <a:cxn ang="0">
                    <a:pos x="87" y="457"/>
                  </a:cxn>
                  <a:cxn ang="0">
                    <a:pos x="46" y="471"/>
                  </a:cxn>
                  <a:cxn ang="0">
                    <a:pos x="14" y="439"/>
                  </a:cxn>
                  <a:cxn ang="0">
                    <a:pos x="18" y="407"/>
                  </a:cxn>
                  <a:cxn ang="0">
                    <a:pos x="41" y="379"/>
                  </a:cxn>
                  <a:cxn ang="0">
                    <a:pos x="91" y="357"/>
                  </a:cxn>
                  <a:cxn ang="0">
                    <a:pos x="78" y="311"/>
                  </a:cxn>
                  <a:cxn ang="0">
                    <a:pos x="64" y="270"/>
                  </a:cxn>
                  <a:cxn ang="0">
                    <a:pos x="64" y="206"/>
                  </a:cxn>
                  <a:cxn ang="0">
                    <a:pos x="55" y="137"/>
                  </a:cxn>
                  <a:cxn ang="0">
                    <a:pos x="101" y="101"/>
                  </a:cxn>
                  <a:cxn ang="0">
                    <a:pos x="151" y="91"/>
                  </a:cxn>
                  <a:cxn ang="0">
                    <a:pos x="183" y="64"/>
                  </a:cxn>
                  <a:cxn ang="0">
                    <a:pos x="206" y="23"/>
                  </a:cxn>
                  <a:cxn ang="0">
                    <a:pos x="242" y="18"/>
                  </a:cxn>
                  <a:cxn ang="0">
                    <a:pos x="261" y="50"/>
                  </a:cxn>
                  <a:cxn ang="0">
                    <a:pos x="274" y="46"/>
                  </a:cxn>
                  <a:cxn ang="0">
                    <a:pos x="302" y="9"/>
                  </a:cxn>
                  <a:cxn ang="0">
                    <a:pos x="347" y="0"/>
                  </a:cxn>
                  <a:cxn ang="0">
                    <a:pos x="384" y="9"/>
                  </a:cxn>
                  <a:cxn ang="0">
                    <a:pos x="393" y="46"/>
                  </a:cxn>
                  <a:cxn ang="0">
                    <a:pos x="425" y="69"/>
                  </a:cxn>
                  <a:cxn ang="0">
                    <a:pos x="425" y="96"/>
                  </a:cxn>
                  <a:cxn ang="0">
                    <a:pos x="471" y="114"/>
                  </a:cxn>
                  <a:cxn ang="0">
                    <a:pos x="494" y="146"/>
                  </a:cxn>
                  <a:cxn ang="0">
                    <a:pos x="494" y="178"/>
                  </a:cxn>
                  <a:cxn ang="0">
                    <a:pos x="512" y="201"/>
                  </a:cxn>
                  <a:cxn ang="0">
                    <a:pos x="544" y="206"/>
                  </a:cxn>
                  <a:cxn ang="0">
                    <a:pos x="571" y="201"/>
                  </a:cxn>
                  <a:cxn ang="0">
                    <a:pos x="594" y="224"/>
                  </a:cxn>
                  <a:cxn ang="0">
                    <a:pos x="590" y="283"/>
                  </a:cxn>
                  <a:cxn ang="0">
                    <a:pos x="571" y="311"/>
                  </a:cxn>
                  <a:cxn ang="0">
                    <a:pos x="603" y="329"/>
                  </a:cxn>
                  <a:cxn ang="0">
                    <a:pos x="608" y="357"/>
                  </a:cxn>
                  <a:cxn ang="0">
                    <a:pos x="640" y="389"/>
                  </a:cxn>
                  <a:cxn ang="0">
                    <a:pos x="645" y="416"/>
                  </a:cxn>
                  <a:cxn ang="0">
                    <a:pos x="613" y="439"/>
                  </a:cxn>
                  <a:cxn ang="0">
                    <a:pos x="590" y="475"/>
                  </a:cxn>
                  <a:cxn ang="0">
                    <a:pos x="553" y="485"/>
                  </a:cxn>
                  <a:cxn ang="0">
                    <a:pos x="526" y="503"/>
                  </a:cxn>
                  <a:cxn ang="0">
                    <a:pos x="489" y="535"/>
                  </a:cxn>
                  <a:cxn ang="0">
                    <a:pos x="466" y="567"/>
                  </a:cxn>
                </a:cxnLst>
                <a:rect l="0" t="0" r="r" b="b"/>
                <a:pathLst>
                  <a:path w="658" h="777">
                    <a:moveTo>
                      <a:pt x="439" y="576"/>
                    </a:moveTo>
                    <a:lnTo>
                      <a:pt x="439" y="576"/>
                    </a:lnTo>
                    <a:lnTo>
                      <a:pt x="439" y="576"/>
                    </a:lnTo>
                    <a:lnTo>
                      <a:pt x="434" y="576"/>
                    </a:lnTo>
                    <a:lnTo>
                      <a:pt x="434" y="581"/>
                    </a:lnTo>
                    <a:lnTo>
                      <a:pt x="434" y="585"/>
                    </a:lnTo>
                    <a:lnTo>
                      <a:pt x="430" y="585"/>
                    </a:lnTo>
                    <a:lnTo>
                      <a:pt x="430" y="590"/>
                    </a:lnTo>
                    <a:lnTo>
                      <a:pt x="430" y="594"/>
                    </a:lnTo>
                    <a:lnTo>
                      <a:pt x="430" y="594"/>
                    </a:lnTo>
                    <a:lnTo>
                      <a:pt x="430" y="599"/>
                    </a:lnTo>
                    <a:lnTo>
                      <a:pt x="430" y="613"/>
                    </a:lnTo>
                    <a:lnTo>
                      <a:pt x="430" y="617"/>
                    </a:lnTo>
                    <a:lnTo>
                      <a:pt x="425" y="631"/>
                    </a:lnTo>
                    <a:lnTo>
                      <a:pt x="425" y="645"/>
                    </a:lnTo>
                    <a:lnTo>
                      <a:pt x="425" y="649"/>
                    </a:lnTo>
                    <a:lnTo>
                      <a:pt x="425" y="654"/>
                    </a:lnTo>
                    <a:lnTo>
                      <a:pt x="430" y="663"/>
                    </a:lnTo>
                    <a:lnTo>
                      <a:pt x="430" y="663"/>
                    </a:lnTo>
                    <a:lnTo>
                      <a:pt x="430" y="667"/>
                    </a:lnTo>
                    <a:lnTo>
                      <a:pt x="434" y="672"/>
                    </a:lnTo>
                    <a:lnTo>
                      <a:pt x="439" y="677"/>
                    </a:lnTo>
                    <a:lnTo>
                      <a:pt x="439" y="681"/>
                    </a:lnTo>
                    <a:lnTo>
                      <a:pt x="439" y="686"/>
                    </a:lnTo>
                    <a:lnTo>
                      <a:pt x="443" y="686"/>
                    </a:lnTo>
                    <a:lnTo>
                      <a:pt x="443" y="690"/>
                    </a:lnTo>
                    <a:lnTo>
                      <a:pt x="448" y="690"/>
                    </a:lnTo>
                    <a:lnTo>
                      <a:pt x="453" y="695"/>
                    </a:lnTo>
                    <a:lnTo>
                      <a:pt x="453" y="704"/>
                    </a:lnTo>
                    <a:lnTo>
                      <a:pt x="453" y="709"/>
                    </a:lnTo>
                    <a:lnTo>
                      <a:pt x="453" y="718"/>
                    </a:lnTo>
                    <a:lnTo>
                      <a:pt x="453" y="722"/>
                    </a:lnTo>
                    <a:lnTo>
                      <a:pt x="453" y="727"/>
                    </a:lnTo>
                    <a:lnTo>
                      <a:pt x="453" y="727"/>
                    </a:lnTo>
                    <a:lnTo>
                      <a:pt x="453" y="736"/>
                    </a:lnTo>
                    <a:lnTo>
                      <a:pt x="448" y="741"/>
                    </a:lnTo>
                    <a:lnTo>
                      <a:pt x="448" y="745"/>
                    </a:lnTo>
                    <a:lnTo>
                      <a:pt x="443" y="745"/>
                    </a:lnTo>
                    <a:lnTo>
                      <a:pt x="443" y="750"/>
                    </a:lnTo>
                    <a:lnTo>
                      <a:pt x="439" y="750"/>
                    </a:lnTo>
                    <a:lnTo>
                      <a:pt x="439" y="754"/>
                    </a:lnTo>
                    <a:lnTo>
                      <a:pt x="434" y="759"/>
                    </a:lnTo>
                    <a:lnTo>
                      <a:pt x="434" y="763"/>
                    </a:lnTo>
                    <a:lnTo>
                      <a:pt x="430" y="768"/>
                    </a:lnTo>
                    <a:lnTo>
                      <a:pt x="430" y="773"/>
                    </a:lnTo>
                    <a:lnTo>
                      <a:pt x="425" y="773"/>
                    </a:lnTo>
                    <a:lnTo>
                      <a:pt x="421" y="777"/>
                    </a:lnTo>
                    <a:lnTo>
                      <a:pt x="416" y="773"/>
                    </a:lnTo>
                    <a:lnTo>
                      <a:pt x="416" y="773"/>
                    </a:lnTo>
                    <a:lnTo>
                      <a:pt x="411" y="777"/>
                    </a:lnTo>
                    <a:lnTo>
                      <a:pt x="407" y="777"/>
                    </a:lnTo>
                    <a:lnTo>
                      <a:pt x="402" y="777"/>
                    </a:lnTo>
                    <a:lnTo>
                      <a:pt x="393" y="773"/>
                    </a:lnTo>
                    <a:lnTo>
                      <a:pt x="393" y="773"/>
                    </a:lnTo>
                    <a:lnTo>
                      <a:pt x="393" y="773"/>
                    </a:lnTo>
                    <a:lnTo>
                      <a:pt x="389" y="773"/>
                    </a:lnTo>
                    <a:lnTo>
                      <a:pt x="384" y="768"/>
                    </a:lnTo>
                    <a:lnTo>
                      <a:pt x="379" y="763"/>
                    </a:lnTo>
                    <a:lnTo>
                      <a:pt x="379" y="759"/>
                    </a:lnTo>
                    <a:lnTo>
                      <a:pt x="375" y="754"/>
                    </a:lnTo>
                    <a:lnTo>
                      <a:pt x="375" y="750"/>
                    </a:lnTo>
                    <a:lnTo>
                      <a:pt x="370" y="750"/>
                    </a:lnTo>
                    <a:lnTo>
                      <a:pt x="370" y="745"/>
                    </a:lnTo>
                    <a:lnTo>
                      <a:pt x="366" y="741"/>
                    </a:lnTo>
                    <a:lnTo>
                      <a:pt x="361" y="741"/>
                    </a:lnTo>
                    <a:lnTo>
                      <a:pt x="352" y="741"/>
                    </a:lnTo>
                    <a:lnTo>
                      <a:pt x="352" y="741"/>
                    </a:lnTo>
                    <a:lnTo>
                      <a:pt x="347" y="736"/>
                    </a:lnTo>
                    <a:lnTo>
                      <a:pt x="338" y="736"/>
                    </a:lnTo>
                    <a:lnTo>
                      <a:pt x="334" y="736"/>
                    </a:lnTo>
                    <a:lnTo>
                      <a:pt x="329" y="727"/>
                    </a:lnTo>
                    <a:lnTo>
                      <a:pt x="329" y="727"/>
                    </a:lnTo>
                    <a:lnTo>
                      <a:pt x="338" y="722"/>
                    </a:lnTo>
                    <a:lnTo>
                      <a:pt x="347" y="722"/>
                    </a:lnTo>
                    <a:lnTo>
                      <a:pt x="352" y="718"/>
                    </a:lnTo>
                    <a:lnTo>
                      <a:pt x="352" y="718"/>
                    </a:lnTo>
                    <a:lnTo>
                      <a:pt x="357" y="718"/>
                    </a:lnTo>
                    <a:lnTo>
                      <a:pt x="357" y="713"/>
                    </a:lnTo>
                    <a:lnTo>
                      <a:pt x="357" y="709"/>
                    </a:lnTo>
                    <a:lnTo>
                      <a:pt x="357" y="704"/>
                    </a:lnTo>
                    <a:lnTo>
                      <a:pt x="357" y="704"/>
                    </a:lnTo>
                    <a:lnTo>
                      <a:pt x="357" y="699"/>
                    </a:lnTo>
                    <a:lnTo>
                      <a:pt x="352" y="686"/>
                    </a:lnTo>
                    <a:lnTo>
                      <a:pt x="352" y="672"/>
                    </a:lnTo>
                    <a:lnTo>
                      <a:pt x="352" y="663"/>
                    </a:lnTo>
                    <a:lnTo>
                      <a:pt x="352" y="654"/>
                    </a:lnTo>
                    <a:lnTo>
                      <a:pt x="352" y="649"/>
                    </a:lnTo>
                    <a:lnTo>
                      <a:pt x="352" y="645"/>
                    </a:lnTo>
                    <a:lnTo>
                      <a:pt x="352" y="640"/>
                    </a:lnTo>
                    <a:lnTo>
                      <a:pt x="352" y="617"/>
                    </a:lnTo>
                    <a:lnTo>
                      <a:pt x="357" y="617"/>
                    </a:lnTo>
                    <a:lnTo>
                      <a:pt x="357" y="613"/>
                    </a:lnTo>
                    <a:lnTo>
                      <a:pt x="357" y="603"/>
                    </a:lnTo>
                    <a:lnTo>
                      <a:pt x="357" y="599"/>
                    </a:lnTo>
                    <a:lnTo>
                      <a:pt x="357" y="594"/>
                    </a:lnTo>
                    <a:lnTo>
                      <a:pt x="357" y="594"/>
                    </a:lnTo>
                    <a:lnTo>
                      <a:pt x="352" y="594"/>
                    </a:lnTo>
                    <a:lnTo>
                      <a:pt x="352" y="590"/>
                    </a:lnTo>
                    <a:lnTo>
                      <a:pt x="352" y="585"/>
                    </a:lnTo>
                    <a:lnTo>
                      <a:pt x="352" y="581"/>
                    </a:lnTo>
                    <a:lnTo>
                      <a:pt x="352" y="576"/>
                    </a:lnTo>
                    <a:lnTo>
                      <a:pt x="347" y="576"/>
                    </a:lnTo>
                    <a:lnTo>
                      <a:pt x="347" y="576"/>
                    </a:lnTo>
                    <a:lnTo>
                      <a:pt x="343" y="576"/>
                    </a:lnTo>
                    <a:lnTo>
                      <a:pt x="343" y="571"/>
                    </a:lnTo>
                    <a:lnTo>
                      <a:pt x="338" y="567"/>
                    </a:lnTo>
                    <a:lnTo>
                      <a:pt x="334" y="562"/>
                    </a:lnTo>
                    <a:lnTo>
                      <a:pt x="334" y="558"/>
                    </a:lnTo>
                    <a:lnTo>
                      <a:pt x="329" y="558"/>
                    </a:lnTo>
                    <a:lnTo>
                      <a:pt x="329" y="553"/>
                    </a:lnTo>
                    <a:lnTo>
                      <a:pt x="329" y="553"/>
                    </a:lnTo>
                    <a:lnTo>
                      <a:pt x="325" y="553"/>
                    </a:lnTo>
                    <a:lnTo>
                      <a:pt x="320" y="553"/>
                    </a:lnTo>
                    <a:lnTo>
                      <a:pt x="320" y="549"/>
                    </a:lnTo>
                    <a:lnTo>
                      <a:pt x="315" y="544"/>
                    </a:lnTo>
                    <a:lnTo>
                      <a:pt x="311" y="544"/>
                    </a:lnTo>
                    <a:lnTo>
                      <a:pt x="311" y="544"/>
                    </a:lnTo>
                    <a:lnTo>
                      <a:pt x="306" y="539"/>
                    </a:lnTo>
                    <a:lnTo>
                      <a:pt x="306" y="539"/>
                    </a:lnTo>
                    <a:lnTo>
                      <a:pt x="306" y="535"/>
                    </a:lnTo>
                    <a:lnTo>
                      <a:pt x="302" y="535"/>
                    </a:lnTo>
                    <a:lnTo>
                      <a:pt x="297" y="535"/>
                    </a:lnTo>
                    <a:lnTo>
                      <a:pt x="283" y="530"/>
                    </a:lnTo>
                    <a:lnTo>
                      <a:pt x="279" y="530"/>
                    </a:lnTo>
                    <a:lnTo>
                      <a:pt x="270" y="530"/>
                    </a:lnTo>
                    <a:lnTo>
                      <a:pt x="265" y="530"/>
                    </a:lnTo>
                    <a:lnTo>
                      <a:pt x="261" y="526"/>
                    </a:lnTo>
                    <a:lnTo>
                      <a:pt x="256" y="526"/>
                    </a:lnTo>
                    <a:lnTo>
                      <a:pt x="251" y="526"/>
                    </a:lnTo>
                    <a:lnTo>
                      <a:pt x="247" y="521"/>
                    </a:lnTo>
                    <a:lnTo>
                      <a:pt x="242" y="517"/>
                    </a:lnTo>
                    <a:lnTo>
                      <a:pt x="242" y="512"/>
                    </a:lnTo>
                    <a:lnTo>
                      <a:pt x="238" y="507"/>
                    </a:lnTo>
                    <a:lnTo>
                      <a:pt x="238" y="498"/>
                    </a:lnTo>
                    <a:lnTo>
                      <a:pt x="238" y="494"/>
                    </a:lnTo>
                    <a:lnTo>
                      <a:pt x="233" y="494"/>
                    </a:lnTo>
                    <a:lnTo>
                      <a:pt x="233" y="489"/>
                    </a:lnTo>
                    <a:lnTo>
                      <a:pt x="229" y="489"/>
                    </a:lnTo>
                    <a:lnTo>
                      <a:pt x="224" y="489"/>
                    </a:lnTo>
                    <a:lnTo>
                      <a:pt x="219" y="485"/>
                    </a:lnTo>
                    <a:lnTo>
                      <a:pt x="219" y="485"/>
                    </a:lnTo>
                    <a:lnTo>
                      <a:pt x="215" y="485"/>
                    </a:lnTo>
                    <a:lnTo>
                      <a:pt x="210" y="485"/>
                    </a:lnTo>
                    <a:lnTo>
                      <a:pt x="206" y="480"/>
                    </a:lnTo>
                    <a:lnTo>
                      <a:pt x="201" y="480"/>
                    </a:lnTo>
                    <a:lnTo>
                      <a:pt x="197" y="480"/>
                    </a:lnTo>
                    <a:lnTo>
                      <a:pt x="197" y="475"/>
                    </a:lnTo>
                    <a:lnTo>
                      <a:pt x="192" y="475"/>
                    </a:lnTo>
                    <a:lnTo>
                      <a:pt x="192" y="471"/>
                    </a:lnTo>
                    <a:lnTo>
                      <a:pt x="187" y="466"/>
                    </a:lnTo>
                    <a:lnTo>
                      <a:pt x="187" y="462"/>
                    </a:lnTo>
                    <a:lnTo>
                      <a:pt x="183" y="462"/>
                    </a:lnTo>
                    <a:lnTo>
                      <a:pt x="183" y="457"/>
                    </a:lnTo>
                    <a:lnTo>
                      <a:pt x="187" y="453"/>
                    </a:lnTo>
                    <a:lnTo>
                      <a:pt x="187" y="448"/>
                    </a:lnTo>
                    <a:lnTo>
                      <a:pt x="192" y="439"/>
                    </a:lnTo>
                    <a:lnTo>
                      <a:pt x="192" y="434"/>
                    </a:lnTo>
                    <a:lnTo>
                      <a:pt x="192" y="430"/>
                    </a:lnTo>
                    <a:lnTo>
                      <a:pt x="183" y="421"/>
                    </a:lnTo>
                    <a:lnTo>
                      <a:pt x="178" y="416"/>
                    </a:lnTo>
                    <a:lnTo>
                      <a:pt x="174" y="411"/>
                    </a:lnTo>
                    <a:lnTo>
                      <a:pt x="174" y="411"/>
                    </a:lnTo>
                    <a:lnTo>
                      <a:pt x="174" y="416"/>
                    </a:lnTo>
                    <a:lnTo>
                      <a:pt x="169" y="416"/>
                    </a:lnTo>
                    <a:lnTo>
                      <a:pt x="165" y="416"/>
                    </a:lnTo>
                    <a:lnTo>
                      <a:pt x="165" y="421"/>
                    </a:lnTo>
                    <a:lnTo>
                      <a:pt x="160" y="421"/>
                    </a:lnTo>
                    <a:lnTo>
                      <a:pt x="151" y="421"/>
                    </a:lnTo>
                    <a:lnTo>
                      <a:pt x="146" y="425"/>
                    </a:lnTo>
                    <a:lnTo>
                      <a:pt x="142" y="425"/>
                    </a:lnTo>
                    <a:lnTo>
                      <a:pt x="137" y="425"/>
                    </a:lnTo>
                    <a:lnTo>
                      <a:pt x="133" y="425"/>
                    </a:lnTo>
                    <a:lnTo>
                      <a:pt x="133" y="430"/>
                    </a:lnTo>
                    <a:lnTo>
                      <a:pt x="123" y="434"/>
                    </a:lnTo>
                    <a:lnTo>
                      <a:pt x="119" y="434"/>
                    </a:lnTo>
                    <a:lnTo>
                      <a:pt x="110" y="439"/>
                    </a:lnTo>
                    <a:lnTo>
                      <a:pt x="110" y="439"/>
                    </a:lnTo>
                    <a:lnTo>
                      <a:pt x="101" y="448"/>
                    </a:lnTo>
                    <a:lnTo>
                      <a:pt x="96" y="448"/>
                    </a:lnTo>
                    <a:lnTo>
                      <a:pt x="87" y="457"/>
                    </a:lnTo>
                    <a:lnTo>
                      <a:pt x="87" y="462"/>
                    </a:lnTo>
                    <a:lnTo>
                      <a:pt x="82" y="466"/>
                    </a:lnTo>
                    <a:lnTo>
                      <a:pt x="78" y="466"/>
                    </a:lnTo>
                    <a:lnTo>
                      <a:pt x="78" y="466"/>
                    </a:lnTo>
                    <a:lnTo>
                      <a:pt x="73" y="466"/>
                    </a:lnTo>
                    <a:lnTo>
                      <a:pt x="69" y="471"/>
                    </a:lnTo>
                    <a:lnTo>
                      <a:pt x="64" y="471"/>
                    </a:lnTo>
                    <a:lnTo>
                      <a:pt x="64" y="471"/>
                    </a:lnTo>
                    <a:lnTo>
                      <a:pt x="55" y="471"/>
                    </a:lnTo>
                    <a:lnTo>
                      <a:pt x="46" y="471"/>
                    </a:lnTo>
                    <a:lnTo>
                      <a:pt x="41" y="471"/>
                    </a:lnTo>
                    <a:lnTo>
                      <a:pt x="41" y="471"/>
                    </a:lnTo>
                    <a:lnTo>
                      <a:pt x="27" y="466"/>
                    </a:lnTo>
                    <a:lnTo>
                      <a:pt x="27" y="462"/>
                    </a:lnTo>
                    <a:lnTo>
                      <a:pt x="27" y="457"/>
                    </a:lnTo>
                    <a:lnTo>
                      <a:pt x="23" y="453"/>
                    </a:lnTo>
                    <a:lnTo>
                      <a:pt x="18" y="443"/>
                    </a:lnTo>
                    <a:lnTo>
                      <a:pt x="18" y="443"/>
                    </a:lnTo>
                    <a:lnTo>
                      <a:pt x="14" y="443"/>
                    </a:lnTo>
                    <a:lnTo>
                      <a:pt x="14" y="439"/>
                    </a:lnTo>
                    <a:lnTo>
                      <a:pt x="9" y="434"/>
                    </a:lnTo>
                    <a:lnTo>
                      <a:pt x="5" y="430"/>
                    </a:lnTo>
                    <a:lnTo>
                      <a:pt x="5" y="425"/>
                    </a:lnTo>
                    <a:lnTo>
                      <a:pt x="0" y="421"/>
                    </a:lnTo>
                    <a:lnTo>
                      <a:pt x="0" y="421"/>
                    </a:lnTo>
                    <a:lnTo>
                      <a:pt x="5" y="421"/>
                    </a:lnTo>
                    <a:lnTo>
                      <a:pt x="9" y="411"/>
                    </a:lnTo>
                    <a:lnTo>
                      <a:pt x="14" y="411"/>
                    </a:lnTo>
                    <a:lnTo>
                      <a:pt x="14" y="407"/>
                    </a:lnTo>
                    <a:lnTo>
                      <a:pt x="18" y="407"/>
                    </a:lnTo>
                    <a:lnTo>
                      <a:pt x="23" y="407"/>
                    </a:lnTo>
                    <a:lnTo>
                      <a:pt x="23" y="402"/>
                    </a:lnTo>
                    <a:lnTo>
                      <a:pt x="23" y="398"/>
                    </a:lnTo>
                    <a:lnTo>
                      <a:pt x="23" y="393"/>
                    </a:lnTo>
                    <a:lnTo>
                      <a:pt x="27" y="389"/>
                    </a:lnTo>
                    <a:lnTo>
                      <a:pt x="27" y="384"/>
                    </a:lnTo>
                    <a:lnTo>
                      <a:pt x="32" y="384"/>
                    </a:lnTo>
                    <a:lnTo>
                      <a:pt x="37" y="384"/>
                    </a:lnTo>
                    <a:lnTo>
                      <a:pt x="41" y="379"/>
                    </a:lnTo>
                    <a:lnTo>
                      <a:pt x="41" y="379"/>
                    </a:lnTo>
                    <a:lnTo>
                      <a:pt x="50" y="375"/>
                    </a:lnTo>
                    <a:lnTo>
                      <a:pt x="55" y="375"/>
                    </a:lnTo>
                    <a:lnTo>
                      <a:pt x="59" y="375"/>
                    </a:lnTo>
                    <a:lnTo>
                      <a:pt x="73" y="375"/>
                    </a:lnTo>
                    <a:lnTo>
                      <a:pt x="78" y="375"/>
                    </a:lnTo>
                    <a:lnTo>
                      <a:pt x="87" y="370"/>
                    </a:lnTo>
                    <a:lnTo>
                      <a:pt x="91" y="366"/>
                    </a:lnTo>
                    <a:lnTo>
                      <a:pt x="91" y="366"/>
                    </a:lnTo>
                    <a:lnTo>
                      <a:pt x="91" y="361"/>
                    </a:lnTo>
                    <a:lnTo>
                      <a:pt x="91" y="357"/>
                    </a:lnTo>
                    <a:lnTo>
                      <a:pt x="91" y="357"/>
                    </a:lnTo>
                    <a:lnTo>
                      <a:pt x="87" y="347"/>
                    </a:lnTo>
                    <a:lnTo>
                      <a:pt x="87" y="343"/>
                    </a:lnTo>
                    <a:lnTo>
                      <a:pt x="87" y="338"/>
                    </a:lnTo>
                    <a:lnTo>
                      <a:pt x="82" y="334"/>
                    </a:lnTo>
                    <a:lnTo>
                      <a:pt x="82" y="334"/>
                    </a:lnTo>
                    <a:lnTo>
                      <a:pt x="82" y="329"/>
                    </a:lnTo>
                    <a:lnTo>
                      <a:pt x="78" y="315"/>
                    </a:lnTo>
                    <a:lnTo>
                      <a:pt x="78" y="311"/>
                    </a:lnTo>
                    <a:lnTo>
                      <a:pt x="78" y="311"/>
                    </a:lnTo>
                    <a:lnTo>
                      <a:pt x="78" y="306"/>
                    </a:lnTo>
                    <a:lnTo>
                      <a:pt x="78" y="302"/>
                    </a:lnTo>
                    <a:lnTo>
                      <a:pt x="78" y="297"/>
                    </a:lnTo>
                    <a:lnTo>
                      <a:pt x="78" y="288"/>
                    </a:lnTo>
                    <a:lnTo>
                      <a:pt x="73" y="288"/>
                    </a:lnTo>
                    <a:lnTo>
                      <a:pt x="73" y="283"/>
                    </a:lnTo>
                    <a:lnTo>
                      <a:pt x="73" y="279"/>
                    </a:lnTo>
                    <a:lnTo>
                      <a:pt x="69" y="279"/>
                    </a:lnTo>
                    <a:lnTo>
                      <a:pt x="64" y="274"/>
                    </a:lnTo>
                    <a:lnTo>
                      <a:pt x="64" y="270"/>
                    </a:lnTo>
                    <a:lnTo>
                      <a:pt x="64" y="265"/>
                    </a:lnTo>
                    <a:lnTo>
                      <a:pt x="64" y="265"/>
                    </a:lnTo>
                    <a:lnTo>
                      <a:pt x="64" y="261"/>
                    </a:lnTo>
                    <a:lnTo>
                      <a:pt x="64" y="251"/>
                    </a:lnTo>
                    <a:lnTo>
                      <a:pt x="64" y="247"/>
                    </a:lnTo>
                    <a:lnTo>
                      <a:pt x="64" y="238"/>
                    </a:lnTo>
                    <a:lnTo>
                      <a:pt x="64" y="233"/>
                    </a:lnTo>
                    <a:lnTo>
                      <a:pt x="64" y="219"/>
                    </a:lnTo>
                    <a:lnTo>
                      <a:pt x="64" y="215"/>
                    </a:lnTo>
                    <a:lnTo>
                      <a:pt x="64" y="206"/>
                    </a:lnTo>
                    <a:lnTo>
                      <a:pt x="64" y="197"/>
                    </a:lnTo>
                    <a:lnTo>
                      <a:pt x="64" y="192"/>
                    </a:lnTo>
                    <a:lnTo>
                      <a:pt x="64" y="183"/>
                    </a:lnTo>
                    <a:lnTo>
                      <a:pt x="59" y="169"/>
                    </a:lnTo>
                    <a:lnTo>
                      <a:pt x="55" y="165"/>
                    </a:lnTo>
                    <a:lnTo>
                      <a:pt x="55" y="160"/>
                    </a:lnTo>
                    <a:lnTo>
                      <a:pt x="55" y="155"/>
                    </a:lnTo>
                    <a:lnTo>
                      <a:pt x="55" y="155"/>
                    </a:lnTo>
                    <a:lnTo>
                      <a:pt x="55" y="146"/>
                    </a:lnTo>
                    <a:lnTo>
                      <a:pt x="55" y="137"/>
                    </a:lnTo>
                    <a:lnTo>
                      <a:pt x="59" y="133"/>
                    </a:lnTo>
                    <a:lnTo>
                      <a:pt x="64" y="128"/>
                    </a:lnTo>
                    <a:lnTo>
                      <a:pt x="64" y="123"/>
                    </a:lnTo>
                    <a:lnTo>
                      <a:pt x="69" y="119"/>
                    </a:lnTo>
                    <a:lnTo>
                      <a:pt x="73" y="114"/>
                    </a:lnTo>
                    <a:lnTo>
                      <a:pt x="78" y="114"/>
                    </a:lnTo>
                    <a:lnTo>
                      <a:pt x="82" y="114"/>
                    </a:lnTo>
                    <a:lnTo>
                      <a:pt x="87" y="110"/>
                    </a:lnTo>
                    <a:lnTo>
                      <a:pt x="101" y="105"/>
                    </a:lnTo>
                    <a:lnTo>
                      <a:pt x="101" y="101"/>
                    </a:lnTo>
                    <a:lnTo>
                      <a:pt x="105" y="101"/>
                    </a:lnTo>
                    <a:lnTo>
                      <a:pt x="110" y="96"/>
                    </a:lnTo>
                    <a:lnTo>
                      <a:pt x="114" y="96"/>
                    </a:lnTo>
                    <a:lnTo>
                      <a:pt x="119" y="96"/>
                    </a:lnTo>
                    <a:lnTo>
                      <a:pt x="123" y="96"/>
                    </a:lnTo>
                    <a:lnTo>
                      <a:pt x="133" y="91"/>
                    </a:lnTo>
                    <a:lnTo>
                      <a:pt x="133" y="91"/>
                    </a:lnTo>
                    <a:lnTo>
                      <a:pt x="137" y="91"/>
                    </a:lnTo>
                    <a:lnTo>
                      <a:pt x="142" y="91"/>
                    </a:lnTo>
                    <a:lnTo>
                      <a:pt x="151" y="91"/>
                    </a:lnTo>
                    <a:lnTo>
                      <a:pt x="151" y="87"/>
                    </a:lnTo>
                    <a:lnTo>
                      <a:pt x="155" y="87"/>
                    </a:lnTo>
                    <a:lnTo>
                      <a:pt x="165" y="82"/>
                    </a:lnTo>
                    <a:lnTo>
                      <a:pt x="169" y="78"/>
                    </a:lnTo>
                    <a:lnTo>
                      <a:pt x="174" y="78"/>
                    </a:lnTo>
                    <a:lnTo>
                      <a:pt x="174" y="73"/>
                    </a:lnTo>
                    <a:lnTo>
                      <a:pt x="178" y="69"/>
                    </a:lnTo>
                    <a:lnTo>
                      <a:pt x="178" y="69"/>
                    </a:lnTo>
                    <a:lnTo>
                      <a:pt x="183" y="69"/>
                    </a:lnTo>
                    <a:lnTo>
                      <a:pt x="183" y="64"/>
                    </a:lnTo>
                    <a:lnTo>
                      <a:pt x="187" y="59"/>
                    </a:lnTo>
                    <a:lnTo>
                      <a:pt x="187" y="55"/>
                    </a:lnTo>
                    <a:lnTo>
                      <a:pt x="187" y="50"/>
                    </a:lnTo>
                    <a:lnTo>
                      <a:pt x="192" y="46"/>
                    </a:lnTo>
                    <a:lnTo>
                      <a:pt x="197" y="37"/>
                    </a:lnTo>
                    <a:lnTo>
                      <a:pt x="197" y="37"/>
                    </a:lnTo>
                    <a:lnTo>
                      <a:pt x="197" y="32"/>
                    </a:lnTo>
                    <a:lnTo>
                      <a:pt x="197" y="27"/>
                    </a:lnTo>
                    <a:lnTo>
                      <a:pt x="201" y="27"/>
                    </a:lnTo>
                    <a:lnTo>
                      <a:pt x="206" y="23"/>
                    </a:lnTo>
                    <a:lnTo>
                      <a:pt x="210" y="18"/>
                    </a:lnTo>
                    <a:lnTo>
                      <a:pt x="215" y="18"/>
                    </a:lnTo>
                    <a:lnTo>
                      <a:pt x="219" y="14"/>
                    </a:lnTo>
                    <a:lnTo>
                      <a:pt x="219" y="9"/>
                    </a:lnTo>
                    <a:lnTo>
                      <a:pt x="229" y="5"/>
                    </a:lnTo>
                    <a:lnTo>
                      <a:pt x="229" y="5"/>
                    </a:lnTo>
                    <a:lnTo>
                      <a:pt x="233" y="5"/>
                    </a:lnTo>
                    <a:lnTo>
                      <a:pt x="238" y="5"/>
                    </a:lnTo>
                    <a:lnTo>
                      <a:pt x="242" y="14"/>
                    </a:lnTo>
                    <a:lnTo>
                      <a:pt x="242" y="18"/>
                    </a:lnTo>
                    <a:lnTo>
                      <a:pt x="247" y="23"/>
                    </a:lnTo>
                    <a:lnTo>
                      <a:pt x="251" y="27"/>
                    </a:lnTo>
                    <a:lnTo>
                      <a:pt x="256" y="27"/>
                    </a:lnTo>
                    <a:lnTo>
                      <a:pt x="256" y="32"/>
                    </a:lnTo>
                    <a:lnTo>
                      <a:pt x="261" y="32"/>
                    </a:lnTo>
                    <a:lnTo>
                      <a:pt x="261" y="37"/>
                    </a:lnTo>
                    <a:lnTo>
                      <a:pt x="261" y="41"/>
                    </a:lnTo>
                    <a:lnTo>
                      <a:pt x="261" y="46"/>
                    </a:lnTo>
                    <a:lnTo>
                      <a:pt x="261" y="50"/>
                    </a:lnTo>
                    <a:lnTo>
                      <a:pt x="261" y="50"/>
                    </a:lnTo>
                    <a:lnTo>
                      <a:pt x="261" y="59"/>
                    </a:lnTo>
                    <a:lnTo>
                      <a:pt x="261" y="64"/>
                    </a:lnTo>
                    <a:lnTo>
                      <a:pt x="265" y="64"/>
                    </a:lnTo>
                    <a:lnTo>
                      <a:pt x="265" y="69"/>
                    </a:lnTo>
                    <a:lnTo>
                      <a:pt x="270" y="64"/>
                    </a:lnTo>
                    <a:lnTo>
                      <a:pt x="270" y="59"/>
                    </a:lnTo>
                    <a:lnTo>
                      <a:pt x="274" y="59"/>
                    </a:lnTo>
                    <a:lnTo>
                      <a:pt x="274" y="55"/>
                    </a:lnTo>
                    <a:lnTo>
                      <a:pt x="274" y="50"/>
                    </a:lnTo>
                    <a:lnTo>
                      <a:pt x="274" y="46"/>
                    </a:lnTo>
                    <a:lnTo>
                      <a:pt x="279" y="46"/>
                    </a:lnTo>
                    <a:lnTo>
                      <a:pt x="279" y="37"/>
                    </a:lnTo>
                    <a:lnTo>
                      <a:pt x="283" y="27"/>
                    </a:lnTo>
                    <a:lnTo>
                      <a:pt x="283" y="27"/>
                    </a:lnTo>
                    <a:lnTo>
                      <a:pt x="283" y="27"/>
                    </a:lnTo>
                    <a:lnTo>
                      <a:pt x="283" y="23"/>
                    </a:lnTo>
                    <a:lnTo>
                      <a:pt x="288" y="18"/>
                    </a:lnTo>
                    <a:lnTo>
                      <a:pt x="293" y="14"/>
                    </a:lnTo>
                    <a:lnTo>
                      <a:pt x="297" y="14"/>
                    </a:lnTo>
                    <a:lnTo>
                      <a:pt x="302" y="9"/>
                    </a:lnTo>
                    <a:lnTo>
                      <a:pt x="306" y="5"/>
                    </a:lnTo>
                    <a:lnTo>
                      <a:pt x="306" y="5"/>
                    </a:lnTo>
                    <a:lnTo>
                      <a:pt x="315" y="5"/>
                    </a:lnTo>
                    <a:lnTo>
                      <a:pt x="329" y="5"/>
                    </a:lnTo>
                    <a:lnTo>
                      <a:pt x="329" y="5"/>
                    </a:lnTo>
                    <a:lnTo>
                      <a:pt x="329" y="5"/>
                    </a:lnTo>
                    <a:lnTo>
                      <a:pt x="334" y="5"/>
                    </a:lnTo>
                    <a:lnTo>
                      <a:pt x="338" y="5"/>
                    </a:lnTo>
                    <a:lnTo>
                      <a:pt x="343" y="0"/>
                    </a:lnTo>
                    <a:lnTo>
                      <a:pt x="347" y="0"/>
                    </a:lnTo>
                    <a:lnTo>
                      <a:pt x="352" y="0"/>
                    </a:lnTo>
                    <a:lnTo>
                      <a:pt x="352" y="5"/>
                    </a:lnTo>
                    <a:lnTo>
                      <a:pt x="352" y="5"/>
                    </a:lnTo>
                    <a:lnTo>
                      <a:pt x="357" y="5"/>
                    </a:lnTo>
                    <a:lnTo>
                      <a:pt x="361" y="5"/>
                    </a:lnTo>
                    <a:lnTo>
                      <a:pt x="366" y="5"/>
                    </a:lnTo>
                    <a:lnTo>
                      <a:pt x="370" y="9"/>
                    </a:lnTo>
                    <a:lnTo>
                      <a:pt x="370" y="9"/>
                    </a:lnTo>
                    <a:lnTo>
                      <a:pt x="375" y="9"/>
                    </a:lnTo>
                    <a:lnTo>
                      <a:pt x="384" y="9"/>
                    </a:lnTo>
                    <a:lnTo>
                      <a:pt x="393" y="5"/>
                    </a:lnTo>
                    <a:lnTo>
                      <a:pt x="393" y="5"/>
                    </a:lnTo>
                    <a:lnTo>
                      <a:pt x="398" y="9"/>
                    </a:lnTo>
                    <a:lnTo>
                      <a:pt x="398" y="14"/>
                    </a:lnTo>
                    <a:lnTo>
                      <a:pt x="402" y="18"/>
                    </a:lnTo>
                    <a:lnTo>
                      <a:pt x="398" y="18"/>
                    </a:lnTo>
                    <a:lnTo>
                      <a:pt x="398" y="27"/>
                    </a:lnTo>
                    <a:lnTo>
                      <a:pt x="393" y="32"/>
                    </a:lnTo>
                    <a:lnTo>
                      <a:pt x="393" y="41"/>
                    </a:lnTo>
                    <a:lnTo>
                      <a:pt x="393" y="46"/>
                    </a:lnTo>
                    <a:lnTo>
                      <a:pt x="393" y="50"/>
                    </a:lnTo>
                    <a:lnTo>
                      <a:pt x="393" y="50"/>
                    </a:lnTo>
                    <a:lnTo>
                      <a:pt x="393" y="50"/>
                    </a:lnTo>
                    <a:lnTo>
                      <a:pt x="393" y="55"/>
                    </a:lnTo>
                    <a:lnTo>
                      <a:pt x="398" y="59"/>
                    </a:lnTo>
                    <a:lnTo>
                      <a:pt x="402" y="59"/>
                    </a:lnTo>
                    <a:lnTo>
                      <a:pt x="416" y="59"/>
                    </a:lnTo>
                    <a:lnTo>
                      <a:pt x="416" y="64"/>
                    </a:lnTo>
                    <a:lnTo>
                      <a:pt x="425" y="64"/>
                    </a:lnTo>
                    <a:lnTo>
                      <a:pt x="425" y="69"/>
                    </a:lnTo>
                    <a:lnTo>
                      <a:pt x="430" y="69"/>
                    </a:lnTo>
                    <a:lnTo>
                      <a:pt x="430" y="69"/>
                    </a:lnTo>
                    <a:lnTo>
                      <a:pt x="434" y="73"/>
                    </a:lnTo>
                    <a:lnTo>
                      <a:pt x="434" y="78"/>
                    </a:lnTo>
                    <a:lnTo>
                      <a:pt x="434" y="82"/>
                    </a:lnTo>
                    <a:lnTo>
                      <a:pt x="434" y="87"/>
                    </a:lnTo>
                    <a:lnTo>
                      <a:pt x="430" y="87"/>
                    </a:lnTo>
                    <a:lnTo>
                      <a:pt x="425" y="91"/>
                    </a:lnTo>
                    <a:lnTo>
                      <a:pt x="425" y="91"/>
                    </a:lnTo>
                    <a:lnTo>
                      <a:pt x="425" y="96"/>
                    </a:lnTo>
                    <a:lnTo>
                      <a:pt x="421" y="96"/>
                    </a:lnTo>
                    <a:lnTo>
                      <a:pt x="421" y="101"/>
                    </a:lnTo>
                    <a:lnTo>
                      <a:pt x="425" y="110"/>
                    </a:lnTo>
                    <a:lnTo>
                      <a:pt x="430" y="114"/>
                    </a:lnTo>
                    <a:lnTo>
                      <a:pt x="439" y="114"/>
                    </a:lnTo>
                    <a:lnTo>
                      <a:pt x="439" y="114"/>
                    </a:lnTo>
                    <a:lnTo>
                      <a:pt x="443" y="114"/>
                    </a:lnTo>
                    <a:lnTo>
                      <a:pt x="457" y="114"/>
                    </a:lnTo>
                    <a:lnTo>
                      <a:pt x="462" y="114"/>
                    </a:lnTo>
                    <a:lnTo>
                      <a:pt x="471" y="114"/>
                    </a:lnTo>
                    <a:lnTo>
                      <a:pt x="475" y="114"/>
                    </a:lnTo>
                    <a:lnTo>
                      <a:pt x="480" y="114"/>
                    </a:lnTo>
                    <a:lnTo>
                      <a:pt x="480" y="114"/>
                    </a:lnTo>
                    <a:lnTo>
                      <a:pt x="480" y="114"/>
                    </a:lnTo>
                    <a:lnTo>
                      <a:pt x="480" y="119"/>
                    </a:lnTo>
                    <a:lnTo>
                      <a:pt x="485" y="123"/>
                    </a:lnTo>
                    <a:lnTo>
                      <a:pt x="485" y="128"/>
                    </a:lnTo>
                    <a:lnTo>
                      <a:pt x="489" y="133"/>
                    </a:lnTo>
                    <a:lnTo>
                      <a:pt x="494" y="142"/>
                    </a:lnTo>
                    <a:lnTo>
                      <a:pt x="494" y="146"/>
                    </a:lnTo>
                    <a:lnTo>
                      <a:pt x="498" y="146"/>
                    </a:lnTo>
                    <a:lnTo>
                      <a:pt x="498" y="151"/>
                    </a:lnTo>
                    <a:lnTo>
                      <a:pt x="503" y="155"/>
                    </a:lnTo>
                    <a:lnTo>
                      <a:pt x="503" y="155"/>
                    </a:lnTo>
                    <a:lnTo>
                      <a:pt x="498" y="160"/>
                    </a:lnTo>
                    <a:lnTo>
                      <a:pt x="498" y="165"/>
                    </a:lnTo>
                    <a:lnTo>
                      <a:pt x="498" y="169"/>
                    </a:lnTo>
                    <a:lnTo>
                      <a:pt x="498" y="174"/>
                    </a:lnTo>
                    <a:lnTo>
                      <a:pt x="494" y="174"/>
                    </a:lnTo>
                    <a:lnTo>
                      <a:pt x="494" y="178"/>
                    </a:lnTo>
                    <a:lnTo>
                      <a:pt x="489" y="178"/>
                    </a:lnTo>
                    <a:lnTo>
                      <a:pt x="489" y="178"/>
                    </a:lnTo>
                    <a:lnTo>
                      <a:pt x="485" y="178"/>
                    </a:lnTo>
                    <a:lnTo>
                      <a:pt x="485" y="183"/>
                    </a:lnTo>
                    <a:lnTo>
                      <a:pt x="485" y="187"/>
                    </a:lnTo>
                    <a:lnTo>
                      <a:pt x="489" y="192"/>
                    </a:lnTo>
                    <a:lnTo>
                      <a:pt x="494" y="197"/>
                    </a:lnTo>
                    <a:lnTo>
                      <a:pt x="498" y="197"/>
                    </a:lnTo>
                    <a:lnTo>
                      <a:pt x="507" y="201"/>
                    </a:lnTo>
                    <a:lnTo>
                      <a:pt x="512" y="201"/>
                    </a:lnTo>
                    <a:lnTo>
                      <a:pt x="512" y="201"/>
                    </a:lnTo>
                    <a:lnTo>
                      <a:pt x="521" y="197"/>
                    </a:lnTo>
                    <a:lnTo>
                      <a:pt x="526" y="197"/>
                    </a:lnTo>
                    <a:lnTo>
                      <a:pt x="526" y="197"/>
                    </a:lnTo>
                    <a:lnTo>
                      <a:pt x="539" y="192"/>
                    </a:lnTo>
                    <a:lnTo>
                      <a:pt x="544" y="197"/>
                    </a:lnTo>
                    <a:lnTo>
                      <a:pt x="549" y="197"/>
                    </a:lnTo>
                    <a:lnTo>
                      <a:pt x="549" y="201"/>
                    </a:lnTo>
                    <a:lnTo>
                      <a:pt x="549" y="206"/>
                    </a:lnTo>
                    <a:lnTo>
                      <a:pt x="544" y="206"/>
                    </a:lnTo>
                    <a:lnTo>
                      <a:pt x="544" y="210"/>
                    </a:lnTo>
                    <a:lnTo>
                      <a:pt x="544" y="215"/>
                    </a:lnTo>
                    <a:lnTo>
                      <a:pt x="549" y="215"/>
                    </a:lnTo>
                    <a:lnTo>
                      <a:pt x="553" y="215"/>
                    </a:lnTo>
                    <a:lnTo>
                      <a:pt x="558" y="219"/>
                    </a:lnTo>
                    <a:lnTo>
                      <a:pt x="567" y="219"/>
                    </a:lnTo>
                    <a:lnTo>
                      <a:pt x="571" y="219"/>
                    </a:lnTo>
                    <a:lnTo>
                      <a:pt x="571" y="215"/>
                    </a:lnTo>
                    <a:lnTo>
                      <a:pt x="571" y="206"/>
                    </a:lnTo>
                    <a:lnTo>
                      <a:pt x="571" y="201"/>
                    </a:lnTo>
                    <a:lnTo>
                      <a:pt x="571" y="201"/>
                    </a:lnTo>
                    <a:lnTo>
                      <a:pt x="571" y="197"/>
                    </a:lnTo>
                    <a:lnTo>
                      <a:pt x="576" y="197"/>
                    </a:lnTo>
                    <a:lnTo>
                      <a:pt x="581" y="192"/>
                    </a:lnTo>
                    <a:lnTo>
                      <a:pt x="585" y="197"/>
                    </a:lnTo>
                    <a:lnTo>
                      <a:pt x="590" y="197"/>
                    </a:lnTo>
                    <a:lnTo>
                      <a:pt x="590" y="201"/>
                    </a:lnTo>
                    <a:lnTo>
                      <a:pt x="590" y="201"/>
                    </a:lnTo>
                    <a:lnTo>
                      <a:pt x="594" y="210"/>
                    </a:lnTo>
                    <a:lnTo>
                      <a:pt x="594" y="224"/>
                    </a:lnTo>
                    <a:lnTo>
                      <a:pt x="594" y="224"/>
                    </a:lnTo>
                    <a:lnTo>
                      <a:pt x="599" y="229"/>
                    </a:lnTo>
                    <a:lnTo>
                      <a:pt x="599" y="233"/>
                    </a:lnTo>
                    <a:lnTo>
                      <a:pt x="599" y="238"/>
                    </a:lnTo>
                    <a:lnTo>
                      <a:pt x="599" y="247"/>
                    </a:lnTo>
                    <a:lnTo>
                      <a:pt x="599" y="256"/>
                    </a:lnTo>
                    <a:lnTo>
                      <a:pt x="599" y="274"/>
                    </a:lnTo>
                    <a:lnTo>
                      <a:pt x="594" y="279"/>
                    </a:lnTo>
                    <a:lnTo>
                      <a:pt x="594" y="283"/>
                    </a:lnTo>
                    <a:lnTo>
                      <a:pt x="590" y="283"/>
                    </a:lnTo>
                    <a:lnTo>
                      <a:pt x="590" y="288"/>
                    </a:lnTo>
                    <a:lnTo>
                      <a:pt x="585" y="288"/>
                    </a:lnTo>
                    <a:lnTo>
                      <a:pt x="581" y="288"/>
                    </a:lnTo>
                    <a:lnTo>
                      <a:pt x="576" y="293"/>
                    </a:lnTo>
                    <a:lnTo>
                      <a:pt x="576" y="297"/>
                    </a:lnTo>
                    <a:lnTo>
                      <a:pt x="576" y="302"/>
                    </a:lnTo>
                    <a:lnTo>
                      <a:pt x="571" y="302"/>
                    </a:lnTo>
                    <a:lnTo>
                      <a:pt x="571" y="302"/>
                    </a:lnTo>
                    <a:lnTo>
                      <a:pt x="571" y="306"/>
                    </a:lnTo>
                    <a:lnTo>
                      <a:pt x="571" y="311"/>
                    </a:lnTo>
                    <a:lnTo>
                      <a:pt x="571" y="315"/>
                    </a:lnTo>
                    <a:lnTo>
                      <a:pt x="571" y="320"/>
                    </a:lnTo>
                    <a:lnTo>
                      <a:pt x="571" y="325"/>
                    </a:lnTo>
                    <a:lnTo>
                      <a:pt x="571" y="329"/>
                    </a:lnTo>
                    <a:lnTo>
                      <a:pt x="576" y="334"/>
                    </a:lnTo>
                    <a:lnTo>
                      <a:pt x="581" y="334"/>
                    </a:lnTo>
                    <a:lnTo>
                      <a:pt x="585" y="334"/>
                    </a:lnTo>
                    <a:lnTo>
                      <a:pt x="590" y="334"/>
                    </a:lnTo>
                    <a:lnTo>
                      <a:pt x="594" y="334"/>
                    </a:lnTo>
                    <a:lnTo>
                      <a:pt x="603" y="329"/>
                    </a:lnTo>
                    <a:lnTo>
                      <a:pt x="608" y="329"/>
                    </a:lnTo>
                    <a:lnTo>
                      <a:pt x="613" y="329"/>
                    </a:lnTo>
                    <a:lnTo>
                      <a:pt x="613" y="334"/>
                    </a:lnTo>
                    <a:lnTo>
                      <a:pt x="613" y="338"/>
                    </a:lnTo>
                    <a:lnTo>
                      <a:pt x="608" y="338"/>
                    </a:lnTo>
                    <a:lnTo>
                      <a:pt x="608" y="343"/>
                    </a:lnTo>
                    <a:lnTo>
                      <a:pt x="608" y="347"/>
                    </a:lnTo>
                    <a:lnTo>
                      <a:pt x="603" y="347"/>
                    </a:lnTo>
                    <a:lnTo>
                      <a:pt x="608" y="357"/>
                    </a:lnTo>
                    <a:lnTo>
                      <a:pt x="608" y="357"/>
                    </a:lnTo>
                    <a:lnTo>
                      <a:pt x="613" y="361"/>
                    </a:lnTo>
                    <a:lnTo>
                      <a:pt x="613" y="366"/>
                    </a:lnTo>
                    <a:lnTo>
                      <a:pt x="617" y="366"/>
                    </a:lnTo>
                    <a:lnTo>
                      <a:pt x="622" y="370"/>
                    </a:lnTo>
                    <a:lnTo>
                      <a:pt x="631" y="375"/>
                    </a:lnTo>
                    <a:lnTo>
                      <a:pt x="635" y="375"/>
                    </a:lnTo>
                    <a:lnTo>
                      <a:pt x="635" y="379"/>
                    </a:lnTo>
                    <a:lnTo>
                      <a:pt x="635" y="384"/>
                    </a:lnTo>
                    <a:lnTo>
                      <a:pt x="635" y="389"/>
                    </a:lnTo>
                    <a:lnTo>
                      <a:pt x="640" y="389"/>
                    </a:lnTo>
                    <a:lnTo>
                      <a:pt x="649" y="389"/>
                    </a:lnTo>
                    <a:lnTo>
                      <a:pt x="654" y="389"/>
                    </a:lnTo>
                    <a:lnTo>
                      <a:pt x="658" y="389"/>
                    </a:lnTo>
                    <a:lnTo>
                      <a:pt x="658" y="393"/>
                    </a:lnTo>
                    <a:lnTo>
                      <a:pt x="658" y="398"/>
                    </a:lnTo>
                    <a:lnTo>
                      <a:pt x="654" y="398"/>
                    </a:lnTo>
                    <a:lnTo>
                      <a:pt x="649" y="402"/>
                    </a:lnTo>
                    <a:lnTo>
                      <a:pt x="649" y="407"/>
                    </a:lnTo>
                    <a:lnTo>
                      <a:pt x="645" y="411"/>
                    </a:lnTo>
                    <a:lnTo>
                      <a:pt x="645" y="416"/>
                    </a:lnTo>
                    <a:lnTo>
                      <a:pt x="640" y="421"/>
                    </a:lnTo>
                    <a:lnTo>
                      <a:pt x="635" y="421"/>
                    </a:lnTo>
                    <a:lnTo>
                      <a:pt x="631" y="421"/>
                    </a:lnTo>
                    <a:lnTo>
                      <a:pt x="626" y="421"/>
                    </a:lnTo>
                    <a:lnTo>
                      <a:pt x="622" y="421"/>
                    </a:lnTo>
                    <a:lnTo>
                      <a:pt x="617" y="421"/>
                    </a:lnTo>
                    <a:lnTo>
                      <a:pt x="617" y="425"/>
                    </a:lnTo>
                    <a:lnTo>
                      <a:pt x="613" y="434"/>
                    </a:lnTo>
                    <a:lnTo>
                      <a:pt x="613" y="434"/>
                    </a:lnTo>
                    <a:lnTo>
                      <a:pt x="613" y="439"/>
                    </a:lnTo>
                    <a:lnTo>
                      <a:pt x="613" y="443"/>
                    </a:lnTo>
                    <a:lnTo>
                      <a:pt x="608" y="448"/>
                    </a:lnTo>
                    <a:lnTo>
                      <a:pt x="613" y="457"/>
                    </a:lnTo>
                    <a:lnTo>
                      <a:pt x="613" y="462"/>
                    </a:lnTo>
                    <a:lnTo>
                      <a:pt x="613" y="466"/>
                    </a:lnTo>
                    <a:lnTo>
                      <a:pt x="608" y="471"/>
                    </a:lnTo>
                    <a:lnTo>
                      <a:pt x="603" y="471"/>
                    </a:lnTo>
                    <a:lnTo>
                      <a:pt x="594" y="471"/>
                    </a:lnTo>
                    <a:lnTo>
                      <a:pt x="590" y="475"/>
                    </a:lnTo>
                    <a:lnTo>
                      <a:pt x="590" y="475"/>
                    </a:lnTo>
                    <a:lnTo>
                      <a:pt x="585" y="480"/>
                    </a:lnTo>
                    <a:lnTo>
                      <a:pt x="581" y="480"/>
                    </a:lnTo>
                    <a:lnTo>
                      <a:pt x="581" y="485"/>
                    </a:lnTo>
                    <a:lnTo>
                      <a:pt x="576" y="485"/>
                    </a:lnTo>
                    <a:lnTo>
                      <a:pt x="576" y="485"/>
                    </a:lnTo>
                    <a:lnTo>
                      <a:pt x="571" y="485"/>
                    </a:lnTo>
                    <a:lnTo>
                      <a:pt x="567" y="485"/>
                    </a:lnTo>
                    <a:lnTo>
                      <a:pt x="562" y="485"/>
                    </a:lnTo>
                    <a:lnTo>
                      <a:pt x="558" y="485"/>
                    </a:lnTo>
                    <a:lnTo>
                      <a:pt x="553" y="485"/>
                    </a:lnTo>
                    <a:lnTo>
                      <a:pt x="549" y="485"/>
                    </a:lnTo>
                    <a:lnTo>
                      <a:pt x="549" y="485"/>
                    </a:lnTo>
                    <a:lnTo>
                      <a:pt x="544" y="485"/>
                    </a:lnTo>
                    <a:lnTo>
                      <a:pt x="535" y="489"/>
                    </a:lnTo>
                    <a:lnTo>
                      <a:pt x="530" y="489"/>
                    </a:lnTo>
                    <a:lnTo>
                      <a:pt x="530" y="494"/>
                    </a:lnTo>
                    <a:lnTo>
                      <a:pt x="526" y="494"/>
                    </a:lnTo>
                    <a:lnTo>
                      <a:pt x="526" y="498"/>
                    </a:lnTo>
                    <a:lnTo>
                      <a:pt x="526" y="498"/>
                    </a:lnTo>
                    <a:lnTo>
                      <a:pt x="526" y="503"/>
                    </a:lnTo>
                    <a:lnTo>
                      <a:pt x="521" y="503"/>
                    </a:lnTo>
                    <a:lnTo>
                      <a:pt x="521" y="507"/>
                    </a:lnTo>
                    <a:lnTo>
                      <a:pt x="517" y="507"/>
                    </a:lnTo>
                    <a:lnTo>
                      <a:pt x="512" y="507"/>
                    </a:lnTo>
                    <a:lnTo>
                      <a:pt x="512" y="512"/>
                    </a:lnTo>
                    <a:lnTo>
                      <a:pt x="507" y="512"/>
                    </a:lnTo>
                    <a:lnTo>
                      <a:pt x="498" y="526"/>
                    </a:lnTo>
                    <a:lnTo>
                      <a:pt x="498" y="530"/>
                    </a:lnTo>
                    <a:lnTo>
                      <a:pt x="494" y="530"/>
                    </a:lnTo>
                    <a:lnTo>
                      <a:pt x="489" y="535"/>
                    </a:lnTo>
                    <a:lnTo>
                      <a:pt x="489" y="539"/>
                    </a:lnTo>
                    <a:lnTo>
                      <a:pt x="485" y="539"/>
                    </a:lnTo>
                    <a:lnTo>
                      <a:pt x="485" y="544"/>
                    </a:lnTo>
                    <a:lnTo>
                      <a:pt x="485" y="549"/>
                    </a:lnTo>
                    <a:lnTo>
                      <a:pt x="480" y="553"/>
                    </a:lnTo>
                    <a:lnTo>
                      <a:pt x="480" y="553"/>
                    </a:lnTo>
                    <a:lnTo>
                      <a:pt x="475" y="558"/>
                    </a:lnTo>
                    <a:lnTo>
                      <a:pt x="475" y="562"/>
                    </a:lnTo>
                    <a:lnTo>
                      <a:pt x="471" y="562"/>
                    </a:lnTo>
                    <a:lnTo>
                      <a:pt x="466" y="567"/>
                    </a:lnTo>
                    <a:lnTo>
                      <a:pt x="462" y="567"/>
                    </a:lnTo>
                    <a:lnTo>
                      <a:pt x="453" y="571"/>
                    </a:lnTo>
                    <a:lnTo>
                      <a:pt x="448" y="571"/>
                    </a:lnTo>
                    <a:lnTo>
                      <a:pt x="443" y="571"/>
                    </a:lnTo>
                    <a:lnTo>
                      <a:pt x="439" y="571"/>
                    </a:lnTo>
                    <a:lnTo>
                      <a:pt x="439" y="576"/>
                    </a:lnTo>
                    <a:close/>
                  </a:path>
                </a:pathLst>
              </a:custGeom>
              <a:solidFill>
                <a:srgbClr val="006301"/>
              </a:solidFill>
              <a:ln w="9525" cap="flat" cmpd="sng" algn="ctr">
                <a:solidFill>
                  <a:srgbClr val="FFFFFF"/>
                </a:solidFill>
                <a:prstDash val="solid"/>
              </a:ln>
              <a:effectLst/>
            </p:spPr>
            <p:txBody>
              <a:bodyPr lIns="0" tIns="0" rIns="0" bIns="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cs typeface="Arial" pitchFamily="34" charset="0"/>
                  </a:rPr>
                  <a:t>Kano</a:t>
                </a:r>
              </a:p>
            </p:txBody>
          </p:sp>
          <p:sp>
            <p:nvSpPr>
              <p:cNvPr id="229" name="Freeform 70">
                <a:extLst>
                  <a:ext uri="{FF2B5EF4-FFF2-40B4-BE49-F238E27FC236}">
                    <a16:creationId xmlns:a16="http://schemas.microsoft.com/office/drawing/2014/main" id="{AEB52AE1-97E9-4421-B115-4BF4C97E4B05}"/>
                  </a:ext>
                </a:extLst>
              </p:cNvPr>
              <p:cNvSpPr>
                <a:spLocks/>
              </p:cNvSpPr>
              <p:nvPr>
                <p:custDataLst>
                  <p:tags r:id="rId46"/>
                </p:custDataLst>
              </p:nvPr>
            </p:nvSpPr>
            <p:spPr bwMode="auto">
              <a:xfrm>
                <a:off x="183828" y="4454342"/>
                <a:ext cx="962671" cy="786192"/>
              </a:xfrm>
              <a:custGeom>
                <a:avLst/>
                <a:gdLst/>
                <a:ahLst/>
                <a:cxnLst>
                  <a:cxn ang="0">
                    <a:pos x="251" y="499"/>
                  </a:cxn>
                  <a:cxn ang="0">
                    <a:pos x="206" y="494"/>
                  </a:cxn>
                  <a:cxn ang="0">
                    <a:pos x="178" y="544"/>
                  </a:cxn>
                  <a:cxn ang="0">
                    <a:pos x="133" y="549"/>
                  </a:cxn>
                  <a:cxn ang="0">
                    <a:pos x="73" y="544"/>
                  </a:cxn>
                  <a:cxn ang="0">
                    <a:pos x="46" y="567"/>
                  </a:cxn>
                  <a:cxn ang="0">
                    <a:pos x="32" y="535"/>
                  </a:cxn>
                  <a:cxn ang="0">
                    <a:pos x="41" y="476"/>
                  </a:cxn>
                  <a:cxn ang="0">
                    <a:pos x="23" y="457"/>
                  </a:cxn>
                  <a:cxn ang="0">
                    <a:pos x="27" y="412"/>
                  </a:cxn>
                  <a:cxn ang="0">
                    <a:pos x="23" y="375"/>
                  </a:cxn>
                  <a:cxn ang="0">
                    <a:pos x="32" y="348"/>
                  </a:cxn>
                  <a:cxn ang="0">
                    <a:pos x="41" y="297"/>
                  </a:cxn>
                  <a:cxn ang="0">
                    <a:pos x="27" y="215"/>
                  </a:cxn>
                  <a:cxn ang="0">
                    <a:pos x="46" y="188"/>
                  </a:cxn>
                  <a:cxn ang="0">
                    <a:pos x="23" y="160"/>
                  </a:cxn>
                  <a:cxn ang="0">
                    <a:pos x="23" y="83"/>
                  </a:cxn>
                  <a:cxn ang="0">
                    <a:pos x="0" y="37"/>
                  </a:cxn>
                  <a:cxn ang="0">
                    <a:pos x="23" y="0"/>
                  </a:cxn>
                  <a:cxn ang="0">
                    <a:pos x="69" y="9"/>
                  </a:cxn>
                  <a:cxn ang="0">
                    <a:pos x="73" y="69"/>
                  </a:cxn>
                  <a:cxn ang="0">
                    <a:pos x="91" y="46"/>
                  </a:cxn>
                  <a:cxn ang="0">
                    <a:pos x="110" y="78"/>
                  </a:cxn>
                  <a:cxn ang="0">
                    <a:pos x="110" y="137"/>
                  </a:cxn>
                  <a:cxn ang="0">
                    <a:pos x="133" y="169"/>
                  </a:cxn>
                  <a:cxn ang="0">
                    <a:pos x="155" y="197"/>
                  </a:cxn>
                  <a:cxn ang="0">
                    <a:pos x="178" y="229"/>
                  </a:cxn>
                  <a:cxn ang="0">
                    <a:pos x="219" y="243"/>
                  </a:cxn>
                  <a:cxn ang="0">
                    <a:pos x="247" y="220"/>
                  </a:cxn>
                  <a:cxn ang="0">
                    <a:pos x="270" y="192"/>
                  </a:cxn>
                  <a:cxn ang="0">
                    <a:pos x="311" y="206"/>
                  </a:cxn>
                  <a:cxn ang="0">
                    <a:pos x="361" y="215"/>
                  </a:cxn>
                  <a:cxn ang="0">
                    <a:pos x="375" y="247"/>
                  </a:cxn>
                  <a:cxn ang="0">
                    <a:pos x="398" y="284"/>
                  </a:cxn>
                  <a:cxn ang="0">
                    <a:pos x="389" y="329"/>
                  </a:cxn>
                  <a:cxn ang="0">
                    <a:pos x="421" y="352"/>
                  </a:cxn>
                  <a:cxn ang="0">
                    <a:pos x="480" y="343"/>
                  </a:cxn>
                  <a:cxn ang="0">
                    <a:pos x="507" y="325"/>
                  </a:cxn>
                  <a:cxn ang="0">
                    <a:pos x="549" y="316"/>
                  </a:cxn>
                  <a:cxn ang="0">
                    <a:pos x="576" y="361"/>
                  </a:cxn>
                  <a:cxn ang="0">
                    <a:pos x="617" y="352"/>
                  </a:cxn>
                  <a:cxn ang="0">
                    <a:pos x="667" y="380"/>
                  </a:cxn>
                  <a:cxn ang="0">
                    <a:pos x="704" y="403"/>
                  </a:cxn>
                  <a:cxn ang="0">
                    <a:pos x="663" y="462"/>
                  </a:cxn>
                  <a:cxn ang="0">
                    <a:pos x="635" y="517"/>
                  </a:cxn>
                  <a:cxn ang="0">
                    <a:pos x="690" y="531"/>
                  </a:cxn>
                  <a:cxn ang="0">
                    <a:pos x="718" y="512"/>
                  </a:cxn>
                  <a:cxn ang="0">
                    <a:pos x="722" y="553"/>
                  </a:cxn>
                  <a:cxn ang="0">
                    <a:pos x="699" y="590"/>
                  </a:cxn>
                  <a:cxn ang="0">
                    <a:pos x="699" y="604"/>
                  </a:cxn>
                  <a:cxn ang="0">
                    <a:pos x="713" y="631"/>
                  </a:cxn>
                  <a:cxn ang="0">
                    <a:pos x="658" y="617"/>
                  </a:cxn>
                  <a:cxn ang="0">
                    <a:pos x="599" y="576"/>
                  </a:cxn>
                  <a:cxn ang="0">
                    <a:pos x="549" y="558"/>
                  </a:cxn>
                  <a:cxn ang="0">
                    <a:pos x="576" y="535"/>
                  </a:cxn>
                  <a:cxn ang="0">
                    <a:pos x="549" y="531"/>
                  </a:cxn>
                  <a:cxn ang="0">
                    <a:pos x="521" y="517"/>
                  </a:cxn>
                  <a:cxn ang="0">
                    <a:pos x="544" y="485"/>
                  </a:cxn>
                </a:cxnLst>
                <a:rect l="0" t="0" r="r" b="b"/>
                <a:pathLst>
                  <a:path w="722" h="636">
                    <a:moveTo>
                      <a:pt x="279" y="485"/>
                    </a:moveTo>
                    <a:lnTo>
                      <a:pt x="279" y="489"/>
                    </a:lnTo>
                    <a:lnTo>
                      <a:pt x="279" y="494"/>
                    </a:lnTo>
                    <a:lnTo>
                      <a:pt x="279" y="499"/>
                    </a:lnTo>
                    <a:lnTo>
                      <a:pt x="270" y="499"/>
                    </a:lnTo>
                    <a:lnTo>
                      <a:pt x="265" y="503"/>
                    </a:lnTo>
                    <a:lnTo>
                      <a:pt x="265" y="503"/>
                    </a:lnTo>
                    <a:lnTo>
                      <a:pt x="261" y="503"/>
                    </a:lnTo>
                    <a:lnTo>
                      <a:pt x="256" y="503"/>
                    </a:lnTo>
                    <a:lnTo>
                      <a:pt x="251" y="499"/>
                    </a:lnTo>
                    <a:lnTo>
                      <a:pt x="247" y="494"/>
                    </a:lnTo>
                    <a:lnTo>
                      <a:pt x="242" y="485"/>
                    </a:lnTo>
                    <a:lnTo>
                      <a:pt x="242" y="485"/>
                    </a:lnTo>
                    <a:lnTo>
                      <a:pt x="233" y="485"/>
                    </a:lnTo>
                    <a:lnTo>
                      <a:pt x="219" y="485"/>
                    </a:lnTo>
                    <a:lnTo>
                      <a:pt x="215" y="485"/>
                    </a:lnTo>
                    <a:lnTo>
                      <a:pt x="210" y="485"/>
                    </a:lnTo>
                    <a:lnTo>
                      <a:pt x="210" y="485"/>
                    </a:lnTo>
                    <a:lnTo>
                      <a:pt x="206" y="489"/>
                    </a:lnTo>
                    <a:lnTo>
                      <a:pt x="206" y="494"/>
                    </a:lnTo>
                    <a:lnTo>
                      <a:pt x="206" y="499"/>
                    </a:lnTo>
                    <a:lnTo>
                      <a:pt x="197" y="508"/>
                    </a:lnTo>
                    <a:lnTo>
                      <a:pt x="197" y="512"/>
                    </a:lnTo>
                    <a:lnTo>
                      <a:pt x="197" y="512"/>
                    </a:lnTo>
                    <a:lnTo>
                      <a:pt x="197" y="517"/>
                    </a:lnTo>
                    <a:lnTo>
                      <a:pt x="192" y="521"/>
                    </a:lnTo>
                    <a:lnTo>
                      <a:pt x="192" y="526"/>
                    </a:lnTo>
                    <a:lnTo>
                      <a:pt x="187" y="535"/>
                    </a:lnTo>
                    <a:lnTo>
                      <a:pt x="183" y="540"/>
                    </a:lnTo>
                    <a:lnTo>
                      <a:pt x="178" y="544"/>
                    </a:lnTo>
                    <a:lnTo>
                      <a:pt x="178" y="549"/>
                    </a:lnTo>
                    <a:lnTo>
                      <a:pt x="174" y="549"/>
                    </a:lnTo>
                    <a:lnTo>
                      <a:pt x="169" y="549"/>
                    </a:lnTo>
                    <a:lnTo>
                      <a:pt x="165" y="549"/>
                    </a:lnTo>
                    <a:lnTo>
                      <a:pt x="155" y="549"/>
                    </a:lnTo>
                    <a:lnTo>
                      <a:pt x="155" y="549"/>
                    </a:lnTo>
                    <a:lnTo>
                      <a:pt x="146" y="549"/>
                    </a:lnTo>
                    <a:lnTo>
                      <a:pt x="142" y="549"/>
                    </a:lnTo>
                    <a:lnTo>
                      <a:pt x="133" y="549"/>
                    </a:lnTo>
                    <a:lnTo>
                      <a:pt x="133" y="549"/>
                    </a:lnTo>
                    <a:lnTo>
                      <a:pt x="128" y="549"/>
                    </a:lnTo>
                    <a:lnTo>
                      <a:pt x="123" y="549"/>
                    </a:lnTo>
                    <a:lnTo>
                      <a:pt x="114" y="549"/>
                    </a:lnTo>
                    <a:lnTo>
                      <a:pt x="110" y="549"/>
                    </a:lnTo>
                    <a:lnTo>
                      <a:pt x="101" y="549"/>
                    </a:lnTo>
                    <a:lnTo>
                      <a:pt x="96" y="549"/>
                    </a:lnTo>
                    <a:lnTo>
                      <a:pt x="91" y="549"/>
                    </a:lnTo>
                    <a:lnTo>
                      <a:pt x="87" y="544"/>
                    </a:lnTo>
                    <a:lnTo>
                      <a:pt x="82" y="544"/>
                    </a:lnTo>
                    <a:lnTo>
                      <a:pt x="73" y="544"/>
                    </a:lnTo>
                    <a:lnTo>
                      <a:pt x="69" y="544"/>
                    </a:lnTo>
                    <a:lnTo>
                      <a:pt x="69" y="549"/>
                    </a:lnTo>
                    <a:lnTo>
                      <a:pt x="69" y="549"/>
                    </a:lnTo>
                    <a:lnTo>
                      <a:pt x="59" y="553"/>
                    </a:lnTo>
                    <a:lnTo>
                      <a:pt x="59" y="558"/>
                    </a:lnTo>
                    <a:lnTo>
                      <a:pt x="55" y="558"/>
                    </a:lnTo>
                    <a:lnTo>
                      <a:pt x="50" y="558"/>
                    </a:lnTo>
                    <a:lnTo>
                      <a:pt x="50" y="563"/>
                    </a:lnTo>
                    <a:lnTo>
                      <a:pt x="46" y="563"/>
                    </a:lnTo>
                    <a:lnTo>
                      <a:pt x="46" y="567"/>
                    </a:lnTo>
                    <a:lnTo>
                      <a:pt x="37" y="563"/>
                    </a:lnTo>
                    <a:lnTo>
                      <a:pt x="27" y="563"/>
                    </a:lnTo>
                    <a:lnTo>
                      <a:pt x="23" y="563"/>
                    </a:lnTo>
                    <a:lnTo>
                      <a:pt x="18" y="563"/>
                    </a:lnTo>
                    <a:lnTo>
                      <a:pt x="18" y="558"/>
                    </a:lnTo>
                    <a:lnTo>
                      <a:pt x="18" y="553"/>
                    </a:lnTo>
                    <a:lnTo>
                      <a:pt x="23" y="549"/>
                    </a:lnTo>
                    <a:lnTo>
                      <a:pt x="27" y="544"/>
                    </a:lnTo>
                    <a:lnTo>
                      <a:pt x="27" y="540"/>
                    </a:lnTo>
                    <a:lnTo>
                      <a:pt x="32" y="535"/>
                    </a:lnTo>
                    <a:lnTo>
                      <a:pt x="27" y="531"/>
                    </a:lnTo>
                    <a:lnTo>
                      <a:pt x="27" y="526"/>
                    </a:lnTo>
                    <a:lnTo>
                      <a:pt x="23" y="521"/>
                    </a:lnTo>
                    <a:lnTo>
                      <a:pt x="23" y="512"/>
                    </a:lnTo>
                    <a:lnTo>
                      <a:pt x="27" y="499"/>
                    </a:lnTo>
                    <a:lnTo>
                      <a:pt x="32" y="494"/>
                    </a:lnTo>
                    <a:lnTo>
                      <a:pt x="37" y="494"/>
                    </a:lnTo>
                    <a:lnTo>
                      <a:pt x="41" y="489"/>
                    </a:lnTo>
                    <a:lnTo>
                      <a:pt x="41" y="489"/>
                    </a:lnTo>
                    <a:lnTo>
                      <a:pt x="41" y="476"/>
                    </a:lnTo>
                    <a:lnTo>
                      <a:pt x="46" y="471"/>
                    </a:lnTo>
                    <a:lnTo>
                      <a:pt x="46" y="467"/>
                    </a:lnTo>
                    <a:lnTo>
                      <a:pt x="41" y="467"/>
                    </a:lnTo>
                    <a:lnTo>
                      <a:pt x="41" y="467"/>
                    </a:lnTo>
                    <a:lnTo>
                      <a:pt x="41" y="462"/>
                    </a:lnTo>
                    <a:lnTo>
                      <a:pt x="32" y="467"/>
                    </a:lnTo>
                    <a:lnTo>
                      <a:pt x="27" y="462"/>
                    </a:lnTo>
                    <a:lnTo>
                      <a:pt x="27" y="462"/>
                    </a:lnTo>
                    <a:lnTo>
                      <a:pt x="23" y="462"/>
                    </a:lnTo>
                    <a:lnTo>
                      <a:pt x="23" y="457"/>
                    </a:lnTo>
                    <a:lnTo>
                      <a:pt x="23" y="457"/>
                    </a:lnTo>
                    <a:lnTo>
                      <a:pt x="23" y="453"/>
                    </a:lnTo>
                    <a:lnTo>
                      <a:pt x="18" y="448"/>
                    </a:lnTo>
                    <a:lnTo>
                      <a:pt x="23" y="444"/>
                    </a:lnTo>
                    <a:lnTo>
                      <a:pt x="27" y="435"/>
                    </a:lnTo>
                    <a:lnTo>
                      <a:pt x="27" y="430"/>
                    </a:lnTo>
                    <a:lnTo>
                      <a:pt x="27" y="430"/>
                    </a:lnTo>
                    <a:lnTo>
                      <a:pt x="27" y="425"/>
                    </a:lnTo>
                    <a:lnTo>
                      <a:pt x="27" y="416"/>
                    </a:lnTo>
                    <a:lnTo>
                      <a:pt x="27" y="412"/>
                    </a:lnTo>
                    <a:lnTo>
                      <a:pt x="27" y="407"/>
                    </a:lnTo>
                    <a:lnTo>
                      <a:pt x="27" y="407"/>
                    </a:lnTo>
                    <a:lnTo>
                      <a:pt x="27" y="398"/>
                    </a:lnTo>
                    <a:lnTo>
                      <a:pt x="18" y="398"/>
                    </a:lnTo>
                    <a:lnTo>
                      <a:pt x="18" y="398"/>
                    </a:lnTo>
                    <a:lnTo>
                      <a:pt x="18" y="398"/>
                    </a:lnTo>
                    <a:lnTo>
                      <a:pt x="18" y="393"/>
                    </a:lnTo>
                    <a:lnTo>
                      <a:pt x="18" y="380"/>
                    </a:lnTo>
                    <a:lnTo>
                      <a:pt x="18" y="375"/>
                    </a:lnTo>
                    <a:lnTo>
                      <a:pt x="23" y="375"/>
                    </a:lnTo>
                    <a:lnTo>
                      <a:pt x="27" y="366"/>
                    </a:lnTo>
                    <a:lnTo>
                      <a:pt x="27" y="366"/>
                    </a:lnTo>
                    <a:lnTo>
                      <a:pt x="37" y="361"/>
                    </a:lnTo>
                    <a:lnTo>
                      <a:pt x="37" y="361"/>
                    </a:lnTo>
                    <a:lnTo>
                      <a:pt x="41" y="357"/>
                    </a:lnTo>
                    <a:lnTo>
                      <a:pt x="46" y="357"/>
                    </a:lnTo>
                    <a:lnTo>
                      <a:pt x="41" y="352"/>
                    </a:lnTo>
                    <a:lnTo>
                      <a:pt x="37" y="348"/>
                    </a:lnTo>
                    <a:lnTo>
                      <a:pt x="32" y="348"/>
                    </a:lnTo>
                    <a:lnTo>
                      <a:pt x="32" y="348"/>
                    </a:lnTo>
                    <a:lnTo>
                      <a:pt x="27" y="343"/>
                    </a:lnTo>
                    <a:lnTo>
                      <a:pt x="27" y="339"/>
                    </a:lnTo>
                    <a:lnTo>
                      <a:pt x="27" y="334"/>
                    </a:lnTo>
                    <a:lnTo>
                      <a:pt x="27" y="334"/>
                    </a:lnTo>
                    <a:lnTo>
                      <a:pt x="37" y="329"/>
                    </a:lnTo>
                    <a:lnTo>
                      <a:pt x="37" y="325"/>
                    </a:lnTo>
                    <a:lnTo>
                      <a:pt x="41" y="311"/>
                    </a:lnTo>
                    <a:lnTo>
                      <a:pt x="41" y="307"/>
                    </a:lnTo>
                    <a:lnTo>
                      <a:pt x="41" y="302"/>
                    </a:lnTo>
                    <a:lnTo>
                      <a:pt x="41" y="297"/>
                    </a:lnTo>
                    <a:lnTo>
                      <a:pt x="37" y="284"/>
                    </a:lnTo>
                    <a:lnTo>
                      <a:pt x="32" y="279"/>
                    </a:lnTo>
                    <a:lnTo>
                      <a:pt x="32" y="279"/>
                    </a:lnTo>
                    <a:lnTo>
                      <a:pt x="27" y="275"/>
                    </a:lnTo>
                    <a:lnTo>
                      <a:pt x="27" y="275"/>
                    </a:lnTo>
                    <a:lnTo>
                      <a:pt x="27" y="261"/>
                    </a:lnTo>
                    <a:lnTo>
                      <a:pt x="27" y="261"/>
                    </a:lnTo>
                    <a:lnTo>
                      <a:pt x="27" y="256"/>
                    </a:lnTo>
                    <a:lnTo>
                      <a:pt x="27" y="233"/>
                    </a:lnTo>
                    <a:lnTo>
                      <a:pt x="27" y="215"/>
                    </a:lnTo>
                    <a:lnTo>
                      <a:pt x="27" y="215"/>
                    </a:lnTo>
                    <a:lnTo>
                      <a:pt x="27" y="215"/>
                    </a:lnTo>
                    <a:lnTo>
                      <a:pt x="32" y="215"/>
                    </a:lnTo>
                    <a:lnTo>
                      <a:pt x="32" y="215"/>
                    </a:lnTo>
                    <a:lnTo>
                      <a:pt x="41" y="215"/>
                    </a:lnTo>
                    <a:lnTo>
                      <a:pt x="46" y="211"/>
                    </a:lnTo>
                    <a:lnTo>
                      <a:pt x="46" y="211"/>
                    </a:lnTo>
                    <a:lnTo>
                      <a:pt x="46" y="206"/>
                    </a:lnTo>
                    <a:lnTo>
                      <a:pt x="46" y="192"/>
                    </a:lnTo>
                    <a:lnTo>
                      <a:pt x="46" y="188"/>
                    </a:lnTo>
                    <a:lnTo>
                      <a:pt x="41" y="183"/>
                    </a:lnTo>
                    <a:lnTo>
                      <a:pt x="41" y="183"/>
                    </a:lnTo>
                    <a:lnTo>
                      <a:pt x="37" y="179"/>
                    </a:lnTo>
                    <a:lnTo>
                      <a:pt x="32" y="179"/>
                    </a:lnTo>
                    <a:lnTo>
                      <a:pt x="32" y="174"/>
                    </a:lnTo>
                    <a:lnTo>
                      <a:pt x="27" y="174"/>
                    </a:lnTo>
                    <a:lnTo>
                      <a:pt x="27" y="169"/>
                    </a:lnTo>
                    <a:lnTo>
                      <a:pt x="27" y="165"/>
                    </a:lnTo>
                    <a:lnTo>
                      <a:pt x="27" y="165"/>
                    </a:lnTo>
                    <a:lnTo>
                      <a:pt x="23" y="160"/>
                    </a:lnTo>
                    <a:lnTo>
                      <a:pt x="23" y="151"/>
                    </a:lnTo>
                    <a:lnTo>
                      <a:pt x="23" y="147"/>
                    </a:lnTo>
                    <a:lnTo>
                      <a:pt x="18" y="142"/>
                    </a:lnTo>
                    <a:lnTo>
                      <a:pt x="23" y="137"/>
                    </a:lnTo>
                    <a:lnTo>
                      <a:pt x="18" y="128"/>
                    </a:lnTo>
                    <a:lnTo>
                      <a:pt x="18" y="124"/>
                    </a:lnTo>
                    <a:lnTo>
                      <a:pt x="23" y="110"/>
                    </a:lnTo>
                    <a:lnTo>
                      <a:pt x="23" y="101"/>
                    </a:lnTo>
                    <a:lnTo>
                      <a:pt x="18" y="92"/>
                    </a:lnTo>
                    <a:lnTo>
                      <a:pt x="23" y="83"/>
                    </a:lnTo>
                    <a:lnTo>
                      <a:pt x="23" y="73"/>
                    </a:lnTo>
                    <a:lnTo>
                      <a:pt x="18" y="69"/>
                    </a:lnTo>
                    <a:lnTo>
                      <a:pt x="18" y="64"/>
                    </a:lnTo>
                    <a:lnTo>
                      <a:pt x="14" y="64"/>
                    </a:lnTo>
                    <a:lnTo>
                      <a:pt x="14" y="64"/>
                    </a:lnTo>
                    <a:lnTo>
                      <a:pt x="14" y="60"/>
                    </a:lnTo>
                    <a:lnTo>
                      <a:pt x="9" y="55"/>
                    </a:lnTo>
                    <a:lnTo>
                      <a:pt x="9" y="51"/>
                    </a:lnTo>
                    <a:lnTo>
                      <a:pt x="0" y="37"/>
                    </a:lnTo>
                    <a:lnTo>
                      <a:pt x="0" y="37"/>
                    </a:lnTo>
                    <a:lnTo>
                      <a:pt x="5" y="28"/>
                    </a:lnTo>
                    <a:lnTo>
                      <a:pt x="5" y="23"/>
                    </a:lnTo>
                    <a:lnTo>
                      <a:pt x="9" y="19"/>
                    </a:lnTo>
                    <a:lnTo>
                      <a:pt x="9" y="19"/>
                    </a:lnTo>
                    <a:lnTo>
                      <a:pt x="9" y="14"/>
                    </a:lnTo>
                    <a:lnTo>
                      <a:pt x="9" y="5"/>
                    </a:lnTo>
                    <a:lnTo>
                      <a:pt x="14" y="0"/>
                    </a:lnTo>
                    <a:lnTo>
                      <a:pt x="18" y="0"/>
                    </a:lnTo>
                    <a:lnTo>
                      <a:pt x="23" y="0"/>
                    </a:lnTo>
                    <a:lnTo>
                      <a:pt x="23" y="0"/>
                    </a:lnTo>
                    <a:lnTo>
                      <a:pt x="27" y="0"/>
                    </a:lnTo>
                    <a:lnTo>
                      <a:pt x="37" y="0"/>
                    </a:lnTo>
                    <a:lnTo>
                      <a:pt x="41" y="0"/>
                    </a:lnTo>
                    <a:lnTo>
                      <a:pt x="46" y="0"/>
                    </a:lnTo>
                    <a:lnTo>
                      <a:pt x="50" y="0"/>
                    </a:lnTo>
                    <a:lnTo>
                      <a:pt x="55" y="0"/>
                    </a:lnTo>
                    <a:lnTo>
                      <a:pt x="55" y="0"/>
                    </a:lnTo>
                    <a:lnTo>
                      <a:pt x="64" y="5"/>
                    </a:lnTo>
                    <a:lnTo>
                      <a:pt x="64" y="9"/>
                    </a:lnTo>
                    <a:lnTo>
                      <a:pt x="69" y="9"/>
                    </a:lnTo>
                    <a:lnTo>
                      <a:pt x="69" y="14"/>
                    </a:lnTo>
                    <a:lnTo>
                      <a:pt x="69" y="19"/>
                    </a:lnTo>
                    <a:lnTo>
                      <a:pt x="69" y="23"/>
                    </a:lnTo>
                    <a:lnTo>
                      <a:pt x="69" y="28"/>
                    </a:lnTo>
                    <a:lnTo>
                      <a:pt x="69" y="37"/>
                    </a:lnTo>
                    <a:lnTo>
                      <a:pt x="69" y="51"/>
                    </a:lnTo>
                    <a:lnTo>
                      <a:pt x="69" y="55"/>
                    </a:lnTo>
                    <a:lnTo>
                      <a:pt x="69" y="60"/>
                    </a:lnTo>
                    <a:lnTo>
                      <a:pt x="69" y="64"/>
                    </a:lnTo>
                    <a:lnTo>
                      <a:pt x="73" y="69"/>
                    </a:lnTo>
                    <a:lnTo>
                      <a:pt x="73" y="73"/>
                    </a:lnTo>
                    <a:lnTo>
                      <a:pt x="73" y="78"/>
                    </a:lnTo>
                    <a:lnTo>
                      <a:pt x="78" y="78"/>
                    </a:lnTo>
                    <a:lnTo>
                      <a:pt x="82" y="78"/>
                    </a:lnTo>
                    <a:lnTo>
                      <a:pt x="87" y="73"/>
                    </a:lnTo>
                    <a:lnTo>
                      <a:pt x="87" y="64"/>
                    </a:lnTo>
                    <a:lnTo>
                      <a:pt x="87" y="64"/>
                    </a:lnTo>
                    <a:lnTo>
                      <a:pt x="87" y="60"/>
                    </a:lnTo>
                    <a:lnTo>
                      <a:pt x="87" y="51"/>
                    </a:lnTo>
                    <a:lnTo>
                      <a:pt x="91" y="46"/>
                    </a:lnTo>
                    <a:lnTo>
                      <a:pt x="96" y="46"/>
                    </a:lnTo>
                    <a:lnTo>
                      <a:pt x="101" y="46"/>
                    </a:lnTo>
                    <a:lnTo>
                      <a:pt x="105" y="46"/>
                    </a:lnTo>
                    <a:lnTo>
                      <a:pt x="110" y="46"/>
                    </a:lnTo>
                    <a:lnTo>
                      <a:pt x="110" y="55"/>
                    </a:lnTo>
                    <a:lnTo>
                      <a:pt x="114" y="64"/>
                    </a:lnTo>
                    <a:lnTo>
                      <a:pt x="114" y="64"/>
                    </a:lnTo>
                    <a:lnTo>
                      <a:pt x="114" y="69"/>
                    </a:lnTo>
                    <a:lnTo>
                      <a:pt x="110" y="73"/>
                    </a:lnTo>
                    <a:lnTo>
                      <a:pt x="110" y="78"/>
                    </a:lnTo>
                    <a:lnTo>
                      <a:pt x="110" y="83"/>
                    </a:lnTo>
                    <a:lnTo>
                      <a:pt x="110" y="87"/>
                    </a:lnTo>
                    <a:lnTo>
                      <a:pt x="110" y="92"/>
                    </a:lnTo>
                    <a:lnTo>
                      <a:pt x="110" y="96"/>
                    </a:lnTo>
                    <a:lnTo>
                      <a:pt x="105" y="105"/>
                    </a:lnTo>
                    <a:lnTo>
                      <a:pt x="105" y="115"/>
                    </a:lnTo>
                    <a:lnTo>
                      <a:pt x="105" y="124"/>
                    </a:lnTo>
                    <a:lnTo>
                      <a:pt x="110" y="128"/>
                    </a:lnTo>
                    <a:lnTo>
                      <a:pt x="110" y="133"/>
                    </a:lnTo>
                    <a:lnTo>
                      <a:pt x="110" y="137"/>
                    </a:lnTo>
                    <a:lnTo>
                      <a:pt x="110" y="137"/>
                    </a:lnTo>
                    <a:lnTo>
                      <a:pt x="110" y="147"/>
                    </a:lnTo>
                    <a:lnTo>
                      <a:pt x="114" y="151"/>
                    </a:lnTo>
                    <a:lnTo>
                      <a:pt x="114" y="156"/>
                    </a:lnTo>
                    <a:lnTo>
                      <a:pt x="119" y="156"/>
                    </a:lnTo>
                    <a:lnTo>
                      <a:pt x="123" y="156"/>
                    </a:lnTo>
                    <a:lnTo>
                      <a:pt x="123" y="160"/>
                    </a:lnTo>
                    <a:lnTo>
                      <a:pt x="128" y="165"/>
                    </a:lnTo>
                    <a:lnTo>
                      <a:pt x="133" y="165"/>
                    </a:lnTo>
                    <a:lnTo>
                      <a:pt x="133" y="169"/>
                    </a:lnTo>
                    <a:lnTo>
                      <a:pt x="133" y="169"/>
                    </a:lnTo>
                    <a:lnTo>
                      <a:pt x="133" y="174"/>
                    </a:lnTo>
                    <a:lnTo>
                      <a:pt x="137" y="174"/>
                    </a:lnTo>
                    <a:lnTo>
                      <a:pt x="137" y="179"/>
                    </a:lnTo>
                    <a:lnTo>
                      <a:pt x="142" y="179"/>
                    </a:lnTo>
                    <a:lnTo>
                      <a:pt x="142" y="183"/>
                    </a:lnTo>
                    <a:lnTo>
                      <a:pt x="146" y="183"/>
                    </a:lnTo>
                    <a:lnTo>
                      <a:pt x="146" y="192"/>
                    </a:lnTo>
                    <a:lnTo>
                      <a:pt x="151" y="192"/>
                    </a:lnTo>
                    <a:lnTo>
                      <a:pt x="155" y="197"/>
                    </a:lnTo>
                    <a:lnTo>
                      <a:pt x="155" y="201"/>
                    </a:lnTo>
                    <a:lnTo>
                      <a:pt x="155" y="206"/>
                    </a:lnTo>
                    <a:lnTo>
                      <a:pt x="160" y="211"/>
                    </a:lnTo>
                    <a:lnTo>
                      <a:pt x="160" y="215"/>
                    </a:lnTo>
                    <a:lnTo>
                      <a:pt x="165" y="215"/>
                    </a:lnTo>
                    <a:lnTo>
                      <a:pt x="169" y="220"/>
                    </a:lnTo>
                    <a:lnTo>
                      <a:pt x="174" y="224"/>
                    </a:lnTo>
                    <a:lnTo>
                      <a:pt x="178" y="224"/>
                    </a:lnTo>
                    <a:lnTo>
                      <a:pt x="178" y="229"/>
                    </a:lnTo>
                    <a:lnTo>
                      <a:pt x="178" y="229"/>
                    </a:lnTo>
                    <a:lnTo>
                      <a:pt x="178" y="233"/>
                    </a:lnTo>
                    <a:lnTo>
                      <a:pt x="183" y="233"/>
                    </a:lnTo>
                    <a:lnTo>
                      <a:pt x="183" y="238"/>
                    </a:lnTo>
                    <a:lnTo>
                      <a:pt x="192" y="243"/>
                    </a:lnTo>
                    <a:lnTo>
                      <a:pt x="197" y="243"/>
                    </a:lnTo>
                    <a:lnTo>
                      <a:pt x="197" y="243"/>
                    </a:lnTo>
                    <a:lnTo>
                      <a:pt x="206" y="243"/>
                    </a:lnTo>
                    <a:lnTo>
                      <a:pt x="210" y="243"/>
                    </a:lnTo>
                    <a:lnTo>
                      <a:pt x="215" y="243"/>
                    </a:lnTo>
                    <a:lnTo>
                      <a:pt x="219" y="243"/>
                    </a:lnTo>
                    <a:lnTo>
                      <a:pt x="224" y="243"/>
                    </a:lnTo>
                    <a:lnTo>
                      <a:pt x="229" y="243"/>
                    </a:lnTo>
                    <a:lnTo>
                      <a:pt x="233" y="238"/>
                    </a:lnTo>
                    <a:lnTo>
                      <a:pt x="238" y="238"/>
                    </a:lnTo>
                    <a:lnTo>
                      <a:pt x="238" y="233"/>
                    </a:lnTo>
                    <a:lnTo>
                      <a:pt x="242" y="229"/>
                    </a:lnTo>
                    <a:lnTo>
                      <a:pt x="242" y="224"/>
                    </a:lnTo>
                    <a:lnTo>
                      <a:pt x="242" y="220"/>
                    </a:lnTo>
                    <a:lnTo>
                      <a:pt x="247" y="220"/>
                    </a:lnTo>
                    <a:lnTo>
                      <a:pt x="247" y="220"/>
                    </a:lnTo>
                    <a:lnTo>
                      <a:pt x="251" y="211"/>
                    </a:lnTo>
                    <a:lnTo>
                      <a:pt x="251" y="201"/>
                    </a:lnTo>
                    <a:lnTo>
                      <a:pt x="256" y="197"/>
                    </a:lnTo>
                    <a:lnTo>
                      <a:pt x="256" y="192"/>
                    </a:lnTo>
                    <a:lnTo>
                      <a:pt x="261" y="192"/>
                    </a:lnTo>
                    <a:lnTo>
                      <a:pt x="261" y="188"/>
                    </a:lnTo>
                    <a:lnTo>
                      <a:pt x="265" y="188"/>
                    </a:lnTo>
                    <a:lnTo>
                      <a:pt x="265" y="188"/>
                    </a:lnTo>
                    <a:lnTo>
                      <a:pt x="270" y="188"/>
                    </a:lnTo>
                    <a:lnTo>
                      <a:pt x="270" y="192"/>
                    </a:lnTo>
                    <a:lnTo>
                      <a:pt x="274" y="192"/>
                    </a:lnTo>
                    <a:lnTo>
                      <a:pt x="274" y="197"/>
                    </a:lnTo>
                    <a:lnTo>
                      <a:pt x="279" y="197"/>
                    </a:lnTo>
                    <a:lnTo>
                      <a:pt x="279" y="201"/>
                    </a:lnTo>
                    <a:lnTo>
                      <a:pt x="283" y="206"/>
                    </a:lnTo>
                    <a:lnTo>
                      <a:pt x="288" y="211"/>
                    </a:lnTo>
                    <a:lnTo>
                      <a:pt x="288" y="215"/>
                    </a:lnTo>
                    <a:lnTo>
                      <a:pt x="293" y="215"/>
                    </a:lnTo>
                    <a:lnTo>
                      <a:pt x="302" y="211"/>
                    </a:lnTo>
                    <a:lnTo>
                      <a:pt x="311" y="206"/>
                    </a:lnTo>
                    <a:lnTo>
                      <a:pt x="315" y="206"/>
                    </a:lnTo>
                    <a:lnTo>
                      <a:pt x="325" y="206"/>
                    </a:lnTo>
                    <a:lnTo>
                      <a:pt x="329" y="206"/>
                    </a:lnTo>
                    <a:lnTo>
                      <a:pt x="334" y="206"/>
                    </a:lnTo>
                    <a:lnTo>
                      <a:pt x="338" y="206"/>
                    </a:lnTo>
                    <a:lnTo>
                      <a:pt x="347" y="211"/>
                    </a:lnTo>
                    <a:lnTo>
                      <a:pt x="352" y="211"/>
                    </a:lnTo>
                    <a:lnTo>
                      <a:pt x="352" y="215"/>
                    </a:lnTo>
                    <a:lnTo>
                      <a:pt x="357" y="215"/>
                    </a:lnTo>
                    <a:lnTo>
                      <a:pt x="361" y="215"/>
                    </a:lnTo>
                    <a:lnTo>
                      <a:pt x="361" y="220"/>
                    </a:lnTo>
                    <a:lnTo>
                      <a:pt x="366" y="220"/>
                    </a:lnTo>
                    <a:lnTo>
                      <a:pt x="366" y="220"/>
                    </a:lnTo>
                    <a:lnTo>
                      <a:pt x="370" y="220"/>
                    </a:lnTo>
                    <a:lnTo>
                      <a:pt x="370" y="224"/>
                    </a:lnTo>
                    <a:lnTo>
                      <a:pt x="370" y="229"/>
                    </a:lnTo>
                    <a:lnTo>
                      <a:pt x="375" y="229"/>
                    </a:lnTo>
                    <a:lnTo>
                      <a:pt x="375" y="238"/>
                    </a:lnTo>
                    <a:lnTo>
                      <a:pt x="375" y="243"/>
                    </a:lnTo>
                    <a:lnTo>
                      <a:pt x="375" y="247"/>
                    </a:lnTo>
                    <a:lnTo>
                      <a:pt x="379" y="252"/>
                    </a:lnTo>
                    <a:lnTo>
                      <a:pt x="379" y="256"/>
                    </a:lnTo>
                    <a:lnTo>
                      <a:pt x="384" y="256"/>
                    </a:lnTo>
                    <a:lnTo>
                      <a:pt x="389" y="261"/>
                    </a:lnTo>
                    <a:lnTo>
                      <a:pt x="389" y="265"/>
                    </a:lnTo>
                    <a:lnTo>
                      <a:pt x="393" y="265"/>
                    </a:lnTo>
                    <a:lnTo>
                      <a:pt x="398" y="265"/>
                    </a:lnTo>
                    <a:lnTo>
                      <a:pt x="398" y="275"/>
                    </a:lnTo>
                    <a:lnTo>
                      <a:pt x="398" y="279"/>
                    </a:lnTo>
                    <a:lnTo>
                      <a:pt x="398" y="284"/>
                    </a:lnTo>
                    <a:lnTo>
                      <a:pt x="398" y="288"/>
                    </a:lnTo>
                    <a:lnTo>
                      <a:pt x="398" y="293"/>
                    </a:lnTo>
                    <a:lnTo>
                      <a:pt x="398" y="297"/>
                    </a:lnTo>
                    <a:lnTo>
                      <a:pt x="398" y="302"/>
                    </a:lnTo>
                    <a:lnTo>
                      <a:pt x="398" y="307"/>
                    </a:lnTo>
                    <a:lnTo>
                      <a:pt x="398" y="311"/>
                    </a:lnTo>
                    <a:lnTo>
                      <a:pt x="398" y="320"/>
                    </a:lnTo>
                    <a:lnTo>
                      <a:pt x="398" y="329"/>
                    </a:lnTo>
                    <a:lnTo>
                      <a:pt x="393" y="329"/>
                    </a:lnTo>
                    <a:lnTo>
                      <a:pt x="389" y="329"/>
                    </a:lnTo>
                    <a:lnTo>
                      <a:pt x="389" y="334"/>
                    </a:lnTo>
                    <a:lnTo>
                      <a:pt x="384" y="339"/>
                    </a:lnTo>
                    <a:lnTo>
                      <a:pt x="384" y="343"/>
                    </a:lnTo>
                    <a:lnTo>
                      <a:pt x="384" y="348"/>
                    </a:lnTo>
                    <a:lnTo>
                      <a:pt x="389" y="348"/>
                    </a:lnTo>
                    <a:lnTo>
                      <a:pt x="393" y="348"/>
                    </a:lnTo>
                    <a:lnTo>
                      <a:pt x="398" y="348"/>
                    </a:lnTo>
                    <a:lnTo>
                      <a:pt x="411" y="352"/>
                    </a:lnTo>
                    <a:lnTo>
                      <a:pt x="416" y="352"/>
                    </a:lnTo>
                    <a:lnTo>
                      <a:pt x="421" y="352"/>
                    </a:lnTo>
                    <a:lnTo>
                      <a:pt x="430" y="352"/>
                    </a:lnTo>
                    <a:lnTo>
                      <a:pt x="434" y="352"/>
                    </a:lnTo>
                    <a:lnTo>
                      <a:pt x="443" y="352"/>
                    </a:lnTo>
                    <a:lnTo>
                      <a:pt x="457" y="348"/>
                    </a:lnTo>
                    <a:lnTo>
                      <a:pt x="462" y="348"/>
                    </a:lnTo>
                    <a:lnTo>
                      <a:pt x="462" y="343"/>
                    </a:lnTo>
                    <a:lnTo>
                      <a:pt x="466" y="343"/>
                    </a:lnTo>
                    <a:lnTo>
                      <a:pt x="471" y="339"/>
                    </a:lnTo>
                    <a:lnTo>
                      <a:pt x="475" y="339"/>
                    </a:lnTo>
                    <a:lnTo>
                      <a:pt x="480" y="343"/>
                    </a:lnTo>
                    <a:lnTo>
                      <a:pt x="485" y="343"/>
                    </a:lnTo>
                    <a:lnTo>
                      <a:pt x="485" y="339"/>
                    </a:lnTo>
                    <a:lnTo>
                      <a:pt x="485" y="334"/>
                    </a:lnTo>
                    <a:lnTo>
                      <a:pt x="489" y="334"/>
                    </a:lnTo>
                    <a:lnTo>
                      <a:pt x="494" y="334"/>
                    </a:lnTo>
                    <a:lnTo>
                      <a:pt x="494" y="329"/>
                    </a:lnTo>
                    <a:lnTo>
                      <a:pt x="498" y="329"/>
                    </a:lnTo>
                    <a:lnTo>
                      <a:pt x="503" y="329"/>
                    </a:lnTo>
                    <a:lnTo>
                      <a:pt x="507" y="329"/>
                    </a:lnTo>
                    <a:lnTo>
                      <a:pt x="507" y="325"/>
                    </a:lnTo>
                    <a:lnTo>
                      <a:pt x="512" y="320"/>
                    </a:lnTo>
                    <a:lnTo>
                      <a:pt x="517" y="320"/>
                    </a:lnTo>
                    <a:lnTo>
                      <a:pt x="521" y="316"/>
                    </a:lnTo>
                    <a:lnTo>
                      <a:pt x="526" y="311"/>
                    </a:lnTo>
                    <a:lnTo>
                      <a:pt x="530" y="307"/>
                    </a:lnTo>
                    <a:lnTo>
                      <a:pt x="535" y="307"/>
                    </a:lnTo>
                    <a:lnTo>
                      <a:pt x="539" y="307"/>
                    </a:lnTo>
                    <a:lnTo>
                      <a:pt x="544" y="311"/>
                    </a:lnTo>
                    <a:lnTo>
                      <a:pt x="549" y="311"/>
                    </a:lnTo>
                    <a:lnTo>
                      <a:pt x="549" y="316"/>
                    </a:lnTo>
                    <a:lnTo>
                      <a:pt x="549" y="325"/>
                    </a:lnTo>
                    <a:lnTo>
                      <a:pt x="553" y="329"/>
                    </a:lnTo>
                    <a:lnTo>
                      <a:pt x="558" y="334"/>
                    </a:lnTo>
                    <a:lnTo>
                      <a:pt x="558" y="348"/>
                    </a:lnTo>
                    <a:lnTo>
                      <a:pt x="562" y="348"/>
                    </a:lnTo>
                    <a:lnTo>
                      <a:pt x="562" y="352"/>
                    </a:lnTo>
                    <a:lnTo>
                      <a:pt x="567" y="352"/>
                    </a:lnTo>
                    <a:lnTo>
                      <a:pt x="571" y="357"/>
                    </a:lnTo>
                    <a:lnTo>
                      <a:pt x="571" y="361"/>
                    </a:lnTo>
                    <a:lnTo>
                      <a:pt x="576" y="361"/>
                    </a:lnTo>
                    <a:lnTo>
                      <a:pt x="581" y="361"/>
                    </a:lnTo>
                    <a:lnTo>
                      <a:pt x="585" y="357"/>
                    </a:lnTo>
                    <a:lnTo>
                      <a:pt x="590" y="357"/>
                    </a:lnTo>
                    <a:lnTo>
                      <a:pt x="594" y="352"/>
                    </a:lnTo>
                    <a:lnTo>
                      <a:pt x="599" y="352"/>
                    </a:lnTo>
                    <a:lnTo>
                      <a:pt x="603" y="348"/>
                    </a:lnTo>
                    <a:lnTo>
                      <a:pt x="613" y="348"/>
                    </a:lnTo>
                    <a:lnTo>
                      <a:pt x="617" y="352"/>
                    </a:lnTo>
                    <a:lnTo>
                      <a:pt x="617" y="352"/>
                    </a:lnTo>
                    <a:lnTo>
                      <a:pt x="617" y="352"/>
                    </a:lnTo>
                    <a:lnTo>
                      <a:pt x="622" y="357"/>
                    </a:lnTo>
                    <a:lnTo>
                      <a:pt x="622" y="361"/>
                    </a:lnTo>
                    <a:lnTo>
                      <a:pt x="626" y="371"/>
                    </a:lnTo>
                    <a:lnTo>
                      <a:pt x="626" y="375"/>
                    </a:lnTo>
                    <a:lnTo>
                      <a:pt x="631" y="375"/>
                    </a:lnTo>
                    <a:lnTo>
                      <a:pt x="635" y="380"/>
                    </a:lnTo>
                    <a:lnTo>
                      <a:pt x="640" y="384"/>
                    </a:lnTo>
                    <a:lnTo>
                      <a:pt x="645" y="384"/>
                    </a:lnTo>
                    <a:lnTo>
                      <a:pt x="654" y="384"/>
                    </a:lnTo>
                    <a:lnTo>
                      <a:pt x="667" y="380"/>
                    </a:lnTo>
                    <a:lnTo>
                      <a:pt x="672" y="375"/>
                    </a:lnTo>
                    <a:lnTo>
                      <a:pt x="677" y="375"/>
                    </a:lnTo>
                    <a:lnTo>
                      <a:pt x="681" y="375"/>
                    </a:lnTo>
                    <a:lnTo>
                      <a:pt x="695" y="375"/>
                    </a:lnTo>
                    <a:lnTo>
                      <a:pt x="699" y="375"/>
                    </a:lnTo>
                    <a:lnTo>
                      <a:pt x="704" y="375"/>
                    </a:lnTo>
                    <a:lnTo>
                      <a:pt x="709" y="375"/>
                    </a:lnTo>
                    <a:lnTo>
                      <a:pt x="704" y="389"/>
                    </a:lnTo>
                    <a:lnTo>
                      <a:pt x="704" y="398"/>
                    </a:lnTo>
                    <a:lnTo>
                      <a:pt x="704" y="403"/>
                    </a:lnTo>
                    <a:lnTo>
                      <a:pt x="704" y="416"/>
                    </a:lnTo>
                    <a:lnTo>
                      <a:pt x="704" y="430"/>
                    </a:lnTo>
                    <a:lnTo>
                      <a:pt x="704" y="435"/>
                    </a:lnTo>
                    <a:lnTo>
                      <a:pt x="699" y="439"/>
                    </a:lnTo>
                    <a:lnTo>
                      <a:pt x="690" y="444"/>
                    </a:lnTo>
                    <a:lnTo>
                      <a:pt x="686" y="448"/>
                    </a:lnTo>
                    <a:lnTo>
                      <a:pt x="681" y="448"/>
                    </a:lnTo>
                    <a:lnTo>
                      <a:pt x="677" y="453"/>
                    </a:lnTo>
                    <a:lnTo>
                      <a:pt x="672" y="457"/>
                    </a:lnTo>
                    <a:lnTo>
                      <a:pt x="663" y="462"/>
                    </a:lnTo>
                    <a:lnTo>
                      <a:pt x="658" y="462"/>
                    </a:lnTo>
                    <a:lnTo>
                      <a:pt x="645" y="471"/>
                    </a:lnTo>
                    <a:lnTo>
                      <a:pt x="640" y="476"/>
                    </a:lnTo>
                    <a:lnTo>
                      <a:pt x="640" y="480"/>
                    </a:lnTo>
                    <a:lnTo>
                      <a:pt x="635" y="485"/>
                    </a:lnTo>
                    <a:lnTo>
                      <a:pt x="635" y="499"/>
                    </a:lnTo>
                    <a:lnTo>
                      <a:pt x="635" y="503"/>
                    </a:lnTo>
                    <a:lnTo>
                      <a:pt x="635" y="508"/>
                    </a:lnTo>
                    <a:lnTo>
                      <a:pt x="635" y="512"/>
                    </a:lnTo>
                    <a:lnTo>
                      <a:pt x="635" y="517"/>
                    </a:lnTo>
                    <a:lnTo>
                      <a:pt x="640" y="521"/>
                    </a:lnTo>
                    <a:lnTo>
                      <a:pt x="645" y="526"/>
                    </a:lnTo>
                    <a:lnTo>
                      <a:pt x="649" y="526"/>
                    </a:lnTo>
                    <a:lnTo>
                      <a:pt x="658" y="531"/>
                    </a:lnTo>
                    <a:lnTo>
                      <a:pt x="667" y="531"/>
                    </a:lnTo>
                    <a:lnTo>
                      <a:pt x="672" y="531"/>
                    </a:lnTo>
                    <a:lnTo>
                      <a:pt x="677" y="531"/>
                    </a:lnTo>
                    <a:lnTo>
                      <a:pt x="681" y="531"/>
                    </a:lnTo>
                    <a:lnTo>
                      <a:pt x="686" y="531"/>
                    </a:lnTo>
                    <a:lnTo>
                      <a:pt x="690" y="531"/>
                    </a:lnTo>
                    <a:lnTo>
                      <a:pt x="690" y="526"/>
                    </a:lnTo>
                    <a:lnTo>
                      <a:pt x="695" y="526"/>
                    </a:lnTo>
                    <a:lnTo>
                      <a:pt x="699" y="521"/>
                    </a:lnTo>
                    <a:lnTo>
                      <a:pt x="704" y="521"/>
                    </a:lnTo>
                    <a:lnTo>
                      <a:pt x="704" y="517"/>
                    </a:lnTo>
                    <a:lnTo>
                      <a:pt x="709" y="512"/>
                    </a:lnTo>
                    <a:lnTo>
                      <a:pt x="709" y="508"/>
                    </a:lnTo>
                    <a:lnTo>
                      <a:pt x="713" y="508"/>
                    </a:lnTo>
                    <a:lnTo>
                      <a:pt x="718" y="508"/>
                    </a:lnTo>
                    <a:lnTo>
                      <a:pt x="718" y="512"/>
                    </a:lnTo>
                    <a:lnTo>
                      <a:pt x="722" y="512"/>
                    </a:lnTo>
                    <a:lnTo>
                      <a:pt x="722" y="517"/>
                    </a:lnTo>
                    <a:lnTo>
                      <a:pt x="722" y="521"/>
                    </a:lnTo>
                    <a:lnTo>
                      <a:pt x="722" y="526"/>
                    </a:lnTo>
                    <a:lnTo>
                      <a:pt x="722" y="526"/>
                    </a:lnTo>
                    <a:lnTo>
                      <a:pt x="722" y="531"/>
                    </a:lnTo>
                    <a:lnTo>
                      <a:pt x="718" y="535"/>
                    </a:lnTo>
                    <a:lnTo>
                      <a:pt x="718" y="549"/>
                    </a:lnTo>
                    <a:lnTo>
                      <a:pt x="718" y="549"/>
                    </a:lnTo>
                    <a:lnTo>
                      <a:pt x="722" y="553"/>
                    </a:lnTo>
                    <a:lnTo>
                      <a:pt x="722" y="558"/>
                    </a:lnTo>
                    <a:lnTo>
                      <a:pt x="722" y="567"/>
                    </a:lnTo>
                    <a:lnTo>
                      <a:pt x="722" y="572"/>
                    </a:lnTo>
                    <a:lnTo>
                      <a:pt x="718" y="572"/>
                    </a:lnTo>
                    <a:lnTo>
                      <a:pt x="713" y="572"/>
                    </a:lnTo>
                    <a:lnTo>
                      <a:pt x="709" y="572"/>
                    </a:lnTo>
                    <a:lnTo>
                      <a:pt x="704" y="572"/>
                    </a:lnTo>
                    <a:lnTo>
                      <a:pt x="704" y="581"/>
                    </a:lnTo>
                    <a:lnTo>
                      <a:pt x="704" y="585"/>
                    </a:lnTo>
                    <a:lnTo>
                      <a:pt x="699" y="590"/>
                    </a:lnTo>
                    <a:lnTo>
                      <a:pt x="686" y="590"/>
                    </a:lnTo>
                    <a:lnTo>
                      <a:pt x="681" y="595"/>
                    </a:lnTo>
                    <a:lnTo>
                      <a:pt x="677" y="595"/>
                    </a:lnTo>
                    <a:lnTo>
                      <a:pt x="677" y="595"/>
                    </a:lnTo>
                    <a:lnTo>
                      <a:pt x="677" y="599"/>
                    </a:lnTo>
                    <a:lnTo>
                      <a:pt x="677" y="604"/>
                    </a:lnTo>
                    <a:lnTo>
                      <a:pt x="681" y="604"/>
                    </a:lnTo>
                    <a:lnTo>
                      <a:pt x="690" y="604"/>
                    </a:lnTo>
                    <a:lnTo>
                      <a:pt x="695" y="604"/>
                    </a:lnTo>
                    <a:lnTo>
                      <a:pt x="699" y="604"/>
                    </a:lnTo>
                    <a:lnTo>
                      <a:pt x="704" y="604"/>
                    </a:lnTo>
                    <a:lnTo>
                      <a:pt x="709" y="604"/>
                    </a:lnTo>
                    <a:lnTo>
                      <a:pt x="713" y="604"/>
                    </a:lnTo>
                    <a:lnTo>
                      <a:pt x="718" y="608"/>
                    </a:lnTo>
                    <a:lnTo>
                      <a:pt x="718" y="613"/>
                    </a:lnTo>
                    <a:lnTo>
                      <a:pt x="722" y="613"/>
                    </a:lnTo>
                    <a:lnTo>
                      <a:pt x="722" y="613"/>
                    </a:lnTo>
                    <a:lnTo>
                      <a:pt x="722" y="617"/>
                    </a:lnTo>
                    <a:lnTo>
                      <a:pt x="722" y="622"/>
                    </a:lnTo>
                    <a:lnTo>
                      <a:pt x="713" y="631"/>
                    </a:lnTo>
                    <a:lnTo>
                      <a:pt x="709" y="631"/>
                    </a:lnTo>
                    <a:lnTo>
                      <a:pt x="704" y="631"/>
                    </a:lnTo>
                    <a:lnTo>
                      <a:pt x="704" y="636"/>
                    </a:lnTo>
                    <a:lnTo>
                      <a:pt x="704" y="636"/>
                    </a:lnTo>
                    <a:lnTo>
                      <a:pt x="699" y="636"/>
                    </a:lnTo>
                    <a:lnTo>
                      <a:pt x="699" y="636"/>
                    </a:lnTo>
                    <a:lnTo>
                      <a:pt x="695" y="631"/>
                    </a:lnTo>
                    <a:lnTo>
                      <a:pt x="672" y="622"/>
                    </a:lnTo>
                    <a:lnTo>
                      <a:pt x="667" y="617"/>
                    </a:lnTo>
                    <a:lnTo>
                      <a:pt x="658" y="617"/>
                    </a:lnTo>
                    <a:lnTo>
                      <a:pt x="649" y="613"/>
                    </a:lnTo>
                    <a:lnTo>
                      <a:pt x="640" y="613"/>
                    </a:lnTo>
                    <a:lnTo>
                      <a:pt x="626" y="608"/>
                    </a:lnTo>
                    <a:lnTo>
                      <a:pt x="613" y="608"/>
                    </a:lnTo>
                    <a:lnTo>
                      <a:pt x="617" y="590"/>
                    </a:lnTo>
                    <a:lnTo>
                      <a:pt x="617" y="581"/>
                    </a:lnTo>
                    <a:lnTo>
                      <a:pt x="617" y="576"/>
                    </a:lnTo>
                    <a:lnTo>
                      <a:pt x="613" y="576"/>
                    </a:lnTo>
                    <a:lnTo>
                      <a:pt x="608" y="576"/>
                    </a:lnTo>
                    <a:lnTo>
                      <a:pt x="599" y="576"/>
                    </a:lnTo>
                    <a:lnTo>
                      <a:pt x="594" y="581"/>
                    </a:lnTo>
                    <a:lnTo>
                      <a:pt x="590" y="581"/>
                    </a:lnTo>
                    <a:lnTo>
                      <a:pt x="581" y="576"/>
                    </a:lnTo>
                    <a:lnTo>
                      <a:pt x="576" y="576"/>
                    </a:lnTo>
                    <a:lnTo>
                      <a:pt x="571" y="572"/>
                    </a:lnTo>
                    <a:lnTo>
                      <a:pt x="567" y="572"/>
                    </a:lnTo>
                    <a:lnTo>
                      <a:pt x="558" y="572"/>
                    </a:lnTo>
                    <a:lnTo>
                      <a:pt x="553" y="567"/>
                    </a:lnTo>
                    <a:lnTo>
                      <a:pt x="549" y="563"/>
                    </a:lnTo>
                    <a:lnTo>
                      <a:pt x="549" y="558"/>
                    </a:lnTo>
                    <a:lnTo>
                      <a:pt x="549" y="553"/>
                    </a:lnTo>
                    <a:lnTo>
                      <a:pt x="553" y="549"/>
                    </a:lnTo>
                    <a:lnTo>
                      <a:pt x="558" y="549"/>
                    </a:lnTo>
                    <a:lnTo>
                      <a:pt x="562" y="549"/>
                    </a:lnTo>
                    <a:lnTo>
                      <a:pt x="567" y="549"/>
                    </a:lnTo>
                    <a:lnTo>
                      <a:pt x="571" y="549"/>
                    </a:lnTo>
                    <a:lnTo>
                      <a:pt x="571" y="549"/>
                    </a:lnTo>
                    <a:lnTo>
                      <a:pt x="571" y="544"/>
                    </a:lnTo>
                    <a:lnTo>
                      <a:pt x="576" y="540"/>
                    </a:lnTo>
                    <a:lnTo>
                      <a:pt x="576" y="535"/>
                    </a:lnTo>
                    <a:lnTo>
                      <a:pt x="576" y="531"/>
                    </a:lnTo>
                    <a:lnTo>
                      <a:pt x="576" y="526"/>
                    </a:lnTo>
                    <a:lnTo>
                      <a:pt x="571" y="526"/>
                    </a:lnTo>
                    <a:lnTo>
                      <a:pt x="571" y="526"/>
                    </a:lnTo>
                    <a:lnTo>
                      <a:pt x="571" y="526"/>
                    </a:lnTo>
                    <a:lnTo>
                      <a:pt x="567" y="526"/>
                    </a:lnTo>
                    <a:lnTo>
                      <a:pt x="562" y="526"/>
                    </a:lnTo>
                    <a:lnTo>
                      <a:pt x="553" y="526"/>
                    </a:lnTo>
                    <a:lnTo>
                      <a:pt x="553" y="531"/>
                    </a:lnTo>
                    <a:lnTo>
                      <a:pt x="549" y="531"/>
                    </a:lnTo>
                    <a:lnTo>
                      <a:pt x="544" y="531"/>
                    </a:lnTo>
                    <a:lnTo>
                      <a:pt x="539" y="535"/>
                    </a:lnTo>
                    <a:lnTo>
                      <a:pt x="535" y="535"/>
                    </a:lnTo>
                    <a:lnTo>
                      <a:pt x="530" y="535"/>
                    </a:lnTo>
                    <a:lnTo>
                      <a:pt x="526" y="535"/>
                    </a:lnTo>
                    <a:lnTo>
                      <a:pt x="526" y="535"/>
                    </a:lnTo>
                    <a:lnTo>
                      <a:pt x="526" y="531"/>
                    </a:lnTo>
                    <a:lnTo>
                      <a:pt x="526" y="526"/>
                    </a:lnTo>
                    <a:lnTo>
                      <a:pt x="521" y="521"/>
                    </a:lnTo>
                    <a:lnTo>
                      <a:pt x="521" y="517"/>
                    </a:lnTo>
                    <a:lnTo>
                      <a:pt x="521" y="512"/>
                    </a:lnTo>
                    <a:lnTo>
                      <a:pt x="526" y="512"/>
                    </a:lnTo>
                    <a:lnTo>
                      <a:pt x="526" y="508"/>
                    </a:lnTo>
                    <a:lnTo>
                      <a:pt x="535" y="503"/>
                    </a:lnTo>
                    <a:lnTo>
                      <a:pt x="539" y="503"/>
                    </a:lnTo>
                    <a:lnTo>
                      <a:pt x="544" y="499"/>
                    </a:lnTo>
                    <a:lnTo>
                      <a:pt x="544" y="494"/>
                    </a:lnTo>
                    <a:lnTo>
                      <a:pt x="549" y="494"/>
                    </a:lnTo>
                    <a:lnTo>
                      <a:pt x="549" y="489"/>
                    </a:lnTo>
                    <a:lnTo>
                      <a:pt x="544" y="485"/>
                    </a:lnTo>
                    <a:lnTo>
                      <a:pt x="521" y="485"/>
                    </a:lnTo>
                    <a:lnTo>
                      <a:pt x="475" y="485"/>
                    </a:lnTo>
                    <a:lnTo>
                      <a:pt x="439" y="485"/>
                    </a:lnTo>
                    <a:lnTo>
                      <a:pt x="407" y="485"/>
                    </a:lnTo>
                    <a:lnTo>
                      <a:pt x="393" y="485"/>
                    </a:lnTo>
                    <a:lnTo>
                      <a:pt x="389" y="485"/>
                    </a:lnTo>
                    <a:lnTo>
                      <a:pt x="288" y="485"/>
                    </a:lnTo>
                    <a:lnTo>
                      <a:pt x="283" y="485"/>
                    </a:lnTo>
                    <a:lnTo>
                      <a:pt x="279" y="485"/>
                    </a:lnTo>
                    <a:close/>
                  </a:path>
                </a:pathLst>
              </a:custGeom>
              <a:solidFill>
                <a:srgbClr val="006301"/>
              </a:solidFill>
              <a:ln w="6350" cmpd="sng">
                <a:solidFill>
                  <a:sysClr val="window" lastClr="FFFFFF"/>
                </a:solidFill>
                <a:miter lim="800000"/>
                <a:headEnd/>
                <a:tailEnd/>
              </a:ln>
              <a:effectLst/>
            </p:spPr>
            <p:txBody>
              <a:bodyPr lIns="182880" tIns="91440" anchor="ctr"/>
              <a:lstStyle/>
              <a:p>
                <a:pPr marL="0" marR="0" lvl="0" indent="0"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Ogun</a:t>
                </a:r>
              </a:p>
            </p:txBody>
          </p:sp>
          <p:sp>
            <p:nvSpPr>
              <p:cNvPr id="230" name="Freeform 75">
                <a:extLst>
                  <a:ext uri="{FF2B5EF4-FFF2-40B4-BE49-F238E27FC236}">
                    <a16:creationId xmlns:a16="http://schemas.microsoft.com/office/drawing/2014/main" id="{EDB4DF55-D53B-47CA-9C61-8919A4CEDD37}"/>
                  </a:ext>
                </a:extLst>
              </p:cNvPr>
              <p:cNvSpPr>
                <a:spLocks/>
              </p:cNvSpPr>
              <p:nvPr>
                <p:custDataLst>
                  <p:tags r:id="rId47"/>
                </p:custDataLst>
              </p:nvPr>
            </p:nvSpPr>
            <p:spPr bwMode="auto">
              <a:xfrm>
                <a:off x="2000900" y="5491453"/>
                <a:ext cx="628111" cy="666356"/>
              </a:xfrm>
              <a:custGeom>
                <a:avLst/>
                <a:gdLst/>
                <a:ahLst/>
                <a:cxnLst>
                  <a:cxn ang="0">
                    <a:pos x="347" y="338"/>
                  </a:cxn>
                  <a:cxn ang="0">
                    <a:pos x="393" y="338"/>
                  </a:cxn>
                  <a:cxn ang="0">
                    <a:pos x="434" y="347"/>
                  </a:cxn>
                  <a:cxn ang="0">
                    <a:pos x="452" y="370"/>
                  </a:cxn>
                  <a:cxn ang="0">
                    <a:pos x="457" y="398"/>
                  </a:cxn>
                  <a:cxn ang="0">
                    <a:pos x="452" y="439"/>
                  </a:cxn>
                  <a:cxn ang="0">
                    <a:pos x="471" y="471"/>
                  </a:cxn>
                  <a:cxn ang="0">
                    <a:pos x="461" y="489"/>
                  </a:cxn>
                  <a:cxn ang="0">
                    <a:pos x="402" y="498"/>
                  </a:cxn>
                  <a:cxn ang="0">
                    <a:pos x="365" y="498"/>
                  </a:cxn>
                  <a:cxn ang="0">
                    <a:pos x="343" y="507"/>
                  </a:cxn>
                  <a:cxn ang="0">
                    <a:pos x="301" y="517"/>
                  </a:cxn>
                  <a:cxn ang="0">
                    <a:pos x="301" y="507"/>
                  </a:cxn>
                  <a:cxn ang="0">
                    <a:pos x="311" y="489"/>
                  </a:cxn>
                  <a:cxn ang="0">
                    <a:pos x="288" y="485"/>
                  </a:cxn>
                  <a:cxn ang="0">
                    <a:pos x="288" y="489"/>
                  </a:cxn>
                  <a:cxn ang="0">
                    <a:pos x="269" y="494"/>
                  </a:cxn>
                  <a:cxn ang="0">
                    <a:pos x="256" y="494"/>
                  </a:cxn>
                  <a:cxn ang="0">
                    <a:pos x="247" y="498"/>
                  </a:cxn>
                  <a:cxn ang="0">
                    <a:pos x="251" y="517"/>
                  </a:cxn>
                  <a:cxn ang="0">
                    <a:pos x="242" y="521"/>
                  </a:cxn>
                  <a:cxn ang="0">
                    <a:pos x="228" y="521"/>
                  </a:cxn>
                  <a:cxn ang="0">
                    <a:pos x="196" y="526"/>
                  </a:cxn>
                  <a:cxn ang="0">
                    <a:pos x="146" y="530"/>
                  </a:cxn>
                  <a:cxn ang="0">
                    <a:pos x="105" y="539"/>
                  </a:cxn>
                  <a:cxn ang="0">
                    <a:pos x="91" y="535"/>
                  </a:cxn>
                  <a:cxn ang="0">
                    <a:pos x="41" y="530"/>
                  </a:cxn>
                  <a:cxn ang="0">
                    <a:pos x="50" y="485"/>
                  </a:cxn>
                  <a:cxn ang="0">
                    <a:pos x="59" y="448"/>
                  </a:cxn>
                  <a:cxn ang="0">
                    <a:pos x="59" y="411"/>
                  </a:cxn>
                  <a:cxn ang="0">
                    <a:pos x="64" y="384"/>
                  </a:cxn>
                  <a:cxn ang="0">
                    <a:pos x="23" y="379"/>
                  </a:cxn>
                  <a:cxn ang="0">
                    <a:pos x="4" y="338"/>
                  </a:cxn>
                  <a:cxn ang="0">
                    <a:pos x="23" y="302"/>
                  </a:cxn>
                  <a:cxn ang="0">
                    <a:pos x="23" y="270"/>
                  </a:cxn>
                  <a:cxn ang="0">
                    <a:pos x="59" y="224"/>
                  </a:cxn>
                  <a:cxn ang="0">
                    <a:pos x="73" y="183"/>
                  </a:cxn>
                  <a:cxn ang="0">
                    <a:pos x="82" y="142"/>
                  </a:cxn>
                  <a:cxn ang="0">
                    <a:pos x="50" y="133"/>
                  </a:cxn>
                  <a:cxn ang="0">
                    <a:pos x="64" y="78"/>
                  </a:cxn>
                  <a:cxn ang="0">
                    <a:pos x="91" y="14"/>
                  </a:cxn>
                  <a:cxn ang="0">
                    <a:pos x="128" y="37"/>
                  </a:cxn>
                  <a:cxn ang="0">
                    <a:pos x="123" y="64"/>
                  </a:cxn>
                  <a:cxn ang="0">
                    <a:pos x="105" y="110"/>
                  </a:cxn>
                  <a:cxn ang="0">
                    <a:pos x="155" y="110"/>
                  </a:cxn>
                  <a:cxn ang="0">
                    <a:pos x="151" y="151"/>
                  </a:cxn>
                  <a:cxn ang="0">
                    <a:pos x="146" y="169"/>
                  </a:cxn>
                  <a:cxn ang="0">
                    <a:pos x="169" y="192"/>
                  </a:cxn>
                  <a:cxn ang="0">
                    <a:pos x="196" y="210"/>
                  </a:cxn>
                  <a:cxn ang="0">
                    <a:pos x="242" y="210"/>
                  </a:cxn>
                  <a:cxn ang="0">
                    <a:pos x="288" y="215"/>
                  </a:cxn>
                  <a:cxn ang="0">
                    <a:pos x="311" y="210"/>
                  </a:cxn>
                  <a:cxn ang="0">
                    <a:pos x="347" y="224"/>
                  </a:cxn>
                  <a:cxn ang="0">
                    <a:pos x="347" y="274"/>
                  </a:cxn>
                  <a:cxn ang="0">
                    <a:pos x="324" y="293"/>
                  </a:cxn>
                  <a:cxn ang="0">
                    <a:pos x="311" y="311"/>
                  </a:cxn>
                </a:cxnLst>
                <a:rect l="0" t="0" r="r" b="b"/>
                <a:pathLst>
                  <a:path w="471" h="539">
                    <a:moveTo>
                      <a:pt x="315" y="334"/>
                    </a:moveTo>
                    <a:lnTo>
                      <a:pt x="320" y="338"/>
                    </a:lnTo>
                    <a:lnTo>
                      <a:pt x="324" y="338"/>
                    </a:lnTo>
                    <a:lnTo>
                      <a:pt x="329" y="343"/>
                    </a:lnTo>
                    <a:lnTo>
                      <a:pt x="333" y="343"/>
                    </a:lnTo>
                    <a:lnTo>
                      <a:pt x="343" y="343"/>
                    </a:lnTo>
                    <a:lnTo>
                      <a:pt x="347" y="338"/>
                    </a:lnTo>
                    <a:lnTo>
                      <a:pt x="352" y="338"/>
                    </a:lnTo>
                    <a:lnTo>
                      <a:pt x="361" y="338"/>
                    </a:lnTo>
                    <a:lnTo>
                      <a:pt x="365" y="338"/>
                    </a:lnTo>
                    <a:lnTo>
                      <a:pt x="375" y="338"/>
                    </a:lnTo>
                    <a:lnTo>
                      <a:pt x="384" y="338"/>
                    </a:lnTo>
                    <a:lnTo>
                      <a:pt x="388" y="338"/>
                    </a:lnTo>
                    <a:lnTo>
                      <a:pt x="393" y="338"/>
                    </a:lnTo>
                    <a:lnTo>
                      <a:pt x="402" y="338"/>
                    </a:lnTo>
                    <a:lnTo>
                      <a:pt x="411" y="343"/>
                    </a:lnTo>
                    <a:lnTo>
                      <a:pt x="411" y="338"/>
                    </a:lnTo>
                    <a:lnTo>
                      <a:pt x="420" y="343"/>
                    </a:lnTo>
                    <a:lnTo>
                      <a:pt x="429" y="347"/>
                    </a:lnTo>
                    <a:lnTo>
                      <a:pt x="429" y="347"/>
                    </a:lnTo>
                    <a:lnTo>
                      <a:pt x="434" y="347"/>
                    </a:lnTo>
                    <a:lnTo>
                      <a:pt x="434" y="352"/>
                    </a:lnTo>
                    <a:lnTo>
                      <a:pt x="439" y="352"/>
                    </a:lnTo>
                    <a:lnTo>
                      <a:pt x="439" y="357"/>
                    </a:lnTo>
                    <a:lnTo>
                      <a:pt x="443" y="357"/>
                    </a:lnTo>
                    <a:lnTo>
                      <a:pt x="448" y="361"/>
                    </a:lnTo>
                    <a:lnTo>
                      <a:pt x="448" y="361"/>
                    </a:lnTo>
                    <a:lnTo>
                      <a:pt x="452" y="370"/>
                    </a:lnTo>
                    <a:lnTo>
                      <a:pt x="452" y="375"/>
                    </a:lnTo>
                    <a:lnTo>
                      <a:pt x="457" y="379"/>
                    </a:lnTo>
                    <a:lnTo>
                      <a:pt x="457" y="384"/>
                    </a:lnTo>
                    <a:lnTo>
                      <a:pt x="457" y="384"/>
                    </a:lnTo>
                    <a:lnTo>
                      <a:pt x="457" y="389"/>
                    </a:lnTo>
                    <a:lnTo>
                      <a:pt x="457" y="393"/>
                    </a:lnTo>
                    <a:lnTo>
                      <a:pt x="457" y="398"/>
                    </a:lnTo>
                    <a:lnTo>
                      <a:pt x="452" y="402"/>
                    </a:lnTo>
                    <a:lnTo>
                      <a:pt x="452" y="407"/>
                    </a:lnTo>
                    <a:lnTo>
                      <a:pt x="452" y="411"/>
                    </a:lnTo>
                    <a:lnTo>
                      <a:pt x="452" y="421"/>
                    </a:lnTo>
                    <a:lnTo>
                      <a:pt x="452" y="425"/>
                    </a:lnTo>
                    <a:lnTo>
                      <a:pt x="452" y="425"/>
                    </a:lnTo>
                    <a:lnTo>
                      <a:pt x="452" y="439"/>
                    </a:lnTo>
                    <a:lnTo>
                      <a:pt x="457" y="439"/>
                    </a:lnTo>
                    <a:lnTo>
                      <a:pt x="457" y="448"/>
                    </a:lnTo>
                    <a:lnTo>
                      <a:pt x="457" y="453"/>
                    </a:lnTo>
                    <a:lnTo>
                      <a:pt x="457" y="462"/>
                    </a:lnTo>
                    <a:lnTo>
                      <a:pt x="461" y="466"/>
                    </a:lnTo>
                    <a:lnTo>
                      <a:pt x="466" y="471"/>
                    </a:lnTo>
                    <a:lnTo>
                      <a:pt x="471" y="471"/>
                    </a:lnTo>
                    <a:lnTo>
                      <a:pt x="471" y="475"/>
                    </a:lnTo>
                    <a:lnTo>
                      <a:pt x="471" y="475"/>
                    </a:lnTo>
                    <a:lnTo>
                      <a:pt x="466" y="480"/>
                    </a:lnTo>
                    <a:lnTo>
                      <a:pt x="466" y="480"/>
                    </a:lnTo>
                    <a:lnTo>
                      <a:pt x="466" y="489"/>
                    </a:lnTo>
                    <a:lnTo>
                      <a:pt x="466" y="489"/>
                    </a:lnTo>
                    <a:lnTo>
                      <a:pt x="461" y="489"/>
                    </a:lnTo>
                    <a:lnTo>
                      <a:pt x="443" y="489"/>
                    </a:lnTo>
                    <a:lnTo>
                      <a:pt x="434" y="489"/>
                    </a:lnTo>
                    <a:lnTo>
                      <a:pt x="420" y="489"/>
                    </a:lnTo>
                    <a:lnTo>
                      <a:pt x="416" y="494"/>
                    </a:lnTo>
                    <a:lnTo>
                      <a:pt x="411" y="494"/>
                    </a:lnTo>
                    <a:lnTo>
                      <a:pt x="407" y="494"/>
                    </a:lnTo>
                    <a:lnTo>
                      <a:pt x="402" y="498"/>
                    </a:lnTo>
                    <a:lnTo>
                      <a:pt x="397" y="498"/>
                    </a:lnTo>
                    <a:lnTo>
                      <a:pt x="388" y="494"/>
                    </a:lnTo>
                    <a:lnTo>
                      <a:pt x="370" y="494"/>
                    </a:lnTo>
                    <a:lnTo>
                      <a:pt x="370" y="489"/>
                    </a:lnTo>
                    <a:lnTo>
                      <a:pt x="365" y="494"/>
                    </a:lnTo>
                    <a:lnTo>
                      <a:pt x="365" y="494"/>
                    </a:lnTo>
                    <a:lnTo>
                      <a:pt x="365" y="498"/>
                    </a:lnTo>
                    <a:lnTo>
                      <a:pt x="365" y="503"/>
                    </a:lnTo>
                    <a:lnTo>
                      <a:pt x="361" y="503"/>
                    </a:lnTo>
                    <a:lnTo>
                      <a:pt x="352" y="503"/>
                    </a:lnTo>
                    <a:lnTo>
                      <a:pt x="352" y="507"/>
                    </a:lnTo>
                    <a:lnTo>
                      <a:pt x="347" y="507"/>
                    </a:lnTo>
                    <a:lnTo>
                      <a:pt x="343" y="507"/>
                    </a:lnTo>
                    <a:lnTo>
                      <a:pt x="343" y="507"/>
                    </a:lnTo>
                    <a:lnTo>
                      <a:pt x="329" y="512"/>
                    </a:lnTo>
                    <a:lnTo>
                      <a:pt x="329" y="512"/>
                    </a:lnTo>
                    <a:lnTo>
                      <a:pt x="329" y="512"/>
                    </a:lnTo>
                    <a:lnTo>
                      <a:pt x="324" y="517"/>
                    </a:lnTo>
                    <a:lnTo>
                      <a:pt x="320" y="517"/>
                    </a:lnTo>
                    <a:lnTo>
                      <a:pt x="301" y="517"/>
                    </a:lnTo>
                    <a:lnTo>
                      <a:pt x="301" y="517"/>
                    </a:lnTo>
                    <a:lnTo>
                      <a:pt x="297" y="517"/>
                    </a:lnTo>
                    <a:lnTo>
                      <a:pt x="297" y="517"/>
                    </a:lnTo>
                    <a:lnTo>
                      <a:pt x="297" y="512"/>
                    </a:lnTo>
                    <a:lnTo>
                      <a:pt x="297" y="507"/>
                    </a:lnTo>
                    <a:lnTo>
                      <a:pt x="297" y="503"/>
                    </a:lnTo>
                    <a:lnTo>
                      <a:pt x="301" y="507"/>
                    </a:lnTo>
                    <a:lnTo>
                      <a:pt x="301" y="507"/>
                    </a:lnTo>
                    <a:lnTo>
                      <a:pt x="301" y="507"/>
                    </a:lnTo>
                    <a:lnTo>
                      <a:pt x="301" y="507"/>
                    </a:lnTo>
                    <a:lnTo>
                      <a:pt x="301" y="507"/>
                    </a:lnTo>
                    <a:lnTo>
                      <a:pt x="297" y="507"/>
                    </a:lnTo>
                    <a:lnTo>
                      <a:pt x="301" y="503"/>
                    </a:lnTo>
                    <a:lnTo>
                      <a:pt x="306" y="494"/>
                    </a:lnTo>
                    <a:lnTo>
                      <a:pt x="311" y="489"/>
                    </a:lnTo>
                    <a:lnTo>
                      <a:pt x="301" y="485"/>
                    </a:lnTo>
                    <a:lnTo>
                      <a:pt x="301" y="480"/>
                    </a:lnTo>
                    <a:lnTo>
                      <a:pt x="297" y="485"/>
                    </a:lnTo>
                    <a:lnTo>
                      <a:pt x="292" y="485"/>
                    </a:lnTo>
                    <a:lnTo>
                      <a:pt x="292" y="485"/>
                    </a:lnTo>
                    <a:lnTo>
                      <a:pt x="292" y="485"/>
                    </a:lnTo>
                    <a:lnTo>
                      <a:pt x="288" y="485"/>
                    </a:lnTo>
                    <a:lnTo>
                      <a:pt x="288" y="485"/>
                    </a:lnTo>
                    <a:lnTo>
                      <a:pt x="288" y="485"/>
                    </a:lnTo>
                    <a:lnTo>
                      <a:pt x="283" y="485"/>
                    </a:lnTo>
                    <a:lnTo>
                      <a:pt x="283" y="489"/>
                    </a:lnTo>
                    <a:lnTo>
                      <a:pt x="283" y="489"/>
                    </a:lnTo>
                    <a:lnTo>
                      <a:pt x="288" y="489"/>
                    </a:lnTo>
                    <a:lnTo>
                      <a:pt x="288" y="489"/>
                    </a:lnTo>
                    <a:lnTo>
                      <a:pt x="283" y="494"/>
                    </a:lnTo>
                    <a:lnTo>
                      <a:pt x="279" y="489"/>
                    </a:lnTo>
                    <a:lnTo>
                      <a:pt x="279" y="489"/>
                    </a:lnTo>
                    <a:lnTo>
                      <a:pt x="274" y="489"/>
                    </a:lnTo>
                    <a:lnTo>
                      <a:pt x="274" y="494"/>
                    </a:lnTo>
                    <a:lnTo>
                      <a:pt x="274" y="494"/>
                    </a:lnTo>
                    <a:lnTo>
                      <a:pt x="269" y="494"/>
                    </a:lnTo>
                    <a:lnTo>
                      <a:pt x="260" y="498"/>
                    </a:lnTo>
                    <a:lnTo>
                      <a:pt x="260" y="498"/>
                    </a:lnTo>
                    <a:lnTo>
                      <a:pt x="256" y="498"/>
                    </a:lnTo>
                    <a:lnTo>
                      <a:pt x="256" y="494"/>
                    </a:lnTo>
                    <a:lnTo>
                      <a:pt x="256" y="494"/>
                    </a:lnTo>
                    <a:lnTo>
                      <a:pt x="256" y="494"/>
                    </a:lnTo>
                    <a:lnTo>
                      <a:pt x="256" y="494"/>
                    </a:lnTo>
                    <a:lnTo>
                      <a:pt x="251" y="489"/>
                    </a:lnTo>
                    <a:lnTo>
                      <a:pt x="247" y="485"/>
                    </a:lnTo>
                    <a:lnTo>
                      <a:pt x="247" y="485"/>
                    </a:lnTo>
                    <a:lnTo>
                      <a:pt x="242" y="485"/>
                    </a:lnTo>
                    <a:lnTo>
                      <a:pt x="242" y="485"/>
                    </a:lnTo>
                    <a:lnTo>
                      <a:pt x="242" y="489"/>
                    </a:lnTo>
                    <a:lnTo>
                      <a:pt x="247" y="498"/>
                    </a:lnTo>
                    <a:lnTo>
                      <a:pt x="247" y="503"/>
                    </a:lnTo>
                    <a:lnTo>
                      <a:pt x="251" y="507"/>
                    </a:lnTo>
                    <a:lnTo>
                      <a:pt x="251" y="507"/>
                    </a:lnTo>
                    <a:lnTo>
                      <a:pt x="251" y="507"/>
                    </a:lnTo>
                    <a:lnTo>
                      <a:pt x="247" y="517"/>
                    </a:lnTo>
                    <a:lnTo>
                      <a:pt x="247" y="517"/>
                    </a:lnTo>
                    <a:lnTo>
                      <a:pt x="251" y="517"/>
                    </a:lnTo>
                    <a:lnTo>
                      <a:pt x="251" y="512"/>
                    </a:lnTo>
                    <a:lnTo>
                      <a:pt x="251" y="512"/>
                    </a:lnTo>
                    <a:lnTo>
                      <a:pt x="251" y="517"/>
                    </a:lnTo>
                    <a:lnTo>
                      <a:pt x="251" y="517"/>
                    </a:lnTo>
                    <a:lnTo>
                      <a:pt x="247" y="521"/>
                    </a:lnTo>
                    <a:lnTo>
                      <a:pt x="242" y="521"/>
                    </a:lnTo>
                    <a:lnTo>
                      <a:pt x="242" y="521"/>
                    </a:lnTo>
                    <a:lnTo>
                      <a:pt x="237" y="517"/>
                    </a:lnTo>
                    <a:lnTo>
                      <a:pt x="237" y="517"/>
                    </a:lnTo>
                    <a:lnTo>
                      <a:pt x="233" y="517"/>
                    </a:lnTo>
                    <a:lnTo>
                      <a:pt x="237" y="517"/>
                    </a:lnTo>
                    <a:lnTo>
                      <a:pt x="233" y="517"/>
                    </a:lnTo>
                    <a:lnTo>
                      <a:pt x="233" y="521"/>
                    </a:lnTo>
                    <a:lnTo>
                      <a:pt x="228" y="521"/>
                    </a:lnTo>
                    <a:lnTo>
                      <a:pt x="224" y="517"/>
                    </a:lnTo>
                    <a:lnTo>
                      <a:pt x="210" y="517"/>
                    </a:lnTo>
                    <a:lnTo>
                      <a:pt x="196" y="512"/>
                    </a:lnTo>
                    <a:lnTo>
                      <a:pt x="192" y="521"/>
                    </a:lnTo>
                    <a:lnTo>
                      <a:pt x="196" y="521"/>
                    </a:lnTo>
                    <a:lnTo>
                      <a:pt x="196" y="526"/>
                    </a:lnTo>
                    <a:lnTo>
                      <a:pt x="196" y="526"/>
                    </a:lnTo>
                    <a:lnTo>
                      <a:pt x="192" y="526"/>
                    </a:lnTo>
                    <a:lnTo>
                      <a:pt x="187" y="526"/>
                    </a:lnTo>
                    <a:lnTo>
                      <a:pt x="173" y="526"/>
                    </a:lnTo>
                    <a:lnTo>
                      <a:pt x="173" y="526"/>
                    </a:lnTo>
                    <a:lnTo>
                      <a:pt x="164" y="530"/>
                    </a:lnTo>
                    <a:lnTo>
                      <a:pt x="155" y="530"/>
                    </a:lnTo>
                    <a:lnTo>
                      <a:pt x="146" y="530"/>
                    </a:lnTo>
                    <a:lnTo>
                      <a:pt x="146" y="530"/>
                    </a:lnTo>
                    <a:lnTo>
                      <a:pt x="141" y="530"/>
                    </a:lnTo>
                    <a:lnTo>
                      <a:pt x="137" y="530"/>
                    </a:lnTo>
                    <a:lnTo>
                      <a:pt x="137" y="530"/>
                    </a:lnTo>
                    <a:lnTo>
                      <a:pt x="132" y="535"/>
                    </a:lnTo>
                    <a:lnTo>
                      <a:pt x="109" y="535"/>
                    </a:lnTo>
                    <a:lnTo>
                      <a:pt x="105" y="539"/>
                    </a:lnTo>
                    <a:lnTo>
                      <a:pt x="105" y="539"/>
                    </a:lnTo>
                    <a:lnTo>
                      <a:pt x="100" y="539"/>
                    </a:lnTo>
                    <a:lnTo>
                      <a:pt x="100" y="539"/>
                    </a:lnTo>
                    <a:lnTo>
                      <a:pt x="100" y="535"/>
                    </a:lnTo>
                    <a:lnTo>
                      <a:pt x="96" y="535"/>
                    </a:lnTo>
                    <a:lnTo>
                      <a:pt x="91" y="535"/>
                    </a:lnTo>
                    <a:lnTo>
                      <a:pt x="91" y="535"/>
                    </a:lnTo>
                    <a:lnTo>
                      <a:pt x="87" y="539"/>
                    </a:lnTo>
                    <a:lnTo>
                      <a:pt x="73" y="539"/>
                    </a:lnTo>
                    <a:lnTo>
                      <a:pt x="55" y="539"/>
                    </a:lnTo>
                    <a:lnTo>
                      <a:pt x="55" y="539"/>
                    </a:lnTo>
                    <a:lnTo>
                      <a:pt x="50" y="535"/>
                    </a:lnTo>
                    <a:lnTo>
                      <a:pt x="41" y="535"/>
                    </a:lnTo>
                    <a:lnTo>
                      <a:pt x="41" y="530"/>
                    </a:lnTo>
                    <a:lnTo>
                      <a:pt x="36" y="526"/>
                    </a:lnTo>
                    <a:lnTo>
                      <a:pt x="36" y="517"/>
                    </a:lnTo>
                    <a:lnTo>
                      <a:pt x="41" y="512"/>
                    </a:lnTo>
                    <a:lnTo>
                      <a:pt x="45" y="498"/>
                    </a:lnTo>
                    <a:lnTo>
                      <a:pt x="45" y="494"/>
                    </a:lnTo>
                    <a:lnTo>
                      <a:pt x="45" y="489"/>
                    </a:lnTo>
                    <a:lnTo>
                      <a:pt x="50" y="485"/>
                    </a:lnTo>
                    <a:lnTo>
                      <a:pt x="59" y="480"/>
                    </a:lnTo>
                    <a:lnTo>
                      <a:pt x="59" y="471"/>
                    </a:lnTo>
                    <a:lnTo>
                      <a:pt x="59" y="471"/>
                    </a:lnTo>
                    <a:lnTo>
                      <a:pt x="59" y="466"/>
                    </a:lnTo>
                    <a:lnTo>
                      <a:pt x="64" y="457"/>
                    </a:lnTo>
                    <a:lnTo>
                      <a:pt x="59" y="453"/>
                    </a:lnTo>
                    <a:lnTo>
                      <a:pt x="59" y="448"/>
                    </a:lnTo>
                    <a:lnTo>
                      <a:pt x="59" y="448"/>
                    </a:lnTo>
                    <a:lnTo>
                      <a:pt x="55" y="439"/>
                    </a:lnTo>
                    <a:lnTo>
                      <a:pt x="50" y="430"/>
                    </a:lnTo>
                    <a:lnTo>
                      <a:pt x="45" y="425"/>
                    </a:lnTo>
                    <a:lnTo>
                      <a:pt x="50" y="421"/>
                    </a:lnTo>
                    <a:lnTo>
                      <a:pt x="55" y="416"/>
                    </a:lnTo>
                    <a:lnTo>
                      <a:pt x="59" y="411"/>
                    </a:lnTo>
                    <a:lnTo>
                      <a:pt x="68" y="402"/>
                    </a:lnTo>
                    <a:lnTo>
                      <a:pt x="73" y="402"/>
                    </a:lnTo>
                    <a:lnTo>
                      <a:pt x="82" y="393"/>
                    </a:lnTo>
                    <a:lnTo>
                      <a:pt x="91" y="389"/>
                    </a:lnTo>
                    <a:lnTo>
                      <a:pt x="87" y="384"/>
                    </a:lnTo>
                    <a:lnTo>
                      <a:pt x="77" y="384"/>
                    </a:lnTo>
                    <a:lnTo>
                      <a:pt x="64" y="384"/>
                    </a:lnTo>
                    <a:lnTo>
                      <a:pt x="55" y="384"/>
                    </a:lnTo>
                    <a:lnTo>
                      <a:pt x="41" y="389"/>
                    </a:lnTo>
                    <a:lnTo>
                      <a:pt x="32" y="393"/>
                    </a:lnTo>
                    <a:lnTo>
                      <a:pt x="32" y="389"/>
                    </a:lnTo>
                    <a:lnTo>
                      <a:pt x="27" y="384"/>
                    </a:lnTo>
                    <a:lnTo>
                      <a:pt x="23" y="384"/>
                    </a:lnTo>
                    <a:lnTo>
                      <a:pt x="23" y="379"/>
                    </a:lnTo>
                    <a:lnTo>
                      <a:pt x="27" y="375"/>
                    </a:lnTo>
                    <a:lnTo>
                      <a:pt x="23" y="370"/>
                    </a:lnTo>
                    <a:lnTo>
                      <a:pt x="13" y="370"/>
                    </a:lnTo>
                    <a:lnTo>
                      <a:pt x="9" y="361"/>
                    </a:lnTo>
                    <a:lnTo>
                      <a:pt x="0" y="357"/>
                    </a:lnTo>
                    <a:lnTo>
                      <a:pt x="0" y="343"/>
                    </a:lnTo>
                    <a:lnTo>
                      <a:pt x="4" y="338"/>
                    </a:lnTo>
                    <a:lnTo>
                      <a:pt x="13" y="329"/>
                    </a:lnTo>
                    <a:lnTo>
                      <a:pt x="13" y="320"/>
                    </a:lnTo>
                    <a:lnTo>
                      <a:pt x="23" y="315"/>
                    </a:lnTo>
                    <a:lnTo>
                      <a:pt x="23" y="311"/>
                    </a:lnTo>
                    <a:lnTo>
                      <a:pt x="27" y="306"/>
                    </a:lnTo>
                    <a:lnTo>
                      <a:pt x="27" y="302"/>
                    </a:lnTo>
                    <a:lnTo>
                      <a:pt x="23" y="302"/>
                    </a:lnTo>
                    <a:lnTo>
                      <a:pt x="18" y="302"/>
                    </a:lnTo>
                    <a:lnTo>
                      <a:pt x="18" y="297"/>
                    </a:lnTo>
                    <a:lnTo>
                      <a:pt x="13" y="293"/>
                    </a:lnTo>
                    <a:lnTo>
                      <a:pt x="13" y="288"/>
                    </a:lnTo>
                    <a:lnTo>
                      <a:pt x="13" y="279"/>
                    </a:lnTo>
                    <a:lnTo>
                      <a:pt x="18" y="274"/>
                    </a:lnTo>
                    <a:lnTo>
                      <a:pt x="23" y="270"/>
                    </a:lnTo>
                    <a:lnTo>
                      <a:pt x="27" y="256"/>
                    </a:lnTo>
                    <a:lnTo>
                      <a:pt x="36" y="247"/>
                    </a:lnTo>
                    <a:lnTo>
                      <a:pt x="36" y="233"/>
                    </a:lnTo>
                    <a:lnTo>
                      <a:pt x="41" y="229"/>
                    </a:lnTo>
                    <a:lnTo>
                      <a:pt x="45" y="219"/>
                    </a:lnTo>
                    <a:lnTo>
                      <a:pt x="55" y="219"/>
                    </a:lnTo>
                    <a:lnTo>
                      <a:pt x="59" y="224"/>
                    </a:lnTo>
                    <a:lnTo>
                      <a:pt x="73" y="219"/>
                    </a:lnTo>
                    <a:lnTo>
                      <a:pt x="73" y="215"/>
                    </a:lnTo>
                    <a:lnTo>
                      <a:pt x="77" y="206"/>
                    </a:lnTo>
                    <a:lnTo>
                      <a:pt x="77" y="206"/>
                    </a:lnTo>
                    <a:lnTo>
                      <a:pt x="82" y="197"/>
                    </a:lnTo>
                    <a:lnTo>
                      <a:pt x="73" y="192"/>
                    </a:lnTo>
                    <a:lnTo>
                      <a:pt x="73" y="183"/>
                    </a:lnTo>
                    <a:lnTo>
                      <a:pt x="68" y="178"/>
                    </a:lnTo>
                    <a:lnTo>
                      <a:pt x="64" y="169"/>
                    </a:lnTo>
                    <a:lnTo>
                      <a:pt x="68" y="165"/>
                    </a:lnTo>
                    <a:lnTo>
                      <a:pt x="73" y="160"/>
                    </a:lnTo>
                    <a:lnTo>
                      <a:pt x="77" y="151"/>
                    </a:lnTo>
                    <a:lnTo>
                      <a:pt x="82" y="146"/>
                    </a:lnTo>
                    <a:lnTo>
                      <a:pt x="82" y="142"/>
                    </a:lnTo>
                    <a:lnTo>
                      <a:pt x="77" y="142"/>
                    </a:lnTo>
                    <a:lnTo>
                      <a:pt x="68" y="142"/>
                    </a:lnTo>
                    <a:lnTo>
                      <a:pt x="59" y="142"/>
                    </a:lnTo>
                    <a:lnTo>
                      <a:pt x="59" y="142"/>
                    </a:lnTo>
                    <a:lnTo>
                      <a:pt x="55" y="142"/>
                    </a:lnTo>
                    <a:lnTo>
                      <a:pt x="50" y="142"/>
                    </a:lnTo>
                    <a:lnTo>
                      <a:pt x="50" y="133"/>
                    </a:lnTo>
                    <a:lnTo>
                      <a:pt x="50" y="128"/>
                    </a:lnTo>
                    <a:lnTo>
                      <a:pt x="59" y="119"/>
                    </a:lnTo>
                    <a:lnTo>
                      <a:pt x="64" y="119"/>
                    </a:lnTo>
                    <a:lnTo>
                      <a:pt x="68" y="110"/>
                    </a:lnTo>
                    <a:lnTo>
                      <a:pt x="68" y="96"/>
                    </a:lnTo>
                    <a:lnTo>
                      <a:pt x="64" y="87"/>
                    </a:lnTo>
                    <a:lnTo>
                      <a:pt x="64" y="78"/>
                    </a:lnTo>
                    <a:lnTo>
                      <a:pt x="73" y="69"/>
                    </a:lnTo>
                    <a:lnTo>
                      <a:pt x="82" y="59"/>
                    </a:lnTo>
                    <a:lnTo>
                      <a:pt x="87" y="55"/>
                    </a:lnTo>
                    <a:lnTo>
                      <a:pt x="91" y="46"/>
                    </a:lnTo>
                    <a:lnTo>
                      <a:pt x="91" y="32"/>
                    </a:lnTo>
                    <a:lnTo>
                      <a:pt x="91" y="27"/>
                    </a:lnTo>
                    <a:lnTo>
                      <a:pt x="91" y="14"/>
                    </a:lnTo>
                    <a:lnTo>
                      <a:pt x="96" y="9"/>
                    </a:lnTo>
                    <a:lnTo>
                      <a:pt x="105" y="0"/>
                    </a:lnTo>
                    <a:lnTo>
                      <a:pt x="105" y="0"/>
                    </a:lnTo>
                    <a:lnTo>
                      <a:pt x="123" y="5"/>
                    </a:lnTo>
                    <a:lnTo>
                      <a:pt x="128" y="23"/>
                    </a:lnTo>
                    <a:lnTo>
                      <a:pt x="128" y="27"/>
                    </a:lnTo>
                    <a:lnTo>
                      <a:pt x="128" y="37"/>
                    </a:lnTo>
                    <a:lnTo>
                      <a:pt x="123" y="41"/>
                    </a:lnTo>
                    <a:lnTo>
                      <a:pt x="123" y="46"/>
                    </a:lnTo>
                    <a:lnTo>
                      <a:pt x="123" y="50"/>
                    </a:lnTo>
                    <a:lnTo>
                      <a:pt x="123" y="55"/>
                    </a:lnTo>
                    <a:lnTo>
                      <a:pt x="123" y="55"/>
                    </a:lnTo>
                    <a:lnTo>
                      <a:pt x="123" y="59"/>
                    </a:lnTo>
                    <a:lnTo>
                      <a:pt x="123" y="64"/>
                    </a:lnTo>
                    <a:lnTo>
                      <a:pt x="119" y="73"/>
                    </a:lnTo>
                    <a:lnTo>
                      <a:pt x="114" y="82"/>
                    </a:lnTo>
                    <a:lnTo>
                      <a:pt x="114" y="87"/>
                    </a:lnTo>
                    <a:lnTo>
                      <a:pt x="109" y="96"/>
                    </a:lnTo>
                    <a:lnTo>
                      <a:pt x="105" y="101"/>
                    </a:lnTo>
                    <a:lnTo>
                      <a:pt x="105" y="105"/>
                    </a:lnTo>
                    <a:lnTo>
                      <a:pt x="105" y="110"/>
                    </a:lnTo>
                    <a:lnTo>
                      <a:pt x="119" y="110"/>
                    </a:lnTo>
                    <a:lnTo>
                      <a:pt x="123" y="110"/>
                    </a:lnTo>
                    <a:lnTo>
                      <a:pt x="132" y="110"/>
                    </a:lnTo>
                    <a:lnTo>
                      <a:pt x="141" y="114"/>
                    </a:lnTo>
                    <a:lnTo>
                      <a:pt x="146" y="110"/>
                    </a:lnTo>
                    <a:lnTo>
                      <a:pt x="151" y="110"/>
                    </a:lnTo>
                    <a:lnTo>
                      <a:pt x="155" y="110"/>
                    </a:lnTo>
                    <a:lnTo>
                      <a:pt x="160" y="114"/>
                    </a:lnTo>
                    <a:lnTo>
                      <a:pt x="160" y="119"/>
                    </a:lnTo>
                    <a:lnTo>
                      <a:pt x="155" y="119"/>
                    </a:lnTo>
                    <a:lnTo>
                      <a:pt x="151" y="133"/>
                    </a:lnTo>
                    <a:lnTo>
                      <a:pt x="151" y="142"/>
                    </a:lnTo>
                    <a:lnTo>
                      <a:pt x="151" y="142"/>
                    </a:lnTo>
                    <a:lnTo>
                      <a:pt x="151" y="151"/>
                    </a:lnTo>
                    <a:lnTo>
                      <a:pt x="146" y="151"/>
                    </a:lnTo>
                    <a:lnTo>
                      <a:pt x="146" y="155"/>
                    </a:lnTo>
                    <a:lnTo>
                      <a:pt x="146" y="160"/>
                    </a:lnTo>
                    <a:lnTo>
                      <a:pt x="146" y="165"/>
                    </a:lnTo>
                    <a:lnTo>
                      <a:pt x="146" y="165"/>
                    </a:lnTo>
                    <a:lnTo>
                      <a:pt x="146" y="169"/>
                    </a:lnTo>
                    <a:lnTo>
                      <a:pt x="146" y="169"/>
                    </a:lnTo>
                    <a:lnTo>
                      <a:pt x="151" y="174"/>
                    </a:lnTo>
                    <a:lnTo>
                      <a:pt x="155" y="178"/>
                    </a:lnTo>
                    <a:lnTo>
                      <a:pt x="160" y="183"/>
                    </a:lnTo>
                    <a:lnTo>
                      <a:pt x="164" y="183"/>
                    </a:lnTo>
                    <a:lnTo>
                      <a:pt x="164" y="187"/>
                    </a:lnTo>
                    <a:lnTo>
                      <a:pt x="169" y="187"/>
                    </a:lnTo>
                    <a:lnTo>
                      <a:pt x="169" y="192"/>
                    </a:lnTo>
                    <a:lnTo>
                      <a:pt x="169" y="192"/>
                    </a:lnTo>
                    <a:lnTo>
                      <a:pt x="173" y="201"/>
                    </a:lnTo>
                    <a:lnTo>
                      <a:pt x="178" y="206"/>
                    </a:lnTo>
                    <a:lnTo>
                      <a:pt x="183" y="206"/>
                    </a:lnTo>
                    <a:lnTo>
                      <a:pt x="187" y="206"/>
                    </a:lnTo>
                    <a:lnTo>
                      <a:pt x="192" y="206"/>
                    </a:lnTo>
                    <a:lnTo>
                      <a:pt x="196" y="210"/>
                    </a:lnTo>
                    <a:lnTo>
                      <a:pt x="210" y="210"/>
                    </a:lnTo>
                    <a:lnTo>
                      <a:pt x="215" y="210"/>
                    </a:lnTo>
                    <a:lnTo>
                      <a:pt x="215" y="210"/>
                    </a:lnTo>
                    <a:lnTo>
                      <a:pt x="228" y="210"/>
                    </a:lnTo>
                    <a:lnTo>
                      <a:pt x="233" y="210"/>
                    </a:lnTo>
                    <a:lnTo>
                      <a:pt x="237" y="210"/>
                    </a:lnTo>
                    <a:lnTo>
                      <a:pt x="242" y="210"/>
                    </a:lnTo>
                    <a:lnTo>
                      <a:pt x="251" y="210"/>
                    </a:lnTo>
                    <a:lnTo>
                      <a:pt x="260" y="210"/>
                    </a:lnTo>
                    <a:lnTo>
                      <a:pt x="265" y="210"/>
                    </a:lnTo>
                    <a:lnTo>
                      <a:pt x="269" y="210"/>
                    </a:lnTo>
                    <a:lnTo>
                      <a:pt x="274" y="210"/>
                    </a:lnTo>
                    <a:lnTo>
                      <a:pt x="283" y="210"/>
                    </a:lnTo>
                    <a:lnTo>
                      <a:pt x="288" y="215"/>
                    </a:lnTo>
                    <a:lnTo>
                      <a:pt x="288" y="215"/>
                    </a:lnTo>
                    <a:lnTo>
                      <a:pt x="292" y="215"/>
                    </a:lnTo>
                    <a:lnTo>
                      <a:pt x="292" y="210"/>
                    </a:lnTo>
                    <a:lnTo>
                      <a:pt x="301" y="215"/>
                    </a:lnTo>
                    <a:lnTo>
                      <a:pt x="301" y="215"/>
                    </a:lnTo>
                    <a:lnTo>
                      <a:pt x="306" y="210"/>
                    </a:lnTo>
                    <a:lnTo>
                      <a:pt x="311" y="210"/>
                    </a:lnTo>
                    <a:lnTo>
                      <a:pt x="315" y="215"/>
                    </a:lnTo>
                    <a:lnTo>
                      <a:pt x="320" y="215"/>
                    </a:lnTo>
                    <a:lnTo>
                      <a:pt x="329" y="219"/>
                    </a:lnTo>
                    <a:lnTo>
                      <a:pt x="333" y="219"/>
                    </a:lnTo>
                    <a:lnTo>
                      <a:pt x="343" y="215"/>
                    </a:lnTo>
                    <a:lnTo>
                      <a:pt x="347" y="219"/>
                    </a:lnTo>
                    <a:lnTo>
                      <a:pt x="347" y="224"/>
                    </a:lnTo>
                    <a:lnTo>
                      <a:pt x="347" y="229"/>
                    </a:lnTo>
                    <a:lnTo>
                      <a:pt x="347" y="233"/>
                    </a:lnTo>
                    <a:lnTo>
                      <a:pt x="347" y="256"/>
                    </a:lnTo>
                    <a:lnTo>
                      <a:pt x="347" y="261"/>
                    </a:lnTo>
                    <a:lnTo>
                      <a:pt x="347" y="270"/>
                    </a:lnTo>
                    <a:lnTo>
                      <a:pt x="347" y="274"/>
                    </a:lnTo>
                    <a:lnTo>
                      <a:pt x="347" y="274"/>
                    </a:lnTo>
                    <a:lnTo>
                      <a:pt x="343" y="274"/>
                    </a:lnTo>
                    <a:lnTo>
                      <a:pt x="343" y="279"/>
                    </a:lnTo>
                    <a:lnTo>
                      <a:pt x="343" y="283"/>
                    </a:lnTo>
                    <a:lnTo>
                      <a:pt x="343" y="288"/>
                    </a:lnTo>
                    <a:lnTo>
                      <a:pt x="338" y="288"/>
                    </a:lnTo>
                    <a:lnTo>
                      <a:pt x="333" y="293"/>
                    </a:lnTo>
                    <a:lnTo>
                      <a:pt x="324" y="293"/>
                    </a:lnTo>
                    <a:lnTo>
                      <a:pt x="324" y="293"/>
                    </a:lnTo>
                    <a:lnTo>
                      <a:pt x="320" y="293"/>
                    </a:lnTo>
                    <a:lnTo>
                      <a:pt x="315" y="297"/>
                    </a:lnTo>
                    <a:lnTo>
                      <a:pt x="315" y="302"/>
                    </a:lnTo>
                    <a:lnTo>
                      <a:pt x="315" y="302"/>
                    </a:lnTo>
                    <a:lnTo>
                      <a:pt x="315" y="306"/>
                    </a:lnTo>
                    <a:lnTo>
                      <a:pt x="311" y="311"/>
                    </a:lnTo>
                    <a:lnTo>
                      <a:pt x="311" y="315"/>
                    </a:lnTo>
                    <a:lnTo>
                      <a:pt x="306" y="320"/>
                    </a:lnTo>
                    <a:lnTo>
                      <a:pt x="306" y="325"/>
                    </a:lnTo>
                    <a:lnTo>
                      <a:pt x="311" y="329"/>
                    </a:lnTo>
                    <a:lnTo>
                      <a:pt x="311" y="334"/>
                    </a:lnTo>
                    <a:lnTo>
                      <a:pt x="315" y="334"/>
                    </a:lnTo>
                    <a:close/>
                  </a:path>
                </a:pathLst>
              </a:custGeom>
              <a:solidFill>
                <a:srgbClr val="006301"/>
              </a:solidFill>
              <a:ln w="6350" cmpd="sng">
                <a:solidFill>
                  <a:sysClr val="window" lastClr="FFFFFF"/>
                </a:solidFill>
                <a:miter lim="800000"/>
                <a:headEnd/>
                <a:tailEnd/>
              </a:ln>
              <a:effectLst/>
            </p:spPr>
            <p:txBody>
              <a:bodyPr tIns="365760" rIns="91440" anchor="ctr"/>
              <a:lstStyle/>
              <a:p>
                <a:pPr marL="0" marR="0" lvl="0" indent="0" algn="ctr"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Rivers</a:t>
                </a:r>
              </a:p>
            </p:txBody>
          </p:sp>
          <p:sp>
            <p:nvSpPr>
              <p:cNvPr id="231" name="Freeform 76">
                <a:extLst>
                  <a:ext uri="{FF2B5EF4-FFF2-40B4-BE49-F238E27FC236}">
                    <a16:creationId xmlns:a16="http://schemas.microsoft.com/office/drawing/2014/main" id="{ABBB73A6-BC9B-4077-8F23-C03CDB672DA2}"/>
                  </a:ext>
                </a:extLst>
              </p:cNvPr>
              <p:cNvSpPr>
                <a:spLocks/>
              </p:cNvSpPr>
              <p:nvPr>
                <p:custDataLst>
                  <p:tags r:id="rId48"/>
                </p:custDataLst>
              </p:nvPr>
            </p:nvSpPr>
            <p:spPr bwMode="auto">
              <a:xfrm>
                <a:off x="898106" y="1753736"/>
                <a:ext cx="1370619" cy="875159"/>
              </a:xfrm>
              <a:custGeom>
                <a:avLst/>
                <a:gdLst/>
                <a:ahLst/>
                <a:cxnLst>
                  <a:cxn ang="0">
                    <a:pos x="374" y="617"/>
                  </a:cxn>
                  <a:cxn ang="0">
                    <a:pos x="306" y="635"/>
                  </a:cxn>
                  <a:cxn ang="0">
                    <a:pos x="242" y="676"/>
                  </a:cxn>
                  <a:cxn ang="0">
                    <a:pos x="192" y="704"/>
                  </a:cxn>
                  <a:cxn ang="0">
                    <a:pos x="169" y="690"/>
                  </a:cxn>
                  <a:cxn ang="0">
                    <a:pos x="169" y="608"/>
                  </a:cxn>
                  <a:cxn ang="0">
                    <a:pos x="196" y="557"/>
                  </a:cxn>
                  <a:cxn ang="0">
                    <a:pos x="242" y="567"/>
                  </a:cxn>
                  <a:cxn ang="0">
                    <a:pos x="246" y="489"/>
                  </a:cxn>
                  <a:cxn ang="0">
                    <a:pos x="246" y="443"/>
                  </a:cxn>
                  <a:cxn ang="0">
                    <a:pos x="242" y="384"/>
                  </a:cxn>
                  <a:cxn ang="0">
                    <a:pos x="228" y="361"/>
                  </a:cxn>
                  <a:cxn ang="0">
                    <a:pos x="242" y="329"/>
                  </a:cxn>
                  <a:cxn ang="0">
                    <a:pos x="251" y="297"/>
                  </a:cxn>
                  <a:cxn ang="0">
                    <a:pos x="242" y="283"/>
                  </a:cxn>
                  <a:cxn ang="0">
                    <a:pos x="219" y="301"/>
                  </a:cxn>
                  <a:cxn ang="0">
                    <a:pos x="201" y="311"/>
                  </a:cxn>
                  <a:cxn ang="0">
                    <a:pos x="178" y="301"/>
                  </a:cxn>
                  <a:cxn ang="0">
                    <a:pos x="155" y="292"/>
                  </a:cxn>
                  <a:cxn ang="0">
                    <a:pos x="123" y="283"/>
                  </a:cxn>
                  <a:cxn ang="0">
                    <a:pos x="105" y="260"/>
                  </a:cxn>
                  <a:cxn ang="0">
                    <a:pos x="86" y="256"/>
                  </a:cxn>
                  <a:cxn ang="0">
                    <a:pos x="68" y="237"/>
                  </a:cxn>
                  <a:cxn ang="0">
                    <a:pos x="54" y="247"/>
                  </a:cxn>
                  <a:cxn ang="0">
                    <a:pos x="0" y="215"/>
                  </a:cxn>
                  <a:cxn ang="0">
                    <a:pos x="0" y="160"/>
                  </a:cxn>
                  <a:cxn ang="0">
                    <a:pos x="45" y="141"/>
                  </a:cxn>
                  <a:cxn ang="0">
                    <a:pos x="105" y="91"/>
                  </a:cxn>
                  <a:cxn ang="0">
                    <a:pos x="132" y="68"/>
                  </a:cxn>
                  <a:cxn ang="0">
                    <a:pos x="173" y="64"/>
                  </a:cxn>
                  <a:cxn ang="0">
                    <a:pos x="219" y="55"/>
                  </a:cxn>
                  <a:cxn ang="0">
                    <a:pos x="274" y="45"/>
                  </a:cxn>
                  <a:cxn ang="0">
                    <a:pos x="320" y="55"/>
                  </a:cxn>
                  <a:cxn ang="0">
                    <a:pos x="352" y="55"/>
                  </a:cxn>
                  <a:cxn ang="0">
                    <a:pos x="393" y="55"/>
                  </a:cxn>
                  <a:cxn ang="0">
                    <a:pos x="425" y="55"/>
                  </a:cxn>
                  <a:cxn ang="0">
                    <a:pos x="466" y="18"/>
                  </a:cxn>
                  <a:cxn ang="0">
                    <a:pos x="516" y="4"/>
                  </a:cxn>
                  <a:cxn ang="0">
                    <a:pos x="566" y="18"/>
                  </a:cxn>
                  <a:cxn ang="0">
                    <a:pos x="649" y="50"/>
                  </a:cxn>
                  <a:cxn ang="0">
                    <a:pos x="713" y="68"/>
                  </a:cxn>
                  <a:cxn ang="0">
                    <a:pos x="768" y="96"/>
                  </a:cxn>
                  <a:cxn ang="0">
                    <a:pos x="795" y="87"/>
                  </a:cxn>
                  <a:cxn ang="0">
                    <a:pos x="822" y="87"/>
                  </a:cxn>
                  <a:cxn ang="0">
                    <a:pos x="868" y="109"/>
                  </a:cxn>
                  <a:cxn ang="0">
                    <a:pos x="928" y="164"/>
                  </a:cxn>
                  <a:cxn ang="0">
                    <a:pos x="969" y="210"/>
                  </a:cxn>
                  <a:cxn ang="0">
                    <a:pos x="987" y="237"/>
                  </a:cxn>
                  <a:cxn ang="0">
                    <a:pos x="1010" y="279"/>
                  </a:cxn>
                  <a:cxn ang="0">
                    <a:pos x="850" y="324"/>
                  </a:cxn>
                  <a:cxn ang="0">
                    <a:pos x="749" y="365"/>
                  </a:cxn>
                  <a:cxn ang="0">
                    <a:pos x="722" y="411"/>
                  </a:cxn>
                  <a:cxn ang="0">
                    <a:pos x="635" y="434"/>
                  </a:cxn>
                  <a:cxn ang="0">
                    <a:pos x="571" y="461"/>
                  </a:cxn>
                  <a:cxn ang="0">
                    <a:pos x="516" y="525"/>
                  </a:cxn>
                  <a:cxn ang="0">
                    <a:pos x="534" y="599"/>
                  </a:cxn>
                  <a:cxn ang="0">
                    <a:pos x="461" y="612"/>
                  </a:cxn>
                </a:cxnLst>
                <a:rect l="0" t="0" r="r" b="b"/>
                <a:pathLst>
                  <a:path w="1028" h="708">
                    <a:moveTo>
                      <a:pt x="438" y="612"/>
                    </a:moveTo>
                    <a:lnTo>
                      <a:pt x="434" y="612"/>
                    </a:lnTo>
                    <a:lnTo>
                      <a:pt x="416" y="617"/>
                    </a:lnTo>
                    <a:lnTo>
                      <a:pt x="402" y="617"/>
                    </a:lnTo>
                    <a:lnTo>
                      <a:pt x="388" y="617"/>
                    </a:lnTo>
                    <a:lnTo>
                      <a:pt x="374" y="617"/>
                    </a:lnTo>
                    <a:lnTo>
                      <a:pt x="370" y="617"/>
                    </a:lnTo>
                    <a:lnTo>
                      <a:pt x="361" y="621"/>
                    </a:lnTo>
                    <a:lnTo>
                      <a:pt x="352" y="631"/>
                    </a:lnTo>
                    <a:lnTo>
                      <a:pt x="329" y="635"/>
                    </a:lnTo>
                    <a:lnTo>
                      <a:pt x="320" y="635"/>
                    </a:lnTo>
                    <a:lnTo>
                      <a:pt x="306" y="635"/>
                    </a:lnTo>
                    <a:lnTo>
                      <a:pt x="297" y="635"/>
                    </a:lnTo>
                    <a:lnTo>
                      <a:pt x="283" y="640"/>
                    </a:lnTo>
                    <a:lnTo>
                      <a:pt x="269" y="649"/>
                    </a:lnTo>
                    <a:lnTo>
                      <a:pt x="260" y="653"/>
                    </a:lnTo>
                    <a:lnTo>
                      <a:pt x="246" y="667"/>
                    </a:lnTo>
                    <a:lnTo>
                      <a:pt x="242" y="676"/>
                    </a:lnTo>
                    <a:lnTo>
                      <a:pt x="228" y="685"/>
                    </a:lnTo>
                    <a:lnTo>
                      <a:pt x="219" y="695"/>
                    </a:lnTo>
                    <a:lnTo>
                      <a:pt x="210" y="699"/>
                    </a:lnTo>
                    <a:lnTo>
                      <a:pt x="196" y="699"/>
                    </a:lnTo>
                    <a:lnTo>
                      <a:pt x="196" y="699"/>
                    </a:lnTo>
                    <a:lnTo>
                      <a:pt x="192" y="704"/>
                    </a:lnTo>
                    <a:lnTo>
                      <a:pt x="187" y="708"/>
                    </a:lnTo>
                    <a:lnTo>
                      <a:pt x="178" y="708"/>
                    </a:lnTo>
                    <a:lnTo>
                      <a:pt x="178" y="708"/>
                    </a:lnTo>
                    <a:lnTo>
                      <a:pt x="173" y="708"/>
                    </a:lnTo>
                    <a:lnTo>
                      <a:pt x="169" y="708"/>
                    </a:lnTo>
                    <a:lnTo>
                      <a:pt x="169" y="690"/>
                    </a:lnTo>
                    <a:lnTo>
                      <a:pt x="164" y="676"/>
                    </a:lnTo>
                    <a:lnTo>
                      <a:pt x="164" y="658"/>
                    </a:lnTo>
                    <a:lnTo>
                      <a:pt x="164" y="640"/>
                    </a:lnTo>
                    <a:lnTo>
                      <a:pt x="164" y="621"/>
                    </a:lnTo>
                    <a:lnTo>
                      <a:pt x="169" y="608"/>
                    </a:lnTo>
                    <a:lnTo>
                      <a:pt x="169" y="608"/>
                    </a:lnTo>
                    <a:lnTo>
                      <a:pt x="164" y="589"/>
                    </a:lnTo>
                    <a:lnTo>
                      <a:pt x="169" y="580"/>
                    </a:lnTo>
                    <a:lnTo>
                      <a:pt x="173" y="576"/>
                    </a:lnTo>
                    <a:lnTo>
                      <a:pt x="178" y="567"/>
                    </a:lnTo>
                    <a:lnTo>
                      <a:pt x="187" y="562"/>
                    </a:lnTo>
                    <a:lnTo>
                      <a:pt x="196" y="557"/>
                    </a:lnTo>
                    <a:lnTo>
                      <a:pt x="205" y="553"/>
                    </a:lnTo>
                    <a:lnTo>
                      <a:pt x="219" y="548"/>
                    </a:lnTo>
                    <a:lnTo>
                      <a:pt x="228" y="553"/>
                    </a:lnTo>
                    <a:lnTo>
                      <a:pt x="237" y="562"/>
                    </a:lnTo>
                    <a:lnTo>
                      <a:pt x="242" y="567"/>
                    </a:lnTo>
                    <a:lnTo>
                      <a:pt x="242" y="567"/>
                    </a:lnTo>
                    <a:lnTo>
                      <a:pt x="246" y="562"/>
                    </a:lnTo>
                    <a:lnTo>
                      <a:pt x="246" y="548"/>
                    </a:lnTo>
                    <a:lnTo>
                      <a:pt x="251" y="535"/>
                    </a:lnTo>
                    <a:lnTo>
                      <a:pt x="251" y="521"/>
                    </a:lnTo>
                    <a:lnTo>
                      <a:pt x="251" y="503"/>
                    </a:lnTo>
                    <a:lnTo>
                      <a:pt x="246" y="489"/>
                    </a:lnTo>
                    <a:lnTo>
                      <a:pt x="242" y="480"/>
                    </a:lnTo>
                    <a:lnTo>
                      <a:pt x="242" y="475"/>
                    </a:lnTo>
                    <a:lnTo>
                      <a:pt x="242" y="466"/>
                    </a:lnTo>
                    <a:lnTo>
                      <a:pt x="242" y="457"/>
                    </a:lnTo>
                    <a:lnTo>
                      <a:pt x="242" y="452"/>
                    </a:lnTo>
                    <a:lnTo>
                      <a:pt x="246" y="443"/>
                    </a:lnTo>
                    <a:lnTo>
                      <a:pt x="246" y="434"/>
                    </a:lnTo>
                    <a:lnTo>
                      <a:pt x="251" y="420"/>
                    </a:lnTo>
                    <a:lnTo>
                      <a:pt x="246" y="411"/>
                    </a:lnTo>
                    <a:lnTo>
                      <a:pt x="246" y="397"/>
                    </a:lnTo>
                    <a:lnTo>
                      <a:pt x="246" y="393"/>
                    </a:lnTo>
                    <a:lnTo>
                      <a:pt x="242" y="384"/>
                    </a:lnTo>
                    <a:lnTo>
                      <a:pt x="237" y="379"/>
                    </a:lnTo>
                    <a:lnTo>
                      <a:pt x="233" y="375"/>
                    </a:lnTo>
                    <a:lnTo>
                      <a:pt x="228" y="370"/>
                    </a:lnTo>
                    <a:lnTo>
                      <a:pt x="228" y="370"/>
                    </a:lnTo>
                    <a:lnTo>
                      <a:pt x="228" y="365"/>
                    </a:lnTo>
                    <a:lnTo>
                      <a:pt x="228" y="361"/>
                    </a:lnTo>
                    <a:lnTo>
                      <a:pt x="228" y="356"/>
                    </a:lnTo>
                    <a:lnTo>
                      <a:pt x="233" y="352"/>
                    </a:lnTo>
                    <a:lnTo>
                      <a:pt x="233" y="347"/>
                    </a:lnTo>
                    <a:lnTo>
                      <a:pt x="237" y="347"/>
                    </a:lnTo>
                    <a:lnTo>
                      <a:pt x="242" y="338"/>
                    </a:lnTo>
                    <a:lnTo>
                      <a:pt x="242" y="329"/>
                    </a:lnTo>
                    <a:lnTo>
                      <a:pt x="242" y="324"/>
                    </a:lnTo>
                    <a:lnTo>
                      <a:pt x="242" y="320"/>
                    </a:lnTo>
                    <a:lnTo>
                      <a:pt x="242" y="315"/>
                    </a:lnTo>
                    <a:lnTo>
                      <a:pt x="246" y="306"/>
                    </a:lnTo>
                    <a:lnTo>
                      <a:pt x="251" y="301"/>
                    </a:lnTo>
                    <a:lnTo>
                      <a:pt x="251" y="297"/>
                    </a:lnTo>
                    <a:lnTo>
                      <a:pt x="251" y="292"/>
                    </a:lnTo>
                    <a:lnTo>
                      <a:pt x="251" y="288"/>
                    </a:lnTo>
                    <a:lnTo>
                      <a:pt x="246" y="283"/>
                    </a:lnTo>
                    <a:lnTo>
                      <a:pt x="246" y="283"/>
                    </a:lnTo>
                    <a:lnTo>
                      <a:pt x="242" y="283"/>
                    </a:lnTo>
                    <a:lnTo>
                      <a:pt x="242" y="283"/>
                    </a:lnTo>
                    <a:lnTo>
                      <a:pt x="237" y="283"/>
                    </a:lnTo>
                    <a:lnTo>
                      <a:pt x="228" y="288"/>
                    </a:lnTo>
                    <a:lnTo>
                      <a:pt x="224" y="292"/>
                    </a:lnTo>
                    <a:lnTo>
                      <a:pt x="224" y="297"/>
                    </a:lnTo>
                    <a:lnTo>
                      <a:pt x="219" y="297"/>
                    </a:lnTo>
                    <a:lnTo>
                      <a:pt x="219" y="301"/>
                    </a:lnTo>
                    <a:lnTo>
                      <a:pt x="219" y="306"/>
                    </a:lnTo>
                    <a:lnTo>
                      <a:pt x="219" y="306"/>
                    </a:lnTo>
                    <a:lnTo>
                      <a:pt x="214" y="306"/>
                    </a:lnTo>
                    <a:lnTo>
                      <a:pt x="210" y="311"/>
                    </a:lnTo>
                    <a:lnTo>
                      <a:pt x="205" y="311"/>
                    </a:lnTo>
                    <a:lnTo>
                      <a:pt x="201" y="311"/>
                    </a:lnTo>
                    <a:lnTo>
                      <a:pt x="196" y="311"/>
                    </a:lnTo>
                    <a:lnTo>
                      <a:pt x="192" y="311"/>
                    </a:lnTo>
                    <a:lnTo>
                      <a:pt x="187" y="306"/>
                    </a:lnTo>
                    <a:lnTo>
                      <a:pt x="182" y="306"/>
                    </a:lnTo>
                    <a:lnTo>
                      <a:pt x="178" y="301"/>
                    </a:lnTo>
                    <a:lnTo>
                      <a:pt x="178" y="301"/>
                    </a:lnTo>
                    <a:lnTo>
                      <a:pt x="173" y="297"/>
                    </a:lnTo>
                    <a:lnTo>
                      <a:pt x="169" y="297"/>
                    </a:lnTo>
                    <a:lnTo>
                      <a:pt x="164" y="297"/>
                    </a:lnTo>
                    <a:lnTo>
                      <a:pt x="164" y="292"/>
                    </a:lnTo>
                    <a:lnTo>
                      <a:pt x="160" y="292"/>
                    </a:lnTo>
                    <a:lnTo>
                      <a:pt x="155" y="292"/>
                    </a:lnTo>
                    <a:lnTo>
                      <a:pt x="150" y="288"/>
                    </a:lnTo>
                    <a:lnTo>
                      <a:pt x="146" y="288"/>
                    </a:lnTo>
                    <a:lnTo>
                      <a:pt x="132" y="288"/>
                    </a:lnTo>
                    <a:lnTo>
                      <a:pt x="132" y="283"/>
                    </a:lnTo>
                    <a:lnTo>
                      <a:pt x="128" y="283"/>
                    </a:lnTo>
                    <a:lnTo>
                      <a:pt x="123" y="283"/>
                    </a:lnTo>
                    <a:lnTo>
                      <a:pt x="118" y="283"/>
                    </a:lnTo>
                    <a:lnTo>
                      <a:pt x="114" y="279"/>
                    </a:lnTo>
                    <a:lnTo>
                      <a:pt x="114" y="274"/>
                    </a:lnTo>
                    <a:lnTo>
                      <a:pt x="109" y="274"/>
                    </a:lnTo>
                    <a:lnTo>
                      <a:pt x="109" y="265"/>
                    </a:lnTo>
                    <a:lnTo>
                      <a:pt x="105" y="260"/>
                    </a:lnTo>
                    <a:lnTo>
                      <a:pt x="100" y="260"/>
                    </a:lnTo>
                    <a:lnTo>
                      <a:pt x="100" y="260"/>
                    </a:lnTo>
                    <a:lnTo>
                      <a:pt x="91" y="260"/>
                    </a:lnTo>
                    <a:lnTo>
                      <a:pt x="86" y="260"/>
                    </a:lnTo>
                    <a:lnTo>
                      <a:pt x="86" y="256"/>
                    </a:lnTo>
                    <a:lnTo>
                      <a:pt x="86" y="256"/>
                    </a:lnTo>
                    <a:lnTo>
                      <a:pt x="82" y="251"/>
                    </a:lnTo>
                    <a:lnTo>
                      <a:pt x="82" y="247"/>
                    </a:lnTo>
                    <a:lnTo>
                      <a:pt x="77" y="247"/>
                    </a:lnTo>
                    <a:lnTo>
                      <a:pt x="77" y="242"/>
                    </a:lnTo>
                    <a:lnTo>
                      <a:pt x="73" y="242"/>
                    </a:lnTo>
                    <a:lnTo>
                      <a:pt x="68" y="237"/>
                    </a:lnTo>
                    <a:lnTo>
                      <a:pt x="68" y="242"/>
                    </a:lnTo>
                    <a:lnTo>
                      <a:pt x="68" y="242"/>
                    </a:lnTo>
                    <a:lnTo>
                      <a:pt x="64" y="242"/>
                    </a:lnTo>
                    <a:lnTo>
                      <a:pt x="64" y="247"/>
                    </a:lnTo>
                    <a:lnTo>
                      <a:pt x="59" y="247"/>
                    </a:lnTo>
                    <a:lnTo>
                      <a:pt x="54" y="247"/>
                    </a:lnTo>
                    <a:lnTo>
                      <a:pt x="50" y="247"/>
                    </a:lnTo>
                    <a:lnTo>
                      <a:pt x="41" y="247"/>
                    </a:lnTo>
                    <a:lnTo>
                      <a:pt x="32" y="247"/>
                    </a:lnTo>
                    <a:lnTo>
                      <a:pt x="27" y="247"/>
                    </a:lnTo>
                    <a:lnTo>
                      <a:pt x="0" y="247"/>
                    </a:lnTo>
                    <a:lnTo>
                      <a:pt x="0" y="215"/>
                    </a:lnTo>
                    <a:lnTo>
                      <a:pt x="0" y="210"/>
                    </a:lnTo>
                    <a:lnTo>
                      <a:pt x="0" y="196"/>
                    </a:lnTo>
                    <a:lnTo>
                      <a:pt x="0" y="173"/>
                    </a:lnTo>
                    <a:lnTo>
                      <a:pt x="0" y="169"/>
                    </a:lnTo>
                    <a:lnTo>
                      <a:pt x="0" y="160"/>
                    </a:lnTo>
                    <a:lnTo>
                      <a:pt x="0" y="160"/>
                    </a:lnTo>
                    <a:lnTo>
                      <a:pt x="18" y="160"/>
                    </a:lnTo>
                    <a:lnTo>
                      <a:pt x="22" y="160"/>
                    </a:lnTo>
                    <a:lnTo>
                      <a:pt x="27" y="160"/>
                    </a:lnTo>
                    <a:lnTo>
                      <a:pt x="27" y="160"/>
                    </a:lnTo>
                    <a:lnTo>
                      <a:pt x="32" y="155"/>
                    </a:lnTo>
                    <a:lnTo>
                      <a:pt x="45" y="141"/>
                    </a:lnTo>
                    <a:lnTo>
                      <a:pt x="64" y="128"/>
                    </a:lnTo>
                    <a:lnTo>
                      <a:pt x="68" y="123"/>
                    </a:lnTo>
                    <a:lnTo>
                      <a:pt x="73" y="119"/>
                    </a:lnTo>
                    <a:lnTo>
                      <a:pt x="77" y="119"/>
                    </a:lnTo>
                    <a:lnTo>
                      <a:pt x="86" y="109"/>
                    </a:lnTo>
                    <a:lnTo>
                      <a:pt x="105" y="91"/>
                    </a:lnTo>
                    <a:lnTo>
                      <a:pt x="109" y="91"/>
                    </a:lnTo>
                    <a:lnTo>
                      <a:pt x="118" y="82"/>
                    </a:lnTo>
                    <a:lnTo>
                      <a:pt x="128" y="73"/>
                    </a:lnTo>
                    <a:lnTo>
                      <a:pt x="128" y="73"/>
                    </a:lnTo>
                    <a:lnTo>
                      <a:pt x="132" y="73"/>
                    </a:lnTo>
                    <a:lnTo>
                      <a:pt x="132" y="68"/>
                    </a:lnTo>
                    <a:lnTo>
                      <a:pt x="141" y="68"/>
                    </a:lnTo>
                    <a:lnTo>
                      <a:pt x="155" y="68"/>
                    </a:lnTo>
                    <a:lnTo>
                      <a:pt x="160" y="64"/>
                    </a:lnTo>
                    <a:lnTo>
                      <a:pt x="164" y="64"/>
                    </a:lnTo>
                    <a:lnTo>
                      <a:pt x="169" y="64"/>
                    </a:lnTo>
                    <a:lnTo>
                      <a:pt x="173" y="64"/>
                    </a:lnTo>
                    <a:lnTo>
                      <a:pt x="178" y="64"/>
                    </a:lnTo>
                    <a:lnTo>
                      <a:pt x="178" y="64"/>
                    </a:lnTo>
                    <a:lnTo>
                      <a:pt x="187" y="59"/>
                    </a:lnTo>
                    <a:lnTo>
                      <a:pt x="192" y="59"/>
                    </a:lnTo>
                    <a:lnTo>
                      <a:pt x="205" y="55"/>
                    </a:lnTo>
                    <a:lnTo>
                      <a:pt x="219" y="55"/>
                    </a:lnTo>
                    <a:lnTo>
                      <a:pt x="228" y="55"/>
                    </a:lnTo>
                    <a:lnTo>
                      <a:pt x="233" y="50"/>
                    </a:lnTo>
                    <a:lnTo>
                      <a:pt x="237" y="50"/>
                    </a:lnTo>
                    <a:lnTo>
                      <a:pt x="246" y="50"/>
                    </a:lnTo>
                    <a:lnTo>
                      <a:pt x="251" y="50"/>
                    </a:lnTo>
                    <a:lnTo>
                      <a:pt x="274" y="45"/>
                    </a:lnTo>
                    <a:lnTo>
                      <a:pt x="283" y="41"/>
                    </a:lnTo>
                    <a:lnTo>
                      <a:pt x="283" y="45"/>
                    </a:lnTo>
                    <a:lnTo>
                      <a:pt x="292" y="55"/>
                    </a:lnTo>
                    <a:lnTo>
                      <a:pt x="297" y="55"/>
                    </a:lnTo>
                    <a:lnTo>
                      <a:pt x="310" y="55"/>
                    </a:lnTo>
                    <a:lnTo>
                      <a:pt x="320" y="55"/>
                    </a:lnTo>
                    <a:lnTo>
                      <a:pt x="324" y="59"/>
                    </a:lnTo>
                    <a:lnTo>
                      <a:pt x="329" y="59"/>
                    </a:lnTo>
                    <a:lnTo>
                      <a:pt x="333" y="59"/>
                    </a:lnTo>
                    <a:lnTo>
                      <a:pt x="333" y="59"/>
                    </a:lnTo>
                    <a:lnTo>
                      <a:pt x="342" y="55"/>
                    </a:lnTo>
                    <a:lnTo>
                      <a:pt x="352" y="55"/>
                    </a:lnTo>
                    <a:lnTo>
                      <a:pt x="365" y="55"/>
                    </a:lnTo>
                    <a:lnTo>
                      <a:pt x="370" y="55"/>
                    </a:lnTo>
                    <a:lnTo>
                      <a:pt x="379" y="55"/>
                    </a:lnTo>
                    <a:lnTo>
                      <a:pt x="384" y="55"/>
                    </a:lnTo>
                    <a:lnTo>
                      <a:pt x="388" y="55"/>
                    </a:lnTo>
                    <a:lnTo>
                      <a:pt x="393" y="55"/>
                    </a:lnTo>
                    <a:lnTo>
                      <a:pt x="397" y="55"/>
                    </a:lnTo>
                    <a:lnTo>
                      <a:pt x="397" y="55"/>
                    </a:lnTo>
                    <a:lnTo>
                      <a:pt x="402" y="55"/>
                    </a:lnTo>
                    <a:lnTo>
                      <a:pt x="406" y="55"/>
                    </a:lnTo>
                    <a:lnTo>
                      <a:pt x="420" y="55"/>
                    </a:lnTo>
                    <a:lnTo>
                      <a:pt x="425" y="55"/>
                    </a:lnTo>
                    <a:lnTo>
                      <a:pt x="434" y="55"/>
                    </a:lnTo>
                    <a:lnTo>
                      <a:pt x="438" y="50"/>
                    </a:lnTo>
                    <a:lnTo>
                      <a:pt x="443" y="45"/>
                    </a:lnTo>
                    <a:lnTo>
                      <a:pt x="448" y="36"/>
                    </a:lnTo>
                    <a:lnTo>
                      <a:pt x="461" y="23"/>
                    </a:lnTo>
                    <a:lnTo>
                      <a:pt x="466" y="18"/>
                    </a:lnTo>
                    <a:lnTo>
                      <a:pt x="489" y="13"/>
                    </a:lnTo>
                    <a:lnTo>
                      <a:pt x="498" y="9"/>
                    </a:lnTo>
                    <a:lnTo>
                      <a:pt x="502" y="9"/>
                    </a:lnTo>
                    <a:lnTo>
                      <a:pt x="502" y="9"/>
                    </a:lnTo>
                    <a:lnTo>
                      <a:pt x="502" y="9"/>
                    </a:lnTo>
                    <a:lnTo>
                      <a:pt x="516" y="4"/>
                    </a:lnTo>
                    <a:lnTo>
                      <a:pt x="516" y="4"/>
                    </a:lnTo>
                    <a:lnTo>
                      <a:pt x="530" y="0"/>
                    </a:lnTo>
                    <a:lnTo>
                      <a:pt x="534" y="4"/>
                    </a:lnTo>
                    <a:lnTo>
                      <a:pt x="553" y="9"/>
                    </a:lnTo>
                    <a:lnTo>
                      <a:pt x="562" y="13"/>
                    </a:lnTo>
                    <a:lnTo>
                      <a:pt x="566" y="18"/>
                    </a:lnTo>
                    <a:lnTo>
                      <a:pt x="608" y="36"/>
                    </a:lnTo>
                    <a:lnTo>
                      <a:pt x="608" y="36"/>
                    </a:lnTo>
                    <a:lnTo>
                      <a:pt x="612" y="36"/>
                    </a:lnTo>
                    <a:lnTo>
                      <a:pt x="617" y="36"/>
                    </a:lnTo>
                    <a:lnTo>
                      <a:pt x="635" y="45"/>
                    </a:lnTo>
                    <a:lnTo>
                      <a:pt x="649" y="50"/>
                    </a:lnTo>
                    <a:lnTo>
                      <a:pt x="662" y="55"/>
                    </a:lnTo>
                    <a:lnTo>
                      <a:pt x="667" y="55"/>
                    </a:lnTo>
                    <a:lnTo>
                      <a:pt x="676" y="59"/>
                    </a:lnTo>
                    <a:lnTo>
                      <a:pt x="704" y="68"/>
                    </a:lnTo>
                    <a:lnTo>
                      <a:pt x="704" y="68"/>
                    </a:lnTo>
                    <a:lnTo>
                      <a:pt x="713" y="68"/>
                    </a:lnTo>
                    <a:lnTo>
                      <a:pt x="717" y="73"/>
                    </a:lnTo>
                    <a:lnTo>
                      <a:pt x="726" y="77"/>
                    </a:lnTo>
                    <a:lnTo>
                      <a:pt x="740" y="82"/>
                    </a:lnTo>
                    <a:lnTo>
                      <a:pt x="754" y="91"/>
                    </a:lnTo>
                    <a:lnTo>
                      <a:pt x="763" y="91"/>
                    </a:lnTo>
                    <a:lnTo>
                      <a:pt x="768" y="96"/>
                    </a:lnTo>
                    <a:lnTo>
                      <a:pt x="768" y="96"/>
                    </a:lnTo>
                    <a:lnTo>
                      <a:pt x="768" y="96"/>
                    </a:lnTo>
                    <a:lnTo>
                      <a:pt x="777" y="91"/>
                    </a:lnTo>
                    <a:lnTo>
                      <a:pt x="781" y="91"/>
                    </a:lnTo>
                    <a:lnTo>
                      <a:pt x="786" y="87"/>
                    </a:lnTo>
                    <a:lnTo>
                      <a:pt x="795" y="87"/>
                    </a:lnTo>
                    <a:lnTo>
                      <a:pt x="809" y="87"/>
                    </a:lnTo>
                    <a:lnTo>
                      <a:pt x="809" y="87"/>
                    </a:lnTo>
                    <a:lnTo>
                      <a:pt x="809" y="87"/>
                    </a:lnTo>
                    <a:lnTo>
                      <a:pt x="818" y="87"/>
                    </a:lnTo>
                    <a:lnTo>
                      <a:pt x="822" y="87"/>
                    </a:lnTo>
                    <a:lnTo>
                      <a:pt x="822" y="87"/>
                    </a:lnTo>
                    <a:lnTo>
                      <a:pt x="827" y="91"/>
                    </a:lnTo>
                    <a:lnTo>
                      <a:pt x="827" y="91"/>
                    </a:lnTo>
                    <a:lnTo>
                      <a:pt x="841" y="96"/>
                    </a:lnTo>
                    <a:lnTo>
                      <a:pt x="864" y="109"/>
                    </a:lnTo>
                    <a:lnTo>
                      <a:pt x="868" y="109"/>
                    </a:lnTo>
                    <a:lnTo>
                      <a:pt x="868" y="109"/>
                    </a:lnTo>
                    <a:lnTo>
                      <a:pt x="868" y="109"/>
                    </a:lnTo>
                    <a:lnTo>
                      <a:pt x="873" y="114"/>
                    </a:lnTo>
                    <a:lnTo>
                      <a:pt x="882" y="119"/>
                    </a:lnTo>
                    <a:lnTo>
                      <a:pt x="896" y="137"/>
                    </a:lnTo>
                    <a:lnTo>
                      <a:pt x="923" y="160"/>
                    </a:lnTo>
                    <a:lnTo>
                      <a:pt x="928" y="164"/>
                    </a:lnTo>
                    <a:lnTo>
                      <a:pt x="928" y="169"/>
                    </a:lnTo>
                    <a:lnTo>
                      <a:pt x="950" y="187"/>
                    </a:lnTo>
                    <a:lnTo>
                      <a:pt x="955" y="196"/>
                    </a:lnTo>
                    <a:lnTo>
                      <a:pt x="960" y="201"/>
                    </a:lnTo>
                    <a:lnTo>
                      <a:pt x="964" y="205"/>
                    </a:lnTo>
                    <a:lnTo>
                      <a:pt x="969" y="210"/>
                    </a:lnTo>
                    <a:lnTo>
                      <a:pt x="973" y="215"/>
                    </a:lnTo>
                    <a:lnTo>
                      <a:pt x="973" y="219"/>
                    </a:lnTo>
                    <a:lnTo>
                      <a:pt x="978" y="224"/>
                    </a:lnTo>
                    <a:lnTo>
                      <a:pt x="978" y="228"/>
                    </a:lnTo>
                    <a:lnTo>
                      <a:pt x="982" y="228"/>
                    </a:lnTo>
                    <a:lnTo>
                      <a:pt x="987" y="237"/>
                    </a:lnTo>
                    <a:lnTo>
                      <a:pt x="987" y="242"/>
                    </a:lnTo>
                    <a:lnTo>
                      <a:pt x="992" y="251"/>
                    </a:lnTo>
                    <a:lnTo>
                      <a:pt x="996" y="260"/>
                    </a:lnTo>
                    <a:lnTo>
                      <a:pt x="1010" y="274"/>
                    </a:lnTo>
                    <a:lnTo>
                      <a:pt x="1010" y="279"/>
                    </a:lnTo>
                    <a:lnTo>
                      <a:pt x="1010" y="279"/>
                    </a:lnTo>
                    <a:lnTo>
                      <a:pt x="1014" y="288"/>
                    </a:lnTo>
                    <a:lnTo>
                      <a:pt x="1019" y="292"/>
                    </a:lnTo>
                    <a:lnTo>
                      <a:pt x="1028" y="306"/>
                    </a:lnTo>
                    <a:lnTo>
                      <a:pt x="1019" y="311"/>
                    </a:lnTo>
                    <a:lnTo>
                      <a:pt x="932" y="320"/>
                    </a:lnTo>
                    <a:lnTo>
                      <a:pt x="850" y="324"/>
                    </a:lnTo>
                    <a:lnTo>
                      <a:pt x="790" y="333"/>
                    </a:lnTo>
                    <a:lnTo>
                      <a:pt x="768" y="338"/>
                    </a:lnTo>
                    <a:lnTo>
                      <a:pt x="768" y="338"/>
                    </a:lnTo>
                    <a:lnTo>
                      <a:pt x="768" y="343"/>
                    </a:lnTo>
                    <a:lnTo>
                      <a:pt x="763" y="347"/>
                    </a:lnTo>
                    <a:lnTo>
                      <a:pt x="749" y="365"/>
                    </a:lnTo>
                    <a:lnTo>
                      <a:pt x="745" y="379"/>
                    </a:lnTo>
                    <a:lnTo>
                      <a:pt x="745" y="393"/>
                    </a:lnTo>
                    <a:lnTo>
                      <a:pt x="740" y="393"/>
                    </a:lnTo>
                    <a:lnTo>
                      <a:pt x="731" y="402"/>
                    </a:lnTo>
                    <a:lnTo>
                      <a:pt x="726" y="411"/>
                    </a:lnTo>
                    <a:lnTo>
                      <a:pt x="722" y="411"/>
                    </a:lnTo>
                    <a:lnTo>
                      <a:pt x="704" y="416"/>
                    </a:lnTo>
                    <a:lnTo>
                      <a:pt x="690" y="416"/>
                    </a:lnTo>
                    <a:lnTo>
                      <a:pt x="681" y="425"/>
                    </a:lnTo>
                    <a:lnTo>
                      <a:pt x="662" y="425"/>
                    </a:lnTo>
                    <a:lnTo>
                      <a:pt x="653" y="425"/>
                    </a:lnTo>
                    <a:lnTo>
                      <a:pt x="635" y="434"/>
                    </a:lnTo>
                    <a:lnTo>
                      <a:pt x="621" y="439"/>
                    </a:lnTo>
                    <a:lnTo>
                      <a:pt x="617" y="443"/>
                    </a:lnTo>
                    <a:lnTo>
                      <a:pt x="612" y="443"/>
                    </a:lnTo>
                    <a:lnTo>
                      <a:pt x="598" y="448"/>
                    </a:lnTo>
                    <a:lnTo>
                      <a:pt x="585" y="457"/>
                    </a:lnTo>
                    <a:lnTo>
                      <a:pt x="571" y="461"/>
                    </a:lnTo>
                    <a:lnTo>
                      <a:pt x="553" y="480"/>
                    </a:lnTo>
                    <a:lnTo>
                      <a:pt x="544" y="489"/>
                    </a:lnTo>
                    <a:lnTo>
                      <a:pt x="530" y="498"/>
                    </a:lnTo>
                    <a:lnTo>
                      <a:pt x="521" y="503"/>
                    </a:lnTo>
                    <a:lnTo>
                      <a:pt x="516" y="516"/>
                    </a:lnTo>
                    <a:lnTo>
                      <a:pt x="516" y="525"/>
                    </a:lnTo>
                    <a:lnTo>
                      <a:pt x="525" y="539"/>
                    </a:lnTo>
                    <a:lnTo>
                      <a:pt x="530" y="553"/>
                    </a:lnTo>
                    <a:lnTo>
                      <a:pt x="530" y="576"/>
                    </a:lnTo>
                    <a:lnTo>
                      <a:pt x="534" y="589"/>
                    </a:lnTo>
                    <a:lnTo>
                      <a:pt x="534" y="594"/>
                    </a:lnTo>
                    <a:lnTo>
                      <a:pt x="534" y="599"/>
                    </a:lnTo>
                    <a:lnTo>
                      <a:pt x="525" y="608"/>
                    </a:lnTo>
                    <a:lnTo>
                      <a:pt x="521" y="612"/>
                    </a:lnTo>
                    <a:lnTo>
                      <a:pt x="507" y="612"/>
                    </a:lnTo>
                    <a:lnTo>
                      <a:pt x="489" y="612"/>
                    </a:lnTo>
                    <a:lnTo>
                      <a:pt x="470" y="612"/>
                    </a:lnTo>
                    <a:lnTo>
                      <a:pt x="461" y="612"/>
                    </a:lnTo>
                    <a:lnTo>
                      <a:pt x="448" y="612"/>
                    </a:lnTo>
                    <a:lnTo>
                      <a:pt x="438" y="612"/>
                    </a:lnTo>
                    <a:close/>
                  </a:path>
                </a:pathLst>
              </a:custGeom>
              <a:grpFill/>
              <a:ln w="6350" cmpd="sng">
                <a:solidFill>
                  <a:sysClr val="window" lastClr="FFFFFF"/>
                </a:solidFill>
                <a:miter lim="800000"/>
                <a:headEnd/>
                <a:tailEnd/>
              </a:ln>
              <a:effectLst/>
            </p:spPr>
            <p:txBody>
              <a:bodyPr anchor="ctr"/>
              <a:lstStyle/>
              <a:p>
                <a:pPr marL="0" marR="0" lvl="0" indent="0" algn="ctr"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rPr>
                  <a:t>Sokoto</a:t>
                </a:r>
              </a:p>
            </p:txBody>
          </p:sp>
          <p:sp>
            <p:nvSpPr>
              <p:cNvPr id="232" name="Freeform 43">
                <a:extLst>
                  <a:ext uri="{FF2B5EF4-FFF2-40B4-BE49-F238E27FC236}">
                    <a16:creationId xmlns:a16="http://schemas.microsoft.com/office/drawing/2014/main" id="{EB1AE7E6-F8E0-43A5-9C13-70B9F910C876}"/>
                  </a:ext>
                </a:extLst>
              </p:cNvPr>
              <p:cNvSpPr>
                <a:spLocks/>
              </p:cNvSpPr>
              <p:nvPr>
                <p:custDataLst>
                  <p:tags r:id="rId49"/>
                </p:custDataLst>
              </p:nvPr>
            </p:nvSpPr>
            <p:spPr bwMode="auto">
              <a:xfrm>
                <a:off x="2408845" y="5355275"/>
                <a:ext cx="394996" cy="561044"/>
              </a:xfrm>
              <a:custGeom>
                <a:avLst/>
                <a:gdLst/>
                <a:ahLst/>
                <a:cxnLst>
                  <a:cxn ang="0">
                    <a:pos x="192" y="78"/>
                  </a:cxn>
                  <a:cxn ang="0">
                    <a:pos x="215" y="78"/>
                  </a:cxn>
                  <a:cxn ang="0">
                    <a:pos x="233" y="115"/>
                  </a:cxn>
                  <a:cxn ang="0">
                    <a:pos x="270" y="137"/>
                  </a:cxn>
                  <a:cxn ang="0">
                    <a:pos x="279" y="188"/>
                  </a:cxn>
                  <a:cxn ang="0">
                    <a:pos x="288" y="229"/>
                  </a:cxn>
                  <a:cxn ang="0">
                    <a:pos x="274" y="247"/>
                  </a:cxn>
                  <a:cxn ang="0">
                    <a:pos x="247" y="238"/>
                  </a:cxn>
                  <a:cxn ang="0">
                    <a:pos x="219" y="197"/>
                  </a:cxn>
                  <a:cxn ang="0">
                    <a:pos x="201" y="215"/>
                  </a:cxn>
                  <a:cxn ang="0">
                    <a:pos x="169" y="233"/>
                  </a:cxn>
                  <a:cxn ang="0">
                    <a:pos x="178" y="265"/>
                  </a:cxn>
                  <a:cxn ang="0">
                    <a:pos x="137" y="275"/>
                  </a:cxn>
                  <a:cxn ang="0">
                    <a:pos x="146" y="293"/>
                  </a:cxn>
                  <a:cxn ang="0">
                    <a:pos x="133" y="311"/>
                  </a:cxn>
                  <a:cxn ang="0">
                    <a:pos x="137" y="343"/>
                  </a:cxn>
                  <a:cxn ang="0">
                    <a:pos x="123" y="380"/>
                  </a:cxn>
                  <a:cxn ang="0">
                    <a:pos x="105" y="393"/>
                  </a:cxn>
                  <a:cxn ang="0">
                    <a:pos x="133" y="398"/>
                  </a:cxn>
                  <a:cxn ang="0">
                    <a:pos x="114" y="416"/>
                  </a:cxn>
                  <a:cxn ang="0">
                    <a:pos x="123" y="435"/>
                  </a:cxn>
                  <a:cxn ang="0">
                    <a:pos x="114" y="453"/>
                  </a:cxn>
                  <a:cxn ang="0">
                    <a:pos x="82" y="448"/>
                  </a:cxn>
                  <a:cxn ang="0">
                    <a:pos x="46" y="448"/>
                  </a:cxn>
                  <a:cxn ang="0">
                    <a:pos x="18" y="448"/>
                  </a:cxn>
                  <a:cxn ang="0">
                    <a:pos x="0" y="435"/>
                  </a:cxn>
                  <a:cxn ang="0">
                    <a:pos x="9" y="412"/>
                  </a:cxn>
                  <a:cxn ang="0">
                    <a:pos x="27" y="403"/>
                  </a:cxn>
                  <a:cxn ang="0">
                    <a:pos x="37" y="384"/>
                  </a:cxn>
                  <a:cxn ang="0">
                    <a:pos x="41" y="366"/>
                  </a:cxn>
                  <a:cxn ang="0">
                    <a:pos x="37" y="325"/>
                  </a:cxn>
                  <a:cxn ang="0">
                    <a:pos x="41" y="297"/>
                  </a:cxn>
                  <a:cxn ang="0">
                    <a:pos x="55" y="275"/>
                  </a:cxn>
                  <a:cxn ang="0">
                    <a:pos x="59" y="252"/>
                  </a:cxn>
                  <a:cxn ang="0">
                    <a:pos x="78" y="229"/>
                  </a:cxn>
                  <a:cxn ang="0">
                    <a:pos x="87" y="206"/>
                  </a:cxn>
                  <a:cxn ang="0">
                    <a:pos x="101" y="183"/>
                  </a:cxn>
                  <a:cxn ang="0">
                    <a:pos x="105" y="165"/>
                  </a:cxn>
                  <a:cxn ang="0">
                    <a:pos x="96" y="142"/>
                  </a:cxn>
                  <a:cxn ang="0">
                    <a:pos x="96" y="133"/>
                  </a:cxn>
                  <a:cxn ang="0">
                    <a:pos x="101" y="115"/>
                  </a:cxn>
                  <a:cxn ang="0">
                    <a:pos x="101" y="73"/>
                  </a:cxn>
                  <a:cxn ang="0">
                    <a:pos x="91" y="60"/>
                  </a:cxn>
                  <a:cxn ang="0">
                    <a:pos x="69" y="51"/>
                  </a:cxn>
                  <a:cxn ang="0">
                    <a:pos x="46" y="37"/>
                  </a:cxn>
                  <a:cxn ang="0">
                    <a:pos x="50" y="9"/>
                  </a:cxn>
                  <a:cxn ang="0">
                    <a:pos x="82" y="5"/>
                  </a:cxn>
                  <a:cxn ang="0">
                    <a:pos x="91" y="5"/>
                  </a:cxn>
                  <a:cxn ang="0">
                    <a:pos x="110" y="9"/>
                  </a:cxn>
                  <a:cxn ang="0">
                    <a:pos x="137" y="9"/>
                  </a:cxn>
                  <a:cxn ang="0">
                    <a:pos x="133" y="28"/>
                  </a:cxn>
                  <a:cxn ang="0">
                    <a:pos x="123" y="55"/>
                  </a:cxn>
                  <a:cxn ang="0">
                    <a:pos x="137" y="73"/>
                  </a:cxn>
                  <a:cxn ang="0">
                    <a:pos x="169" y="73"/>
                  </a:cxn>
                </a:cxnLst>
                <a:rect l="0" t="0" r="r" b="b"/>
                <a:pathLst>
                  <a:path w="297" h="453">
                    <a:moveTo>
                      <a:pt x="178" y="73"/>
                    </a:moveTo>
                    <a:lnTo>
                      <a:pt x="183" y="73"/>
                    </a:lnTo>
                    <a:lnTo>
                      <a:pt x="183" y="78"/>
                    </a:lnTo>
                    <a:lnTo>
                      <a:pt x="187" y="78"/>
                    </a:lnTo>
                    <a:lnTo>
                      <a:pt x="192" y="78"/>
                    </a:lnTo>
                    <a:lnTo>
                      <a:pt x="192" y="78"/>
                    </a:lnTo>
                    <a:lnTo>
                      <a:pt x="197" y="78"/>
                    </a:lnTo>
                    <a:lnTo>
                      <a:pt x="201" y="78"/>
                    </a:lnTo>
                    <a:lnTo>
                      <a:pt x="206" y="78"/>
                    </a:lnTo>
                    <a:lnTo>
                      <a:pt x="215" y="78"/>
                    </a:lnTo>
                    <a:lnTo>
                      <a:pt x="219" y="83"/>
                    </a:lnTo>
                    <a:lnTo>
                      <a:pt x="224" y="92"/>
                    </a:lnTo>
                    <a:lnTo>
                      <a:pt x="224" y="96"/>
                    </a:lnTo>
                    <a:lnTo>
                      <a:pt x="224" y="105"/>
                    </a:lnTo>
                    <a:lnTo>
                      <a:pt x="233" y="115"/>
                    </a:lnTo>
                    <a:lnTo>
                      <a:pt x="242" y="124"/>
                    </a:lnTo>
                    <a:lnTo>
                      <a:pt x="251" y="128"/>
                    </a:lnTo>
                    <a:lnTo>
                      <a:pt x="261" y="128"/>
                    </a:lnTo>
                    <a:lnTo>
                      <a:pt x="270" y="133"/>
                    </a:lnTo>
                    <a:lnTo>
                      <a:pt x="270" y="137"/>
                    </a:lnTo>
                    <a:lnTo>
                      <a:pt x="270" y="147"/>
                    </a:lnTo>
                    <a:lnTo>
                      <a:pt x="274" y="165"/>
                    </a:lnTo>
                    <a:lnTo>
                      <a:pt x="279" y="179"/>
                    </a:lnTo>
                    <a:lnTo>
                      <a:pt x="279" y="183"/>
                    </a:lnTo>
                    <a:lnTo>
                      <a:pt x="279" y="188"/>
                    </a:lnTo>
                    <a:lnTo>
                      <a:pt x="279" y="192"/>
                    </a:lnTo>
                    <a:lnTo>
                      <a:pt x="279" y="197"/>
                    </a:lnTo>
                    <a:lnTo>
                      <a:pt x="279" y="206"/>
                    </a:lnTo>
                    <a:lnTo>
                      <a:pt x="288" y="220"/>
                    </a:lnTo>
                    <a:lnTo>
                      <a:pt x="288" y="229"/>
                    </a:lnTo>
                    <a:lnTo>
                      <a:pt x="293" y="233"/>
                    </a:lnTo>
                    <a:lnTo>
                      <a:pt x="297" y="243"/>
                    </a:lnTo>
                    <a:lnTo>
                      <a:pt x="288" y="252"/>
                    </a:lnTo>
                    <a:lnTo>
                      <a:pt x="279" y="252"/>
                    </a:lnTo>
                    <a:lnTo>
                      <a:pt x="274" y="247"/>
                    </a:lnTo>
                    <a:lnTo>
                      <a:pt x="270" y="243"/>
                    </a:lnTo>
                    <a:lnTo>
                      <a:pt x="265" y="247"/>
                    </a:lnTo>
                    <a:lnTo>
                      <a:pt x="256" y="252"/>
                    </a:lnTo>
                    <a:lnTo>
                      <a:pt x="251" y="247"/>
                    </a:lnTo>
                    <a:lnTo>
                      <a:pt x="247" y="238"/>
                    </a:lnTo>
                    <a:lnTo>
                      <a:pt x="233" y="229"/>
                    </a:lnTo>
                    <a:lnTo>
                      <a:pt x="233" y="220"/>
                    </a:lnTo>
                    <a:lnTo>
                      <a:pt x="229" y="211"/>
                    </a:lnTo>
                    <a:lnTo>
                      <a:pt x="224" y="201"/>
                    </a:lnTo>
                    <a:lnTo>
                      <a:pt x="219" y="197"/>
                    </a:lnTo>
                    <a:lnTo>
                      <a:pt x="215" y="192"/>
                    </a:lnTo>
                    <a:lnTo>
                      <a:pt x="206" y="192"/>
                    </a:lnTo>
                    <a:lnTo>
                      <a:pt x="201" y="201"/>
                    </a:lnTo>
                    <a:lnTo>
                      <a:pt x="201" y="206"/>
                    </a:lnTo>
                    <a:lnTo>
                      <a:pt x="201" y="215"/>
                    </a:lnTo>
                    <a:lnTo>
                      <a:pt x="192" y="220"/>
                    </a:lnTo>
                    <a:lnTo>
                      <a:pt x="187" y="229"/>
                    </a:lnTo>
                    <a:lnTo>
                      <a:pt x="178" y="229"/>
                    </a:lnTo>
                    <a:lnTo>
                      <a:pt x="174" y="229"/>
                    </a:lnTo>
                    <a:lnTo>
                      <a:pt x="169" y="233"/>
                    </a:lnTo>
                    <a:lnTo>
                      <a:pt x="165" y="243"/>
                    </a:lnTo>
                    <a:lnTo>
                      <a:pt x="165" y="252"/>
                    </a:lnTo>
                    <a:lnTo>
                      <a:pt x="174" y="252"/>
                    </a:lnTo>
                    <a:lnTo>
                      <a:pt x="178" y="261"/>
                    </a:lnTo>
                    <a:lnTo>
                      <a:pt x="178" y="265"/>
                    </a:lnTo>
                    <a:lnTo>
                      <a:pt x="174" y="270"/>
                    </a:lnTo>
                    <a:lnTo>
                      <a:pt x="165" y="270"/>
                    </a:lnTo>
                    <a:lnTo>
                      <a:pt x="146" y="275"/>
                    </a:lnTo>
                    <a:lnTo>
                      <a:pt x="137" y="275"/>
                    </a:lnTo>
                    <a:lnTo>
                      <a:pt x="137" y="275"/>
                    </a:lnTo>
                    <a:lnTo>
                      <a:pt x="133" y="275"/>
                    </a:lnTo>
                    <a:lnTo>
                      <a:pt x="133" y="279"/>
                    </a:lnTo>
                    <a:lnTo>
                      <a:pt x="137" y="284"/>
                    </a:lnTo>
                    <a:lnTo>
                      <a:pt x="142" y="288"/>
                    </a:lnTo>
                    <a:lnTo>
                      <a:pt x="146" y="293"/>
                    </a:lnTo>
                    <a:lnTo>
                      <a:pt x="146" y="293"/>
                    </a:lnTo>
                    <a:lnTo>
                      <a:pt x="142" y="293"/>
                    </a:lnTo>
                    <a:lnTo>
                      <a:pt x="137" y="293"/>
                    </a:lnTo>
                    <a:lnTo>
                      <a:pt x="133" y="307"/>
                    </a:lnTo>
                    <a:lnTo>
                      <a:pt x="133" y="311"/>
                    </a:lnTo>
                    <a:lnTo>
                      <a:pt x="133" y="320"/>
                    </a:lnTo>
                    <a:lnTo>
                      <a:pt x="133" y="329"/>
                    </a:lnTo>
                    <a:lnTo>
                      <a:pt x="133" y="334"/>
                    </a:lnTo>
                    <a:lnTo>
                      <a:pt x="133" y="339"/>
                    </a:lnTo>
                    <a:lnTo>
                      <a:pt x="137" y="343"/>
                    </a:lnTo>
                    <a:lnTo>
                      <a:pt x="133" y="357"/>
                    </a:lnTo>
                    <a:lnTo>
                      <a:pt x="128" y="366"/>
                    </a:lnTo>
                    <a:lnTo>
                      <a:pt x="128" y="371"/>
                    </a:lnTo>
                    <a:lnTo>
                      <a:pt x="123" y="375"/>
                    </a:lnTo>
                    <a:lnTo>
                      <a:pt x="123" y="380"/>
                    </a:lnTo>
                    <a:lnTo>
                      <a:pt x="119" y="384"/>
                    </a:lnTo>
                    <a:lnTo>
                      <a:pt x="114" y="384"/>
                    </a:lnTo>
                    <a:lnTo>
                      <a:pt x="110" y="389"/>
                    </a:lnTo>
                    <a:lnTo>
                      <a:pt x="110" y="393"/>
                    </a:lnTo>
                    <a:lnTo>
                      <a:pt x="105" y="393"/>
                    </a:lnTo>
                    <a:lnTo>
                      <a:pt x="110" y="398"/>
                    </a:lnTo>
                    <a:lnTo>
                      <a:pt x="114" y="398"/>
                    </a:lnTo>
                    <a:lnTo>
                      <a:pt x="123" y="398"/>
                    </a:lnTo>
                    <a:lnTo>
                      <a:pt x="128" y="393"/>
                    </a:lnTo>
                    <a:lnTo>
                      <a:pt x="133" y="398"/>
                    </a:lnTo>
                    <a:lnTo>
                      <a:pt x="128" y="403"/>
                    </a:lnTo>
                    <a:lnTo>
                      <a:pt x="123" y="403"/>
                    </a:lnTo>
                    <a:lnTo>
                      <a:pt x="123" y="412"/>
                    </a:lnTo>
                    <a:lnTo>
                      <a:pt x="119" y="416"/>
                    </a:lnTo>
                    <a:lnTo>
                      <a:pt x="114" y="416"/>
                    </a:lnTo>
                    <a:lnTo>
                      <a:pt x="114" y="421"/>
                    </a:lnTo>
                    <a:lnTo>
                      <a:pt x="110" y="421"/>
                    </a:lnTo>
                    <a:lnTo>
                      <a:pt x="119" y="425"/>
                    </a:lnTo>
                    <a:lnTo>
                      <a:pt x="123" y="430"/>
                    </a:lnTo>
                    <a:lnTo>
                      <a:pt x="123" y="435"/>
                    </a:lnTo>
                    <a:lnTo>
                      <a:pt x="123" y="439"/>
                    </a:lnTo>
                    <a:lnTo>
                      <a:pt x="123" y="444"/>
                    </a:lnTo>
                    <a:lnTo>
                      <a:pt x="123" y="448"/>
                    </a:lnTo>
                    <a:lnTo>
                      <a:pt x="119" y="448"/>
                    </a:lnTo>
                    <a:lnTo>
                      <a:pt x="114" y="453"/>
                    </a:lnTo>
                    <a:lnTo>
                      <a:pt x="105" y="448"/>
                    </a:lnTo>
                    <a:lnTo>
                      <a:pt x="105" y="453"/>
                    </a:lnTo>
                    <a:lnTo>
                      <a:pt x="96" y="448"/>
                    </a:lnTo>
                    <a:lnTo>
                      <a:pt x="87" y="448"/>
                    </a:lnTo>
                    <a:lnTo>
                      <a:pt x="82" y="448"/>
                    </a:lnTo>
                    <a:lnTo>
                      <a:pt x="78" y="448"/>
                    </a:lnTo>
                    <a:lnTo>
                      <a:pt x="69" y="448"/>
                    </a:lnTo>
                    <a:lnTo>
                      <a:pt x="59" y="448"/>
                    </a:lnTo>
                    <a:lnTo>
                      <a:pt x="55" y="448"/>
                    </a:lnTo>
                    <a:lnTo>
                      <a:pt x="46" y="448"/>
                    </a:lnTo>
                    <a:lnTo>
                      <a:pt x="41" y="448"/>
                    </a:lnTo>
                    <a:lnTo>
                      <a:pt x="37" y="453"/>
                    </a:lnTo>
                    <a:lnTo>
                      <a:pt x="27" y="453"/>
                    </a:lnTo>
                    <a:lnTo>
                      <a:pt x="23" y="453"/>
                    </a:lnTo>
                    <a:lnTo>
                      <a:pt x="18" y="448"/>
                    </a:lnTo>
                    <a:lnTo>
                      <a:pt x="14" y="448"/>
                    </a:lnTo>
                    <a:lnTo>
                      <a:pt x="9" y="444"/>
                    </a:lnTo>
                    <a:lnTo>
                      <a:pt x="5" y="444"/>
                    </a:lnTo>
                    <a:lnTo>
                      <a:pt x="5" y="439"/>
                    </a:lnTo>
                    <a:lnTo>
                      <a:pt x="0" y="435"/>
                    </a:lnTo>
                    <a:lnTo>
                      <a:pt x="0" y="430"/>
                    </a:lnTo>
                    <a:lnTo>
                      <a:pt x="5" y="425"/>
                    </a:lnTo>
                    <a:lnTo>
                      <a:pt x="5" y="421"/>
                    </a:lnTo>
                    <a:lnTo>
                      <a:pt x="9" y="416"/>
                    </a:lnTo>
                    <a:lnTo>
                      <a:pt x="9" y="412"/>
                    </a:lnTo>
                    <a:lnTo>
                      <a:pt x="9" y="407"/>
                    </a:lnTo>
                    <a:lnTo>
                      <a:pt x="14" y="403"/>
                    </a:lnTo>
                    <a:lnTo>
                      <a:pt x="18" y="403"/>
                    </a:lnTo>
                    <a:lnTo>
                      <a:pt x="18" y="403"/>
                    </a:lnTo>
                    <a:lnTo>
                      <a:pt x="27" y="403"/>
                    </a:lnTo>
                    <a:lnTo>
                      <a:pt x="32" y="398"/>
                    </a:lnTo>
                    <a:lnTo>
                      <a:pt x="37" y="398"/>
                    </a:lnTo>
                    <a:lnTo>
                      <a:pt x="37" y="393"/>
                    </a:lnTo>
                    <a:lnTo>
                      <a:pt x="37" y="389"/>
                    </a:lnTo>
                    <a:lnTo>
                      <a:pt x="37" y="384"/>
                    </a:lnTo>
                    <a:lnTo>
                      <a:pt x="41" y="384"/>
                    </a:lnTo>
                    <a:lnTo>
                      <a:pt x="41" y="384"/>
                    </a:lnTo>
                    <a:lnTo>
                      <a:pt x="41" y="380"/>
                    </a:lnTo>
                    <a:lnTo>
                      <a:pt x="41" y="371"/>
                    </a:lnTo>
                    <a:lnTo>
                      <a:pt x="41" y="366"/>
                    </a:lnTo>
                    <a:lnTo>
                      <a:pt x="41" y="343"/>
                    </a:lnTo>
                    <a:lnTo>
                      <a:pt x="41" y="339"/>
                    </a:lnTo>
                    <a:lnTo>
                      <a:pt x="41" y="334"/>
                    </a:lnTo>
                    <a:lnTo>
                      <a:pt x="41" y="329"/>
                    </a:lnTo>
                    <a:lnTo>
                      <a:pt x="37" y="325"/>
                    </a:lnTo>
                    <a:lnTo>
                      <a:pt x="37" y="320"/>
                    </a:lnTo>
                    <a:lnTo>
                      <a:pt x="37" y="316"/>
                    </a:lnTo>
                    <a:lnTo>
                      <a:pt x="37" y="311"/>
                    </a:lnTo>
                    <a:lnTo>
                      <a:pt x="37" y="302"/>
                    </a:lnTo>
                    <a:lnTo>
                      <a:pt x="41" y="297"/>
                    </a:lnTo>
                    <a:lnTo>
                      <a:pt x="41" y="293"/>
                    </a:lnTo>
                    <a:lnTo>
                      <a:pt x="46" y="284"/>
                    </a:lnTo>
                    <a:lnTo>
                      <a:pt x="46" y="279"/>
                    </a:lnTo>
                    <a:lnTo>
                      <a:pt x="50" y="275"/>
                    </a:lnTo>
                    <a:lnTo>
                      <a:pt x="55" y="275"/>
                    </a:lnTo>
                    <a:lnTo>
                      <a:pt x="55" y="270"/>
                    </a:lnTo>
                    <a:lnTo>
                      <a:pt x="59" y="265"/>
                    </a:lnTo>
                    <a:lnTo>
                      <a:pt x="59" y="261"/>
                    </a:lnTo>
                    <a:lnTo>
                      <a:pt x="59" y="256"/>
                    </a:lnTo>
                    <a:lnTo>
                      <a:pt x="59" y="252"/>
                    </a:lnTo>
                    <a:lnTo>
                      <a:pt x="59" y="252"/>
                    </a:lnTo>
                    <a:lnTo>
                      <a:pt x="64" y="247"/>
                    </a:lnTo>
                    <a:lnTo>
                      <a:pt x="69" y="233"/>
                    </a:lnTo>
                    <a:lnTo>
                      <a:pt x="73" y="229"/>
                    </a:lnTo>
                    <a:lnTo>
                      <a:pt x="78" y="229"/>
                    </a:lnTo>
                    <a:lnTo>
                      <a:pt x="82" y="224"/>
                    </a:lnTo>
                    <a:lnTo>
                      <a:pt x="82" y="220"/>
                    </a:lnTo>
                    <a:lnTo>
                      <a:pt x="82" y="215"/>
                    </a:lnTo>
                    <a:lnTo>
                      <a:pt x="82" y="211"/>
                    </a:lnTo>
                    <a:lnTo>
                      <a:pt x="87" y="206"/>
                    </a:lnTo>
                    <a:lnTo>
                      <a:pt x="87" y="206"/>
                    </a:lnTo>
                    <a:lnTo>
                      <a:pt x="91" y="201"/>
                    </a:lnTo>
                    <a:lnTo>
                      <a:pt x="96" y="192"/>
                    </a:lnTo>
                    <a:lnTo>
                      <a:pt x="96" y="188"/>
                    </a:lnTo>
                    <a:lnTo>
                      <a:pt x="101" y="183"/>
                    </a:lnTo>
                    <a:lnTo>
                      <a:pt x="105" y="183"/>
                    </a:lnTo>
                    <a:lnTo>
                      <a:pt x="105" y="183"/>
                    </a:lnTo>
                    <a:lnTo>
                      <a:pt x="105" y="179"/>
                    </a:lnTo>
                    <a:lnTo>
                      <a:pt x="105" y="165"/>
                    </a:lnTo>
                    <a:lnTo>
                      <a:pt x="105" y="165"/>
                    </a:lnTo>
                    <a:lnTo>
                      <a:pt x="105" y="160"/>
                    </a:lnTo>
                    <a:lnTo>
                      <a:pt x="105" y="156"/>
                    </a:lnTo>
                    <a:lnTo>
                      <a:pt x="105" y="151"/>
                    </a:lnTo>
                    <a:lnTo>
                      <a:pt x="96" y="142"/>
                    </a:lnTo>
                    <a:lnTo>
                      <a:pt x="96" y="142"/>
                    </a:lnTo>
                    <a:lnTo>
                      <a:pt x="91" y="137"/>
                    </a:lnTo>
                    <a:lnTo>
                      <a:pt x="87" y="133"/>
                    </a:lnTo>
                    <a:lnTo>
                      <a:pt x="87" y="128"/>
                    </a:lnTo>
                    <a:lnTo>
                      <a:pt x="91" y="128"/>
                    </a:lnTo>
                    <a:lnTo>
                      <a:pt x="96" y="133"/>
                    </a:lnTo>
                    <a:lnTo>
                      <a:pt x="101" y="133"/>
                    </a:lnTo>
                    <a:lnTo>
                      <a:pt x="101" y="128"/>
                    </a:lnTo>
                    <a:lnTo>
                      <a:pt x="101" y="124"/>
                    </a:lnTo>
                    <a:lnTo>
                      <a:pt x="101" y="119"/>
                    </a:lnTo>
                    <a:lnTo>
                      <a:pt x="101" y="115"/>
                    </a:lnTo>
                    <a:lnTo>
                      <a:pt x="101" y="105"/>
                    </a:lnTo>
                    <a:lnTo>
                      <a:pt x="101" y="96"/>
                    </a:lnTo>
                    <a:lnTo>
                      <a:pt x="101" y="96"/>
                    </a:lnTo>
                    <a:lnTo>
                      <a:pt x="101" y="83"/>
                    </a:lnTo>
                    <a:lnTo>
                      <a:pt x="101" y="73"/>
                    </a:lnTo>
                    <a:lnTo>
                      <a:pt x="101" y="73"/>
                    </a:lnTo>
                    <a:lnTo>
                      <a:pt x="101" y="73"/>
                    </a:lnTo>
                    <a:lnTo>
                      <a:pt x="96" y="69"/>
                    </a:lnTo>
                    <a:lnTo>
                      <a:pt x="96" y="60"/>
                    </a:lnTo>
                    <a:lnTo>
                      <a:pt x="91" y="60"/>
                    </a:lnTo>
                    <a:lnTo>
                      <a:pt x="91" y="55"/>
                    </a:lnTo>
                    <a:lnTo>
                      <a:pt x="87" y="55"/>
                    </a:lnTo>
                    <a:lnTo>
                      <a:pt x="82" y="55"/>
                    </a:lnTo>
                    <a:lnTo>
                      <a:pt x="78" y="51"/>
                    </a:lnTo>
                    <a:lnTo>
                      <a:pt x="69" y="51"/>
                    </a:lnTo>
                    <a:lnTo>
                      <a:pt x="64" y="51"/>
                    </a:lnTo>
                    <a:lnTo>
                      <a:pt x="59" y="46"/>
                    </a:lnTo>
                    <a:lnTo>
                      <a:pt x="55" y="41"/>
                    </a:lnTo>
                    <a:lnTo>
                      <a:pt x="50" y="37"/>
                    </a:lnTo>
                    <a:lnTo>
                      <a:pt x="46" y="37"/>
                    </a:lnTo>
                    <a:lnTo>
                      <a:pt x="41" y="32"/>
                    </a:lnTo>
                    <a:lnTo>
                      <a:pt x="41" y="32"/>
                    </a:lnTo>
                    <a:lnTo>
                      <a:pt x="41" y="28"/>
                    </a:lnTo>
                    <a:lnTo>
                      <a:pt x="46" y="19"/>
                    </a:lnTo>
                    <a:lnTo>
                      <a:pt x="50" y="9"/>
                    </a:lnTo>
                    <a:lnTo>
                      <a:pt x="59" y="9"/>
                    </a:lnTo>
                    <a:lnTo>
                      <a:pt x="59" y="9"/>
                    </a:lnTo>
                    <a:lnTo>
                      <a:pt x="69" y="9"/>
                    </a:lnTo>
                    <a:lnTo>
                      <a:pt x="73" y="9"/>
                    </a:lnTo>
                    <a:lnTo>
                      <a:pt x="82" y="5"/>
                    </a:lnTo>
                    <a:lnTo>
                      <a:pt x="82" y="0"/>
                    </a:lnTo>
                    <a:lnTo>
                      <a:pt x="82" y="0"/>
                    </a:lnTo>
                    <a:lnTo>
                      <a:pt x="87" y="0"/>
                    </a:lnTo>
                    <a:lnTo>
                      <a:pt x="87" y="5"/>
                    </a:lnTo>
                    <a:lnTo>
                      <a:pt x="91" y="5"/>
                    </a:lnTo>
                    <a:lnTo>
                      <a:pt x="91" y="9"/>
                    </a:lnTo>
                    <a:lnTo>
                      <a:pt x="96" y="9"/>
                    </a:lnTo>
                    <a:lnTo>
                      <a:pt x="101" y="14"/>
                    </a:lnTo>
                    <a:lnTo>
                      <a:pt x="105" y="14"/>
                    </a:lnTo>
                    <a:lnTo>
                      <a:pt x="110" y="9"/>
                    </a:lnTo>
                    <a:lnTo>
                      <a:pt x="114" y="9"/>
                    </a:lnTo>
                    <a:lnTo>
                      <a:pt x="119" y="9"/>
                    </a:lnTo>
                    <a:lnTo>
                      <a:pt x="123" y="9"/>
                    </a:lnTo>
                    <a:lnTo>
                      <a:pt x="128" y="9"/>
                    </a:lnTo>
                    <a:lnTo>
                      <a:pt x="137" y="9"/>
                    </a:lnTo>
                    <a:lnTo>
                      <a:pt x="137" y="14"/>
                    </a:lnTo>
                    <a:lnTo>
                      <a:pt x="142" y="14"/>
                    </a:lnTo>
                    <a:lnTo>
                      <a:pt x="137" y="19"/>
                    </a:lnTo>
                    <a:lnTo>
                      <a:pt x="137" y="23"/>
                    </a:lnTo>
                    <a:lnTo>
                      <a:pt x="133" y="28"/>
                    </a:lnTo>
                    <a:lnTo>
                      <a:pt x="128" y="32"/>
                    </a:lnTo>
                    <a:lnTo>
                      <a:pt x="128" y="37"/>
                    </a:lnTo>
                    <a:lnTo>
                      <a:pt x="123" y="46"/>
                    </a:lnTo>
                    <a:lnTo>
                      <a:pt x="123" y="51"/>
                    </a:lnTo>
                    <a:lnTo>
                      <a:pt x="123" y="55"/>
                    </a:lnTo>
                    <a:lnTo>
                      <a:pt x="123" y="64"/>
                    </a:lnTo>
                    <a:lnTo>
                      <a:pt x="123" y="69"/>
                    </a:lnTo>
                    <a:lnTo>
                      <a:pt x="123" y="69"/>
                    </a:lnTo>
                    <a:lnTo>
                      <a:pt x="133" y="73"/>
                    </a:lnTo>
                    <a:lnTo>
                      <a:pt x="137" y="73"/>
                    </a:lnTo>
                    <a:lnTo>
                      <a:pt x="142" y="73"/>
                    </a:lnTo>
                    <a:lnTo>
                      <a:pt x="151" y="73"/>
                    </a:lnTo>
                    <a:lnTo>
                      <a:pt x="160" y="73"/>
                    </a:lnTo>
                    <a:lnTo>
                      <a:pt x="165" y="73"/>
                    </a:lnTo>
                    <a:lnTo>
                      <a:pt x="169" y="73"/>
                    </a:lnTo>
                    <a:lnTo>
                      <a:pt x="178" y="73"/>
                    </a:lnTo>
                    <a:close/>
                  </a:path>
                </a:pathLst>
              </a:custGeom>
              <a:solidFill>
                <a:srgbClr val="006301"/>
              </a:solidFill>
              <a:ln w="9525" cap="flat" cmpd="sng" algn="ctr">
                <a:solidFill>
                  <a:sysClr val="window" lastClr="FFFFFF"/>
                </a:solidFill>
                <a:prstDash val="solid"/>
              </a:ln>
              <a:effectLst/>
            </p:spPr>
            <p:txBody>
              <a:bodyPr lIns="91440" tIns="0" rIns="0" bIns="18288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Calibri"/>
                    <a:cs typeface="Arial" pitchFamily="34" charset="0"/>
                  </a:rPr>
                  <a:t>Abia</a:t>
                </a:r>
              </a:p>
            </p:txBody>
          </p:sp>
          <p:sp>
            <p:nvSpPr>
              <p:cNvPr id="233" name="Freeform 35">
                <a:extLst>
                  <a:ext uri="{FF2B5EF4-FFF2-40B4-BE49-F238E27FC236}">
                    <a16:creationId xmlns:a16="http://schemas.microsoft.com/office/drawing/2014/main" id="{AF152013-BA73-4732-96EC-1C00CDF1D827}"/>
                  </a:ext>
                </a:extLst>
              </p:cNvPr>
              <p:cNvSpPr>
                <a:spLocks/>
              </p:cNvSpPr>
              <p:nvPr>
                <p:custDataLst>
                  <p:tags r:id="rId50"/>
                </p:custDataLst>
              </p:nvPr>
            </p:nvSpPr>
            <p:spPr bwMode="auto">
              <a:xfrm>
                <a:off x="828946" y="4420944"/>
                <a:ext cx="528821" cy="526547"/>
              </a:xfrm>
              <a:custGeom>
                <a:avLst/>
                <a:gdLst/>
                <a:ahLst/>
                <a:cxnLst>
                  <a:cxn ang="0">
                    <a:pos x="366" y="14"/>
                  </a:cxn>
                  <a:cxn ang="0">
                    <a:pos x="393" y="18"/>
                  </a:cxn>
                  <a:cxn ang="0">
                    <a:pos x="398" y="41"/>
                  </a:cxn>
                  <a:cxn ang="0">
                    <a:pos x="379" y="55"/>
                  </a:cxn>
                  <a:cxn ang="0">
                    <a:pos x="361" y="69"/>
                  </a:cxn>
                  <a:cxn ang="0">
                    <a:pos x="352" y="87"/>
                  </a:cxn>
                  <a:cxn ang="0">
                    <a:pos x="343" y="110"/>
                  </a:cxn>
                  <a:cxn ang="0">
                    <a:pos x="347" y="146"/>
                  </a:cxn>
                  <a:cxn ang="0">
                    <a:pos x="343" y="183"/>
                  </a:cxn>
                  <a:cxn ang="0">
                    <a:pos x="352" y="238"/>
                  </a:cxn>
                  <a:cxn ang="0">
                    <a:pos x="356" y="261"/>
                  </a:cxn>
                  <a:cxn ang="0">
                    <a:pos x="334" y="274"/>
                  </a:cxn>
                  <a:cxn ang="0">
                    <a:pos x="311" y="284"/>
                  </a:cxn>
                  <a:cxn ang="0">
                    <a:pos x="311" y="320"/>
                  </a:cxn>
                  <a:cxn ang="0">
                    <a:pos x="283" y="329"/>
                  </a:cxn>
                  <a:cxn ang="0">
                    <a:pos x="265" y="348"/>
                  </a:cxn>
                  <a:cxn ang="0">
                    <a:pos x="238" y="366"/>
                  </a:cxn>
                  <a:cxn ang="0">
                    <a:pos x="219" y="393"/>
                  </a:cxn>
                  <a:cxn ang="0">
                    <a:pos x="192" y="416"/>
                  </a:cxn>
                  <a:cxn ang="0">
                    <a:pos x="142" y="425"/>
                  </a:cxn>
                  <a:cxn ang="0">
                    <a:pos x="119" y="402"/>
                  </a:cxn>
                  <a:cxn ang="0">
                    <a:pos x="100" y="389"/>
                  </a:cxn>
                  <a:cxn ang="0">
                    <a:pos x="73" y="402"/>
                  </a:cxn>
                  <a:cxn ang="0">
                    <a:pos x="55" y="389"/>
                  </a:cxn>
                  <a:cxn ang="0">
                    <a:pos x="55" y="352"/>
                  </a:cxn>
                  <a:cxn ang="0">
                    <a:pos x="36" y="306"/>
                  </a:cxn>
                  <a:cxn ang="0">
                    <a:pos x="41" y="284"/>
                  </a:cxn>
                  <a:cxn ang="0">
                    <a:pos x="36" y="252"/>
                  </a:cxn>
                  <a:cxn ang="0">
                    <a:pos x="46" y="224"/>
                  </a:cxn>
                  <a:cxn ang="0">
                    <a:pos x="32" y="201"/>
                  </a:cxn>
                  <a:cxn ang="0">
                    <a:pos x="9" y="174"/>
                  </a:cxn>
                  <a:cxn ang="0">
                    <a:pos x="0" y="156"/>
                  </a:cxn>
                  <a:cxn ang="0">
                    <a:pos x="9" y="133"/>
                  </a:cxn>
                  <a:cxn ang="0">
                    <a:pos x="14" y="101"/>
                  </a:cxn>
                  <a:cxn ang="0">
                    <a:pos x="23" y="87"/>
                  </a:cxn>
                  <a:cxn ang="0">
                    <a:pos x="46" y="101"/>
                  </a:cxn>
                  <a:cxn ang="0">
                    <a:pos x="68" y="87"/>
                  </a:cxn>
                  <a:cxn ang="0">
                    <a:pos x="68" y="69"/>
                  </a:cxn>
                  <a:cxn ang="0">
                    <a:pos x="91" y="55"/>
                  </a:cxn>
                  <a:cxn ang="0">
                    <a:pos x="114" y="64"/>
                  </a:cxn>
                  <a:cxn ang="0">
                    <a:pos x="123" y="73"/>
                  </a:cxn>
                  <a:cxn ang="0">
                    <a:pos x="132" y="96"/>
                  </a:cxn>
                  <a:cxn ang="0">
                    <a:pos x="151" y="82"/>
                  </a:cxn>
                  <a:cxn ang="0">
                    <a:pos x="155" y="105"/>
                  </a:cxn>
                  <a:cxn ang="0">
                    <a:pos x="178" y="105"/>
                  </a:cxn>
                  <a:cxn ang="0">
                    <a:pos x="187" y="60"/>
                  </a:cxn>
                  <a:cxn ang="0">
                    <a:pos x="201" y="32"/>
                  </a:cxn>
                  <a:cxn ang="0">
                    <a:pos x="219" y="18"/>
                  </a:cxn>
                  <a:cxn ang="0">
                    <a:pos x="247" y="14"/>
                  </a:cxn>
                  <a:cxn ang="0">
                    <a:pos x="270" y="18"/>
                  </a:cxn>
                  <a:cxn ang="0">
                    <a:pos x="297" y="14"/>
                  </a:cxn>
                  <a:cxn ang="0">
                    <a:pos x="315" y="14"/>
                  </a:cxn>
                  <a:cxn ang="0">
                    <a:pos x="338" y="0"/>
                  </a:cxn>
                </a:cxnLst>
                <a:rect l="0" t="0" r="r" b="b"/>
                <a:pathLst>
                  <a:path w="398" h="425">
                    <a:moveTo>
                      <a:pt x="352" y="0"/>
                    </a:moveTo>
                    <a:lnTo>
                      <a:pt x="352" y="5"/>
                    </a:lnTo>
                    <a:lnTo>
                      <a:pt x="356" y="5"/>
                    </a:lnTo>
                    <a:lnTo>
                      <a:pt x="361" y="5"/>
                    </a:lnTo>
                    <a:lnTo>
                      <a:pt x="366" y="9"/>
                    </a:lnTo>
                    <a:lnTo>
                      <a:pt x="366" y="14"/>
                    </a:lnTo>
                    <a:lnTo>
                      <a:pt x="370" y="18"/>
                    </a:lnTo>
                    <a:lnTo>
                      <a:pt x="375" y="18"/>
                    </a:lnTo>
                    <a:lnTo>
                      <a:pt x="375" y="23"/>
                    </a:lnTo>
                    <a:lnTo>
                      <a:pt x="375" y="23"/>
                    </a:lnTo>
                    <a:lnTo>
                      <a:pt x="379" y="23"/>
                    </a:lnTo>
                    <a:lnTo>
                      <a:pt x="393" y="18"/>
                    </a:lnTo>
                    <a:lnTo>
                      <a:pt x="398" y="18"/>
                    </a:lnTo>
                    <a:lnTo>
                      <a:pt x="398" y="18"/>
                    </a:lnTo>
                    <a:lnTo>
                      <a:pt x="398" y="32"/>
                    </a:lnTo>
                    <a:lnTo>
                      <a:pt x="398" y="32"/>
                    </a:lnTo>
                    <a:lnTo>
                      <a:pt x="398" y="37"/>
                    </a:lnTo>
                    <a:lnTo>
                      <a:pt x="398" y="41"/>
                    </a:lnTo>
                    <a:lnTo>
                      <a:pt x="388" y="46"/>
                    </a:lnTo>
                    <a:lnTo>
                      <a:pt x="388" y="50"/>
                    </a:lnTo>
                    <a:lnTo>
                      <a:pt x="384" y="50"/>
                    </a:lnTo>
                    <a:lnTo>
                      <a:pt x="384" y="55"/>
                    </a:lnTo>
                    <a:lnTo>
                      <a:pt x="379" y="55"/>
                    </a:lnTo>
                    <a:lnTo>
                      <a:pt x="379" y="55"/>
                    </a:lnTo>
                    <a:lnTo>
                      <a:pt x="375" y="60"/>
                    </a:lnTo>
                    <a:lnTo>
                      <a:pt x="370" y="64"/>
                    </a:lnTo>
                    <a:lnTo>
                      <a:pt x="366" y="64"/>
                    </a:lnTo>
                    <a:lnTo>
                      <a:pt x="366" y="64"/>
                    </a:lnTo>
                    <a:lnTo>
                      <a:pt x="361" y="64"/>
                    </a:lnTo>
                    <a:lnTo>
                      <a:pt x="361" y="69"/>
                    </a:lnTo>
                    <a:lnTo>
                      <a:pt x="352" y="73"/>
                    </a:lnTo>
                    <a:lnTo>
                      <a:pt x="352" y="73"/>
                    </a:lnTo>
                    <a:lnTo>
                      <a:pt x="352" y="78"/>
                    </a:lnTo>
                    <a:lnTo>
                      <a:pt x="352" y="78"/>
                    </a:lnTo>
                    <a:lnTo>
                      <a:pt x="352" y="82"/>
                    </a:lnTo>
                    <a:lnTo>
                      <a:pt x="352" y="87"/>
                    </a:lnTo>
                    <a:lnTo>
                      <a:pt x="347" y="87"/>
                    </a:lnTo>
                    <a:lnTo>
                      <a:pt x="347" y="87"/>
                    </a:lnTo>
                    <a:lnTo>
                      <a:pt x="343" y="96"/>
                    </a:lnTo>
                    <a:lnTo>
                      <a:pt x="343" y="101"/>
                    </a:lnTo>
                    <a:lnTo>
                      <a:pt x="338" y="105"/>
                    </a:lnTo>
                    <a:lnTo>
                      <a:pt x="343" y="110"/>
                    </a:lnTo>
                    <a:lnTo>
                      <a:pt x="343" y="114"/>
                    </a:lnTo>
                    <a:lnTo>
                      <a:pt x="347" y="124"/>
                    </a:lnTo>
                    <a:lnTo>
                      <a:pt x="347" y="128"/>
                    </a:lnTo>
                    <a:lnTo>
                      <a:pt x="347" y="128"/>
                    </a:lnTo>
                    <a:lnTo>
                      <a:pt x="347" y="142"/>
                    </a:lnTo>
                    <a:lnTo>
                      <a:pt x="347" y="146"/>
                    </a:lnTo>
                    <a:lnTo>
                      <a:pt x="347" y="151"/>
                    </a:lnTo>
                    <a:lnTo>
                      <a:pt x="343" y="151"/>
                    </a:lnTo>
                    <a:lnTo>
                      <a:pt x="343" y="156"/>
                    </a:lnTo>
                    <a:lnTo>
                      <a:pt x="343" y="169"/>
                    </a:lnTo>
                    <a:lnTo>
                      <a:pt x="343" y="174"/>
                    </a:lnTo>
                    <a:lnTo>
                      <a:pt x="343" y="183"/>
                    </a:lnTo>
                    <a:lnTo>
                      <a:pt x="343" y="197"/>
                    </a:lnTo>
                    <a:lnTo>
                      <a:pt x="347" y="201"/>
                    </a:lnTo>
                    <a:lnTo>
                      <a:pt x="347" y="210"/>
                    </a:lnTo>
                    <a:lnTo>
                      <a:pt x="347" y="215"/>
                    </a:lnTo>
                    <a:lnTo>
                      <a:pt x="347" y="224"/>
                    </a:lnTo>
                    <a:lnTo>
                      <a:pt x="352" y="238"/>
                    </a:lnTo>
                    <a:lnTo>
                      <a:pt x="352" y="238"/>
                    </a:lnTo>
                    <a:lnTo>
                      <a:pt x="352" y="242"/>
                    </a:lnTo>
                    <a:lnTo>
                      <a:pt x="352" y="256"/>
                    </a:lnTo>
                    <a:lnTo>
                      <a:pt x="356" y="256"/>
                    </a:lnTo>
                    <a:lnTo>
                      <a:pt x="356" y="261"/>
                    </a:lnTo>
                    <a:lnTo>
                      <a:pt x="356" y="261"/>
                    </a:lnTo>
                    <a:lnTo>
                      <a:pt x="356" y="265"/>
                    </a:lnTo>
                    <a:lnTo>
                      <a:pt x="356" y="270"/>
                    </a:lnTo>
                    <a:lnTo>
                      <a:pt x="352" y="270"/>
                    </a:lnTo>
                    <a:lnTo>
                      <a:pt x="347" y="274"/>
                    </a:lnTo>
                    <a:lnTo>
                      <a:pt x="343" y="274"/>
                    </a:lnTo>
                    <a:lnTo>
                      <a:pt x="334" y="274"/>
                    </a:lnTo>
                    <a:lnTo>
                      <a:pt x="329" y="274"/>
                    </a:lnTo>
                    <a:lnTo>
                      <a:pt x="324" y="274"/>
                    </a:lnTo>
                    <a:lnTo>
                      <a:pt x="320" y="274"/>
                    </a:lnTo>
                    <a:lnTo>
                      <a:pt x="315" y="274"/>
                    </a:lnTo>
                    <a:lnTo>
                      <a:pt x="311" y="279"/>
                    </a:lnTo>
                    <a:lnTo>
                      <a:pt x="311" y="284"/>
                    </a:lnTo>
                    <a:lnTo>
                      <a:pt x="311" y="284"/>
                    </a:lnTo>
                    <a:lnTo>
                      <a:pt x="311" y="293"/>
                    </a:lnTo>
                    <a:lnTo>
                      <a:pt x="311" y="302"/>
                    </a:lnTo>
                    <a:lnTo>
                      <a:pt x="311" y="306"/>
                    </a:lnTo>
                    <a:lnTo>
                      <a:pt x="311" y="311"/>
                    </a:lnTo>
                    <a:lnTo>
                      <a:pt x="311" y="320"/>
                    </a:lnTo>
                    <a:lnTo>
                      <a:pt x="311" y="325"/>
                    </a:lnTo>
                    <a:lnTo>
                      <a:pt x="311" y="325"/>
                    </a:lnTo>
                    <a:lnTo>
                      <a:pt x="306" y="325"/>
                    </a:lnTo>
                    <a:lnTo>
                      <a:pt x="302" y="325"/>
                    </a:lnTo>
                    <a:lnTo>
                      <a:pt x="292" y="329"/>
                    </a:lnTo>
                    <a:lnTo>
                      <a:pt x="283" y="329"/>
                    </a:lnTo>
                    <a:lnTo>
                      <a:pt x="279" y="329"/>
                    </a:lnTo>
                    <a:lnTo>
                      <a:pt x="274" y="334"/>
                    </a:lnTo>
                    <a:lnTo>
                      <a:pt x="270" y="338"/>
                    </a:lnTo>
                    <a:lnTo>
                      <a:pt x="265" y="338"/>
                    </a:lnTo>
                    <a:lnTo>
                      <a:pt x="265" y="343"/>
                    </a:lnTo>
                    <a:lnTo>
                      <a:pt x="265" y="348"/>
                    </a:lnTo>
                    <a:lnTo>
                      <a:pt x="260" y="348"/>
                    </a:lnTo>
                    <a:lnTo>
                      <a:pt x="256" y="348"/>
                    </a:lnTo>
                    <a:lnTo>
                      <a:pt x="251" y="352"/>
                    </a:lnTo>
                    <a:lnTo>
                      <a:pt x="242" y="357"/>
                    </a:lnTo>
                    <a:lnTo>
                      <a:pt x="242" y="361"/>
                    </a:lnTo>
                    <a:lnTo>
                      <a:pt x="238" y="366"/>
                    </a:lnTo>
                    <a:lnTo>
                      <a:pt x="228" y="370"/>
                    </a:lnTo>
                    <a:lnTo>
                      <a:pt x="224" y="375"/>
                    </a:lnTo>
                    <a:lnTo>
                      <a:pt x="224" y="384"/>
                    </a:lnTo>
                    <a:lnTo>
                      <a:pt x="224" y="389"/>
                    </a:lnTo>
                    <a:lnTo>
                      <a:pt x="219" y="393"/>
                    </a:lnTo>
                    <a:lnTo>
                      <a:pt x="219" y="393"/>
                    </a:lnTo>
                    <a:lnTo>
                      <a:pt x="215" y="398"/>
                    </a:lnTo>
                    <a:lnTo>
                      <a:pt x="210" y="412"/>
                    </a:lnTo>
                    <a:lnTo>
                      <a:pt x="206" y="416"/>
                    </a:lnTo>
                    <a:lnTo>
                      <a:pt x="201" y="416"/>
                    </a:lnTo>
                    <a:lnTo>
                      <a:pt x="196" y="416"/>
                    </a:lnTo>
                    <a:lnTo>
                      <a:pt x="192" y="416"/>
                    </a:lnTo>
                    <a:lnTo>
                      <a:pt x="178" y="416"/>
                    </a:lnTo>
                    <a:lnTo>
                      <a:pt x="174" y="416"/>
                    </a:lnTo>
                    <a:lnTo>
                      <a:pt x="169" y="416"/>
                    </a:lnTo>
                    <a:lnTo>
                      <a:pt x="164" y="421"/>
                    </a:lnTo>
                    <a:lnTo>
                      <a:pt x="151" y="425"/>
                    </a:lnTo>
                    <a:lnTo>
                      <a:pt x="142" y="425"/>
                    </a:lnTo>
                    <a:lnTo>
                      <a:pt x="137" y="425"/>
                    </a:lnTo>
                    <a:lnTo>
                      <a:pt x="132" y="421"/>
                    </a:lnTo>
                    <a:lnTo>
                      <a:pt x="128" y="416"/>
                    </a:lnTo>
                    <a:lnTo>
                      <a:pt x="123" y="416"/>
                    </a:lnTo>
                    <a:lnTo>
                      <a:pt x="123" y="412"/>
                    </a:lnTo>
                    <a:lnTo>
                      <a:pt x="119" y="402"/>
                    </a:lnTo>
                    <a:lnTo>
                      <a:pt x="119" y="398"/>
                    </a:lnTo>
                    <a:lnTo>
                      <a:pt x="114" y="393"/>
                    </a:lnTo>
                    <a:lnTo>
                      <a:pt x="114" y="393"/>
                    </a:lnTo>
                    <a:lnTo>
                      <a:pt x="114" y="393"/>
                    </a:lnTo>
                    <a:lnTo>
                      <a:pt x="110" y="389"/>
                    </a:lnTo>
                    <a:lnTo>
                      <a:pt x="100" y="389"/>
                    </a:lnTo>
                    <a:lnTo>
                      <a:pt x="96" y="393"/>
                    </a:lnTo>
                    <a:lnTo>
                      <a:pt x="91" y="393"/>
                    </a:lnTo>
                    <a:lnTo>
                      <a:pt x="87" y="398"/>
                    </a:lnTo>
                    <a:lnTo>
                      <a:pt x="82" y="398"/>
                    </a:lnTo>
                    <a:lnTo>
                      <a:pt x="78" y="402"/>
                    </a:lnTo>
                    <a:lnTo>
                      <a:pt x="73" y="402"/>
                    </a:lnTo>
                    <a:lnTo>
                      <a:pt x="68" y="402"/>
                    </a:lnTo>
                    <a:lnTo>
                      <a:pt x="68" y="398"/>
                    </a:lnTo>
                    <a:lnTo>
                      <a:pt x="64" y="393"/>
                    </a:lnTo>
                    <a:lnTo>
                      <a:pt x="59" y="393"/>
                    </a:lnTo>
                    <a:lnTo>
                      <a:pt x="59" y="389"/>
                    </a:lnTo>
                    <a:lnTo>
                      <a:pt x="55" y="389"/>
                    </a:lnTo>
                    <a:lnTo>
                      <a:pt x="55" y="375"/>
                    </a:lnTo>
                    <a:lnTo>
                      <a:pt x="50" y="370"/>
                    </a:lnTo>
                    <a:lnTo>
                      <a:pt x="46" y="366"/>
                    </a:lnTo>
                    <a:lnTo>
                      <a:pt x="50" y="361"/>
                    </a:lnTo>
                    <a:lnTo>
                      <a:pt x="50" y="357"/>
                    </a:lnTo>
                    <a:lnTo>
                      <a:pt x="55" y="352"/>
                    </a:lnTo>
                    <a:lnTo>
                      <a:pt x="55" y="348"/>
                    </a:lnTo>
                    <a:lnTo>
                      <a:pt x="50" y="338"/>
                    </a:lnTo>
                    <a:lnTo>
                      <a:pt x="50" y="334"/>
                    </a:lnTo>
                    <a:lnTo>
                      <a:pt x="46" y="325"/>
                    </a:lnTo>
                    <a:lnTo>
                      <a:pt x="41" y="316"/>
                    </a:lnTo>
                    <a:lnTo>
                      <a:pt x="36" y="306"/>
                    </a:lnTo>
                    <a:lnTo>
                      <a:pt x="36" y="306"/>
                    </a:lnTo>
                    <a:lnTo>
                      <a:pt x="36" y="302"/>
                    </a:lnTo>
                    <a:lnTo>
                      <a:pt x="36" y="293"/>
                    </a:lnTo>
                    <a:lnTo>
                      <a:pt x="36" y="288"/>
                    </a:lnTo>
                    <a:lnTo>
                      <a:pt x="36" y="288"/>
                    </a:lnTo>
                    <a:lnTo>
                      <a:pt x="41" y="284"/>
                    </a:lnTo>
                    <a:lnTo>
                      <a:pt x="36" y="284"/>
                    </a:lnTo>
                    <a:lnTo>
                      <a:pt x="32" y="270"/>
                    </a:lnTo>
                    <a:lnTo>
                      <a:pt x="32" y="261"/>
                    </a:lnTo>
                    <a:lnTo>
                      <a:pt x="32" y="261"/>
                    </a:lnTo>
                    <a:lnTo>
                      <a:pt x="36" y="256"/>
                    </a:lnTo>
                    <a:lnTo>
                      <a:pt x="36" y="252"/>
                    </a:lnTo>
                    <a:lnTo>
                      <a:pt x="41" y="252"/>
                    </a:lnTo>
                    <a:lnTo>
                      <a:pt x="41" y="247"/>
                    </a:lnTo>
                    <a:lnTo>
                      <a:pt x="41" y="242"/>
                    </a:lnTo>
                    <a:lnTo>
                      <a:pt x="41" y="238"/>
                    </a:lnTo>
                    <a:lnTo>
                      <a:pt x="46" y="229"/>
                    </a:lnTo>
                    <a:lnTo>
                      <a:pt x="46" y="224"/>
                    </a:lnTo>
                    <a:lnTo>
                      <a:pt x="46" y="220"/>
                    </a:lnTo>
                    <a:lnTo>
                      <a:pt x="41" y="215"/>
                    </a:lnTo>
                    <a:lnTo>
                      <a:pt x="36" y="215"/>
                    </a:lnTo>
                    <a:lnTo>
                      <a:pt x="36" y="210"/>
                    </a:lnTo>
                    <a:lnTo>
                      <a:pt x="32" y="206"/>
                    </a:lnTo>
                    <a:lnTo>
                      <a:pt x="32" y="201"/>
                    </a:lnTo>
                    <a:lnTo>
                      <a:pt x="27" y="197"/>
                    </a:lnTo>
                    <a:lnTo>
                      <a:pt x="27" y="197"/>
                    </a:lnTo>
                    <a:lnTo>
                      <a:pt x="23" y="192"/>
                    </a:lnTo>
                    <a:lnTo>
                      <a:pt x="23" y="188"/>
                    </a:lnTo>
                    <a:lnTo>
                      <a:pt x="18" y="183"/>
                    </a:lnTo>
                    <a:lnTo>
                      <a:pt x="9" y="174"/>
                    </a:lnTo>
                    <a:lnTo>
                      <a:pt x="4" y="174"/>
                    </a:lnTo>
                    <a:lnTo>
                      <a:pt x="4" y="174"/>
                    </a:lnTo>
                    <a:lnTo>
                      <a:pt x="0" y="169"/>
                    </a:lnTo>
                    <a:lnTo>
                      <a:pt x="0" y="165"/>
                    </a:lnTo>
                    <a:lnTo>
                      <a:pt x="0" y="160"/>
                    </a:lnTo>
                    <a:lnTo>
                      <a:pt x="0" y="156"/>
                    </a:lnTo>
                    <a:lnTo>
                      <a:pt x="4" y="151"/>
                    </a:lnTo>
                    <a:lnTo>
                      <a:pt x="4" y="151"/>
                    </a:lnTo>
                    <a:lnTo>
                      <a:pt x="4" y="146"/>
                    </a:lnTo>
                    <a:lnTo>
                      <a:pt x="9" y="142"/>
                    </a:lnTo>
                    <a:lnTo>
                      <a:pt x="9" y="137"/>
                    </a:lnTo>
                    <a:lnTo>
                      <a:pt x="9" y="133"/>
                    </a:lnTo>
                    <a:lnTo>
                      <a:pt x="9" y="128"/>
                    </a:lnTo>
                    <a:lnTo>
                      <a:pt x="9" y="128"/>
                    </a:lnTo>
                    <a:lnTo>
                      <a:pt x="9" y="119"/>
                    </a:lnTo>
                    <a:lnTo>
                      <a:pt x="9" y="114"/>
                    </a:lnTo>
                    <a:lnTo>
                      <a:pt x="9" y="110"/>
                    </a:lnTo>
                    <a:lnTo>
                      <a:pt x="14" y="101"/>
                    </a:lnTo>
                    <a:lnTo>
                      <a:pt x="14" y="96"/>
                    </a:lnTo>
                    <a:lnTo>
                      <a:pt x="14" y="92"/>
                    </a:lnTo>
                    <a:lnTo>
                      <a:pt x="14" y="87"/>
                    </a:lnTo>
                    <a:lnTo>
                      <a:pt x="18" y="87"/>
                    </a:lnTo>
                    <a:lnTo>
                      <a:pt x="23" y="87"/>
                    </a:lnTo>
                    <a:lnTo>
                      <a:pt x="23" y="87"/>
                    </a:lnTo>
                    <a:lnTo>
                      <a:pt x="27" y="92"/>
                    </a:lnTo>
                    <a:lnTo>
                      <a:pt x="27" y="96"/>
                    </a:lnTo>
                    <a:lnTo>
                      <a:pt x="32" y="101"/>
                    </a:lnTo>
                    <a:lnTo>
                      <a:pt x="36" y="101"/>
                    </a:lnTo>
                    <a:lnTo>
                      <a:pt x="41" y="101"/>
                    </a:lnTo>
                    <a:lnTo>
                      <a:pt x="46" y="101"/>
                    </a:lnTo>
                    <a:lnTo>
                      <a:pt x="50" y="96"/>
                    </a:lnTo>
                    <a:lnTo>
                      <a:pt x="55" y="96"/>
                    </a:lnTo>
                    <a:lnTo>
                      <a:pt x="59" y="96"/>
                    </a:lnTo>
                    <a:lnTo>
                      <a:pt x="64" y="92"/>
                    </a:lnTo>
                    <a:lnTo>
                      <a:pt x="68" y="87"/>
                    </a:lnTo>
                    <a:lnTo>
                      <a:pt x="68" y="87"/>
                    </a:lnTo>
                    <a:lnTo>
                      <a:pt x="64" y="87"/>
                    </a:lnTo>
                    <a:lnTo>
                      <a:pt x="64" y="82"/>
                    </a:lnTo>
                    <a:lnTo>
                      <a:pt x="64" y="78"/>
                    </a:lnTo>
                    <a:lnTo>
                      <a:pt x="68" y="78"/>
                    </a:lnTo>
                    <a:lnTo>
                      <a:pt x="68" y="73"/>
                    </a:lnTo>
                    <a:lnTo>
                      <a:pt x="68" y="69"/>
                    </a:lnTo>
                    <a:lnTo>
                      <a:pt x="73" y="69"/>
                    </a:lnTo>
                    <a:lnTo>
                      <a:pt x="78" y="64"/>
                    </a:lnTo>
                    <a:lnTo>
                      <a:pt x="78" y="64"/>
                    </a:lnTo>
                    <a:lnTo>
                      <a:pt x="82" y="60"/>
                    </a:lnTo>
                    <a:lnTo>
                      <a:pt x="87" y="60"/>
                    </a:lnTo>
                    <a:lnTo>
                      <a:pt x="91" y="55"/>
                    </a:lnTo>
                    <a:lnTo>
                      <a:pt x="91" y="55"/>
                    </a:lnTo>
                    <a:lnTo>
                      <a:pt x="96" y="55"/>
                    </a:lnTo>
                    <a:lnTo>
                      <a:pt x="100" y="60"/>
                    </a:lnTo>
                    <a:lnTo>
                      <a:pt x="105" y="64"/>
                    </a:lnTo>
                    <a:lnTo>
                      <a:pt x="110" y="64"/>
                    </a:lnTo>
                    <a:lnTo>
                      <a:pt x="114" y="64"/>
                    </a:lnTo>
                    <a:lnTo>
                      <a:pt x="114" y="64"/>
                    </a:lnTo>
                    <a:lnTo>
                      <a:pt x="114" y="64"/>
                    </a:lnTo>
                    <a:lnTo>
                      <a:pt x="114" y="64"/>
                    </a:lnTo>
                    <a:lnTo>
                      <a:pt x="119" y="64"/>
                    </a:lnTo>
                    <a:lnTo>
                      <a:pt x="119" y="69"/>
                    </a:lnTo>
                    <a:lnTo>
                      <a:pt x="123" y="73"/>
                    </a:lnTo>
                    <a:lnTo>
                      <a:pt x="123" y="78"/>
                    </a:lnTo>
                    <a:lnTo>
                      <a:pt x="123" y="82"/>
                    </a:lnTo>
                    <a:lnTo>
                      <a:pt x="128" y="87"/>
                    </a:lnTo>
                    <a:lnTo>
                      <a:pt x="128" y="92"/>
                    </a:lnTo>
                    <a:lnTo>
                      <a:pt x="128" y="96"/>
                    </a:lnTo>
                    <a:lnTo>
                      <a:pt x="132" y="96"/>
                    </a:lnTo>
                    <a:lnTo>
                      <a:pt x="132" y="92"/>
                    </a:lnTo>
                    <a:lnTo>
                      <a:pt x="132" y="87"/>
                    </a:lnTo>
                    <a:lnTo>
                      <a:pt x="137" y="87"/>
                    </a:lnTo>
                    <a:lnTo>
                      <a:pt x="142" y="82"/>
                    </a:lnTo>
                    <a:lnTo>
                      <a:pt x="146" y="82"/>
                    </a:lnTo>
                    <a:lnTo>
                      <a:pt x="151" y="82"/>
                    </a:lnTo>
                    <a:lnTo>
                      <a:pt x="151" y="87"/>
                    </a:lnTo>
                    <a:lnTo>
                      <a:pt x="151" y="87"/>
                    </a:lnTo>
                    <a:lnTo>
                      <a:pt x="155" y="96"/>
                    </a:lnTo>
                    <a:lnTo>
                      <a:pt x="155" y="101"/>
                    </a:lnTo>
                    <a:lnTo>
                      <a:pt x="155" y="105"/>
                    </a:lnTo>
                    <a:lnTo>
                      <a:pt x="155" y="105"/>
                    </a:lnTo>
                    <a:lnTo>
                      <a:pt x="164" y="114"/>
                    </a:lnTo>
                    <a:lnTo>
                      <a:pt x="169" y="119"/>
                    </a:lnTo>
                    <a:lnTo>
                      <a:pt x="169" y="119"/>
                    </a:lnTo>
                    <a:lnTo>
                      <a:pt x="174" y="114"/>
                    </a:lnTo>
                    <a:lnTo>
                      <a:pt x="178" y="110"/>
                    </a:lnTo>
                    <a:lnTo>
                      <a:pt x="178" y="105"/>
                    </a:lnTo>
                    <a:lnTo>
                      <a:pt x="187" y="101"/>
                    </a:lnTo>
                    <a:lnTo>
                      <a:pt x="196" y="96"/>
                    </a:lnTo>
                    <a:lnTo>
                      <a:pt x="196" y="87"/>
                    </a:lnTo>
                    <a:lnTo>
                      <a:pt x="196" y="78"/>
                    </a:lnTo>
                    <a:lnTo>
                      <a:pt x="196" y="64"/>
                    </a:lnTo>
                    <a:lnTo>
                      <a:pt x="187" y="60"/>
                    </a:lnTo>
                    <a:lnTo>
                      <a:pt x="187" y="55"/>
                    </a:lnTo>
                    <a:lnTo>
                      <a:pt x="192" y="55"/>
                    </a:lnTo>
                    <a:lnTo>
                      <a:pt x="196" y="50"/>
                    </a:lnTo>
                    <a:lnTo>
                      <a:pt x="201" y="50"/>
                    </a:lnTo>
                    <a:lnTo>
                      <a:pt x="201" y="41"/>
                    </a:lnTo>
                    <a:lnTo>
                      <a:pt x="201" y="32"/>
                    </a:lnTo>
                    <a:lnTo>
                      <a:pt x="201" y="28"/>
                    </a:lnTo>
                    <a:lnTo>
                      <a:pt x="201" y="23"/>
                    </a:lnTo>
                    <a:lnTo>
                      <a:pt x="206" y="18"/>
                    </a:lnTo>
                    <a:lnTo>
                      <a:pt x="210" y="18"/>
                    </a:lnTo>
                    <a:lnTo>
                      <a:pt x="215" y="18"/>
                    </a:lnTo>
                    <a:lnTo>
                      <a:pt x="219" y="18"/>
                    </a:lnTo>
                    <a:lnTo>
                      <a:pt x="224" y="18"/>
                    </a:lnTo>
                    <a:lnTo>
                      <a:pt x="228" y="18"/>
                    </a:lnTo>
                    <a:lnTo>
                      <a:pt x="238" y="18"/>
                    </a:lnTo>
                    <a:lnTo>
                      <a:pt x="242" y="18"/>
                    </a:lnTo>
                    <a:lnTo>
                      <a:pt x="242" y="18"/>
                    </a:lnTo>
                    <a:lnTo>
                      <a:pt x="247" y="14"/>
                    </a:lnTo>
                    <a:lnTo>
                      <a:pt x="251" y="18"/>
                    </a:lnTo>
                    <a:lnTo>
                      <a:pt x="256" y="18"/>
                    </a:lnTo>
                    <a:lnTo>
                      <a:pt x="265" y="18"/>
                    </a:lnTo>
                    <a:lnTo>
                      <a:pt x="265" y="18"/>
                    </a:lnTo>
                    <a:lnTo>
                      <a:pt x="265" y="18"/>
                    </a:lnTo>
                    <a:lnTo>
                      <a:pt x="270" y="18"/>
                    </a:lnTo>
                    <a:lnTo>
                      <a:pt x="283" y="18"/>
                    </a:lnTo>
                    <a:lnTo>
                      <a:pt x="288" y="18"/>
                    </a:lnTo>
                    <a:lnTo>
                      <a:pt x="288" y="14"/>
                    </a:lnTo>
                    <a:lnTo>
                      <a:pt x="288" y="14"/>
                    </a:lnTo>
                    <a:lnTo>
                      <a:pt x="292" y="14"/>
                    </a:lnTo>
                    <a:lnTo>
                      <a:pt x="297" y="14"/>
                    </a:lnTo>
                    <a:lnTo>
                      <a:pt x="297" y="9"/>
                    </a:lnTo>
                    <a:lnTo>
                      <a:pt x="302" y="9"/>
                    </a:lnTo>
                    <a:lnTo>
                      <a:pt x="306" y="9"/>
                    </a:lnTo>
                    <a:lnTo>
                      <a:pt x="311" y="9"/>
                    </a:lnTo>
                    <a:lnTo>
                      <a:pt x="311" y="9"/>
                    </a:lnTo>
                    <a:lnTo>
                      <a:pt x="315" y="14"/>
                    </a:lnTo>
                    <a:lnTo>
                      <a:pt x="320" y="14"/>
                    </a:lnTo>
                    <a:lnTo>
                      <a:pt x="324" y="9"/>
                    </a:lnTo>
                    <a:lnTo>
                      <a:pt x="329" y="9"/>
                    </a:lnTo>
                    <a:lnTo>
                      <a:pt x="334" y="5"/>
                    </a:lnTo>
                    <a:lnTo>
                      <a:pt x="334" y="0"/>
                    </a:lnTo>
                    <a:lnTo>
                      <a:pt x="338" y="0"/>
                    </a:lnTo>
                    <a:lnTo>
                      <a:pt x="343" y="0"/>
                    </a:lnTo>
                    <a:lnTo>
                      <a:pt x="352" y="0"/>
                    </a:lnTo>
                    <a:lnTo>
                      <a:pt x="352" y="0"/>
                    </a:lnTo>
                    <a:close/>
                  </a:path>
                </a:pathLst>
              </a:custGeom>
              <a:grpFill/>
              <a:ln w="9525" cmpd="sng">
                <a:solidFill>
                  <a:sysClr val="window" lastClr="FFFFFF"/>
                </a:solidFill>
                <a:miter lim="800000"/>
                <a:headEnd/>
                <a:tailEnd/>
              </a:ln>
              <a:effectLst/>
            </p:spPr>
            <p:txBody>
              <a:bodyPr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rgbClr val="222223"/>
                    </a:solidFill>
                    <a:effectLst/>
                    <a:uLnTx/>
                    <a:uFillTx/>
                    <a:latin typeface="Calibri"/>
                  </a:rPr>
                  <a:t>Osun</a:t>
                </a:r>
              </a:p>
            </p:txBody>
          </p:sp>
          <p:sp>
            <p:nvSpPr>
              <p:cNvPr id="234" name="Freeform 56">
                <a:extLst>
                  <a:ext uri="{FF2B5EF4-FFF2-40B4-BE49-F238E27FC236}">
                    <a16:creationId xmlns:a16="http://schemas.microsoft.com/office/drawing/2014/main" id="{1F1B6BBE-1C20-4142-8993-CFA0486436C3}"/>
                  </a:ext>
                </a:extLst>
              </p:cNvPr>
              <p:cNvSpPr/>
              <p:nvPr/>
            </p:nvSpPr>
            <p:spPr>
              <a:xfrm>
                <a:off x="580103" y="5092384"/>
                <a:ext cx="324465" cy="79384"/>
              </a:xfrm>
              <a:custGeom>
                <a:avLst/>
                <a:gdLst>
                  <a:gd name="connsiteX0" fmla="*/ 0 w 324465"/>
                  <a:gd name="connsiteY0" fmla="*/ 79384 h 79384"/>
                  <a:gd name="connsiteX1" fmla="*/ 68826 w 324465"/>
                  <a:gd name="connsiteY1" fmla="*/ 69552 h 79384"/>
                  <a:gd name="connsiteX2" fmla="*/ 88491 w 324465"/>
                  <a:gd name="connsiteY2" fmla="*/ 40055 h 79384"/>
                  <a:gd name="connsiteX3" fmla="*/ 147484 w 324465"/>
                  <a:gd name="connsiteY3" fmla="*/ 20391 h 79384"/>
                  <a:gd name="connsiteX4" fmla="*/ 255639 w 324465"/>
                  <a:gd name="connsiteY4" fmla="*/ 726 h 79384"/>
                  <a:gd name="connsiteX5" fmla="*/ 324465 w 324465"/>
                  <a:gd name="connsiteY5" fmla="*/ 726 h 7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465" h="79384">
                    <a:moveTo>
                      <a:pt x="0" y="79384"/>
                    </a:moveTo>
                    <a:cubicBezTo>
                      <a:pt x="22942" y="76107"/>
                      <a:pt x="47648" y="78964"/>
                      <a:pt x="68826" y="69552"/>
                    </a:cubicBezTo>
                    <a:cubicBezTo>
                      <a:pt x="79625" y="64753"/>
                      <a:pt x="78470" y="46318"/>
                      <a:pt x="88491" y="40055"/>
                    </a:cubicBezTo>
                    <a:cubicBezTo>
                      <a:pt x="106068" y="29069"/>
                      <a:pt x="127375" y="25419"/>
                      <a:pt x="147484" y="20391"/>
                    </a:cubicBezTo>
                    <a:cubicBezTo>
                      <a:pt x="190126" y="9730"/>
                      <a:pt x="206312" y="4249"/>
                      <a:pt x="255639" y="726"/>
                    </a:cubicBezTo>
                    <a:cubicBezTo>
                      <a:pt x="278523" y="-909"/>
                      <a:pt x="301523" y="726"/>
                      <a:pt x="324465" y="726"/>
                    </a:cubicBezTo>
                  </a:path>
                </a:pathLst>
              </a:custGeom>
              <a:grpFill/>
              <a:ln w="3175" cap="flat" cmpd="sng" algn="ctr">
                <a:solidFill>
                  <a:srgbClr val="E87722">
                    <a:shade val="50000"/>
                  </a:srgbClr>
                </a:solidFill>
                <a:prstDash val="solid"/>
              </a:ln>
              <a:effectLst/>
            </p:spPr>
            <p:txBody>
              <a:bodyPr rtlCol="0" anchor="ctr"/>
              <a:lstStyle/>
              <a:p>
                <a:pPr marL="0" marR="0" lvl="0" indent="0" algn="ctr" defTabSz="1232345"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235" name="Freeform 67">
                <a:extLst>
                  <a:ext uri="{FF2B5EF4-FFF2-40B4-BE49-F238E27FC236}">
                    <a16:creationId xmlns:a16="http://schemas.microsoft.com/office/drawing/2014/main" id="{1CECF5C1-AA5B-44C8-AB56-6261A523388B}"/>
                  </a:ext>
                </a:extLst>
              </p:cNvPr>
              <p:cNvSpPr>
                <a:spLocks noChangeAspect="1"/>
              </p:cNvSpPr>
              <p:nvPr>
                <p:custDataLst>
                  <p:tags r:id="rId51"/>
                </p:custDataLst>
              </p:nvPr>
            </p:nvSpPr>
            <p:spPr bwMode="auto">
              <a:xfrm>
                <a:off x="205153" y="5047357"/>
                <a:ext cx="827696" cy="164717"/>
              </a:xfrm>
              <a:custGeom>
                <a:avLst/>
                <a:gdLst/>
                <a:ahLst/>
                <a:cxnLst>
                  <a:cxn ang="0">
                    <a:pos x="265" y="0"/>
                  </a:cxn>
                  <a:cxn ang="0">
                    <a:pos x="379" y="0"/>
                  </a:cxn>
                  <a:cxn ang="0">
                    <a:pos x="530" y="0"/>
                  </a:cxn>
                  <a:cxn ang="0">
                    <a:pos x="530" y="14"/>
                  </a:cxn>
                  <a:cxn ang="0">
                    <a:pos x="512" y="27"/>
                  </a:cxn>
                  <a:cxn ang="0">
                    <a:pos x="512" y="41"/>
                  </a:cxn>
                  <a:cxn ang="0">
                    <a:pos x="516" y="50"/>
                  </a:cxn>
                  <a:cxn ang="0">
                    <a:pos x="535" y="46"/>
                  </a:cxn>
                  <a:cxn ang="0">
                    <a:pos x="553" y="41"/>
                  </a:cxn>
                  <a:cxn ang="0">
                    <a:pos x="562" y="41"/>
                  </a:cxn>
                  <a:cxn ang="0">
                    <a:pos x="557" y="59"/>
                  </a:cxn>
                  <a:cxn ang="0">
                    <a:pos x="548" y="64"/>
                  </a:cxn>
                  <a:cxn ang="0">
                    <a:pos x="535" y="73"/>
                  </a:cxn>
                  <a:cxn ang="0">
                    <a:pos x="553" y="87"/>
                  </a:cxn>
                  <a:cxn ang="0">
                    <a:pos x="576" y="96"/>
                  </a:cxn>
                  <a:cxn ang="0">
                    <a:pos x="599" y="91"/>
                  </a:cxn>
                  <a:cxn ang="0">
                    <a:pos x="599" y="123"/>
                  </a:cxn>
                  <a:cxn ang="0">
                    <a:pos x="576" y="123"/>
                  </a:cxn>
                  <a:cxn ang="0">
                    <a:pos x="548" y="119"/>
                  </a:cxn>
                  <a:cxn ang="0">
                    <a:pos x="503" y="105"/>
                  </a:cxn>
                  <a:cxn ang="0">
                    <a:pos x="452" y="105"/>
                  </a:cxn>
                  <a:cxn ang="0">
                    <a:pos x="407" y="100"/>
                  </a:cxn>
                  <a:cxn ang="0">
                    <a:pos x="361" y="110"/>
                  </a:cxn>
                  <a:cxn ang="0">
                    <a:pos x="311" y="110"/>
                  </a:cxn>
                  <a:cxn ang="0">
                    <a:pos x="274" y="110"/>
                  </a:cxn>
                  <a:cxn ang="0">
                    <a:pos x="265" y="110"/>
                  </a:cxn>
                  <a:cxn ang="0">
                    <a:pos x="256" y="119"/>
                  </a:cxn>
                  <a:cxn ang="0">
                    <a:pos x="219" y="114"/>
                  </a:cxn>
                  <a:cxn ang="0">
                    <a:pos x="160" y="119"/>
                  </a:cxn>
                  <a:cxn ang="0">
                    <a:pos x="119" y="119"/>
                  </a:cxn>
                  <a:cxn ang="0">
                    <a:pos x="73" y="119"/>
                  </a:cxn>
                  <a:cxn ang="0">
                    <a:pos x="27" y="123"/>
                  </a:cxn>
                  <a:cxn ang="0">
                    <a:pos x="0" y="114"/>
                  </a:cxn>
                  <a:cxn ang="0">
                    <a:pos x="4" y="87"/>
                  </a:cxn>
                  <a:cxn ang="0">
                    <a:pos x="4" y="78"/>
                  </a:cxn>
                  <a:cxn ang="0">
                    <a:pos x="32" y="82"/>
                  </a:cxn>
                  <a:cxn ang="0">
                    <a:pos x="41" y="73"/>
                  </a:cxn>
                  <a:cxn ang="0">
                    <a:pos x="55" y="64"/>
                  </a:cxn>
                  <a:cxn ang="0">
                    <a:pos x="73" y="59"/>
                  </a:cxn>
                  <a:cxn ang="0">
                    <a:pos x="96" y="64"/>
                  </a:cxn>
                  <a:cxn ang="0">
                    <a:pos x="119" y="64"/>
                  </a:cxn>
                  <a:cxn ang="0">
                    <a:pos x="141" y="64"/>
                  </a:cxn>
                  <a:cxn ang="0">
                    <a:pos x="160" y="64"/>
                  </a:cxn>
                  <a:cxn ang="0">
                    <a:pos x="173" y="50"/>
                  </a:cxn>
                  <a:cxn ang="0">
                    <a:pos x="183" y="27"/>
                  </a:cxn>
                  <a:cxn ang="0">
                    <a:pos x="192" y="14"/>
                  </a:cxn>
                  <a:cxn ang="0">
                    <a:pos x="196" y="0"/>
                  </a:cxn>
                  <a:cxn ang="0">
                    <a:pos x="228" y="0"/>
                  </a:cxn>
                  <a:cxn ang="0">
                    <a:pos x="237" y="14"/>
                  </a:cxn>
                  <a:cxn ang="0">
                    <a:pos x="251" y="18"/>
                  </a:cxn>
                </a:cxnLst>
                <a:rect l="0" t="0" r="r" b="b"/>
                <a:pathLst>
                  <a:path w="603" h="128">
                    <a:moveTo>
                      <a:pt x="265" y="14"/>
                    </a:moveTo>
                    <a:lnTo>
                      <a:pt x="265" y="9"/>
                    </a:lnTo>
                    <a:lnTo>
                      <a:pt x="265" y="4"/>
                    </a:lnTo>
                    <a:lnTo>
                      <a:pt x="265" y="0"/>
                    </a:lnTo>
                    <a:lnTo>
                      <a:pt x="269" y="0"/>
                    </a:lnTo>
                    <a:lnTo>
                      <a:pt x="274" y="0"/>
                    </a:lnTo>
                    <a:lnTo>
                      <a:pt x="375" y="0"/>
                    </a:lnTo>
                    <a:lnTo>
                      <a:pt x="379" y="0"/>
                    </a:lnTo>
                    <a:lnTo>
                      <a:pt x="393" y="0"/>
                    </a:lnTo>
                    <a:lnTo>
                      <a:pt x="461" y="0"/>
                    </a:lnTo>
                    <a:lnTo>
                      <a:pt x="507" y="0"/>
                    </a:lnTo>
                    <a:lnTo>
                      <a:pt x="530" y="0"/>
                    </a:lnTo>
                    <a:lnTo>
                      <a:pt x="535" y="4"/>
                    </a:lnTo>
                    <a:lnTo>
                      <a:pt x="535" y="9"/>
                    </a:lnTo>
                    <a:lnTo>
                      <a:pt x="530" y="9"/>
                    </a:lnTo>
                    <a:lnTo>
                      <a:pt x="530" y="14"/>
                    </a:lnTo>
                    <a:lnTo>
                      <a:pt x="525" y="18"/>
                    </a:lnTo>
                    <a:lnTo>
                      <a:pt x="521" y="18"/>
                    </a:lnTo>
                    <a:lnTo>
                      <a:pt x="512" y="23"/>
                    </a:lnTo>
                    <a:lnTo>
                      <a:pt x="512" y="27"/>
                    </a:lnTo>
                    <a:lnTo>
                      <a:pt x="507" y="27"/>
                    </a:lnTo>
                    <a:lnTo>
                      <a:pt x="507" y="32"/>
                    </a:lnTo>
                    <a:lnTo>
                      <a:pt x="507" y="36"/>
                    </a:lnTo>
                    <a:lnTo>
                      <a:pt x="512" y="41"/>
                    </a:lnTo>
                    <a:lnTo>
                      <a:pt x="512" y="46"/>
                    </a:lnTo>
                    <a:lnTo>
                      <a:pt x="512" y="50"/>
                    </a:lnTo>
                    <a:lnTo>
                      <a:pt x="512" y="50"/>
                    </a:lnTo>
                    <a:lnTo>
                      <a:pt x="516" y="50"/>
                    </a:lnTo>
                    <a:lnTo>
                      <a:pt x="521" y="50"/>
                    </a:lnTo>
                    <a:lnTo>
                      <a:pt x="525" y="50"/>
                    </a:lnTo>
                    <a:lnTo>
                      <a:pt x="530" y="46"/>
                    </a:lnTo>
                    <a:lnTo>
                      <a:pt x="535" y="46"/>
                    </a:lnTo>
                    <a:lnTo>
                      <a:pt x="539" y="46"/>
                    </a:lnTo>
                    <a:lnTo>
                      <a:pt x="539" y="41"/>
                    </a:lnTo>
                    <a:lnTo>
                      <a:pt x="548" y="41"/>
                    </a:lnTo>
                    <a:lnTo>
                      <a:pt x="553" y="41"/>
                    </a:lnTo>
                    <a:lnTo>
                      <a:pt x="557" y="41"/>
                    </a:lnTo>
                    <a:lnTo>
                      <a:pt x="557" y="41"/>
                    </a:lnTo>
                    <a:lnTo>
                      <a:pt x="557" y="41"/>
                    </a:lnTo>
                    <a:lnTo>
                      <a:pt x="562" y="41"/>
                    </a:lnTo>
                    <a:lnTo>
                      <a:pt x="562" y="46"/>
                    </a:lnTo>
                    <a:lnTo>
                      <a:pt x="562" y="50"/>
                    </a:lnTo>
                    <a:lnTo>
                      <a:pt x="562" y="55"/>
                    </a:lnTo>
                    <a:lnTo>
                      <a:pt x="557" y="59"/>
                    </a:lnTo>
                    <a:lnTo>
                      <a:pt x="557" y="64"/>
                    </a:lnTo>
                    <a:lnTo>
                      <a:pt x="557" y="64"/>
                    </a:lnTo>
                    <a:lnTo>
                      <a:pt x="553" y="64"/>
                    </a:lnTo>
                    <a:lnTo>
                      <a:pt x="548" y="64"/>
                    </a:lnTo>
                    <a:lnTo>
                      <a:pt x="544" y="64"/>
                    </a:lnTo>
                    <a:lnTo>
                      <a:pt x="539" y="64"/>
                    </a:lnTo>
                    <a:lnTo>
                      <a:pt x="535" y="68"/>
                    </a:lnTo>
                    <a:lnTo>
                      <a:pt x="535" y="73"/>
                    </a:lnTo>
                    <a:lnTo>
                      <a:pt x="535" y="78"/>
                    </a:lnTo>
                    <a:lnTo>
                      <a:pt x="539" y="82"/>
                    </a:lnTo>
                    <a:lnTo>
                      <a:pt x="544" y="87"/>
                    </a:lnTo>
                    <a:lnTo>
                      <a:pt x="553" y="87"/>
                    </a:lnTo>
                    <a:lnTo>
                      <a:pt x="557" y="87"/>
                    </a:lnTo>
                    <a:lnTo>
                      <a:pt x="562" y="91"/>
                    </a:lnTo>
                    <a:lnTo>
                      <a:pt x="567" y="91"/>
                    </a:lnTo>
                    <a:lnTo>
                      <a:pt x="576" y="96"/>
                    </a:lnTo>
                    <a:lnTo>
                      <a:pt x="580" y="96"/>
                    </a:lnTo>
                    <a:lnTo>
                      <a:pt x="585" y="91"/>
                    </a:lnTo>
                    <a:lnTo>
                      <a:pt x="594" y="91"/>
                    </a:lnTo>
                    <a:lnTo>
                      <a:pt x="599" y="91"/>
                    </a:lnTo>
                    <a:lnTo>
                      <a:pt x="603" y="91"/>
                    </a:lnTo>
                    <a:lnTo>
                      <a:pt x="603" y="96"/>
                    </a:lnTo>
                    <a:lnTo>
                      <a:pt x="603" y="105"/>
                    </a:lnTo>
                    <a:lnTo>
                      <a:pt x="599" y="123"/>
                    </a:lnTo>
                    <a:lnTo>
                      <a:pt x="594" y="123"/>
                    </a:lnTo>
                    <a:lnTo>
                      <a:pt x="594" y="123"/>
                    </a:lnTo>
                    <a:lnTo>
                      <a:pt x="585" y="123"/>
                    </a:lnTo>
                    <a:lnTo>
                      <a:pt x="576" y="123"/>
                    </a:lnTo>
                    <a:lnTo>
                      <a:pt x="571" y="119"/>
                    </a:lnTo>
                    <a:lnTo>
                      <a:pt x="567" y="119"/>
                    </a:lnTo>
                    <a:lnTo>
                      <a:pt x="548" y="119"/>
                    </a:lnTo>
                    <a:lnTo>
                      <a:pt x="548" y="119"/>
                    </a:lnTo>
                    <a:lnTo>
                      <a:pt x="535" y="114"/>
                    </a:lnTo>
                    <a:lnTo>
                      <a:pt x="516" y="110"/>
                    </a:lnTo>
                    <a:lnTo>
                      <a:pt x="503" y="110"/>
                    </a:lnTo>
                    <a:lnTo>
                      <a:pt x="503" y="105"/>
                    </a:lnTo>
                    <a:lnTo>
                      <a:pt x="489" y="105"/>
                    </a:lnTo>
                    <a:lnTo>
                      <a:pt x="461" y="105"/>
                    </a:lnTo>
                    <a:lnTo>
                      <a:pt x="457" y="105"/>
                    </a:lnTo>
                    <a:lnTo>
                      <a:pt x="452" y="105"/>
                    </a:lnTo>
                    <a:lnTo>
                      <a:pt x="434" y="105"/>
                    </a:lnTo>
                    <a:lnTo>
                      <a:pt x="420" y="100"/>
                    </a:lnTo>
                    <a:lnTo>
                      <a:pt x="416" y="100"/>
                    </a:lnTo>
                    <a:lnTo>
                      <a:pt x="407" y="100"/>
                    </a:lnTo>
                    <a:lnTo>
                      <a:pt x="402" y="100"/>
                    </a:lnTo>
                    <a:lnTo>
                      <a:pt x="393" y="105"/>
                    </a:lnTo>
                    <a:lnTo>
                      <a:pt x="365" y="110"/>
                    </a:lnTo>
                    <a:lnTo>
                      <a:pt x="361" y="110"/>
                    </a:lnTo>
                    <a:lnTo>
                      <a:pt x="352" y="110"/>
                    </a:lnTo>
                    <a:lnTo>
                      <a:pt x="338" y="110"/>
                    </a:lnTo>
                    <a:lnTo>
                      <a:pt x="315" y="110"/>
                    </a:lnTo>
                    <a:lnTo>
                      <a:pt x="311" y="110"/>
                    </a:lnTo>
                    <a:lnTo>
                      <a:pt x="306" y="110"/>
                    </a:lnTo>
                    <a:lnTo>
                      <a:pt x="292" y="110"/>
                    </a:lnTo>
                    <a:lnTo>
                      <a:pt x="283" y="110"/>
                    </a:lnTo>
                    <a:lnTo>
                      <a:pt x="274" y="110"/>
                    </a:lnTo>
                    <a:lnTo>
                      <a:pt x="274" y="96"/>
                    </a:lnTo>
                    <a:lnTo>
                      <a:pt x="274" y="96"/>
                    </a:lnTo>
                    <a:lnTo>
                      <a:pt x="274" y="110"/>
                    </a:lnTo>
                    <a:lnTo>
                      <a:pt x="265" y="110"/>
                    </a:lnTo>
                    <a:lnTo>
                      <a:pt x="260" y="114"/>
                    </a:lnTo>
                    <a:lnTo>
                      <a:pt x="260" y="114"/>
                    </a:lnTo>
                    <a:lnTo>
                      <a:pt x="260" y="119"/>
                    </a:lnTo>
                    <a:lnTo>
                      <a:pt x="256" y="119"/>
                    </a:lnTo>
                    <a:lnTo>
                      <a:pt x="251" y="119"/>
                    </a:lnTo>
                    <a:lnTo>
                      <a:pt x="247" y="119"/>
                    </a:lnTo>
                    <a:lnTo>
                      <a:pt x="242" y="114"/>
                    </a:lnTo>
                    <a:lnTo>
                      <a:pt x="219" y="114"/>
                    </a:lnTo>
                    <a:lnTo>
                      <a:pt x="196" y="114"/>
                    </a:lnTo>
                    <a:lnTo>
                      <a:pt x="187" y="114"/>
                    </a:lnTo>
                    <a:lnTo>
                      <a:pt x="173" y="119"/>
                    </a:lnTo>
                    <a:lnTo>
                      <a:pt x="160" y="119"/>
                    </a:lnTo>
                    <a:lnTo>
                      <a:pt x="155" y="119"/>
                    </a:lnTo>
                    <a:lnTo>
                      <a:pt x="151" y="119"/>
                    </a:lnTo>
                    <a:lnTo>
                      <a:pt x="132" y="119"/>
                    </a:lnTo>
                    <a:lnTo>
                      <a:pt x="119" y="119"/>
                    </a:lnTo>
                    <a:lnTo>
                      <a:pt x="109" y="119"/>
                    </a:lnTo>
                    <a:lnTo>
                      <a:pt x="100" y="119"/>
                    </a:lnTo>
                    <a:lnTo>
                      <a:pt x="100" y="119"/>
                    </a:lnTo>
                    <a:lnTo>
                      <a:pt x="73" y="119"/>
                    </a:lnTo>
                    <a:lnTo>
                      <a:pt x="59" y="119"/>
                    </a:lnTo>
                    <a:lnTo>
                      <a:pt x="55" y="119"/>
                    </a:lnTo>
                    <a:lnTo>
                      <a:pt x="50" y="119"/>
                    </a:lnTo>
                    <a:lnTo>
                      <a:pt x="27" y="123"/>
                    </a:lnTo>
                    <a:lnTo>
                      <a:pt x="4" y="123"/>
                    </a:lnTo>
                    <a:lnTo>
                      <a:pt x="4" y="128"/>
                    </a:lnTo>
                    <a:lnTo>
                      <a:pt x="0" y="128"/>
                    </a:lnTo>
                    <a:lnTo>
                      <a:pt x="0" y="114"/>
                    </a:lnTo>
                    <a:lnTo>
                      <a:pt x="0" y="110"/>
                    </a:lnTo>
                    <a:lnTo>
                      <a:pt x="0" y="105"/>
                    </a:lnTo>
                    <a:lnTo>
                      <a:pt x="0" y="96"/>
                    </a:lnTo>
                    <a:lnTo>
                      <a:pt x="4" y="87"/>
                    </a:lnTo>
                    <a:lnTo>
                      <a:pt x="4" y="87"/>
                    </a:lnTo>
                    <a:lnTo>
                      <a:pt x="4" y="82"/>
                    </a:lnTo>
                    <a:lnTo>
                      <a:pt x="4" y="82"/>
                    </a:lnTo>
                    <a:lnTo>
                      <a:pt x="4" y="78"/>
                    </a:lnTo>
                    <a:lnTo>
                      <a:pt x="9" y="78"/>
                    </a:lnTo>
                    <a:lnTo>
                      <a:pt x="13" y="78"/>
                    </a:lnTo>
                    <a:lnTo>
                      <a:pt x="23" y="78"/>
                    </a:lnTo>
                    <a:lnTo>
                      <a:pt x="32" y="82"/>
                    </a:lnTo>
                    <a:lnTo>
                      <a:pt x="32" y="78"/>
                    </a:lnTo>
                    <a:lnTo>
                      <a:pt x="36" y="78"/>
                    </a:lnTo>
                    <a:lnTo>
                      <a:pt x="36" y="73"/>
                    </a:lnTo>
                    <a:lnTo>
                      <a:pt x="41" y="73"/>
                    </a:lnTo>
                    <a:lnTo>
                      <a:pt x="45" y="73"/>
                    </a:lnTo>
                    <a:lnTo>
                      <a:pt x="45" y="68"/>
                    </a:lnTo>
                    <a:lnTo>
                      <a:pt x="55" y="64"/>
                    </a:lnTo>
                    <a:lnTo>
                      <a:pt x="55" y="64"/>
                    </a:lnTo>
                    <a:lnTo>
                      <a:pt x="55" y="59"/>
                    </a:lnTo>
                    <a:lnTo>
                      <a:pt x="59" y="59"/>
                    </a:lnTo>
                    <a:lnTo>
                      <a:pt x="68" y="59"/>
                    </a:lnTo>
                    <a:lnTo>
                      <a:pt x="73" y="59"/>
                    </a:lnTo>
                    <a:lnTo>
                      <a:pt x="77" y="64"/>
                    </a:lnTo>
                    <a:lnTo>
                      <a:pt x="82" y="64"/>
                    </a:lnTo>
                    <a:lnTo>
                      <a:pt x="87" y="64"/>
                    </a:lnTo>
                    <a:lnTo>
                      <a:pt x="96" y="64"/>
                    </a:lnTo>
                    <a:lnTo>
                      <a:pt x="100" y="64"/>
                    </a:lnTo>
                    <a:lnTo>
                      <a:pt x="109" y="64"/>
                    </a:lnTo>
                    <a:lnTo>
                      <a:pt x="114" y="64"/>
                    </a:lnTo>
                    <a:lnTo>
                      <a:pt x="119" y="64"/>
                    </a:lnTo>
                    <a:lnTo>
                      <a:pt x="119" y="64"/>
                    </a:lnTo>
                    <a:lnTo>
                      <a:pt x="128" y="64"/>
                    </a:lnTo>
                    <a:lnTo>
                      <a:pt x="132" y="64"/>
                    </a:lnTo>
                    <a:lnTo>
                      <a:pt x="141" y="64"/>
                    </a:lnTo>
                    <a:lnTo>
                      <a:pt x="141" y="64"/>
                    </a:lnTo>
                    <a:lnTo>
                      <a:pt x="151" y="64"/>
                    </a:lnTo>
                    <a:lnTo>
                      <a:pt x="155" y="64"/>
                    </a:lnTo>
                    <a:lnTo>
                      <a:pt x="160" y="64"/>
                    </a:lnTo>
                    <a:lnTo>
                      <a:pt x="164" y="64"/>
                    </a:lnTo>
                    <a:lnTo>
                      <a:pt x="164" y="59"/>
                    </a:lnTo>
                    <a:lnTo>
                      <a:pt x="169" y="55"/>
                    </a:lnTo>
                    <a:lnTo>
                      <a:pt x="173" y="50"/>
                    </a:lnTo>
                    <a:lnTo>
                      <a:pt x="178" y="41"/>
                    </a:lnTo>
                    <a:lnTo>
                      <a:pt x="178" y="36"/>
                    </a:lnTo>
                    <a:lnTo>
                      <a:pt x="183" y="32"/>
                    </a:lnTo>
                    <a:lnTo>
                      <a:pt x="183" y="27"/>
                    </a:lnTo>
                    <a:lnTo>
                      <a:pt x="183" y="27"/>
                    </a:lnTo>
                    <a:lnTo>
                      <a:pt x="183" y="23"/>
                    </a:lnTo>
                    <a:lnTo>
                      <a:pt x="187" y="23"/>
                    </a:lnTo>
                    <a:lnTo>
                      <a:pt x="192" y="14"/>
                    </a:lnTo>
                    <a:lnTo>
                      <a:pt x="192" y="9"/>
                    </a:lnTo>
                    <a:lnTo>
                      <a:pt x="192" y="4"/>
                    </a:lnTo>
                    <a:lnTo>
                      <a:pt x="196" y="0"/>
                    </a:lnTo>
                    <a:lnTo>
                      <a:pt x="196" y="0"/>
                    </a:lnTo>
                    <a:lnTo>
                      <a:pt x="201" y="0"/>
                    </a:lnTo>
                    <a:lnTo>
                      <a:pt x="205" y="0"/>
                    </a:lnTo>
                    <a:lnTo>
                      <a:pt x="219" y="0"/>
                    </a:lnTo>
                    <a:lnTo>
                      <a:pt x="228" y="0"/>
                    </a:lnTo>
                    <a:lnTo>
                      <a:pt x="228" y="0"/>
                    </a:lnTo>
                    <a:lnTo>
                      <a:pt x="233" y="9"/>
                    </a:lnTo>
                    <a:lnTo>
                      <a:pt x="237" y="14"/>
                    </a:lnTo>
                    <a:lnTo>
                      <a:pt x="237" y="14"/>
                    </a:lnTo>
                    <a:lnTo>
                      <a:pt x="242" y="18"/>
                    </a:lnTo>
                    <a:lnTo>
                      <a:pt x="247" y="18"/>
                    </a:lnTo>
                    <a:lnTo>
                      <a:pt x="251" y="18"/>
                    </a:lnTo>
                    <a:lnTo>
                      <a:pt x="251" y="18"/>
                    </a:lnTo>
                    <a:lnTo>
                      <a:pt x="256" y="14"/>
                    </a:lnTo>
                    <a:lnTo>
                      <a:pt x="265" y="14"/>
                    </a:lnTo>
                    <a:close/>
                  </a:path>
                </a:pathLst>
              </a:custGeom>
              <a:solidFill>
                <a:srgbClr val="006301"/>
              </a:solidFill>
              <a:ln w="6350" cmpd="sng">
                <a:solidFill>
                  <a:sysClr val="window" lastClr="FFFFFF"/>
                </a:solidFill>
                <a:miter lim="800000"/>
                <a:headEnd/>
                <a:tailEnd/>
              </a:ln>
              <a:effectLst/>
            </p:spPr>
            <p:txBody>
              <a:bodyPr anchor="ctr"/>
              <a:lstStyle/>
              <a:p>
                <a:pPr marL="0" marR="0" lvl="0" indent="0" algn="ctr" defTabSz="1232345"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Calibri"/>
                  </a:rPr>
                  <a:t>Lagos</a:t>
                </a:r>
              </a:p>
            </p:txBody>
          </p:sp>
        </p:grpSp>
        <p:grpSp>
          <p:nvGrpSpPr>
            <p:cNvPr id="93" name="Group 92">
              <a:extLst>
                <a:ext uri="{FF2B5EF4-FFF2-40B4-BE49-F238E27FC236}">
                  <a16:creationId xmlns:a16="http://schemas.microsoft.com/office/drawing/2014/main" id="{87DB4E57-C5EC-4553-A0B3-3A91F9F4E29E}"/>
                </a:ext>
              </a:extLst>
            </p:cNvPr>
            <p:cNvGrpSpPr/>
            <p:nvPr/>
          </p:nvGrpSpPr>
          <p:grpSpPr>
            <a:xfrm>
              <a:off x="6553200" y="1237165"/>
              <a:ext cx="1425789" cy="391308"/>
              <a:chOff x="6422811" y="1008870"/>
              <a:chExt cx="1425789" cy="391308"/>
            </a:xfrm>
          </p:grpSpPr>
          <p:grpSp>
            <p:nvGrpSpPr>
              <p:cNvPr id="94" name="Group 93">
                <a:extLst>
                  <a:ext uri="{FF2B5EF4-FFF2-40B4-BE49-F238E27FC236}">
                    <a16:creationId xmlns:a16="http://schemas.microsoft.com/office/drawing/2014/main" id="{D1D4693A-AEC3-4660-B942-349682227DB4}"/>
                  </a:ext>
                </a:extLst>
              </p:cNvPr>
              <p:cNvGrpSpPr/>
              <p:nvPr/>
            </p:nvGrpSpPr>
            <p:grpSpPr>
              <a:xfrm>
                <a:off x="6504128" y="1008870"/>
                <a:ext cx="365546" cy="334709"/>
                <a:chOff x="6152977" y="3057304"/>
                <a:chExt cx="834930" cy="475100"/>
              </a:xfrm>
              <a:solidFill>
                <a:srgbClr val="006301"/>
              </a:solidFill>
            </p:grpSpPr>
            <p:sp>
              <p:nvSpPr>
                <p:cNvPr id="180" name="Freeform 36">
                  <a:extLst>
                    <a:ext uri="{FF2B5EF4-FFF2-40B4-BE49-F238E27FC236}">
                      <a16:creationId xmlns:a16="http://schemas.microsoft.com/office/drawing/2014/main" id="{ECA5170D-2A16-41E5-87FC-4878CE519B59}"/>
                    </a:ext>
                  </a:extLst>
                </p:cNvPr>
                <p:cNvSpPr>
                  <a:spLocks/>
                </p:cNvSpPr>
                <p:nvPr/>
              </p:nvSpPr>
              <p:spPr bwMode="auto">
                <a:xfrm>
                  <a:off x="6277505" y="3122423"/>
                  <a:ext cx="77089" cy="43191"/>
                </a:xfrm>
                <a:custGeom>
                  <a:avLst/>
                  <a:gdLst>
                    <a:gd name="T0" fmla="*/ 130 w 130"/>
                    <a:gd name="T1" fmla="*/ 66 h 130"/>
                    <a:gd name="T2" fmla="*/ 130 w 130"/>
                    <a:gd name="T3" fmla="*/ 66 h 130"/>
                    <a:gd name="T4" fmla="*/ 128 w 130"/>
                    <a:gd name="T5" fmla="*/ 52 h 130"/>
                    <a:gd name="T6" fmla="*/ 124 w 130"/>
                    <a:gd name="T7" fmla="*/ 40 h 130"/>
                    <a:gd name="T8" fmla="*/ 118 w 130"/>
                    <a:gd name="T9" fmla="*/ 30 h 130"/>
                    <a:gd name="T10" fmla="*/ 110 w 130"/>
                    <a:gd name="T11" fmla="*/ 20 h 130"/>
                    <a:gd name="T12" fmla="*/ 102 w 130"/>
                    <a:gd name="T13" fmla="*/ 12 h 130"/>
                    <a:gd name="T14" fmla="*/ 90 w 130"/>
                    <a:gd name="T15" fmla="*/ 6 h 130"/>
                    <a:gd name="T16" fmla="*/ 78 w 130"/>
                    <a:gd name="T17" fmla="*/ 2 h 130"/>
                    <a:gd name="T18" fmla="*/ 64 w 130"/>
                    <a:gd name="T19" fmla="*/ 0 h 130"/>
                    <a:gd name="T20" fmla="*/ 64 w 130"/>
                    <a:gd name="T21" fmla="*/ 0 h 130"/>
                    <a:gd name="T22" fmla="*/ 52 w 130"/>
                    <a:gd name="T23" fmla="*/ 2 h 130"/>
                    <a:gd name="T24" fmla="*/ 40 w 130"/>
                    <a:gd name="T25" fmla="*/ 6 h 130"/>
                    <a:gd name="T26" fmla="*/ 28 w 130"/>
                    <a:gd name="T27" fmla="*/ 12 h 130"/>
                    <a:gd name="T28" fmla="*/ 18 w 130"/>
                    <a:gd name="T29" fmla="*/ 20 h 130"/>
                    <a:gd name="T30" fmla="*/ 10 w 130"/>
                    <a:gd name="T31" fmla="*/ 30 h 130"/>
                    <a:gd name="T32" fmla="*/ 4 w 130"/>
                    <a:gd name="T33" fmla="*/ 40 h 130"/>
                    <a:gd name="T34" fmla="*/ 0 w 130"/>
                    <a:gd name="T35" fmla="*/ 52 h 130"/>
                    <a:gd name="T36" fmla="*/ 0 w 130"/>
                    <a:gd name="T37" fmla="*/ 66 h 130"/>
                    <a:gd name="T38" fmla="*/ 0 w 130"/>
                    <a:gd name="T39" fmla="*/ 66 h 130"/>
                    <a:gd name="T40" fmla="*/ 0 w 130"/>
                    <a:gd name="T41" fmla="*/ 78 h 130"/>
                    <a:gd name="T42" fmla="*/ 4 w 130"/>
                    <a:gd name="T43" fmla="*/ 90 h 130"/>
                    <a:gd name="T44" fmla="*/ 10 w 130"/>
                    <a:gd name="T45" fmla="*/ 102 h 130"/>
                    <a:gd name="T46" fmla="*/ 18 w 130"/>
                    <a:gd name="T47" fmla="*/ 112 h 130"/>
                    <a:gd name="T48" fmla="*/ 28 w 130"/>
                    <a:gd name="T49" fmla="*/ 120 h 130"/>
                    <a:gd name="T50" fmla="*/ 40 w 130"/>
                    <a:gd name="T51" fmla="*/ 126 h 130"/>
                    <a:gd name="T52" fmla="*/ 52 w 130"/>
                    <a:gd name="T53" fmla="*/ 130 h 130"/>
                    <a:gd name="T54" fmla="*/ 64 w 130"/>
                    <a:gd name="T55" fmla="*/ 130 h 130"/>
                    <a:gd name="T56" fmla="*/ 64 w 130"/>
                    <a:gd name="T57" fmla="*/ 130 h 130"/>
                    <a:gd name="T58" fmla="*/ 78 w 130"/>
                    <a:gd name="T59" fmla="*/ 130 h 130"/>
                    <a:gd name="T60" fmla="*/ 90 w 130"/>
                    <a:gd name="T61" fmla="*/ 126 h 130"/>
                    <a:gd name="T62" fmla="*/ 102 w 130"/>
                    <a:gd name="T63" fmla="*/ 120 h 130"/>
                    <a:gd name="T64" fmla="*/ 110 w 130"/>
                    <a:gd name="T65" fmla="*/ 112 h 130"/>
                    <a:gd name="T66" fmla="*/ 118 w 130"/>
                    <a:gd name="T67" fmla="*/ 102 h 130"/>
                    <a:gd name="T68" fmla="*/ 124 w 130"/>
                    <a:gd name="T69" fmla="*/ 90 h 130"/>
                    <a:gd name="T70" fmla="*/ 128 w 130"/>
                    <a:gd name="T71" fmla="*/ 78 h 130"/>
                    <a:gd name="T72" fmla="*/ 130 w 130"/>
                    <a:gd name="T73" fmla="*/ 66 h 130"/>
                    <a:gd name="T74" fmla="*/ 130 w 130"/>
                    <a:gd name="T75" fmla="*/ 6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30">
                      <a:moveTo>
                        <a:pt x="130" y="66"/>
                      </a:moveTo>
                      <a:lnTo>
                        <a:pt x="130" y="66"/>
                      </a:lnTo>
                      <a:lnTo>
                        <a:pt x="128" y="52"/>
                      </a:lnTo>
                      <a:lnTo>
                        <a:pt x="124" y="40"/>
                      </a:lnTo>
                      <a:lnTo>
                        <a:pt x="118" y="30"/>
                      </a:lnTo>
                      <a:lnTo>
                        <a:pt x="110" y="20"/>
                      </a:lnTo>
                      <a:lnTo>
                        <a:pt x="102" y="12"/>
                      </a:lnTo>
                      <a:lnTo>
                        <a:pt x="90" y="6"/>
                      </a:lnTo>
                      <a:lnTo>
                        <a:pt x="78" y="2"/>
                      </a:lnTo>
                      <a:lnTo>
                        <a:pt x="64" y="0"/>
                      </a:lnTo>
                      <a:lnTo>
                        <a:pt x="64" y="0"/>
                      </a:lnTo>
                      <a:lnTo>
                        <a:pt x="52" y="2"/>
                      </a:lnTo>
                      <a:lnTo>
                        <a:pt x="40" y="6"/>
                      </a:lnTo>
                      <a:lnTo>
                        <a:pt x="28" y="12"/>
                      </a:lnTo>
                      <a:lnTo>
                        <a:pt x="18" y="20"/>
                      </a:lnTo>
                      <a:lnTo>
                        <a:pt x="10" y="30"/>
                      </a:lnTo>
                      <a:lnTo>
                        <a:pt x="4" y="40"/>
                      </a:lnTo>
                      <a:lnTo>
                        <a:pt x="0" y="52"/>
                      </a:lnTo>
                      <a:lnTo>
                        <a:pt x="0" y="66"/>
                      </a:lnTo>
                      <a:lnTo>
                        <a:pt x="0" y="66"/>
                      </a:lnTo>
                      <a:lnTo>
                        <a:pt x="0" y="78"/>
                      </a:lnTo>
                      <a:lnTo>
                        <a:pt x="4" y="90"/>
                      </a:lnTo>
                      <a:lnTo>
                        <a:pt x="10" y="102"/>
                      </a:lnTo>
                      <a:lnTo>
                        <a:pt x="18" y="112"/>
                      </a:lnTo>
                      <a:lnTo>
                        <a:pt x="28" y="120"/>
                      </a:lnTo>
                      <a:lnTo>
                        <a:pt x="40" y="126"/>
                      </a:lnTo>
                      <a:lnTo>
                        <a:pt x="52" y="130"/>
                      </a:lnTo>
                      <a:lnTo>
                        <a:pt x="64" y="130"/>
                      </a:lnTo>
                      <a:lnTo>
                        <a:pt x="64" y="130"/>
                      </a:lnTo>
                      <a:lnTo>
                        <a:pt x="78" y="130"/>
                      </a:lnTo>
                      <a:lnTo>
                        <a:pt x="90" y="126"/>
                      </a:lnTo>
                      <a:lnTo>
                        <a:pt x="102" y="120"/>
                      </a:lnTo>
                      <a:lnTo>
                        <a:pt x="110" y="112"/>
                      </a:lnTo>
                      <a:lnTo>
                        <a:pt x="118" y="102"/>
                      </a:lnTo>
                      <a:lnTo>
                        <a:pt x="124" y="90"/>
                      </a:lnTo>
                      <a:lnTo>
                        <a:pt x="128" y="78"/>
                      </a:lnTo>
                      <a:lnTo>
                        <a:pt x="130" y="66"/>
                      </a:lnTo>
                      <a:lnTo>
                        <a:pt x="130" y="66"/>
                      </a:lnTo>
                      <a:close/>
                    </a:path>
                  </a:pathLst>
                </a:custGeom>
                <a:grpFill/>
                <a:ln>
                  <a:noFill/>
                </a:ln>
              </p:spPr>
              <p:txBody>
                <a:bodyPr/>
                <a:lstStyle/>
                <a:p>
                  <a:pPr marL="0" marR="0" lvl="0" indent="0" defTabSz="357179"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charset="0"/>
                  </a:endParaRPr>
                </a:p>
              </p:txBody>
            </p:sp>
            <p:sp>
              <p:nvSpPr>
                <p:cNvPr id="181" name="Freeform 37">
                  <a:extLst>
                    <a:ext uri="{FF2B5EF4-FFF2-40B4-BE49-F238E27FC236}">
                      <a16:creationId xmlns:a16="http://schemas.microsoft.com/office/drawing/2014/main" id="{10934395-EBCF-4791-8A38-7FE8A07AB46A}"/>
                    </a:ext>
                  </a:extLst>
                </p:cNvPr>
                <p:cNvSpPr>
                  <a:spLocks/>
                </p:cNvSpPr>
                <p:nvPr/>
              </p:nvSpPr>
              <p:spPr bwMode="auto">
                <a:xfrm>
                  <a:off x="6152977" y="3173588"/>
                  <a:ext cx="456603" cy="225257"/>
                </a:xfrm>
                <a:custGeom>
                  <a:avLst/>
                  <a:gdLst>
                    <a:gd name="T0" fmla="*/ 664 w 770"/>
                    <a:gd name="T1" fmla="*/ 0 h 678"/>
                    <a:gd name="T2" fmla="*/ 580 w 770"/>
                    <a:gd name="T3" fmla="*/ 0 h 678"/>
                    <a:gd name="T4" fmla="*/ 580 w 770"/>
                    <a:gd name="T5" fmla="*/ 0 h 678"/>
                    <a:gd name="T6" fmla="*/ 572 w 770"/>
                    <a:gd name="T7" fmla="*/ 26 h 678"/>
                    <a:gd name="T8" fmla="*/ 562 w 770"/>
                    <a:gd name="T9" fmla="*/ 50 h 678"/>
                    <a:gd name="T10" fmla="*/ 534 w 770"/>
                    <a:gd name="T11" fmla="*/ 108 h 678"/>
                    <a:gd name="T12" fmla="*/ 500 w 770"/>
                    <a:gd name="T13" fmla="*/ 170 h 678"/>
                    <a:gd name="T14" fmla="*/ 458 w 770"/>
                    <a:gd name="T15" fmla="*/ 238 h 678"/>
                    <a:gd name="T16" fmla="*/ 458 w 770"/>
                    <a:gd name="T17" fmla="*/ 238 h 678"/>
                    <a:gd name="T18" fmla="*/ 408 w 770"/>
                    <a:gd name="T19" fmla="*/ 310 h 678"/>
                    <a:gd name="T20" fmla="*/ 366 w 770"/>
                    <a:gd name="T21" fmla="*/ 370 h 678"/>
                    <a:gd name="T22" fmla="*/ 324 w 770"/>
                    <a:gd name="T23" fmla="*/ 426 h 678"/>
                    <a:gd name="T24" fmla="*/ 274 w 770"/>
                    <a:gd name="T25" fmla="*/ 488 h 678"/>
                    <a:gd name="T26" fmla="*/ 226 w 770"/>
                    <a:gd name="T27" fmla="*/ 426 h 678"/>
                    <a:gd name="T28" fmla="*/ 226 w 770"/>
                    <a:gd name="T29" fmla="*/ 426 h 678"/>
                    <a:gd name="T30" fmla="*/ 182 w 770"/>
                    <a:gd name="T31" fmla="*/ 370 h 678"/>
                    <a:gd name="T32" fmla="*/ 140 w 770"/>
                    <a:gd name="T33" fmla="*/ 310 h 678"/>
                    <a:gd name="T34" fmla="*/ 92 w 770"/>
                    <a:gd name="T35" fmla="*/ 238 h 678"/>
                    <a:gd name="T36" fmla="*/ 92 w 770"/>
                    <a:gd name="T37" fmla="*/ 238 h 678"/>
                    <a:gd name="T38" fmla="*/ 64 w 770"/>
                    <a:gd name="T39" fmla="*/ 194 h 678"/>
                    <a:gd name="T40" fmla="*/ 40 w 770"/>
                    <a:gd name="T41" fmla="*/ 152 h 678"/>
                    <a:gd name="T42" fmla="*/ 18 w 770"/>
                    <a:gd name="T43" fmla="*/ 112 h 678"/>
                    <a:gd name="T44" fmla="*/ 0 w 770"/>
                    <a:gd name="T45" fmla="*/ 76 h 678"/>
                    <a:gd name="T46" fmla="*/ 0 w 770"/>
                    <a:gd name="T47" fmla="*/ 678 h 678"/>
                    <a:gd name="T48" fmla="*/ 770 w 770"/>
                    <a:gd name="T49" fmla="*/ 530 h 678"/>
                    <a:gd name="T50" fmla="*/ 664 w 770"/>
                    <a:gd name="T51" fmla="*/ 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0" h="678">
                      <a:moveTo>
                        <a:pt x="664" y="0"/>
                      </a:moveTo>
                      <a:lnTo>
                        <a:pt x="580" y="0"/>
                      </a:lnTo>
                      <a:lnTo>
                        <a:pt x="580" y="0"/>
                      </a:lnTo>
                      <a:lnTo>
                        <a:pt x="572" y="26"/>
                      </a:lnTo>
                      <a:lnTo>
                        <a:pt x="562" y="50"/>
                      </a:lnTo>
                      <a:lnTo>
                        <a:pt x="534" y="108"/>
                      </a:lnTo>
                      <a:lnTo>
                        <a:pt x="500" y="170"/>
                      </a:lnTo>
                      <a:lnTo>
                        <a:pt x="458" y="238"/>
                      </a:lnTo>
                      <a:lnTo>
                        <a:pt x="458" y="238"/>
                      </a:lnTo>
                      <a:lnTo>
                        <a:pt x="408" y="310"/>
                      </a:lnTo>
                      <a:lnTo>
                        <a:pt x="366" y="370"/>
                      </a:lnTo>
                      <a:lnTo>
                        <a:pt x="324" y="426"/>
                      </a:lnTo>
                      <a:lnTo>
                        <a:pt x="274" y="488"/>
                      </a:lnTo>
                      <a:lnTo>
                        <a:pt x="226" y="426"/>
                      </a:lnTo>
                      <a:lnTo>
                        <a:pt x="226" y="426"/>
                      </a:lnTo>
                      <a:lnTo>
                        <a:pt x="182" y="370"/>
                      </a:lnTo>
                      <a:lnTo>
                        <a:pt x="140" y="310"/>
                      </a:lnTo>
                      <a:lnTo>
                        <a:pt x="92" y="238"/>
                      </a:lnTo>
                      <a:lnTo>
                        <a:pt x="92" y="238"/>
                      </a:lnTo>
                      <a:lnTo>
                        <a:pt x="64" y="194"/>
                      </a:lnTo>
                      <a:lnTo>
                        <a:pt x="40" y="152"/>
                      </a:lnTo>
                      <a:lnTo>
                        <a:pt x="18" y="112"/>
                      </a:lnTo>
                      <a:lnTo>
                        <a:pt x="0" y="76"/>
                      </a:lnTo>
                      <a:lnTo>
                        <a:pt x="0" y="678"/>
                      </a:lnTo>
                      <a:lnTo>
                        <a:pt x="770" y="530"/>
                      </a:lnTo>
                      <a:lnTo>
                        <a:pt x="664" y="0"/>
                      </a:lnTo>
                      <a:close/>
                    </a:path>
                  </a:pathLst>
                </a:custGeom>
                <a:grpFill/>
                <a:ln>
                  <a:noFill/>
                </a:ln>
              </p:spPr>
              <p:txBody>
                <a:bodyPr/>
                <a:lstStyle/>
                <a:p>
                  <a:pPr marL="0" marR="0" lvl="0" indent="0" defTabSz="357179"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charset="0"/>
                  </a:endParaRPr>
                </a:p>
              </p:txBody>
            </p:sp>
            <p:sp>
              <p:nvSpPr>
                <p:cNvPr id="182" name="Freeform 38">
                  <a:extLst>
                    <a:ext uri="{FF2B5EF4-FFF2-40B4-BE49-F238E27FC236}">
                      <a16:creationId xmlns:a16="http://schemas.microsoft.com/office/drawing/2014/main" id="{1337A287-0712-444B-B740-E87086A4A92E}"/>
                    </a:ext>
                  </a:extLst>
                </p:cNvPr>
                <p:cNvSpPr>
                  <a:spLocks/>
                </p:cNvSpPr>
                <p:nvPr/>
              </p:nvSpPr>
              <p:spPr bwMode="auto">
                <a:xfrm>
                  <a:off x="6640414" y="3173588"/>
                  <a:ext cx="347493" cy="166119"/>
                </a:xfrm>
                <a:custGeom>
                  <a:avLst/>
                  <a:gdLst>
                    <a:gd name="T0" fmla="*/ 0 w 586"/>
                    <a:gd name="T1" fmla="*/ 0 h 500"/>
                    <a:gd name="T2" fmla="*/ 100 w 586"/>
                    <a:gd name="T3" fmla="*/ 500 h 500"/>
                    <a:gd name="T4" fmla="*/ 586 w 586"/>
                    <a:gd name="T5" fmla="*/ 406 h 500"/>
                    <a:gd name="T6" fmla="*/ 586 w 586"/>
                    <a:gd name="T7" fmla="*/ 0 h 500"/>
                    <a:gd name="T8" fmla="*/ 0 w 586"/>
                    <a:gd name="T9" fmla="*/ 0 h 500"/>
                  </a:gdLst>
                  <a:ahLst/>
                  <a:cxnLst>
                    <a:cxn ang="0">
                      <a:pos x="T0" y="T1"/>
                    </a:cxn>
                    <a:cxn ang="0">
                      <a:pos x="T2" y="T3"/>
                    </a:cxn>
                    <a:cxn ang="0">
                      <a:pos x="T4" y="T5"/>
                    </a:cxn>
                    <a:cxn ang="0">
                      <a:pos x="T6" y="T7"/>
                    </a:cxn>
                    <a:cxn ang="0">
                      <a:pos x="T8" y="T9"/>
                    </a:cxn>
                  </a:cxnLst>
                  <a:rect l="0" t="0" r="r" b="b"/>
                  <a:pathLst>
                    <a:path w="586" h="500">
                      <a:moveTo>
                        <a:pt x="0" y="0"/>
                      </a:moveTo>
                      <a:lnTo>
                        <a:pt x="100" y="500"/>
                      </a:lnTo>
                      <a:lnTo>
                        <a:pt x="586" y="406"/>
                      </a:lnTo>
                      <a:lnTo>
                        <a:pt x="586" y="0"/>
                      </a:lnTo>
                      <a:lnTo>
                        <a:pt x="0" y="0"/>
                      </a:lnTo>
                      <a:close/>
                    </a:path>
                  </a:pathLst>
                </a:custGeom>
                <a:grpFill/>
                <a:ln>
                  <a:noFill/>
                </a:ln>
              </p:spPr>
              <p:txBody>
                <a:bodyPr/>
                <a:lstStyle/>
                <a:p>
                  <a:pPr marL="0" marR="0" lvl="0" indent="0" defTabSz="357179"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charset="0"/>
                  </a:endParaRPr>
                </a:p>
              </p:txBody>
            </p:sp>
            <p:sp>
              <p:nvSpPr>
                <p:cNvPr id="183" name="Freeform 39">
                  <a:extLst>
                    <a:ext uri="{FF2B5EF4-FFF2-40B4-BE49-F238E27FC236}">
                      <a16:creationId xmlns:a16="http://schemas.microsoft.com/office/drawing/2014/main" id="{EC289EE4-0772-4B6E-92B4-F7F688C1A247}"/>
                    </a:ext>
                  </a:extLst>
                </p:cNvPr>
                <p:cNvSpPr>
                  <a:spLocks/>
                </p:cNvSpPr>
                <p:nvPr/>
              </p:nvSpPr>
              <p:spPr bwMode="auto">
                <a:xfrm>
                  <a:off x="6152977" y="3433397"/>
                  <a:ext cx="196873" cy="99007"/>
                </a:xfrm>
                <a:custGeom>
                  <a:avLst/>
                  <a:gdLst>
                    <a:gd name="T0" fmla="*/ 0 w 332"/>
                    <a:gd name="T1" fmla="*/ 54 h 298"/>
                    <a:gd name="T2" fmla="*/ 0 w 332"/>
                    <a:gd name="T3" fmla="*/ 298 h 298"/>
                    <a:gd name="T4" fmla="*/ 332 w 332"/>
                    <a:gd name="T5" fmla="*/ 298 h 298"/>
                    <a:gd name="T6" fmla="*/ 276 w 332"/>
                    <a:gd name="T7" fmla="*/ 0 h 298"/>
                    <a:gd name="T8" fmla="*/ 0 w 332"/>
                    <a:gd name="T9" fmla="*/ 54 h 298"/>
                  </a:gdLst>
                  <a:ahLst/>
                  <a:cxnLst>
                    <a:cxn ang="0">
                      <a:pos x="T0" y="T1"/>
                    </a:cxn>
                    <a:cxn ang="0">
                      <a:pos x="T2" y="T3"/>
                    </a:cxn>
                    <a:cxn ang="0">
                      <a:pos x="T4" y="T5"/>
                    </a:cxn>
                    <a:cxn ang="0">
                      <a:pos x="T6" y="T7"/>
                    </a:cxn>
                    <a:cxn ang="0">
                      <a:pos x="T8" y="T9"/>
                    </a:cxn>
                  </a:cxnLst>
                  <a:rect l="0" t="0" r="r" b="b"/>
                  <a:pathLst>
                    <a:path w="332" h="298">
                      <a:moveTo>
                        <a:pt x="0" y="54"/>
                      </a:moveTo>
                      <a:lnTo>
                        <a:pt x="0" y="298"/>
                      </a:lnTo>
                      <a:lnTo>
                        <a:pt x="332" y="298"/>
                      </a:lnTo>
                      <a:lnTo>
                        <a:pt x="276" y="0"/>
                      </a:lnTo>
                      <a:lnTo>
                        <a:pt x="0" y="54"/>
                      </a:lnTo>
                      <a:close/>
                    </a:path>
                  </a:pathLst>
                </a:custGeom>
                <a:grpFill/>
                <a:ln>
                  <a:noFill/>
                </a:ln>
              </p:spPr>
              <p:txBody>
                <a:bodyPr/>
                <a:lstStyle/>
                <a:p>
                  <a:pPr marL="0" marR="0" lvl="0" indent="0" defTabSz="357179"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charset="0"/>
                  </a:endParaRPr>
                </a:p>
              </p:txBody>
            </p:sp>
            <p:sp>
              <p:nvSpPr>
                <p:cNvPr id="184" name="Freeform 40">
                  <a:extLst>
                    <a:ext uri="{FF2B5EF4-FFF2-40B4-BE49-F238E27FC236}">
                      <a16:creationId xmlns:a16="http://schemas.microsoft.com/office/drawing/2014/main" id="{5DE31BBE-7D23-4107-A6F7-AE881D0BBF98}"/>
                    </a:ext>
                  </a:extLst>
                </p:cNvPr>
                <p:cNvSpPr>
                  <a:spLocks/>
                </p:cNvSpPr>
                <p:nvPr/>
              </p:nvSpPr>
              <p:spPr bwMode="auto">
                <a:xfrm>
                  <a:off x="6406776" y="3360969"/>
                  <a:ext cx="581131" cy="171435"/>
                </a:xfrm>
                <a:custGeom>
                  <a:avLst/>
                  <a:gdLst>
                    <a:gd name="T0" fmla="*/ 60 w 980"/>
                    <a:gd name="T1" fmla="*/ 516 h 516"/>
                    <a:gd name="T2" fmla="*/ 980 w 980"/>
                    <a:gd name="T3" fmla="*/ 516 h 516"/>
                    <a:gd name="T4" fmla="*/ 980 w 980"/>
                    <a:gd name="T5" fmla="*/ 0 h 516"/>
                    <a:gd name="T6" fmla="*/ 0 w 980"/>
                    <a:gd name="T7" fmla="*/ 188 h 516"/>
                    <a:gd name="T8" fmla="*/ 60 w 980"/>
                    <a:gd name="T9" fmla="*/ 516 h 516"/>
                  </a:gdLst>
                  <a:ahLst/>
                  <a:cxnLst>
                    <a:cxn ang="0">
                      <a:pos x="T0" y="T1"/>
                    </a:cxn>
                    <a:cxn ang="0">
                      <a:pos x="T2" y="T3"/>
                    </a:cxn>
                    <a:cxn ang="0">
                      <a:pos x="T4" y="T5"/>
                    </a:cxn>
                    <a:cxn ang="0">
                      <a:pos x="T6" y="T7"/>
                    </a:cxn>
                    <a:cxn ang="0">
                      <a:pos x="T8" y="T9"/>
                    </a:cxn>
                  </a:cxnLst>
                  <a:rect l="0" t="0" r="r" b="b"/>
                  <a:pathLst>
                    <a:path w="980" h="516">
                      <a:moveTo>
                        <a:pt x="60" y="516"/>
                      </a:moveTo>
                      <a:lnTo>
                        <a:pt x="980" y="516"/>
                      </a:lnTo>
                      <a:lnTo>
                        <a:pt x="980" y="0"/>
                      </a:lnTo>
                      <a:lnTo>
                        <a:pt x="0" y="188"/>
                      </a:lnTo>
                      <a:lnTo>
                        <a:pt x="60" y="516"/>
                      </a:lnTo>
                      <a:close/>
                    </a:path>
                  </a:pathLst>
                </a:custGeom>
                <a:grpFill/>
                <a:ln>
                  <a:noFill/>
                </a:ln>
              </p:spPr>
              <p:txBody>
                <a:bodyPr/>
                <a:lstStyle/>
                <a:p>
                  <a:pPr marL="0" marR="0" lvl="0" indent="0" defTabSz="357179"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charset="0"/>
                  </a:endParaRPr>
                </a:p>
              </p:txBody>
            </p:sp>
            <p:sp>
              <p:nvSpPr>
                <p:cNvPr id="185" name="Freeform 41">
                  <a:extLst>
                    <a:ext uri="{FF2B5EF4-FFF2-40B4-BE49-F238E27FC236}">
                      <a16:creationId xmlns:a16="http://schemas.microsoft.com/office/drawing/2014/main" id="{E71F481E-FAA8-48D5-91B1-3198F4843297}"/>
                    </a:ext>
                  </a:extLst>
                </p:cNvPr>
                <p:cNvSpPr>
                  <a:spLocks noEditPoints="1"/>
                </p:cNvSpPr>
                <p:nvPr/>
              </p:nvSpPr>
              <p:spPr bwMode="auto">
                <a:xfrm>
                  <a:off x="6161278" y="3057304"/>
                  <a:ext cx="309541" cy="245191"/>
                </a:xfrm>
                <a:custGeom>
                  <a:avLst/>
                  <a:gdLst>
                    <a:gd name="T0" fmla="*/ 522 w 522"/>
                    <a:gd name="T1" fmla="*/ 262 h 738"/>
                    <a:gd name="T2" fmla="*/ 516 w 522"/>
                    <a:gd name="T3" fmla="*/ 208 h 738"/>
                    <a:gd name="T4" fmla="*/ 502 w 522"/>
                    <a:gd name="T5" fmla="*/ 160 h 738"/>
                    <a:gd name="T6" fmla="*/ 478 w 522"/>
                    <a:gd name="T7" fmla="*/ 116 h 738"/>
                    <a:gd name="T8" fmla="*/ 446 w 522"/>
                    <a:gd name="T9" fmla="*/ 76 h 738"/>
                    <a:gd name="T10" fmla="*/ 406 w 522"/>
                    <a:gd name="T11" fmla="*/ 44 h 738"/>
                    <a:gd name="T12" fmla="*/ 362 w 522"/>
                    <a:gd name="T13" fmla="*/ 20 h 738"/>
                    <a:gd name="T14" fmla="*/ 314 w 522"/>
                    <a:gd name="T15" fmla="*/ 6 h 738"/>
                    <a:gd name="T16" fmla="*/ 260 w 522"/>
                    <a:gd name="T17" fmla="*/ 0 h 738"/>
                    <a:gd name="T18" fmla="*/ 234 w 522"/>
                    <a:gd name="T19" fmla="*/ 2 h 738"/>
                    <a:gd name="T20" fmla="*/ 182 w 522"/>
                    <a:gd name="T21" fmla="*/ 12 h 738"/>
                    <a:gd name="T22" fmla="*/ 136 w 522"/>
                    <a:gd name="T23" fmla="*/ 32 h 738"/>
                    <a:gd name="T24" fmla="*/ 94 w 522"/>
                    <a:gd name="T25" fmla="*/ 60 h 738"/>
                    <a:gd name="T26" fmla="*/ 60 w 522"/>
                    <a:gd name="T27" fmla="*/ 96 h 738"/>
                    <a:gd name="T28" fmla="*/ 30 w 522"/>
                    <a:gd name="T29" fmla="*/ 138 h 738"/>
                    <a:gd name="T30" fmla="*/ 12 w 522"/>
                    <a:gd name="T31" fmla="*/ 184 h 738"/>
                    <a:gd name="T32" fmla="*/ 0 w 522"/>
                    <a:gd name="T33" fmla="*/ 234 h 738"/>
                    <a:gd name="T34" fmla="*/ 0 w 522"/>
                    <a:gd name="T35" fmla="*/ 262 h 738"/>
                    <a:gd name="T36" fmla="*/ 2 w 522"/>
                    <a:gd name="T37" fmla="*/ 290 h 738"/>
                    <a:gd name="T38" fmla="*/ 24 w 522"/>
                    <a:gd name="T39" fmla="*/ 360 h 738"/>
                    <a:gd name="T40" fmla="*/ 60 w 522"/>
                    <a:gd name="T41" fmla="*/ 436 h 738"/>
                    <a:gd name="T42" fmla="*/ 106 w 522"/>
                    <a:gd name="T43" fmla="*/ 516 h 738"/>
                    <a:gd name="T44" fmla="*/ 178 w 522"/>
                    <a:gd name="T45" fmla="*/ 626 h 738"/>
                    <a:gd name="T46" fmla="*/ 260 w 522"/>
                    <a:gd name="T47" fmla="*/ 738 h 738"/>
                    <a:gd name="T48" fmla="*/ 302 w 522"/>
                    <a:gd name="T49" fmla="*/ 684 h 738"/>
                    <a:gd name="T50" fmla="*/ 392 w 522"/>
                    <a:gd name="T51" fmla="*/ 554 h 738"/>
                    <a:gd name="T52" fmla="*/ 440 w 522"/>
                    <a:gd name="T53" fmla="*/ 476 h 738"/>
                    <a:gd name="T54" fmla="*/ 482 w 522"/>
                    <a:gd name="T55" fmla="*/ 398 h 738"/>
                    <a:gd name="T56" fmla="*/ 510 w 522"/>
                    <a:gd name="T57" fmla="*/ 324 h 738"/>
                    <a:gd name="T58" fmla="*/ 522 w 522"/>
                    <a:gd name="T59" fmla="*/ 276 h 738"/>
                    <a:gd name="T60" fmla="*/ 522 w 522"/>
                    <a:gd name="T61" fmla="*/ 262 h 738"/>
                    <a:gd name="T62" fmla="*/ 134 w 522"/>
                    <a:gd name="T63" fmla="*/ 262 h 738"/>
                    <a:gd name="T64" fmla="*/ 136 w 522"/>
                    <a:gd name="T65" fmla="*/ 236 h 738"/>
                    <a:gd name="T66" fmla="*/ 144 w 522"/>
                    <a:gd name="T67" fmla="*/ 212 h 738"/>
                    <a:gd name="T68" fmla="*/ 170 w 522"/>
                    <a:gd name="T69" fmla="*/ 172 h 738"/>
                    <a:gd name="T70" fmla="*/ 212 w 522"/>
                    <a:gd name="T71" fmla="*/ 144 h 738"/>
                    <a:gd name="T72" fmla="*/ 236 w 522"/>
                    <a:gd name="T73" fmla="*/ 138 h 738"/>
                    <a:gd name="T74" fmla="*/ 260 w 522"/>
                    <a:gd name="T75" fmla="*/ 134 h 738"/>
                    <a:gd name="T76" fmla="*/ 274 w 522"/>
                    <a:gd name="T77" fmla="*/ 136 h 738"/>
                    <a:gd name="T78" fmla="*/ 298 w 522"/>
                    <a:gd name="T79" fmla="*/ 140 h 738"/>
                    <a:gd name="T80" fmla="*/ 332 w 522"/>
                    <a:gd name="T81" fmla="*/ 156 h 738"/>
                    <a:gd name="T82" fmla="*/ 366 w 522"/>
                    <a:gd name="T83" fmla="*/ 190 h 738"/>
                    <a:gd name="T84" fmla="*/ 382 w 522"/>
                    <a:gd name="T85" fmla="*/ 224 h 738"/>
                    <a:gd name="T86" fmla="*/ 386 w 522"/>
                    <a:gd name="T87" fmla="*/ 248 h 738"/>
                    <a:gd name="T88" fmla="*/ 388 w 522"/>
                    <a:gd name="T89" fmla="*/ 262 h 738"/>
                    <a:gd name="T90" fmla="*/ 386 w 522"/>
                    <a:gd name="T91" fmla="*/ 288 h 738"/>
                    <a:gd name="T92" fmla="*/ 378 w 522"/>
                    <a:gd name="T93" fmla="*/ 310 h 738"/>
                    <a:gd name="T94" fmla="*/ 350 w 522"/>
                    <a:gd name="T95" fmla="*/ 352 h 738"/>
                    <a:gd name="T96" fmla="*/ 310 w 522"/>
                    <a:gd name="T97" fmla="*/ 378 h 738"/>
                    <a:gd name="T98" fmla="*/ 286 w 522"/>
                    <a:gd name="T99" fmla="*/ 386 h 738"/>
                    <a:gd name="T100" fmla="*/ 260 w 522"/>
                    <a:gd name="T101" fmla="*/ 388 h 738"/>
                    <a:gd name="T102" fmla="*/ 248 w 522"/>
                    <a:gd name="T103" fmla="*/ 388 h 738"/>
                    <a:gd name="T104" fmla="*/ 222 w 522"/>
                    <a:gd name="T105" fmla="*/ 382 h 738"/>
                    <a:gd name="T106" fmla="*/ 190 w 522"/>
                    <a:gd name="T107" fmla="*/ 366 h 738"/>
                    <a:gd name="T108" fmla="*/ 156 w 522"/>
                    <a:gd name="T109" fmla="*/ 332 h 738"/>
                    <a:gd name="T110" fmla="*/ 140 w 522"/>
                    <a:gd name="T111" fmla="*/ 300 h 738"/>
                    <a:gd name="T112" fmla="*/ 134 w 522"/>
                    <a:gd name="T113" fmla="*/ 274 h 738"/>
                    <a:gd name="T114" fmla="*/ 134 w 522"/>
                    <a:gd name="T115" fmla="*/ 26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2" h="738">
                      <a:moveTo>
                        <a:pt x="522" y="262"/>
                      </a:moveTo>
                      <a:lnTo>
                        <a:pt x="522" y="262"/>
                      </a:lnTo>
                      <a:lnTo>
                        <a:pt x="520" y="234"/>
                      </a:lnTo>
                      <a:lnTo>
                        <a:pt x="516" y="208"/>
                      </a:lnTo>
                      <a:lnTo>
                        <a:pt x="510" y="184"/>
                      </a:lnTo>
                      <a:lnTo>
                        <a:pt x="502" y="160"/>
                      </a:lnTo>
                      <a:lnTo>
                        <a:pt x="490" y="138"/>
                      </a:lnTo>
                      <a:lnTo>
                        <a:pt x="478" y="116"/>
                      </a:lnTo>
                      <a:lnTo>
                        <a:pt x="462" y="96"/>
                      </a:lnTo>
                      <a:lnTo>
                        <a:pt x="446" y="76"/>
                      </a:lnTo>
                      <a:lnTo>
                        <a:pt x="426" y="60"/>
                      </a:lnTo>
                      <a:lnTo>
                        <a:pt x="406" y="44"/>
                      </a:lnTo>
                      <a:lnTo>
                        <a:pt x="386" y="32"/>
                      </a:lnTo>
                      <a:lnTo>
                        <a:pt x="362" y="20"/>
                      </a:lnTo>
                      <a:lnTo>
                        <a:pt x="338" y="12"/>
                      </a:lnTo>
                      <a:lnTo>
                        <a:pt x="314" y="6"/>
                      </a:lnTo>
                      <a:lnTo>
                        <a:pt x="288" y="2"/>
                      </a:lnTo>
                      <a:lnTo>
                        <a:pt x="260" y="0"/>
                      </a:lnTo>
                      <a:lnTo>
                        <a:pt x="260" y="0"/>
                      </a:lnTo>
                      <a:lnTo>
                        <a:pt x="234" y="2"/>
                      </a:lnTo>
                      <a:lnTo>
                        <a:pt x="208" y="6"/>
                      </a:lnTo>
                      <a:lnTo>
                        <a:pt x="182" y="12"/>
                      </a:lnTo>
                      <a:lnTo>
                        <a:pt x="158" y="20"/>
                      </a:lnTo>
                      <a:lnTo>
                        <a:pt x="136" y="32"/>
                      </a:lnTo>
                      <a:lnTo>
                        <a:pt x="114" y="44"/>
                      </a:lnTo>
                      <a:lnTo>
                        <a:pt x="94" y="60"/>
                      </a:lnTo>
                      <a:lnTo>
                        <a:pt x="76" y="76"/>
                      </a:lnTo>
                      <a:lnTo>
                        <a:pt x="60" y="96"/>
                      </a:lnTo>
                      <a:lnTo>
                        <a:pt x="44" y="116"/>
                      </a:lnTo>
                      <a:lnTo>
                        <a:pt x="30" y="138"/>
                      </a:lnTo>
                      <a:lnTo>
                        <a:pt x="20" y="160"/>
                      </a:lnTo>
                      <a:lnTo>
                        <a:pt x="12" y="184"/>
                      </a:lnTo>
                      <a:lnTo>
                        <a:pt x="4" y="208"/>
                      </a:lnTo>
                      <a:lnTo>
                        <a:pt x="0" y="234"/>
                      </a:lnTo>
                      <a:lnTo>
                        <a:pt x="0" y="262"/>
                      </a:lnTo>
                      <a:lnTo>
                        <a:pt x="0" y="262"/>
                      </a:lnTo>
                      <a:lnTo>
                        <a:pt x="0" y="276"/>
                      </a:lnTo>
                      <a:lnTo>
                        <a:pt x="2" y="290"/>
                      </a:lnTo>
                      <a:lnTo>
                        <a:pt x="10" y="324"/>
                      </a:lnTo>
                      <a:lnTo>
                        <a:pt x="24" y="360"/>
                      </a:lnTo>
                      <a:lnTo>
                        <a:pt x="40" y="398"/>
                      </a:lnTo>
                      <a:lnTo>
                        <a:pt x="60" y="436"/>
                      </a:lnTo>
                      <a:lnTo>
                        <a:pt x="82" y="476"/>
                      </a:lnTo>
                      <a:lnTo>
                        <a:pt x="106" y="516"/>
                      </a:lnTo>
                      <a:lnTo>
                        <a:pt x="130" y="554"/>
                      </a:lnTo>
                      <a:lnTo>
                        <a:pt x="178" y="626"/>
                      </a:lnTo>
                      <a:lnTo>
                        <a:pt x="220" y="684"/>
                      </a:lnTo>
                      <a:lnTo>
                        <a:pt x="260" y="738"/>
                      </a:lnTo>
                      <a:lnTo>
                        <a:pt x="260" y="738"/>
                      </a:lnTo>
                      <a:lnTo>
                        <a:pt x="302" y="684"/>
                      </a:lnTo>
                      <a:lnTo>
                        <a:pt x="344" y="626"/>
                      </a:lnTo>
                      <a:lnTo>
                        <a:pt x="392" y="554"/>
                      </a:lnTo>
                      <a:lnTo>
                        <a:pt x="416" y="516"/>
                      </a:lnTo>
                      <a:lnTo>
                        <a:pt x="440" y="476"/>
                      </a:lnTo>
                      <a:lnTo>
                        <a:pt x="462" y="436"/>
                      </a:lnTo>
                      <a:lnTo>
                        <a:pt x="482" y="398"/>
                      </a:lnTo>
                      <a:lnTo>
                        <a:pt x="498" y="360"/>
                      </a:lnTo>
                      <a:lnTo>
                        <a:pt x="510" y="324"/>
                      </a:lnTo>
                      <a:lnTo>
                        <a:pt x="520" y="290"/>
                      </a:lnTo>
                      <a:lnTo>
                        <a:pt x="522" y="276"/>
                      </a:lnTo>
                      <a:lnTo>
                        <a:pt x="522" y="262"/>
                      </a:lnTo>
                      <a:lnTo>
                        <a:pt x="522" y="262"/>
                      </a:lnTo>
                      <a:close/>
                      <a:moveTo>
                        <a:pt x="134" y="262"/>
                      </a:moveTo>
                      <a:lnTo>
                        <a:pt x="134" y="262"/>
                      </a:lnTo>
                      <a:lnTo>
                        <a:pt x="134" y="248"/>
                      </a:lnTo>
                      <a:lnTo>
                        <a:pt x="136" y="236"/>
                      </a:lnTo>
                      <a:lnTo>
                        <a:pt x="140" y="224"/>
                      </a:lnTo>
                      <a:lnTo>
                        <a:pt x="144" y="212"/>
                      </a:lnTo>
                      <a:lnTo>
                        <a:pt x="156" y="190"/>
                      </a:lnTo>
                      <a:lnTo>
                        <a:pt x="170" y="172"/>
                      </a:lnTo>
                      <a:lnTo>
                        <a:pt x="190" y="156"/>
                      </a:lnTo>
                      <a:lnTo>
                        <a:pt x="212" y="144"/>
                      </a:lnTo>
                      <a:lnTo>
                        <a:pt x="222" y="140"/>
                      </a:lnTo>
                      <a:lnTo>
                        <a:pt x="236" y="138"/>
                      </a:lnTo>
                      <a:lnTo>
                        <a:pt x="248" y="136"/>
                      </a:lnTo>
                      <a:lnTo>
                        <a:pt x="260" y="134"/>
                      </a:lnTo>
                      <a:lnTo>
                        <a:pt x="260" y="134"/>
                      </a:lnTo>
                      <a:lnTo>
                        <a:pt x="274" y="136"/>
                      </a:lnTo>
                      <a:lnTo>
                        <a:pt x="286" y="138"/>
                      </a:lnTo>
                      <a:lnTo>
                        <a:pt x="298" y="140"/>
                      </a:lnTo>
                      <a:lnTo>
                        <a:pt x="310" y="144"/>
                      </a:lnTo>
                      <a:lnTo>
                        <a:pt x="332" y="156"/>
                      </a:lnTo>
                      <a:lnTo>
                        <a:pt x="350" y="172"/>
                      </a:lnTo>
                      <a:lnTo>
                        <a:pt x="366" y="190"/>
                      </a:lnTo>
                      <a:lnTo>
                        <a:pt x="378" y="212"/>
                      </a:lnTo>
                      <a:lnTo>
                        <a:pt x="382" y="224"/>
                      </a:lnTo>
                      <a:lnTo>
                        <a:pt x="386" y="236"/>
                      </a:lnTo>
                      <a:lnTo>
                        <a:pt x="386" y="248"/>
                      </a:lnTo>
                      <a:lnTo>
                        <a:pt x="388" y="262"/>
                      </a:lnTo>
                      <a:lnTo>
                        <a:pt x="388" y="262"/>
                      </a:lnTo>
                      <a:lnTo>
                        <a:pt x="386" y="274"/>
                      </a:lnTo>
                      <a:lnTo>
                        <a:pt x="386" y="288"/>
                      </a:lnTo>
                      <a:lnTo>
                        <a:pt x="382" y="300"/>
                      </a:lnTo>
                      <a:lnTo>
                        <a:pt x="378" y="310"/>
                      </a:lnTo>
                      <a:lnTo>
                        <a:pt x="366" y="332"/>
                      </a:lnTo>
                      <a:lnTo>
                        <a:pt x="350" y="352"/>
                      </a:lnTo>
                      <a:lnTo>
                        <a:pt x="332" y="366"/>
                      </a:lnTo>
                      <a:lnTo>
                        <a:pt x="310" y="378"/>
                      </a:lnTo>
                      <a:lnTo>
                        <a:pt x="298" y="382"/>
                      </a:lnTo>
                      <a:lnTo>
                        <a:pt x="286" y="386"/>
                      </a:lnTo>
                      <a:lnTo>
                        <a:pt x="274" y="388"/>
                      </a:lnTo>
                      <a:lnTo>
                        <a:pt x="260" y="388"/>
                      </a:lnTo>
                      <a:lnTo>
                        <a:pt x="260" y="388"/>
                      </a:lnTo>
                      <a:lnTo>
                        <a:pt x="248" y="388"/>
                      </a:lnTo>
                      <a:lnTo>
                        <a:pt x="236" y="386"/>
                      </a:lnTo>
                      <a:lnTo>
                        <a:pt x="222" y="382"/>
                      </a:lnTo>
                      <a:lnTo>
                        <a:pt x="212" y="378"/>
                      </a:lnTo>
                      <a:lnTo>
                        <a:pt x="190" y="366"/>
                      </a:lnTo>
                      <a:lnTo>
                        <a:pt x="170" y="352"/>
                      </a:lnTo>
                      <a:lnTo>
                        <a:pt x="156" y="332"/>
                      </a:lnTo>
                      <a:lnTo>
                        <a:pt x="144" y="310"/>
                      </a:lnTo>
                      <a:lnTo>
                        <a:pt x="140" y="300"/>
                      </a:lnTo>
                      <a:lnTo>
                        <a:pt x="136" y="288"/>
                      </a:lnTo>
                      <a:lnTo>
                        <a:pt x="134" y="274"/>
                      </a:lnTo>
                      <a:lnTo>
                        <a:pt x="134" y="262"/>
                      </a:lnTo>
                      <a:lnTo>
                        <a:pt x="134" y="262"/>
                      </a:lnTo>
                      <a:close/>
                    </a:path>
                  </a:pathLst>
                </a:custGeom>
                <a:grpFill/>
                <a:ln>
                  <a:noFill/>
                </a:ln>
              </p:spPr>
              <p:txBody>
                <a:bodyPr/>
                <a:lstStyle/>
                <a:p>
                  <a:pPr marL="0" marR="0" lvl="0" indent="0" defTabSz="357179"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prstClr val="black"/>
                    </a:solidFill>
                    <a:effectLst/>
                    <a:uLnTx/>
                    <a:uFillTx/>
                    <a:ea typeface="ＭＳ Ｐゴシック" charset="0"/>
                  </a:endParaRPr>
                </a:p>
              </p:txBody>
            </p:sp>
          </p:grpSp>
          <p:cxnSp>
            <p:nvCxnSpPr>
              <p:cNvPr id="178" name="Straight Connector 177">
                <a:extLst>
                  <a:ext uri="{FF2B5EF4-FFF2-40B4-BE49-F238E27FC236}">
                    <a16:creationId xmlns:a16="http://schemas.microsoft.com/office/drawing/2014/main" id="{9F4F9261-6BF2-4939-A59F-58902ECF8DF2}"/>
                  </a:ext>
                </a:extLst>
              </p:cNvPr>
              <p:cNvCxnSpPr/>
              <p:nvPr/>
            </p:nvCxnSpPr>
            <p:spPr>
              <a:xfrm flipV="1">
                <a:off x="6422811" y="1346139"/>
                <a:ext cx="1414906" cy="1"/>
              </a:xfrm>
              <a:prstGeom prst="line">
                <a:avLst/>
              </a:prstGeom>
              <a:noFill/>
              <a:ln w="9525" cap="flat" cmpd="sng" algn="ctr">
                <a:solidFill>
                  <a:srgbClr val="75787A"/>
                </a:solidFill>
                <a:prstDash val="solid"/>
              </a:ln>
              <a:effectLst/>
            </p:spPr>
          </p:cxnSp>
          <p:sp>
            <p:nvSpPr>
              <p:cNvPr id="179" name="Title 3">
                <a:extLst>
                  <a:ext uri="{FF2B5EF4-FFF2-40B4-BE49-F238E27FC236}">
                    <a16:creationId xmlns:a16="http://schemas.microsoft.com/office/drawing/2014/main" id="{7B08CA7E-1958-4A8A-8642-D4E939E08767}"/>
                  </a:ext>
                </a:extLst>
              </p:cNvPr>
              <p:cNvSpPr txBox="1">
                <a:spLocks/>
              </p:cNvSpPr>
              <p:nvPr/>
            </p:nvSpPr>
            <p:spPr>
              <a:xfrm>
                <a:off x="6765949" y="1064541"/>
                <a:ext cx="1082651" cy="335637"/>
              </a:xfrm>
              <a:prstGeom prst="rect">
                <a:avLst/>
              </a:prstGeom>
            </p:spPr>
            <p:txBody>
              <a:bodyPr vert="horz" lIns="71579" tIns="35790" rIns="71579" bIns="35790" rtlCol="0" anchor="ctr" anchorCtr="0">
                <a:normAutofit fontScale="97500"/>
              </a:bodyPr>
              <a:lstStyle>
                <a:lvl1pPr algn="l" defTabSz="357188" rtl="0" eaLnBrk="1" fontAlgn="base" hangingPunct="1">
                  <a:spcBef>
                    <a:spcPct val="0"/>
                  </a:spcBef>
                  <a:spcAft>
                    <a:spcPct val="0"/>
                  </a:spcAft>
                  <a:defRPr sz="3000" kern="1200">
                    <a:solidFill>
                      <a:schemeClr val="tx1"/>
                    </a:solidFill>
                    <a:latin typeface="+mj-lt"/>
                    <a:ea typeface="ＭＳ Ｐゴシック" charset="0"/>
                    <a:cs typeface="Arial"/>
                  </a:defRPr>
                </a:lvl1pPr>
                <a:lvl2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2pPr>
                <a:lvl3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3pPr>
                <a:lvl4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4pPr>
                <a:lvl5pPr algn="l" defTabSz="357188" rtl="0" eaLnBrk="1" fontAlgn="base" hangingPunct="1">
                  <a:spcBef>
                    <a:spcPct val="0"/>
                  </a:spcBef>
                  <a:spcAft>
                    <a:spcPct val="0"/>
                  </a:spcAft>
                  <a:defRPr sz="3000">
                    <a:solidFill>
                      <a:schemeClr val="tx1"/>
                    </a:solidFill>
                    <a:latin typeface="Franklin Gothic Book" charset="0"/>
                    <a:ea typeface="ＭＳ Ｐゴシック" charset="0"/>
                  </a:defRPr>
                </a:lvl5pPr>
                <a:lvl6pPr marL="457200" algn="l" defTabSz="357188" rtl="0" eaLnBrk="1" fontAlgn="base" hangingPunct="1">
                  <a:spcBef>
                    <a:spcPct val="0"/>
                  </a:spcBef>
                  <a:spcAft>
                    <a:spcPct val="0"/>
                  </a:spcAft>
                  <a:defRPr sz="3000">
                    <a:solidFill>
                      <a:schemeClr val="bg1"/>
                    </a:solidFill>
                    <a:latin typeface="Franklin Gothic Book" charset="0"/>
                    <a:ea typeface="ＭＳ Ｐゴシック" charset="0"/>
                  </a:defRPr>
                </a:lvl6pPr>
                <a:lvl7pPr marL="914400" algn="l" defTabSz="357188" rtl="0" eaLnBrk="1" fontAlgn="base" hangingPunct="1">
                  <a:spcBef>
                    <a:spcPct val="0"/>
                  </a:spcBef>
                  <a:spcAft>
                    <a:spcPct val="0"/>
                  </a:spcAft>
                  <a:defRPr sz="3000">
                    <a:solidFill>
                      <a:schemeClr val="bg1"/>
                    </a:solidFill>
                    <a:latin typeface="Franklin Gothic Book" charset="0"/>
                    <a:ea typeface="ＭＳ Ｐゴシック" charset="0"/>
                  </a:defRPr>
                </a:lvl7pPr>
                <a:lvl8pPr marL="1371600" algn="l" defTabSz="357188" rtl="0" eaLnBrk="1" fontAlgn="base" hangingPunct="1">
                  <a:spcBef>
                    <a:spcPct val="0"/>
                  </a:spcBef>
                  <a:spcAft>
                    <a:spcPct val="0"/>
                  </a:spcAft>
                  <a:defRPr sz="3000">
                    <a:solidFill>
                      <a:schemeClr val="bg1"/>
                    </a:solidFill>
                    <a:latin typeface="Franklin Gothic Book" charset="0"/>
                    <a:ea typeface="ＭＳ Ｐゴシック" charset="0"/>
                  </a:defRPr>
                </a:lvl8pPr>
                <a:lvl9pPr marL="1828800" algn="l" defTabSz="357188" rtl="0" eaLnBrk="1" fontAlgn="base" hangingPunct="1">
                  <a:spcBef>
                    <a:spcPct val="0"/>
                  </a:spcBef>
                  <a:spcAft>
                    <a:spcPct val="0"/>
                  </a:spcAft>
                  <a:defRPr sz="3000">
                    <a:solidFill>
                      <a:schemeClr val="bg1"/>
                    </a:solidFill>
                    <a:latin typeface="Franklin Gothic Book" charset="0"/>
                    <a:ea typeface="ＭＳ Ｐゴシック" charset="0"/>
                  </a:defRPr>
                </a:lvl9pPr>
              </a:lstStyle>
              <a:p>
                <a:pPr algn="ctr" defTabSz="357179"/>
                <a:r>
                  <a:rPr lang="en-US" sz="1200" b="1">
                    <a:solidFill>
                      <a:prstClr val="black"/>
                    </a:solidFill>
                    <a:latin typeface="+mn-lt"/>
                  </a:rPr>
                  <a:t>Region</a:t>
                </a:r>
              </a:p>
            </p:txBody>
          </p:sp>
        </p:grpSp>
      </p:grpSp>
      <p:pic>
        <p:nvPicPr>
          <p:cNvPr id="236" name="Picture 2">
            <a:extLst>
              <a:ext uri="{FF2B5EF4-FFF2-40B4-BE49-F238E27FC236}">
                <a16:creationId xmlns:a16="http://schemas.microsoft.com/office/drawing/2014/main" id="{5C9E6C38-E008-409F-9096-AF8937D29DC5}"/>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446693" y="4702674"/>
            <a:ext cx="1403092" cy="19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53074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E67E58-C9F5-4CAE-AC19-DCC56373E762}"/>
              </a:ext>
            </a:extLst>
          </p:cNvPr>
          <p:cNvSpPr/>
          <p:nvPr/>
        </p:nvSpPr>
        <p:spPr>
          <a:xfrm>
            <a:off x="871369" y="1133298"/>
            <a:ext cx="10220922" cy="48840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72075FD4-4F24-4C53-8591-FAFDA2F64D5B}"/>
              </a:ext>
            </a:extLst>
          </p:cNvPr>
          <p:cNvSpPr>
            <a:spLocks noGrp="1"/>
          </p:cNvSpPr>
          <p:nvPr>
            <p:ph type="sldNum" sz="quarter" idx="11"/>
          </p:nvPr>
        </p:nvSpPr>
        <p:spPr/>
        <p:txBody>
          <a:bodyPr/>
          <a:lstStyle/>
          <a:p>
            <a:pPr>
              <a:defRPr/>
            </a:pPr>
            <a:fld id="{47794585-347E-4355-955C-F2766ACC4F25}" type="slidenum">
              <a:rPr lang="en-US" smtClean="0"/>
              <a:pPr>
                <a:defRPr/>
              </a:pPr>
              <a:t>6</a:t>
            </a:fld>
            <a:endParaRPr lang="en-US"/>
          </a:p>
        </p:txBody>
      </p:sp>
      <p:pic>
        <p:nvPicPr>
          <p:cNvPr id="27650" name="Picture 2" descr="The impact of Covid-19: a guide to business risk and protection ...">
            <a:extLst>
              <a:ext uri="{FF2B5EF4-FFF2-40B4-BE49-F238E27FC236}">
                <a16:creationId xmlns:a16="http://schemas.microsoft.com/office/drawing/2014/main" id="{A4E8F543-1DAA-4276-99B9-F9B14EC6B1FF}"/>
              </a:ext>
            </a:extLst>
          </p:cNvPr>
          <p:cNvPicPr>
            <a:picLocks noChangeAspect="1" noChangeArrowheads="1"/>
          </p:cNvPicPr>
          <p:nvPr/>
        </p:nvPicPr>
        <p:blipFill rotWithShape="1">
          <a:blip r:embed="rId2">
            <a:alphaModFix amt="35000"/>
            <a:extLst>
              <a:ext uri="{28A0092B-C50C-407E-A947-70E740481C1C}">
                <a14:useLocalDpi xmlns:a14="http://schemas.microsoft.com/office/drawing/2010/main" val="0"/>
              </a:ext>
            </a:extLst>
          </a:blip>
          <a:srcRect b="15508"/>
          <a:stretch/>
        </p:blipFill>
        <p:spPr bwMode="auto">
          <a:xfrm>
            <a:off x="0" y="-9525"/>
            <a:ext cx="12192000" cy="686752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A42C5FF4-B7D8-4392-896E-18E33EA3AA2C}"/>
              </a:ext>
            </a:extLst>
          </p:cNvPr>
          <p:cNvGrpSpPr/>
          <p:nvPr/>
        </p:nvGrpSpPr>
        <p:grpSpPr>
          <a:xfrm>
            <a:off x="1092559" y="1352022"/>
            <a:ext cx="9744739" cy="4665320"/>
            <a:chOff x="420263" y="63997"/>
            <a:chExt cx="9744739" cy="4107953"/>
          </a:xfrm>
        </p:grpSpPr>
        <p:sp>
          <p:nvSpPr>
            <p:cNvPr id="6" name="Title 8">
              <a:extLst>
                <a:ext uri="{FF2B5EF4-FFF2-40B4-BE49-F238E27FC236}">
                  <a16:creationId xmlns:a16="http://schemas.microsoft.com/office/drawing/2014/main" id="{AC97A102-9D3C-4FB3-B151-5D1F1C789D38}"/>
                </a:ext>
              </a:extLst>
            </p:cNvPr>
            <p:cNvSpPr txBox="1">
              <a:spLocks/>
            </p:cNvSpPr>
            <p:nvPr/>
          </p:nvSpPr>
          <p:spPr>
            <a:xfrm>
              <a:off x="1999409" y="63997"/>
              <a:ext cx="8165593" cy="428625"/>
            </a:xfrm>
            <a:prstGeom prst="rect">
              <a:avLst/>
            </a:prstGeom>
            <a:ln>
              <a:noFill/>
            </a:ln>
          </p:spPr>
          <p:style>
            <a:lnRef idx="2">
              <a:schemeClr val="accent1"/>
            </a:lnRef>
            <a:fillRef idx="1">
              <a:schemeClr val="lt1"/>
            </a:fillRef>
            <a:effectRef idx="0">
              <a:schemeClr val="accent1"/>
            </a:effectRef>
            <a:fontRef idx="minor">
              <a:schemeClr val="dk1"/>
            </a:fontRef>
          </p:style>
          <p:txBody>
            <a:bodyPr/>
            <a:lstStyle>
              <a:lvl1pPr algn="l" defTabSz="457200" rtl="0" eaLnBrk="1" latinLnBrk="0" hangingPunct="1">
                <a:spcBef>
                  <a:spcPct val="0"/>
                </a:spcBef>
                <a:buNone/>
                <a:defRPr sz="3000" kern="1200" cap="all" baseline="0">
                  <a:solidFill>
                    <a:schemeClr val="tx2"/>
                  </a:solidFill>
                  <a:latin typeface="+mj-lt"/>
                  <a:ea typeface="+mj-ea"/>
                  <a:cs typeface="+mj-cs"/>
                </a:defRPr>
              </a:lvl1pPr>
            </a:lstStyle>
            <a:p>
              <a:r>
                <a:rPr lang="en-US" sz="2400" b="1" cap="none">
                  <a:solidFill>
                    <a:srgbClr val="006301"/>
                  </a:solidFill>
                  <a:latin typeface="Arial"/>
                  <a:ea typeface="Arial"/>
                  <a:cs typeface="Arial"/>
                </a:rPr>
                <a:t>CONTENT</a:t>
              </a:r>
            </a:p>
          </p:txBody>
        </p:sp>
        <p:grpSp>
          <p:nvGrpSpPr>
            <p:cNvPr id="7" name="Group 6">
              <a:extLst>
                <a:ext uri="{FF2B5EF4-FFF2-40B4-BE49-F238E27FC236}">
                  <a16:creationId xmlns:a16="http://schemas.microsoft.com/office/drawing/2014/main" id="{51B28C63-9F1D-42DC-8C7A-422F4B280735}"/>
                </a:ext>
              </a:extLst>
            </p:cNvPr>
            <p:cNvGrpSpPr/>
            <p:nvPr/>
          </p:nvGrpSpPr>
          <p:grpSpPr>
            <a:xfrm>
              <a:off x="420263" y="1123950"/>
              <a:ext cx="9073413" cy="3048000"/>
              <a:chOff x="420263" y="1123950"/>
              <a:chExt cx="9073413" cy="3048000"/>
            </a:xfrm>
          </p:grpSpPr>
          <p:grpSp>
            <p:nvGrpSpPr>
              <p:cNvPr id="8" name="Group 7">
                <a:extLst>
                  <a:ext uri="{FF2B5EF4-FFF2-40B4-BE49-F238E27FC236}">
                    <a16:creationId xmlns:a16="http://schemas.microsoft.com/office/drawing/2014/main" id="{E5422953-22FB-4F56-9185-2485D531BD4E}"/>
                  </a:ext>
                </a:extLst>
              </p:cNvPr>
              <p:cNvGrpSpPr/>
              <p:nvPr/>
            </p:nvGrpSpPr>
            <p:grpSpPr>
              <a:xfrm>
                <a:off x="420263" y="1123950"/>
                <a:ext cx="7927523" cy="864723"/>
                <a:chOff x="420263" y="1200150"/>
                <a:chExt cx="7927523" cy="864723"/>
              </a:xfrm>
            </p:grpSpPr>
            <p:grpSp>
              <p:nvGrpSpPr>
                <p:cNvPr id="31" name="Group 719">
                  <a:extLst>
                    <a:ext uri="{FF2B5EF4-FFF2-40B4-BE49-F238E27FC236}">
                      <a16:creationId xmlns:a16="http://schemas.microsoft.com/office/drawing/2014/main" id="{010DA55D-D19F-4DEA-A133-4A918C67E52F}"/>
                    </a:ext>
                  </a:extLst>
                </p:cNvPr>
                <p:cNvGrpSpPr/>
                <p:nvPr/>
              </p:nvGrpSpPr>
              <p:grpSpPr>
                <a:xfrm>
                  <a:off x="420263" y="1200150"/>
                  <a:ext cx="3754570" cy="864723"/>
                  <a:chOff x="-9534" y="-1"/>
                  <a:chExt cx="5006091" cy="1152962"/>
                </a:xfrm>
              </p:grpSpPr>
              <p:sp>
                <p:nvSpPr>
                  <p:cNvPr id="36" name="Shape 712">
                    <a:extLst>
                      <a:ext uri="{FF2B5EF4-FFF2-40B4-BE49-F238E27FC236}">
                        <a16:creationId xmlns:a16="http://schemas.microsoft.com/office/drawing/2014/main" id="{0A7F58A5-F606-43BC-98F2-9B881B322FCB}"/>
                      </a:ext>
                    </a:extLst>
                  </p:cNvPr>
                  <p:cNvSpPr/>
                  <p:nvPr/>
                </p:nvSpPr>
                <p:spPr>
                  <a:xfrm flipH="1">
                    <a:off x="-9534" y="163951"/>
                    <a:ext cx="4191989" cy="81835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algn="ctr" defTabSz="685766">
                      <a:defRPr/>
                    </a:pPr>
                    <a:r>
                      <a:rPr lang="en-US" sz="2000" b="1" kern="0">
                        <a:solidFill>
                          <a:schemeClr val="bg1">
                            <a:lumMod val="65000"/>
                          </a:schemeClr>
                        </a:solidFill>
                        <a:cs typeface="Archivo Narrow" panose="020B0604020202020204" charset="0"/>
                      </a:rPr>
                      <a:t>Introduction</a:t>
                    </a:r>
                  </a:p>
                </p:txBody>
              </p:sp>
              <p:grpSp>
                <p:nvGrpSpPr>
                  <p:cNvPr id="37" name="Group 716">
                    <a:extLst>
                      <a:ext uri="{FF2B5EF4-FFF2-40B4-BE49-F238E27FC236}">
                        <a16:creationId xmlns:a16="http://schemas.microsoft.com/office/drawing/2014/main" id="{5E2CD54D-13AB-4562-9CF9-B39EF5D2C28B}"/>
                      </a:ext>
                    </a:extLst>
                  </p:cNvPr>
                  <p:cNvGrpSpPr/>
                  <p:nvPr/>
                </p:nvGrpSpPr>
                <p:grpSpPr>
                  <a:xfrm>
                    <a:off x="4191985" y="-1"/>
                    <a:ext cx="804572" cy="1152962"/>
                    <a:chOff x="0" y="0"/>
                    <a:chExt cx="804568" cy="1152959"/>
                  </a:xfrm>
                </p:grpSpPr>
                <p:sp>
                  <p:nvSpPr>
                    <p:cNvPr id="38" name="Shape 713">
                      <a:extLst>
                        <a:ext uri="{FF2B5EF4-FFF2-40B4-BE49-F238E27FC236}">
                          <a16:creationId xmlns:a16="http://schemas.microsoft.com/office/drawing/2014/main" id="{D24F776B-0FFE-477D-BC4B-3482B1F2AB4D}"/>
                        </a:ext>
                      </a:extLst>
                    </p:cNvPr>
                    <p:cNvSpPr/>
                    <p:nvPr/>
                  </p:nvSpPr>
                  <p:spPr>
                    <a:xfrm flipH="1">
                      <a:off x="0" y="166677"/>
                      <a:ext cx="402284" cy="986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922"/>
                          </a:lnTo>
                          <a:lnTo>
                            <a:pt x="21600" y="0"/>
                          </a:lnTo>
                          <a:lnTo>
                            <a:pt x="0" y="3733"/>
                          </a:lnTo>
                          <a:lnTo>
                            <a:pt x="0" y="21600"/>
                          </a:ln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39" name="Shape 714">
                      <a:extLst>
                        <a:ext uri="{FF2B5EF4-FFF2-40B4-BE49-F238E27FC236}">
                          <a16:creationId xmlns:a16="http://schemas.microsoft.com/office/drawing/2014/main" id="{769D9DA0-FF60-49BD-AE1E-0AAE926C6FB8}"/>
                        </a:ext>
                      </a:extLst>
                    </p:cNvPr>
                    <p:cNvSpPr/>
                    <p:nvPr/>
                  </p:nvSpPr>
                  <p:spPr>
                    <a:xfrm flipH="1">
                      <a:off x="402284" y="166676"/>
                      <a:ext cx="402284" cy="986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922"/>
                          </a:lnTo>
                          <a:lnTo>
                            <a:pt x="0" y="0"/>
                          </a:lnTo>
                          <a:lnTo>
                            <a:pt x="21600" y="3733"/>
                          </a:lnTo>
                          <a:lnTo>
                            <a:pt x="21600" y="21600"/>
                          </a:ln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1</a:t>
                      </a:r>
                    </a:p>
                  </p:txBody>
                </p:sp>
                <p:sp>
                  <p:nvSpPr>
                    <p:cNvPr id="40" name="Shape 715">
                      <a:extLst>
                        <a:ext uri="{FF2B5EF4-FFF2-40B4-BE49-F238E27FC236}">
                          <a16:creationId xmlns:a16="http://schemas.microsoft.com/office/drawing/2014/main" id="{317B1628-C77E-4DC5-B0C9-BBC28F8ABDEF}"/>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32" name="Shape 744">
                  <a:extLst>
                    <a:ext uri="{FF2B5EF4-FFF2-40B4-BE49-F238E27FC236}">
                      <a16:creationId xmlns:a16="http://schemas.microsoft.com/office/drawing/2014/main" id="{22B8BFEB-6994-4CDF-895F-47588B5C0A66}"/>
                    </a:ext>
                  </a:extLst>
                </p:cNvPr>
                <p:cNvSpPr/>
                <p:nvPr/>
              </p:nvSpPr>
              <p:spPr>
                <a:xfrm>
                  <a:off x="6549553" y="1469907"/>
                  <a:ext cx="1798233" cy="325208"/>
                </a:xfrm>
                <a:prstGeom prst="rect">
                  <a:avLst/>
                </a:prstGeom>
                <a:ln>
                  <a:noFill/>
                </a:ln>
                <a:extLst>
                  <a:ext uri="{C572A759-6A51-4108-AA02-DFA0A04FC94B}">
                    <ma14:wrappingTextBoxFlag xmlns:ma14="http://schemas.microsoft.com/office/mac/drawingml/2011/main" xmlns="" val="1"/>
                  </a:ext>
                </a:extLst>
              </p:spPr>
              <p:style>
                <a:lnRef idx="2">
                  <a:schemeClr val="accent1"/>
                </a:lnRef>
                <a:fillRef idx="1">
                  <a:schemeClr val="lt1"/>
                </a:fillRef>
                <a:effectRef idx="0">
                  <a:schemeClr val="accent1"/>
                </a:effectRef>
                <a:fontRef idx="minor">
                  <a:schemeClr val="dk1"/>
                </a:fontRef>
              </p:style>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b="1">
                      <a:solidFill>
                        <a:schemeClr val="bg1">
                          <a:lumMod val="65000"/>
                        </a:schemeClr>
                      </a:solidFill>
                      <a:latin typeface="+mn-lt"/>
                      <a:cs typeface="Archivo Narrow" panose="020B0604020202020204" charset="0"/>
                    </a:rPr>
                    <a:t>Background &amp; Objectives</a:t>
                  </a:r>
                </a:p>
                <a:p>
                  <a:pPr marL="128588" indent="-128588" algn="just" defTabSz="685766">
                    <a:buFont typeface="Arial" panose="020B0604020202020204" pitchFamily="34" charset="0"/>
                    <a:buChar char="•"/>
                  </a:pPr>
                  <a:r>
                    <a:rPr lang="en-US" sz="1200" b="1">
                      <a:solidFill>
                        <a:schemeClr val="bg1">
                          <a:lumMod val="65000"/>
                        </a:schemeClr>
                      </a:solidFill>
                      <a:latin typeface="+mn-lt"/>
                      <a:cs typeface="Archivo Narrow" panose="020B0604020202020204" charset="0"/>
                    </a:rPr>
                    <a:t>Methodology</a:t>
                  </a:r>
                </a:p>
              </p:txBody>
            </p:sp>
            <p:grpSp>
              <p:nvGrpSpPr>
                <p:cNvPr id="33" name="Group 759">
                  <a:extLst>
                    <a:ext uri="{FF2B5EF4-FFF2-40B4-BE49-F238E27FC236}">
                      <a16:creationId xmlns:a16="http://schemas.microsoft.com/office/drawing/2014/main" id="{836BA7B3-191D-4865-9DE8-3BB1A1462E67}"/>
                    </a:ext>
                  </a:extLst>
                </p:cNvPr>
                <p:cNvGrpSpPr/>
                <p:nvPr/>
              </p:nvGrpSpPr>
              <p:grpSpPr>
                <a:xfrm>
                  <a:off x="4365204" y="1462471"/>
                  <a:ext cx="1944496" cy="340080"/>
                  <a:chOff x="34099" y="0"/>
                  <a:chExt cx="2592660" cy="453438"/>
                </a:xfrm>
              </p:grpSpPr>
              <p:sp>
                <p:nvSpPr>
                  <p:cNvPr id="34" name="Shape 757">
                    <a:extLst>
                      <a:ext uri="{FF2B5EF4-FFF2-40B4-BE49-F238E27FC236}">
                        <a16:creationId xmlns:a16="http://schemas.microsoft.com/office/drawing/2014/main" id="{653C93E6-456E-4189-AA81-0834F106061E}"/>
                      </a:ext>
                    </a:extLst>
                  </p:cNvPr>
                  <p:cNvSpPr/>
                  <p:nvPr/>
                </p:nvSpPr>
                <p:spPr>
                  <a:xfrm flipV="1">
                    <a:off x="2617228" y="0"/>
                    <a:ext cx="1" cy="453439"/>
                  </a:xfrm>
                  <a:prstGeom prst="line">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35" name="Shape 758">
                    <a:extLst>
                      <a:ext uri="{FF2B5EF4-FFF2-40B4-BE49-F238E27FC236}">
                        <a16:creationId xmlns:a16="http://schemas.microsoft.com/office/drawing/2014/main" id="{C35F1644-7E99-40FB-94C4-CEA8A102F8AD}"/>
                      </a:ext>
                    </a:extLst>
                  </p:cNvPr>
                  <p:cNvSpPr/>
                  <p:nvPr/>
                </p:nvSpPr>
                <p:spPr>
                  <a:xfrm flipH="1" flipV="1">
                    <a:off x="34099" y="233808"/>
                    <a:ext cx="2592661" cy="1"/>
                  </a:xfrm>
                  <a:prstGeom prst="line">
                    <a:avLst/>
                  </a:prstGeom>
                  <a:ln>
                    <a:noFill/>
                    <a:tailEnd type="oval" w="med" len="med"/>
                  </a:ln>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nvGrpSpPr>
              <p:cNvPr id="9" name="Group 8">
                <a:extLst>
                  <a:ext uri="{FF2B5EF4-FFF2-40B4-BE49-F238E27FC236}">
                    <a16:creationId xmlns:a16="http://schemas.microsoft.com/office/drawing/2014/main" id="{24BAFA86-2577-4499-B13E-1548ED318AF7}"/>
                  </a:ext>
                </a:extLst>
              </p:cNvPr>
              <p:cNvGrpSpPr/>
              <p:nvPr/>
            </p:nvGrpSpPr>
            <p:grpSpPr>
              <a:xfrm>
                <a:off x="427409" y="2238549"/>
                <a:ext cx="9066267" cy="866601"/>
                <a:chOff x="427409" y="2011761"/>
                <a:chExt cx="9066267" cy="866601"/>
              </a:xfrm>
            </p:grpSpPr>
            <p:grpSp>
              <p:nvGrpSpPr>
                <p:cNvPr id="21" name="Group 727">
                  <a:extLst>
                    <a:ext uri="{FF2B5EF4-FFF2-40B4-BE49-F238E27FC236}">
                      <a16:creationId xmlns:a16="http://schemas.microsoft.com/office/drawing/2014/main" id="{ACB909A7-1F20-456A-8285-389ABC025B6E}"/>
                    </a:ext>
                  </a:extLst>
                </p:cNvPr>
                <p:cNvGrpSpPr/>
                <p:nvPr/>
              </p:nvGrpSpPr>
              <p:grpSpPr>
                <a:xfrm>
                  <a:off x="427409" y="2011761"/>
                  <a:ext cx="4301520" cy="866601"/>
                  <a:chOff x="-2" y="0"/>
                  <a:chExt cx="5735360" cy="1155468"/>
                </a:xfrm>
                <a:solidFill>
                  <a:srgbClr val="C0392B"/>
                </a:solidFill>
              </p:grpSpPr>
              <p:sp>
                <p:nvSpPr>
                  <p:cNvPr id="26" name="Shape 720">
                    <a:extLst>
                      <a:ext uri="{FF2B5EF4-FFF2-40B4-BE49-F238E27FC236}">
                        <a16:creationId xmlns:a16="http://schemas.microsoft.com/office/drawing/2014/main" id="{56EB41D9-73B0-40E1-B6E7-EA42F6EE717B}"/>
                      </a:ext>
                    </a:extLst>
                  </p:cNvPr>
                  <p:cNvSpPr/>
                  <p:nvPr/>
                </p:nvSpPr>
                <p:spPr>
                  <a:xfrm flipH="1">
                    <a:off x="-2" y="171692"/>
                    <a:ext cx="4930787" cy="816710"/>
                  </a:xfrm>
                  <a:prstGeom prst="rect">
                    <a:avLst/>
                  </a:prstGeom>
                  <a:solidFill>
                    <a:schemeClr val="accent6">
                      <a:lumMod val="50000"/>
                    </a:schemeClr>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algn="ctr" defTabSz="685766">
                      <a:defRPr/>
                    </a:pPr>
                    <a:r>
                      <a:rPr lang="en-US" sz="2100" b="1" kern="0">
                        <a:solidFill>
                          <a:schemeClr val="bg1"/>
                        </a:solidFill>
                        <a:cs typeface="Archivo Narrow" panose="020B0604020202020204" charset="0"/>
                      </a:rPr>
                      <a:t>Detailed</a:t>
                    </a:r>
                    <a:r>
                      <a:rPr lang="en-US" sz="2100" b="1" kern="0">
                        <a:solidFill>
                          <a:prstClr val="white"/>
                        </a:solidFill>
                        <a:cs typeface="Archivo Narrow" panose="020B0604020202020204" charset="0"/>
                      </a:rPr>
                      <a:t> </a:t>
                    </a:r>
                    <a:r>
                      <a:rPr lang="en-US" sz="2100" b="1" kern="0">
                        <a:solidFill>
                          <a:schemeClr val="bg1"/>
                        </a:solidFill>
                        <a:cs typeface="Archivo Narrow" panose="020B0604020202020204" charset="0"/>
                      </a:rPr>
                      <a:t>Findings</a:t>
                    </a:r>
                  </a:p>
                </p:txBody>
              </p:sp>
              <p:grpSp>
                <p:nvGrpSpPr>
                  <p:cNvPr id="27" name="Group 724">
                    <a:extLst>
                      <a:ext uri="{FF2B5EF4-FFF2-40B4-BE49-F238E27FC236}">
                        <a16:creationId xmlns:a16="http://schemas.microsoft.com/office/drawing/2014/main" id="{B44C9861-5AE5-4655-A1E8-152480E61261}"/>
                      </a:ext>
                    </a:extLst>
                  </p:cNvPr>
                  <p:cNvGrpSpPr/>
                  <p:nvPr/>
                </p:nvGrpSpPr>
                <p:grpSpPr>
                  <a:xfrm>
                    <a:off x="4930788" y="0"/>
                    <a:ext cx="804570" cy="1155468"/>
                    <a:chOff x="0" y="0"/>
                    <a:chExt cx="804566" cy="1155466"/>
                  </a:xfrm>
                  <a:grpFill/>
                </p:grpSpPr>
                <p:sp>
                  <p:nvSpPr>
                    <p:cNvPr id="28" name="Shape 721">
                      <a:extLst>
                        <a:ext uri="{FF2B5EF4-FFF2-40B4-BE49-F238E27FC236}">
                          <a16:creationId xmlns:a16="http://schemas.microsoft.com/office/drawing/2014/main" id="{DA560BA3-43C2-4239-8D5C-25819974522B}"/>
                        </a:ext>
                      </a:extLst>
                    </p:cNvPr>
                    <p:cNvSpPr/>
                    <p:nvPr/>
                  </p:nvSpPr>
                  <p:spPr>
                    <a:xfrm flipH="1">
                      <a:off x="0" y="169186"/>
                      <a:ext cx="402284" cy="9862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922"/>
                          </a:lnTo>
                          <a:lnTo>
                            <a:pt x="21600" y="0"/>
                          </a:lnTo>
                          <a:lnTo>
                            <a:pt x="0" y="3678"/>
                          </a:lnTo>
                          <a:lnTo>
                            <a:pt x="0" y="21600"/>
                          </a:lnTo>
                          <a:close/>
                        </a:path>
                      </a:pathLst>
                    </a:custGeom>
                    <a:solidFill>
                      <a:schemeClr val="accent6">
                        <a:lumMod val="50000"/>
                      </a:schemeClr>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29" name="Shape 722">
                      <a:extLst>
                        <a:ext uri="{FF2B5EF4-FFF2-40B4-BE49-F238E27FC236}">
                          <a16:creationId xmlns:a16="http://schemas.microsoft.com/office/drawing/2014/main" id="{2493F0B6-6A8A-4F7B-9B7E-0410122A54EA}"/>
                        </a:ext>
                      </a:extLst>
                    </p:cNvPr>
                    <p:cNvSpPr/>
                    <p:nvPr/>
                  </p:nvSpPr>
                  <p:spPr>
                    <a:xfrm flipH="1">
                      <a:off x="402283" y="169186"/>
                      <a:ext cx="402284" cy="9862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922"/>
                          </a:lnTo>
                          <a:lnTo>
                            <a:pt x="0" y="0"/>
                          </a:lnTo>
                          <a:lnTo>
                            <a:pt x="21600" y="3678"/>
                          </a:lnTo>
                          <a:lnTo>
                            <a:pt x="21600" y="21600"/>
                          </a:lnTo>
                          <a:close/>
                        </a:path>
                      </a:pathLst>
                    </a:custGeom>
                    <a:solidFill>
                      <a:schemeClr val="accent6">
                        <a:lumMod val="50000"/>
                      </a:schemeClr>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2</a:t>
                      </a:r>
                    </a:p>
                  </p:txBody>
                </p:sp>
                <p:sp>
                  <p:nvSpPr>
                    <p:cNvPr id="30" name="Shape 723">
                      <a:extLst>
                        <a:ext uri="{FF2B5EF4-FFF2-40B4-BE49-F238E27FC236}">
                          <a16:creationId xmlns:a16="http://schemas.microsoft.com/office/drawing/2014/main" id="{84C55AFD-587E-4CC1-9FD5-F3AE23D2417D}"/>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solidFill>
                      <a:schemeClr val="accent6">
                        <a:lumMod val="50000"/>
                      </a:schemeClr>
                    </a:solidFill>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22" name="Shape 745">
                  <a:extLst>
                    <a:ext uri="{FF2B5EF4-FFF2-40B4-BE49-F238E27FC236}">
                      <a16:creationId xmlns:a16="http://schemas.microsoft.com/office/drawing/2014/main" id="{6CEC9596-EE85-4C45-A362-11895051125C}"/>
                    </a:ext>
                  </a:extLst>
                </p:cNvPr>
                <p:cNvSpPr/>
                <p:nvPr/>
              </p:nvSpPr>
              <p:spPr>
                <a:xfrm>
                  <a:off x="6549552" y="2366408"/>
                  <a:ext cx="2944124" cy="162604"/>
                </a:xfrm>
                <a:prstGeom prst="rect">
                  <a:avLst/>
                </a:prstGeom>
                <a:ln>
                  <a:noFill/>
                </a:ln>
                <a:extLst>
                  <a:ext uri="{C572A759-6A51-4108-AA02-DFA0A04FC94B}">
                    <ma14:wrappingTextBoxFlag xmlns:ma14="http://schemas.microsoft.com/office/mac/drawingml/2011/main" xmlns="" val="1"/>
                  </a:ext>
                </a:extLst>
              </p:spPr>
              <p:style>
                <a:lnRef idx="2">
                  <a:schemeClr val="accent1"/>
                </a:lnRef>
                <a:fillRef idx="1">
                  <a:schemeClr val="lt1"/>
                </a:fillRef>
                <a:effectRef idx="0">
                  <a:schemeClr val="accent1"/>
                </a:effectRef>
                <a:fontRef idx="minor">
                  <a:schemeClr val="dk1"/>
                </a:fontRef>
              </p:style>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a:solidFill>
                        <a:schemeClr val="tx1"/>
                      </a:solidFill>
                      <a:latin typeface="Arial" panose="020B0604020202020204" pitchFamily="34" charset="0"/>
                      <a:cs typeface="Arial" panose="020B0604020202020204" pitchFamily="34" charset="0"/>
                    </a:rPr>
                    <a:t>Impact of Covid-19 on agents’ operation</a:t>
                  </a:r>
                </a:p>
              </p:txBody>
            </p:sp>
            <p:grpSp>
              <p:nvGrpSpPr>
                <p:cNvPr id="23" name="Group 762">
                  <a:extLst>
                    <a:ext uri="{FF2B5EF4-FFF2-40B4-BE49-F238E27FC236}">
                      <a16:creationId xmlns:a16="http://schemas.microsoft.com/office/drawing/2014/main" id="{58B20C30-4BFF-492D-A0DE-8CC6B86E6043}"/>
                    </a:ext>
                  </a:extLst>
                </p:cNvPr>
                <p:cNvGrpSpPr/>
                <p:nvPr/>
              </p:nvGrpSpPr>
              <p:grpSpPr>
                <a:xfrm>
                  <a:off x="4932489" y="2275022"/>
                  <a:ext cx="1377209" cy="340080"/>
                  <a:chOff x="34099" y="0"/>
                  <a:chExt cx="1836278" cy="453438"/>
                </a:xfrm>
              </p:grpSpPr>
              <p:sp>
                <p:nvSpPr>
                  <p:cNvPr id="24" name="Shape 760">
                    <a:extLst>
                      <a:ext uri="{FF2B5EF4-FFF2-40B4-BE49-F238E27FC236}">
                        <a16:creationId xmlns:a16="http://schemas.microsoft.com/office/drawing/2014/main" id="{F5DD0E5A-B5CC-4E67-8E58-4467A3353AC7}"/>
                      </a:ext>
                    </a:extLst>
                  </p:cNvPr>
                  <p:cNvSpPr/>
                  <p:nvPr/>
                </p:nvSpPr>
                <p:spPr>
                  <a:xfrm flipV="1">
                    <a:off x="1863616" y="0"/>
                    <a:ext cx="1" cy="453439"/>
                  </a:xfrm>
                  <a:prstGeom prst="line">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25" name="Shape 761">
                    <a:extLst>
                      <a:ext uri="{FF2B5EF4-FFF2-40B4-BE49-F238E27FC236}">
                        <a16:creationId xmlns:a16="http://schemas.microsoft.com/office/drawing/2014/main" id="{6FE63635-408F-4B3D-8E97-DE3E94B314D7}"/>
                      </a:ext>
                    </a:extLst>
                  </p:cNvPr>
                  <p:cNvSpPr/>
                  <p:nvPr/>
                </p:nvSpPr>
                <p:spPr>
                  <a:xfrm flipH="1" flipV="1">
                    <a:off x="34099" y="233808"/>
                    <a:ext cx="1836279" cy="1"/>
                  </a:xfrm>
                  <a:prstGeom prst="line">
                    <a:avLst/>
                  </a:prstGeom>
                  <a:ln>
                    <a:noFill/>
                    <a:tailEnd type="oval" w="med" len="med"/>
                  </a:ln>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nvGrpSpPr>
              <p:cNvPr id="10" name="Group 9">
                <a:extLst>
                  <a:ext uri="{FF2B5EF4-FFF2-40B4-BE49-F238E27FC236}">
                    <a16:creationId xmlns:a16="http://schemas.microsoft.com/office/drawing/2014/main" id="{D002DD3C-7DD7-4C97-9313-48D3619599CD}"/>
                  </a:ext>
                </a:extLst>
              </p:cNvPr>
              <p:cNvGrpSpPr/>
              <p:nvPr/>
            </p:nvGrpSpPr>
            <p:grpSpPr>
              <a:xfrm>
                <a:off x="427411" y="3316513"/>
                <a:ext cx="7920374" cy="855437"/>
                <a:chOff x="427411" y="2825252"/>
                <a:chExt cx="7920374" cy="855437"/>
              </a:xfrm>
            </p:grpSpPr>
            <p:grpSp>
              <p:nvGrpSpPr>
                <p:cNvPr id="11" name="Group 735">
                  <a:extLst>
                    <a:ext uri="{FF2B5EF4-FFF2-40B4-BE49-F238E27FC236}">
                      <a16:creationId xmlns:a16="http://schemas.microsoft.com/office/drawing/2014/main" id="{9022D6CB-C920-40EE-8A44-4B15BEF7906A}"/>
                    </a:ext>
                  </a:extLst>
                </p:cNvPr>
                <p:cNvGrpSpPr/>
                <p:nvPr/>
              </p:nvGrpSpPr>
              <p:grpSpPr>
                <a:xfrm>
                  <a:off x="427411" y="2825252"/>
                  <a:ext cx="4787228" cy="855437"/>
                  <a:chOff x="-1" y="0"/>
                  <a:chExt cx="6382969" cy="1140582"/>
                </a:xfrm>
                <a:solidFill>
                  <a:srgbClr val="F39C12"/>
                </a:solidFill>
              </p:grpSpPr>
              <p:sp>
                <p:nvSpPr>
                  <p:cNvPr id="16" name="Shape 728">
                    <a:extLst>
                      <a:ext uri="{FF2B5EF4-FFF2-40B4-BE49-F238E27FC236}">
                        <a16:creationId xmlns:a16="http://schemas.microsoft.com/office/drawing/2014/main" id="{C9FD58EF-BFA8-45BA-9ACD-12246F81EF24}"/>
                      </a:ext>
                    </a:extLst>
                  </p:cNvPr>
                  <p:cNvSpPr/>
                  <p:nvPr/>
                </p:nvSpPr>
                <p:spPr>
                  <a:xfrm flipH="1">
                    <a:off x="-1" y="170587"/>
                    <a:ext cx="5574028" cy="799404"/>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algn="ctr" defTabSz="685766">
                      <a:defRPr/>
                    </a:pPr>
                    <a:r>
                      <a:rPr lang="en-US" sz="2100" b="1" kern="0">
                        <a:solidFill>
                          <a:schemeClr val="bg1">
                            <a:lumMod val="65000"/>
                          </a:schemeClr>
                        </a:solidFill>
                        <a:cs typeface="Archivo Narrow" panose="020B0604020202020204" charset="0"/>
                      </a:rPr>
                      <a:t>Summary &amp; Recommendations </a:t>
                    </a:r>
                  </a:p>
                </p:txBody>
              </p:sp>
              <p:grpSp>
                <p:nvGrpSpPr>
                  <p:cNvPr id="17" name="Group 732">
                    <a:extLst>
                      <a:ext uri="{FF2B5EF4-FFF2-40B4-BE49-F238E27FC236}">
                        <a16:creationId xmlns:a16="http://schemas.microsoft.com/office/drawing/2014/main" id="{DA986929-D554-424A-87CE-3FE3CBBC54D8}"/>
                      </a:ext>
                    </a:extLst>
                  </p:cNvPr>
                  <p:cNvGrpSpPr/>
                  <p:nvPr/>
                </p:nvGrpSpPr>
                <p:grpSpPr>
                  <a:xfrm>
                    <a:off x="5578397" y="0"/>
                    <a:ext cx="804571" cy="1140582"/>
                    <a:chOff x="0" y="0"/>
                    <a:chExt cx="804567" cy="1140580"/>
                  </a:xfrm>
                  <a:grpFill/>
                </p:grpSpPr>
                <p:sp>
                  <p:nvSpPr>
                    <p:cNvPr id="18" name="Shape 729">
                      <a:extLst>
                        <a:ext uri="{FF2B5EF4-FFF2-40B4-BE49-F238E27FC236}">
                          <a16:creationId xmlns:a16="http://schemas.microsoft.com/office/drawing/2014/main" id="{5A688D59-4898-46F0-B04C-11BE6E6B894B}"/>
                        </a:ext>
                      </a:extLst>
                    </p:cNvPr>
                    <p:cNvSpPr/>
                    <p:nvPr/>
                  </p:nvSpPr>
                  <p:spPr>
                    <a:xfrm flipH="1">
                      <a:off x="0" y="168081"/>
                      <a:ext cx="402284" cy="97249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7870"/>
                          </a:lnTo>
                          <a:lnTo>
                            <a:pt x="21600" y="0"/>
                          </a:lnTo>
                          <a:lnTo>
                            <a:pt x="0" y="3786"/>
                          </a:lnTo>
                          <a:lnTo>
                            <a:pt x="0" y="21600"/>
                          </a:lnTo>
                          <a:close/>
                        </a:path>
                      </a:pathLst>
                    </a:custGeom>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sp>
                  <p:nvSpPr>
                    <p:cNvPr id="19" name="Shape 730">
                      <a:extLst>
                        <a:ext uri="{FF2B5EF4-FFF2-40B4-BE49-F238E27FC236}">
                          <a16:creationId xmlns:a16="http://schemas.microsoft.com/office/drawing/2014/main" id="{0A261A22-D600-43B9-AEF5-84072D6EC0EA}"/>
                        </a:ext>
                      </a:extLst>
                    </p:cNvPr>
                    <p:cNvSpPr/>
                    <p:nvPr/>
                  </p:nvSpPr>
                  <p:spPr>
                    <a:xfrm flipH="1">
                      <a:off x="402283" y="168081"/>
                      <a:ext cx="402284" cy="97249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870"/>
                          </a:lnTo>
                          <a:lnTo>
                            <a:pt x="0" y="0"/>
                          </a:lnTo>
                          <a:lnTo>
                            <a:pt x="21600" y="3786"/>
                          </a:lnTo>
                          <a:lnTo>
                            <a:pt x="21600" y="21600"/>
                          </a:lnTo>
                          <a:close/>
                        </a:path>
                      </a:pathLst>
                    </a:custGeom>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algn="ctr" defTabSz="685766">
                        <a:defRPr/>
                      </a:pPr>
                      <a:r>
                        <a:rPr lang="en-US" b="1" kern="0">
                          <a:solidFill>
                            <a:srgbClr val="FFFFFF"/>
                          </a:solidFill>
                          <a:ea typeface="Helvetica"/>
                          <a:cs typeface="Archivo Narrow" panose="020B0604020202020204" charset="0"/>
                          <a:sym typeface="Helvetica"/>
                        </a:rPr>
                        <a:t>3</a:t>
                      </a:r>
                      <a:endParaRPr kern="0">
                        <a:solidFill>
                          <a:srgbClr val="95A5A6"/>
                        </a:solidFill>
                        <a:cs typeface="Archivo Narrow" panose="020B0604020202020204" charset="0"/>
                      </a:endParaRPr>
                    </a:p>
                  </p:txBody>
                </p:sp>
                <p:sp>
                  <p:nvSpPr>
                    <p:cNvPr id="20" name="Shape 731">
                      <a:extLst>
                        <a:ext uri="{FF2B5EF4-FFF2-40B4-BE49-F238E27FC236}">
                          <a16:creationId xmlns:a16="http://schemas.microsoft.com/office/drawing/2014/main" id="{25D33996-0BD2-4F47-BFBF-333F0EF45893}"/>
                        </a:ext>
                      </a:extLst>
                    </p:cNvPr>
                    <p:cNvSpPr/>
                    <p:nvPr/>
                  </p:nvSpPr>
                  <p:spPr>
                    <a:xfrm flipH="1">
                      <a:off x="1" y="0"/>
                      <a:ext cx="804566" cy="337116"/>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lnTo>
                            <a:pt x="0" y="10680"/>
                          </a:lnTo>
                          <a:lnTo>
                            <a:pt x="10800" y="0"/>
                          </a:lnTo>
                          <a:lnTo>
                            <a:pt x="21600" y="10680"/>
                          </a:lnTo>
                          <a:lnTo>
                            <a:pt x="10800" y="21600"/>
                          </a:lnTo>
                          <a:close/>
                        </a:path>
                      </a:pathLst>
                    </a:custGeom>
                    <a:ln>
                      <a:noFill/>
                    </a:ln>
                  </p:spPr>
                  <p:style>
                    <a:lnRef idx="2">
                      <a:schemeClr val="accent1"/>
                    </a:lnRef>
                    <a:fillRef idx="1">
                      <a:schemeClr val="lt1"/>
                    </a:fillRef>
                    <a:effectRef idx="0">
                      <a:schemeClr val="accent1"/>
                    </a:effectRef>
                    <a:fontRef idx="minor">
                      <a:schemeClr val="dk1"/>
                    </a:fontRef>
                  </p:style>
                  <p:txBody>
                    <a:bodyPr wrap="square" lIns="34289" tIns="34289" rIns="34289" bIns="34289" numCol="1" anchor="ctr">
                      <a:noAutofit/>
                    </a:bodyPr>
                    <a:lstStyle/>
                    <a:p>
                      <a:pPr defTabSz="685766">
                        <a:defRPr/>
                      </a:pPr>
                      <a:endParaRPr sz="1350" kern="0">
                        <a:solidFill>
                          <a:srgbClr val="95A5A6"/>
                        </a:solidFill>
                        <a:cs typeface="Archivo Narrow" panose="020B0604020202020204" charset="0"/>
                      </a:endParaRPr>
                    </a:p>
                  </p:txBody>
                </p:sp>
              </p:grpSp>
            </p:grpSp>
            <p:sp>
              <p:nvSpPr>
                <p:cNvPr id="12" name="Shape 746">
                  <a:extLst>
                    <a:ext uri="{FF2B5EF4-FFF2-40B4-BE49-F238E27FC236}">
                      <a16:creationId xmlns:a16="http://schemas.microsoft.com/office/drawing/2014/main" id="{A8BE7928-3194-4191-AEE8-DDC899D053E3}"/>
                    </a:ext>
                  </a:extLst>
                </p:cNvPr>
                <p:cNvSpPr/>
                <p:nvPr/>
              </p:nvSpPr>
              <p:spPr>
                <a:xfrm>
                  <a:off x="6549554" y="3125309"/>
                  <a:ext cx="1798231" cy="162604"/>
                </a:xfrm>
                <a:prstGeom prst="rect">
                  <a:avLst/>
                </a:prstGeom>
                <a:ln>
                  <a:noFill/>
                </a:ln>
                <a:extLst>
                  <a:ext uri="{C572A759-6A51-4108-AA02-DFA0A04FC94B}">
                    <ma14:wrappingTextBoxFlag xmlns:ma14="http://schemas.microsoft.com/office/mac/drawingml/2011/main" xmlns="" val="1"/>
                  </a:ext>
                </a:extLst>
              </p:spPr>
              <p:style>
                <a:lnRef idx="2">
                  <a:schemeClr val="accent1"/>
                </a:lnRef>
                <a:fillRef idx="1">
                  <a:schemeClr val="lt1"/>
                </a:fillRef>
                <a:effectRef idx="0">
                  <a:schemeClr val="accent1"/>
                </a:effectRef>
                <a:fontRef idx="minor">
                  <a:schemeClr val="dk1"/>
                </a:fontRef>
              </p:style>
              <p:txBody>
                <a:bodyPr wrap="square" lIns="0" tIns="0" rIns="0" bIns="0" anchor="ctr">
                  <a:spAutoFit/>
                </a:bodyPr>
                <a:lstStyle>
                  <a:lvl1pPr>
                    <a:defRPr sz="1100">
                      <a:solidFill>
                        <a:srgbClr val="808080"/>
                      </a:solidFill>
                      <a:latin typeface="Open Sans"/>
                      <a:ea typeface="Open Sans"/>
                      <a:cs typeface="Open Sans"/>
                      <a:sym typeface="Open Sans"/>
                    </a:defRPr>
                  </a:lvl1pPr>
                </a:lstStyle>
                <a:p>
                  <a:pPr marL="128588" indent="-128588" algn="just" defTabSz="685766">
                    <a:buFont typeface="Arial" panose="020B0604020202020204" pitchFamily="34" charset="0"/>
                    <a:buChar char="•"/>
                  </a:pPr>
                  <a:r>
                    <a:rPr lang="en-US" sz="1200" b="1">
                      <a:solidFill>
                        <a:schemeClr val="bg1">
                          <a:lumMod val="65000"/>
                        </a:schemeClr>
                      </a:solidFill>
                      <a:latin typeface="+mn-lt"/>
                      <a:cs typeface="Archivo Narrow" panose="020B0604020202020204" charset="0"/>
                    </a:rPr>
                    <a:t>Recommendations</a:t>
                  </a:r>
                </a:p>
              </p:txBody>
            </p:sp>
            <p:grpSp>
              <p:nvGrpSpPr>
                <p:cNvPr id="13" name="Group 765">
                  <a:extLst>
                    <a:ext uri="{FF2B5EF4-FFF2-40B4-BE49-F238E27FC236}">
                      <a16:creationId xmlns:a16="http://schemas.microsoft.com/office/drawing/2014/main" id="{03746F22-7F87-4942-A62D-24EFAD63F58E}"/>
                    </a:ext>
                  </a:extLst>
                </p:cNvPr>
                <p:cNvGrpSpPr/>
                <p:nvPr/>
              </p:nvGrpSpPr>
              <p:grpSpPr>
                <a:xfrm>
                  <a:off x="5422014" y="3082930"/>
                  <a:ext cx="887685" cy="340080"/>
                  <a:chOff x="34099" y="0"/>
                  <a:chExt cx="1183579" cy="453438"/>
                </a:xfrm>
              </p:grpSpPr>
              <p:sp>
                <p:nvSpPr>
                  <p:cNvPr id="14" name="Shape 763">
                    <a:extLst>
                      <a:ext uri="{FF2B5EF4-FFF2-40B4-BE49-F238E27FC236}">
                        <a16:creationId xmlns:a16="http://schemas.microsoft.com/office/drawing/2014/main" id="{BB0F1484-CC34-4103-9C49-C23891C005B0}"/>
                      </a:ext>
                    </a:extLst>
                  </p:cNvPr>
                  <p:cNvSpPr/>
                  <p:nvPr/>
                </p:nvSpPr>
                <p:spPr>
                  <a:xfrm flipV="1">
                    <a:off x="1213308" y="0"/>
                    <a:ext cx="1" cy="453439"/>
                  </a:xfrm>
                  <a:prstGeom prst="line">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sp>
                <p:nvSpPr>
                  <p:cNvPr id="15" name="Shape 764">
                    <a:extLst>
                      <a:ext uri="{FF2B5EF4-FFF2-40B4-BE49-F238E27FC236}">
                        <a16:creationId xmlns:a16="http://schemas.microsoft.com/office/drawing/2014/main" id="{E22F44F5-E18B-43A3-ACD6-8F972A6DB8A6}"/>
                      </a:ext>
                    </a:extLst>
                  </p:cNvPr>
                  <p:cNvSpPr/>
                  <p:nvPr/>
                </p:nvSpPr>
                <p:spPr>
                  <a:xfrm flipH="1" flipV="1">
                    <a:off x="34099" y="233808"/>
                    <a:ext cx="1183580" cy="1"/>
                  </a:xfrm>
                  <a:prstGeom prst="line">
                    <a:avLst/>
                  </a:prstGeom>
                  <a:ln>
                    <a:noFill/>
                    <a:tailEnd type="oval" w="med" len="med"/>
                  </a:ln>
                </p:spPr>
                <p:style>
                  <a:lnRef idx="2">
                    <a:schemeClr val="accent1"/>
                  </a:lnRef>
                  <a:fillRef idx="1">
                    <a:schemeClr val="lt1"/>
                  </a:fillRef>
                  <a:effectRef idx="0">
                    <a:schemeClr val="accent1"/>
                  </a:effectRef>
                  <a:fontRef idx="minor">
                    <a:schemeClr val="dk1"/>
                  </a:fontRef>
                </p:style>
                <p:txBody>
                  <a:bodyPr wrap="square" lIns="0" tIns="0" rIns="0" bIns="0" numCol="1" anchor="ctr">
                    <a:noAutofit/>
                  </a:bodyPr>
                  <a:lstStyle/>
                  <a:p>
                    <a:pPr defTabSz="342900">
                      <a:defRPr sz="1200">
                        <a:latin typeface="Helvetica"/>
                        <a:ea typeface="Helvetica"/>
                        <a:cs typeface="Helvetica"/>
                        <a:sym typeface="Helvetica"/>
                      </a:defRPr>
                    </a:pPr>
                    <a:endParaRPr sz="900" kern="0">
                      <a:solidFill>
                        <a:srgbClr val="95A5A6"/>
                      </a:solidFill>
                      <a:ea typeface="Helvetica"/>
                      <a:cs typeface="Archivo Narrow" panose="020B0604020202020204" charset="0"/>
                      <a:sym typeface="Helvetica"/>
                    </a:endParaRPr>
                  </a:p>
                </p:txBody>
              </p:sp>
            </p:grpSp>
          </p:grpSp>
        </p:grpSp>
      </p:grpSp>
    </p:spTree>
    <p:extLst>
      <p:ext uri="{BB962C8B-B14F-4D97-AF65-F5344CB8AC3E}">
        <p14:creationId xmlns:p14="http://schemas.microsoft.com/office/powerpoint/2010/main" val="8222230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2E47605-4B68-4C17-8C0A-36B9D7454597}"/>
              </a:ext>
            </a:extLst>
          </p:cNvPr>
          <p:cNvSpPr>
            <a:spLocks noGrp="1"/>
          </p:cNvSpPr>
          <p:nvPr>
            <p:ph type="sldNum" sz="quarter" idx="11"/>
          </p:nvPr>
        </p:nvSpPr>
        <p:spPr/>
        <p:txBody>
          <a:bodyPr/>
          <a:lstStyle/>
          <a:p>
            <a:pPr>
              <a:defRPr/>
            </a:pPr>
            <a:fld id="{47794585-347E-4355-955C-F2766ACC4F25}" type="slidenum">
              <a:rPr lang="en-US" smtClean="0"/>
              <a:pPr>
                <a:defRPr/>
              </a:pPr>
              <a:t>7</a:t>
            </a:fld>
            <a:endParaRPr lang="en-US"/>
          </a:p>
        </p:txBody>
      </p:sp>
      <p:graphicFrame>
        <p:nvGraphicFramePr>
          <p:cNvPr id="5" name="Chart 4">
            <a:extLst>
              <a:ext uri="{FF2B5EF4-FFF2-40B4-BE49-F238E27FC236}">
                <a16:creationId xmlns:a16="http://schemas.microsoft.com/office/drawing/2014/main" id="{015818E0-E02F-48B4-AA55-A6A3752B1C5E}"/>
              </a:ext>
            </a:extLst>
          </p:cNvPr>
          <p:cNvGraphicFramePr/>
          <p:nvPr/>
        </p:nvGraphicFramePr>
        <p:xfrm>
          <a:off x="241260" y="1078279"/>
          <a:ext cx="2960309" cy="285590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60A4D987-8E55-4528-B40E-404D76C1DDF2}"/>
              </a:ext>
            </a:extLst>
          </p:cNvPr>
          <p:cNvSpPr/>
          <p:nvPr/>
        </p:nvSpPr>
        <p:spPr>
          <a:xfrm>
            <a:off x="92569" y="6541077"/>
            <a:ext cx="11358499" cy="215444"/>
          </a:xfrm>
          <a:prstGeom prst="rect">
            <a:avLst/>
          </a:prstGeom>
        </p:spPr>
        <p:txBody>
          <a:bodyPr wrap="square" lIns="91440" tIns="45720" rIns="91440" bIns="45720">
            <a:spAutoFit/>
          </a:bodyPr>
          <a:lstStyle/>
          <a:p>
            <a:pPr lvl="0"/>
            <a:r>
              <a:rPr lang="en-US" sz="800" i="1" baseline="30000"/>
              <a:t>1</a:t>
            </a:r>
            <a:r>
              <a:rPr lang="en-US" sz="800" i="1"/>
              <a:t>Source: Impact of COVID-19 on consumer behavior Nigeria report 2020</a:t>
            </a:r>
            <a:endParaRPr lang="en-US" sz="800"/>
          </a:p>
        </p:txBody>
      </p:sp>
      <p:sp>
        <p:nvSpPr>
          <p:cNvPr id="8" name="TextBox 7">
            <a:extLst>
              <a:ext uri="{FF2B5EF4-FFF2-40B4-BE49-F238E27FC236}">
                <a16:creationId xmlns:a16="http://schemas.microsoft.com/office/drawing/2014/main" id="{DDA52B1F-12EE-4E34-B3E2-9AD855F08428}"/>
              </a:ext>
            </a:extLst>
          </p:cNvPr>
          <p:cNvSpPr txBox="1"/>
          <p:nvPr/>
        </p:nvSpPr>
        <p:spPr>
          <a:xfrm>
            <a:off x="392914" y="3403755"/>
            <a:ext cx="2497731" cy="28732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867" b="1" kern="1200">
                <a:solidFill>
                  <a:srgbClr val="222223"/>
                </a:solidFill>
                <a:latin typeface="+mn-lt"/>
                <a:ea typeface="+mn-ea"/>
              </a:rPr>
              <a:t>Aware of Coronavirus</a:t>
            </a:r>
          </a:p>
        </p:txBody>
      </p:sp>
      <p:sp>
        <p:nvSpPr>
          <p:cNvPr id="9" name="TextBox 8">
            <a:extLst>
              <a:ext uri="{FF2B5EF4-FFF2-40B4-BE49-F238E27FC236}">
                <a16:creationId xmlns:a16="http://schemas.microsoft.com/office/drawing/2014/main" id="{5CF3D621-B857-4C34-92F7-2117685AACC5}"/>
              </a:ext>
            </a:extLst>
          </p:cNvPr>
          <p:cNvSpPr txBox="1"/>
          <p:nvPr/>
        </p:nvSpPr>
        <p:spPr>
          <a:xfrm>
            <a:off x="1053916" y="2201494"/>
            <a:ext cx="1144532" cy="656655"/>
          </a:xfrm>
          <a:prstGeom prst="rect">
            <a:avLst/>
          </a:prstGeom>
          <a:noFill/>
        </p:spPr>
        <p:txBody>
          <a:bodyPr wrap="square" lIns="0" tIns="0" rIns="0" bIns="0" rtlCol="0" anchor="b">
            <a:spAutoFit/>
          </a:bodyPr>
          <a:lstStyle/>
          <a:p>
            <a:pPr algn="ctr" defTabSz="1219110">
              <a:defRPr/>
            </a:pPr>
            <a:r>
              <a:rPr lang="en-GB" sz="4267" b="1">
                <a:solidFill>
                  <a:srgbClr val="222223"/>
                </a:solidFill>
                <a:cs typeface="Times New Roman"/>
              </a:rPr>
              <a:t>98%</a:t>
            </a:r>
          </a:p>
        </p:txBody>
      </p:sp>
      <p:grpSp>
        <p:nvGrpSpPr>
          <p:cNvPr id="10" name="Groupe 122">
            <a:extLst>
              <a:ext uri="{FF2B5EF4-FFF2-40B4-BE49-F238E27FC236}">
                <a16:creationId xmlns:a16="http://schemas.microsoft.com/office/drawing/2014/main" id="{D313313C-4080-43BE-8E7E-34154E20EC5A}"/>
              </a:ext>
            </a:extLst>
          </p:cNvPr>
          <p:cNvGrpSpPr/>
          <p:nvPr/>
        </p:nvGrpSpPr>
        <p:grpSpPr>
          <a:xfrm>
            <a:off x="887597" y="3320694"/>
            <a:ext cx="1426921" cy="560641"/>
            <a:chOff x="4860925" y="3062288"/>
            <a:chExt cx="727075" cy="258763"/>
          </a:xfrm>
          <a:solidFill>
            <a:srgbClr val="21572B"/>
          </a:solidFill>
        </p:grpSpPr>
        <p:sp>
          <p:nvSpPr>
            <p:cNvPr id="11" name="Freeform 61">
              <a:extLst>
                <a:ext uri="{FF2B5EF4-FFF2-40B4-BE49-F238E27FC236}">
                  <a16:creationId xmlns:a16="http://schemas.microsoft.com/office/drawing/2014/main" id="{E85A7982-C147-4937-8E19-544478CB4963}"/>
                </a:ext>
              </a:extLst>
            </p:cNvPr>
            <p:cNvSpPr>
              <a:spLocks/>
            </p:cNvSpPr>
            <p:nvPr/>
          </p:nvSpPr>
          <p:spPr bwMode="auto">
            <a:xfrm>
              <a:off x="5349875" y="3062288"/>
              <a:ext cx="1587" cy="4763"/>
            </a:xfrm>
            <a:custGeom>
              <a:avLst/>
              <a:gdLst/>
              <a:ahLst/>
              <a:cxnLst>
                <a:cxn ang="0">
                  <a:pos x="0" y="0"/>
                </a:cxn>
                <a:cxn ang="0">
                  <a:pos x="0" y="0"/>
                </a:cxn>
                <a:cxn ang="0">
                  <a:pos x="0" y="3"/>
                </a:cxn>
                <a:cxn ang="0">
                  <a:pos x="0" y="3"/>
                </a:cxn>
                <a:cxn ang="0">
                  <a:pos x="0" y="3"/>
                </a:cxn>
                <a:cxn ang="0">
                  <a:pos x="0" y="3"/>
                </a:cxn>
                <a:cxn ang="0">
                  <a:pos x="0" y="3"/>
                </a:cxn>
                <a:cxn ang="0">
                  <a:pos x="0" y="0"/>
                </a:cxn>
                <a:cxn ang="0">
                  <a:pos x="0" y="0"/>
                </a:cxn>
              </a:cxnLst>
              <a:rect l="0" t="0" r="r" b="b"/>
              <a:pathLst>
                <a:path h="3">
                  <a:moveTo>
                    <a:pt x="0" y="0"/>
                  </a:moveTo>
                  <a:lnTo>
                    <a:pt x="0" y="0"/>
                  </a:lnTo>
                  <a:lnTo>
                    <a:pt x="0" y="3"/>
                  </a:lnTo>
                  <a:lnTo>
                    <a:pt x="0" y="3"/>
                  </a:lnTo>
                  <a:lnTo>
                    <a:pt x="0" y="3"/>
                  </a:lnTo>
                  <a:lnTo>
                    <a:pt x="0" y="3"/>
                  </a:lnTo>
                  <a:lnTo>
                    <a:pt x="0"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 name="Freeform 62">
              <a:extLst>
                <a:ext uri="{FF2B5EF4-FFF2-40B4-BE49-F238E27FC236}">
                  <a16:creationId xmlns:a16="http://schemas.microsoft.com/office/drawing/2014/main" id="{3073DFAC-D35D-4958-92A5-E3673379EE92}"/>
                </a:ext>
              </a:extLst>
            </p:cNvPr>
            <p:cNvSpPr>
              <a:spLocks/>
            </p:cNvSpPr>
            <p:nvPr/>
          </p:nvSpPr>
          <p:spPr bwMode="auto">
            <a:xfrm>
              <a:off x="5584825" y="3062288"/>
              <a:ext cx="3175" cy="4763"/>
            </a:xfrm>
            <a:custGeom>
              <a:avLst/>
              <a:gdLst/>
              <a:ahLst/>
              <a:cxnLst>
                <a:cxn ang="0">
                  <a:pos x="0" y="0"/>
                </a:cxn>
                <a:cxn ang="0">
                  <a:pos x="0" y="0"/>
                </a:cxn>
                <a:cxn ang="0">
                  <a:pos x="2" y="3"/>
                </a:cxn>
                <a:cxn ang="0">
                  <a:pos x="2" y="3"/>
                </a:cxn>
                <a:cxn ang="0">
                  <a:pos x="2" y="3"/>
                </a:cxn>
                <a:cxn ang="0">
                  <a:pos x="2" y="3"/>
                </a:cxn>
                <a:cxn ang="0">
                  <a:pos x="2" y="3"/>
                </a:cxn>
                <a:cxn ang="0">
                  <a:pos x="0" y="0"/>
                </a:cxn>
                <a:cxn ang="0">
                  <a:pos x="0" y="0"/>
                </a:cxn>
              </a:cxnLst>
              <a:rect l="0" t="0" r="r" b="b"/>
              <a:pathLst>
                <a:path w="2" h="3">
                  <a:moveTo>
                    <a:pt x="0" y="0"/>
                  </a:moveTo>
                  <a:lnTo>
                    <a:pt x="0" y="0"/>
                  </a:lnTo>
                  <a:lnTo>
                    <a:pt x="2" y="3"/>
                  </a:lnTo>
                  <a:lnTo>
                    <a:pt x="2" y="3"/>
                  </a:lnTo>
                  <a:lnTo>
                    <a:pt x="2" y="3"/>
                  </a:lnTo>
                  <a:lnTo>
                    <a:pt x="2" y="3"/>
                  </a:lnTo>
                  <a:lnTo>
                    <a:pt x="2"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3" name="Freeform 70">
              <a:extLst>
                <a:ext uri="{FF2B5EF4-FFF2-40B4-BE49-F238E27FC236}">
                  <a16:creationId xmlns:a16="http://schemas.microsoft.com/office/drawing/2014/main" id="{25A7B3B4-867E-4978-98BF-50DF855434A7}"/>
                </a:ext>
              </a:extLst>
            </p:cNvPr>
            <p:cNvSpPr>
              <a:spLocks/>
            </p:cNvSpPr>
            <p:nvPr/>
          </p:nvSpPr>
          <p:spPr bwMode="auto">
            <a:xfrm>
              <a:off x="5318125" y="3230563"/>
              <a:ext cx="3175" cy="3175"/>
            </a:xfrm>
            <a:custGeom>
              <a:avLst/>
              <a:gdLst/>
              <a:ahLst/>
              <a:cxnLst>
                <a:cxn ang="0">
                  <a:pos x="2" y="2"/>
                </a:cxn>
                <a:cxn ang="0">
                  <a:pos x="2" y="2"/>
                </a:cxn>
                <a:cxn ang="0">
                  <a:pos x="2" y="2"/>
                </a:cxn>
                <a:cxn ang="0">
                  <a:pos x="2" y="2"/>
                </a:cxn>
                <a:cxn ang="0">
                  <a:pos x="2" y="2"/>
                </a:cxn>
                <a:cxn ang="0">
                  <a:pos x="0" y="0"/>
                </a:cxn>
                <a:cxn ang="0">
                  <a:pos x="0" y="0"/>
                </a:cxn>
                <a:cxn ang="0">
                  <a:pos x="2" y="2"/>
                </a:cxn>
                <a:cxn ang="0">
                  <a:pos x="2" y="2"/>
                </a:cxn>
              </a:cxnLst>
              <a:rect l="0" t="0" r="r" b="b"/>
              <a:pathLst>
                <a:path w="2" h="2">
                  <a:moveTo>
                    <a:pt x="2" y="2"/>
                  </a:moveTo>
                  <a:lnTo>
                    <a:pt x="2" y="2"/>
                  </a:lnTo>
                  <a:lnTo>
                    <a:pt x="2" y="2"/>
                  </a:lnTo>
                  <a:lnTo>
                    <a:pt x="2" y="2"/>
                  </a:lnTo>
                  <a:lnTo>
                    <a:pt x="2" y="2"/>
                  </a:lnTo>
                  <a:lnTo>
                    <a:pt x="0" y="0"/>
                  </a:lnTo>
                  <a:lnTo>
                    <a:pt x="0" y="0"/>
                  </a:lnTo>
                  <a:lnTo>
                    <a:pt x="2" y="2"/>
                  </a:lnTo>
                  <a:lnTo>
                    <a:pt x="2"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 name="Freeform 71">
              <a:extLst>
                <a:ext uri="{FF2B5EF4-FFF2-40B4-BE49-F238E27FC236}">
                  <a16:creationId xmlns:a16="http://schemas.microsoft.com/office/drawing/2014/main" id="{62030A51-B1BF-4825-A4E0-2EDBE915583A}"/>
                </a:ext>
              </a:extLst>
            </p:cNvPr>
            <p:cNvSpPr>
              <a:spLocks/>
            </p:cNvSpPr>
            <p:nvPr/>
          </p:nvSpPr>
          <p:spPr bwMode="auto">
            <a:xfrm>
              <a:off x="5106988" y="3230563"/>
              <a:ext cx="1587" cy="3175"/>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 name="Freeform 77">
              <a:extLst>
                <a:ext uri="{FF2B5EF4-FFF2-40B4-BE49-F238E27FC236}">
                  <a16:creationId xmlns:a16="http://schemas.microsoft.com/office/drawing/2014/main" id="{37600855-4257-4D2F-9884-319F18C79514}"/>
                </a:ext>
              </a:extLst>
            </p:cNvPr>
            <p:cNvSpPr>
              <a:spLocks/>
            </p:cNvSpPr>
            <p:nvPr/>
          </p:nvSpPr>
          <p:spPr bwMode="auto">
            <a:xfrm>
              <a:off x="5072063" y="3316288"/>
              <a:ext cx="1587" cy="4763"/>
            </a:xfrm>
            <a:custGeom>
              <a:avLst/>
              <a:gdLst/>
              <a:ahLst/>
              <a:cxnLst>
                <a:cxn ang="0">
                  <a:pos x="1" y="2"/>
                </a:cxn>
                <a:cxn ang="0">
                  <a:pos x="1" y="3"/>
                </a:cxn>
                <a:cxn ang="0">
                  <a:pos x="1" y="3"/>
                </a:cxn>
                <a:cxn ang="0">
                  <a:pos x="1" y="3"/>
                </a:cxn>
                <a:cxn ang="0">
                  <a:pos x="1" y="3"/>
                </a:cxn>
                <a:cxn ang="0">
                  <a:pos x="0" y="0"/>
                </a:cxn>
                <a:cxn ang="0">
                  <a:pos x="0" y="0"/>
                </a:cxn>
                <a:cxn ang="0">
                  <a:pos x="1" y="2"/>
                </a:cxn>
                <a:cxn ang="0">
                  <a:pos x="1" y="2"/>
                </a:cxn>
              </a:cxnLst>
              <a:rect l="0" t="0" r="r" b="b"/>
              <a:pathLst>
                <a:path w="1" h="3">
                  <a:moveTo>
                    <a:pt x="1" y="2"/>
                  </a:moveTo>
                  <a:lnTo>
                    <a:pt x="1" y="3"/>
                  </a:lnTo>
                  <a:lnTo>
                    <a:pt x="1" y="3"/>
                  </a:lnTo>
                  <a:lnTo>
                    <a:pt x="1" y="3"/>
                  </a:lnTo>
                  <a:lnTo>
                    <a:pt x="1" y="3"/>
                  </a:lnTo>
                  <a:lnTo>
                    <a:pt x="0" y="0"/>
                  </a:lnTo>
                  <a:lnTo>
                    <a:pt x="0" y="0"/>
                  </a:lnTo>
                  <a:lnTo>
                    <a:pt x="1" y="2"/>
                  </a:lnTo>
                  <a:lnTo>
                    <a:pt x="1"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6" name="Freeform 78">
              <a:extLst>
                <a:ext uri="{FF2B5EF4-FFF2-40B4-BE49-F238E27FC236}">
                  <a16:creationId xmlns:a16="http://schemas.microsoft.com/office/drawing/2014/main" id="{AF62F4F5-0569-4C14-9F69-5347ABE44757}"/>
                </a:ext>
              </a:extLst>
            </p:cNvPr>
            <p:cNvSpPr>
              <a:spLocks/>
            </p:cNvSpPr>
            <p:nvPr/>
          </p:nvSpPr>
          <p:spPr bwMode="auto">
            <a:xfrm>
              <a:off x="4860925" y="3316288"/>
              <a:ext cx="1587" cy="4763"/>
            </a:xfrm>
            <a:custGeom>
              <a:avLst/>
              <a:gdLst/>
              <a:ahLst/>
              <a:cxnLst>
                <a:cxn ang="0">
                  <a:pos x="0" y="0"/>
                </a:cxn>
                <a:cxn ang="0">
                  <a:pos x="0" y="0"/>
                </a:cxn>
                <a:cxn ang="0">
                  <a:pos x="0" y="3"/>
                </a:cxn>
                <a:cxn ang="0">
                  <a:pos x="0" y="3"/>
                </a:cxn>
                <a:cxn ang="0">
                  <a:pos x="0" y="3"/>
                </a:cxn>
                <a:cxn ang="0">
                  <a:pos x="0" y="2"/>
                </a:cxn>
                <a:cxn ang="0">
                  <a:pos x="0" y="2"/>
                </a:cxn>
                <a:cxn ang="0">
                  <a:pos x="0" y="0"/>
                </a:cxn>
                <a:cxn ang="0">
                  <a:pos x="0" y="0"/>
                </a:cxn>
              </a:cxnLst>
              <a:rect l="0" t="0" r="r" b="b"/>
              <a:pathLst>
                <a:path h="3">
                  <a:moveTo>
                    <a:pt x="0" y="0"/>
                  </a:moveTo>
                  <a:lnTo>
                    <a:pt x="0" y="0"/>
                  </a:lnTo>
                  <a:lnTo>
                    <a:pt x="0" y="3"/>
                  </a:lnTo>
                  <a:lnTo>
                    <a:pt x="0" y="3"/>
                  </a:lnTo>
                  <a:lnTo>
                    <a:pt x="0" y="3"/>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sp>
        <p:nvSpPr>
          <p:cNvPr id="17" name="TextBox 16">
            <a:extLst>
              <a:ext uri="{FF2B5EF4-FFF2-40B4-BE49-F238E27FC236}">
                <a16:creationId xmlns:a16="http://schemas.microsoft.com/office/drawing/2014/main" id="{B5172E52-8B6A-4322-A4CA-E952AA7D331C}"/>
              </a:ext>
            </a:extLst>
          </p:cNvPr>
          <p:cNvSpPr txBox="1"/>
          <p:nvPr/>
        </p:nvSpPr>
        <p:spPr>
          <a:xfrm>
            <a:off x="6290970" y="3523940"/>
            <a:ext cx="2733363" cy="41024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333" kern="1200">
                <a:solidFill>
                  <a:srgbClr val="222223"/>
                </a:solidFill>
                <a:latin typeface="+mn-lt"/>
                <a:ea typeface="+mn-ea"/>
              </a:rPr>
              <a:t>Limit the number of customers inside the store at a time</a:t>
            </a:r>
          </a:p>
        </p:txBody>
      </p:sp>
      <p:sp>
        <p:nvSpPr>
          <p:cNvPr id="18" name="TextBox 17">
            <a:extLst>
              <a:ext uri="{FF2B5EF4-FFF2-40B4-BE49-F238E27FC236}">
                <a16:creationId xmlns:a16="http://schemas.microsoft.com/office/drawing/2014/main" id="{28694EEB-374D-44BC-B637-D05CBAE6B903}"/>
              </a:ext>
            </a:extLst>
          </p:cNvPr>
          <p:cNvSpPr txBox="1"/>
          <p:nvPr/>
        </p:nvSpPr>
        <p:spPr>
          <a:xfrm>
            <a:off x="7976770" y="2764460"/>
            <a:ext cx="905700"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24%</a:t>
            </a:r>
          </a:p>
        </p:txBody>
      </p:sp>
      <p:sp>
        <p:nvSpPr>
          <p:cNvPr id="19" name="TextBox 18">
            <a:extLst>
              <a:ext uri="{FF2B5EF4-FFF2-40B4-BE49-F238E27FC236}">
                <a16:creationId xmlns:a16="http://schemas.microsoft.com/office/drawing/2014/main" id="{11A3E42D-F77C-46C9-A650-C95CCCC0A4E9}"/>
              </a:ext>
            </a:extLst>
          </p:cNvPr>
          <p:cNvSpPr txBox="1"/>
          <p:nvPr/>
        </p:nvSpPr>
        <p:spPr>
          <a:xfrm>
            <a:off x="9576802" y="3520612"/>
            <a:ext cx="1789668" cy="61536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333" kern="1200">
                <a:solidFill>
                  <a:srgbClr val="222223"/>
                </a:solidFill>
                <a:latin typeface="+mn-lt"/>
                <a:ea typeface="+mn-ea"/>
              </a:rPr>
              <a:t>Educating employees/customers on how to stay safe</a:t>
            </a:r>
          </a:p>
        </p:txBody>
      </p:sp>
      <p:sp>
        <p:nvSpPr>
          <p:cNvPr id="20" name="TextBox 19">
            <a:extLst>
              <a:ext uri="{FF2B5EF4-FFF2-40B4-BE49-F238E27FC236}">
                <a16:creationId xmlns:a16="http://schemas.microsoft.com/office/drawing/2014/main" id="{F83D55CA-514C-4124-9844-92D93FB81D22}"/>
              </a:ext>
            </a:extLst>
          </p:cNvPr>
          <p:cNvSpPr txBox="1"/>
          <p:nvPr/>
        </p:nvSpPr>
        <p:spPr>
          <a:xfrm>
            <a:off x="11273016" y="2764460"/>
            <a:ext cx="905700"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15%</a:t>
            </a:r>
          </a:p>
        </p:txBody>
      </p:sp>
      <p:sp>
        <p:nvSpPr>
          <p:cNvPr id="21" name="TextBox 20">
            <a:extLst>
              <a:ext uri="{FF2B5EF4-FFF2-40B4-BE49-F238E27FC236}">
                <a16:creationId xmlns:a16="http://schemas.microsoft.com/office/drawing/2014/main" id="{EB3FA5F4-E8EC-4919-94D8-D45304917459}"/>
              </a:ext>
            </a:extLst>
          </p:cNvPr>
          <p:cNvSpPr txBox="1"/>
          <p:nvPr/>
        </p:nvSpPr>
        <p:spPr>
          <a:xfrm>
            <a:off x="6319086" y="5700544"/>
            <a:ext cx="1964532" cy="61536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333" kern="1200">
                <a:solidFill>
                  <a:srgbClr val="222223"/>
                </a:solidFill>
                <a:latin typeface="+mn-lt"/>
                <a:ea typeface="+mn-ea"/>
              </a:rPr>
              <a:t>Use hand gloves to operate POS machine or other agents related functions</a:t>
            </a:r>
          </a:p>
        </p:txBody>
      </p:sp>
      <p:sp>
        <p:nvSpPr>
          <p:cNvPr id="22" name="TextBox 21">
            <a:extLst>
              <a:ext uri="{FF2B5EF4-FFF2-40B4-BE49-F238E27FC236}">
                <a16:creationId xmlns:a16="http://schemas.microsoft.com/office/drawing/2014/main" id="{D6F79CE4-B850-42F2-B8EF-E645394E7064}"/>
              </a:ext>
            </a:extLst>
          </p:cNvPr>
          <p:cNvSpPr txBox="1"/>
          <p:nvPr/>
        </p:nvSpPr>
        <p:spPr>
          <a:xfrm>
            <a:off x="7944686" y="4887976"/>
            <a:ext cx="905700"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25%</a:t>
            </a:r>
          </a:p>
        </p:txBody>
      </p:sp>
      <p:sp>
        <p:nvSpPr>
          <p:cNvPr id="23" name="TextBox 22">
            <a:extLst>
              <a:ext uri="{FF2B5EF4-FFF2-40B4-BE49-F238E27FC236}">
                <a16:creationId xmlns:a16="http://schemas.microsoft.com/office/drawing/2014/main" id="{689F50A6-198E-46F1-849E-7A7481B97719}"/>
              </a:ext>
            </a:extLst>
          </p:cNvPr>
          <p:cNvSpPr txBox="1"/>
          <p:nvPr/>
        </p:nvSpPr>
        <p:spPr>
          <a:xfrm>
            <a:off x="3303170" y="3478628"/>
            <a:ext cx="2886201" cy="41024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333" kern="1200">
                <a:solidFill>
                  <a:srgbClr val="222223"/>
                </a:solidFill>
                <a:latin typeface="+mn-lt"/>
                <a:ea typeface="+mn-ea"/>
              </a:rPr>
              <a:t>Ensure customers wash or sanitize hands before entering the store.</a:t>
            </a:r>
          </a:p>
        </p:txBody>
      </p:sp>
      <p:sp>
        <p:nvSpPr>
          <p:cNvPr id="24" name="TextBox 23">
            <a:extLst>
              <a:ext uri="{FF2B5EF4-FFF2-40B4-BE49-F238E27FC236}">
                <a16:creationId xmlns:a16="http://schemas.microsoft.com/office/drawing/2014/main" id="{FEBC93EB-7B12-4D91-8774-7BDBC037C05F}"/>
              </a:ext>
            </a:extLst>
          </p:cNvPr>
          <p:cNvSpPr txBox="1"/>
          <p:nvPr/>
        </p:nvSpPr>
        <p:spPr>
          <a:xfrm>
            <a:off x="5131970" y="2764460"/>
            <a:ext cx="905700"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86%</a:t>
            </a:r>
          </a:p>
        </p:txBody>
      </p:sp>
      <p:sp>
        <p:nvSpPr>
          <p:cNvPr id="25" name="TextBox 24">
            <a:extLst>
              <a:ext uri="{FF2B5EF4-FFF2-40B4-BE49-F238E27FC236}">
                <a16:creationId xmlns:a16="http://schemas.microsoft.com/office/drawing/2014/main" id="{6DF52E00-2FB2-4EF3-8B10-92AE497EB6C0}"/>
              </a:ext>
            </a:extLst>
          </p:cNvPr>
          <p:cNvSpPr txBox="1"/>
          <p:nvPr/>
        </p:nvSpPr>
        <p:spPr>
          <a:xfrm>
            <a:off x="3779086" y="5736969"/>
            <a:ext cx="1503361" cy="41024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333" kern="1200">
                <a:solidFill>
                  <a:srgbClr val="222223"/>
                </a:solidFill>
                <a:latin typeface="+mn-lt"/>
                <a:ea typeface="+mn-ea"/>
              </a:rPr>
              <a:t>Use face masks self &amp; employees</a:t>
            </a:r>
          </a:p>
        </p:txBody>
      </p:sp>
      <p:sp>
        <p:nvSpPr>
          <p:cNvPr id="26" name="TextBox 25">
            <a:extLst>
              <a:ext uri="{FF2B5EF4-FFF2-40B4-BE49-F238E27FC236}">
                <a16:creationId xmlns:a16="http://schemas.microsoft.com/office/drawing/2014/main" id="{29A36EFD-6ADF-4E97-BFD9-9307466CE393}"/>
              </a:ext>
            </a:extLst>
          </p:cNvPr>
          <p:cNvSpPr txBox="1"/>
          <p:nvPr/>
        </p:nvSpPr>
        <p:spPr>
          <a:xfrm>
            <a:off x="5099886" y="4883176"/>
            <a:ext cx="905700"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78%</a:t>
            </a:r>
          </a:p>
        </p:txBody>
      </p:sp>
      <p:sp>
        <p:nvSpPr>
          <p:cNvPr id="27" name="TextBox 26">
            <a:extLst>
              <a:ext uri="{FF2B5EF4-FFF2-40B4-BE49-F238E27FC236}">
                <a16:creationId xmlns:a16="http://schemas.microsoft.com/office/drawing/2014/main" id="{604B9531-1BD7-42A9-930E-7783F6B2235C}"/>
              </a:ext>
            </a:extLst>
          </p:cNvPr>
          <p:cNvSpPr txBox="1"/>
          <p:nvPr/>
        </p:nvSpPr>
        <p:spPr>
          <a:xfrm>
            <a:off x="9570285" y="5628743"/>
            <a:ext cx="1730795" cy="20512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333" kern="1200">
                <a:solidFill>
                  <a:srgbClr val="222223"/>
                </a:solidFill>
                <a:latin typeface="+mn-lt"/>
                <a:ea typeface="+mn-ea"/>
              </a:rPr>
              <a:t>Avoid Shaking hands</a:t>
            </a:r>
          </a:p>
        </p:txBody>
      </p:sp>
      <p:sp>
        <p:nvSpPr>
          <p:cNvPr id="28" name="TextBox 27">
            <a:extLst>
              <a:ext uri="{FF2B5EF4-FFF2-40B4-BE49-F238E27FC236}">
                <a16:creationId xmlns:a16="http://schemas.microsoft.com/office/drawing/2014/main" id="{EBADF346-A20F-4E6A-AAA0-FAB5E4FA9751}"/>
              </a:ext>
            </a:extLst>
          </p:cNvPr>
          <p:cNvSpPr txBox="1"/>
          <p:nvPr/>
        </p:nvSpPr>
        <p:spPr>
          <a:xfrm>
            <a:off x="11240932" y="4894377"/>
            <a:ext cx="905700"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18%</a:t>
            </a:r>
          </a:p>
        </p:txBody>
      </p:sp>
      <p:sp>
        <p:nvSpPr>
          <p:cNvPr id="29" name="TextBox 28">
            <a:extLst>
              <a:ext uri="{FF2B5EF4-FFF2-40B4-BE49-F238E27FC236}">
                <a16:creationId xmlns:a16="http://schemas.microsoft.com/office/drawing/2014/main" id="{4B9DC1D5-B462-4F04-9DD1-A2B28EB30F37}"/>
              </a:ext>
            </a:extLst>
          </p:cNvPr>
          <p:cNvSpPr txBox="1"/>
          <p:nvPr/>
        </p:nvSpPr>
        <p:spPr>
          <a:xfrm>
            <a:off x="4819711" y="1799066"/>
            <a:ext cx="4525313" cy="215444"/>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400" b="1" kern="1200">
                <a:solidFill>
                  <a:schemeClr val="accent6">
                    <a:lumMod val="50000"/>
                  </a:schemeClr>
                </a:solidFill>
                <a:latin typeface="+mn-lt"/>
                <a:ea typeface="+mn-ea"/>
              </a:rPr>
              <a:t>Measures taken towards customer safety</a:t>
            </a:r>
          </a:p>
        </p:txBody>
      </p:sp>
      <p:sp>
        <p:nvSpPr>
          <p:cNvPr id="30" name="TextBox 29">
            <a:extLst>
              <a:ext uri="{FF2B5EF4-FFF2-40B4-BE49-F238E27FC236}">
                <a16:creationId xmlns:a16="http://schemas.microsoft.com/office/drawing/2014/main" id="{BBD54206-4A95-4523-AEC0-E733DE7D157F}"/>
              </a:ext>
            </a:extLst>
          </p:cNvPr>
          <p:cNvSpPr txBox="1"/>
          <p:nvPr/>
        </p:nvSpPr>
        <p:spPr>
          <a:xfrm>
            <a:off x="5027752" y="4158228"/>
            <a:ext cx="4525313" cy="215444"/>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400" b="1" kern="1200">
                <a:solidFill>
                  <a:schemeClr val="accent6">
                    <a:lumMod val="50000"/>
                  </a:schemeClr>
                </a:solidFill>
                <a:latin typeface="+mn-lt"/>
                <a:ea typeface="+mn-ea"/>
              </a:rPr>
              <a:t>Measures taken towards  Self &amp; Employees</a:t>
            </a:r>
          </a:p>
        </p:txBody>
      </p:sp>
      <p:pic>
        <p:nvPicPr>
          <p:cNvPr id="31" name="Picture 2">
            <a:extLst>
              <a:ext uri="{FF2B5EF4-FFF2-40B4-BE49-F238E27FC236}">
                <a16:creationId xmlns:a16="http://schemas.microsoft.com/office/drawing/2014/main" id="{45DAE3D2-160A-4C8F-8D91-41E36AB534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84"/>
          <a:stretch/>
        </p:blipFill>
        <p:spPr bwMode="auto">
          <a:xfrm>
            <a:off x="3811170" y="2247724"/>
            <a:ext cx="1321377" cy="11055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4">
            <a:extLst>
              <a:ext uri="{FF2B5EF4-FFF2-40B4-BE49-F238E27FC236}">
                <a16:creationId xmlns:a16="http://schemas.microsoft.com/office/drawing/2014/main" id="{247B6433-F951-4DBB-A17C-16653A3DC00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61084" y="4473043"/>
            <a:ext cx="1308100" cy="115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6">
            <a:extLst>
              <a:ext uri="{FF2B5EF4-FFF2-40B4-BE49-F238E27FC236}">
                <a16:creationId xmlns:a16="http://schemas.microsoft.com/office/drawing/2014/main" id="{21FD2534-605E-4D2B-BA16-6B0A8FB2BC5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48459" y="4460355"/>
            <a:ext cx="1382183" cy="1178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12">
            <a:extLst>
              <a:ext uri="{FF2B5EF4-FFF2-40B4-BE49-F238E27FC236}">
                <a16:creationId xmlns:a16="http://schemas.microsoft.com/office/drawing/2014/main" id="{6AC50EE9-6FA1-4629-9B3C-276DBEA842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24350" y="2247725"/>
            <a:ext cx="1350819" cy="1212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16">
            <a:extLst>
              <a:ext uri="{FF2B5EF4-FFF2-40B4-BE49-F238E27FC236}">
                <a16:creationId xmlns:a16="http://schemas.microsoft.com/office/drawing/2014/main" id="{AFA85A7C-D1F7-4AFE-B3D0-7C6ED5358A0A}"/>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4000" b="96889" l="4000" r="96889"/>
                    </a14:imgEffect>
                  </a14:imgLayer>
                </a14:imgProps>
              </a:ext>
              <a:ext uri="{28A0092B-C50C-407E-A947-70E740481C1C}">
                <a14:useLocalDpi xmlns:a14="http://schemas.microsoft.com/office/drawing/2010/main" val="0"/>
              </a:ext>
            </a:extLst>
          </a:blip>
          <a:srcRect t="6867"/>
          <a:stretch/>
        </p:blipFill>
        <p:spPr bwMode="auto">
          <a:xfrm>
            <a:off x="6623886" y="4555855"/>
            <a:ext cx="1333047" cy="1241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21">
            <a:extLst>
              <a:ext uri="{FF2B5EF4-FFF2-40B4-BE49-F238E27FC236}">
                <a16:creationId xmlns:a16="http://schemas.microsoft.com/office/drawing/2014/main" id="{C182A41F-65B6-4A74-87C4-0F2FC72890D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923044" y="2361027"/>
            <a:ext cx="1101725" cy="1019291"/>
          </a:xfrm>
          <a:prstGeom prst="ellipse">
            <a:avLst/>
          </a:prstGeom>
          <a:ln w="9525">
            <a:solidFill>
              <a:schemeClr val="tx1"/>
            </a:solidFill>
            <a:miter lim="800000"/>
            <a:headEnd/>
            <a:tailEnd/>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chemeClr val="accent1"/>
                </a:solidFill>
              </a14:hiddenFill>
            </a:ext>
          </a:extLst>
        </p:spPr>
      </p:pic>
      <p:sp>
        <p:nvSpPr>
          <p:cNvPr id="37" name="Rectangle 36">
            <a:extLst>
              <a:ext uri="{FF2B5EF4-FFF2-40B4-BE49-F238E27FC236}">
                <a16:creationId xmlns:a16="http://schemas.microsoft.com/office/drawing/2014/main" id="{867474AF-E2F6-4A17-94DE-43F14A415FE6}"/>
              </a:ext>
            </a:extLst>
          </p:cNvPr>
          <p:cNvSpPr/>
          <p:nvPr/>
        </p:nvSpPr>
        <p:spPr>
          <a:xfrm>
            <a:off x="98721" y="6176711"/>
            <a:ext cx="8518874" cy="438582"/>
          </a:xfrm>
          <a:prstGeom prst="rect">
            <a:avLst/>
          </a:prstGeom>
        </p:spPr>
        <p:txBody>
          <a:bodyPr wrap="square" lIns="68580" tIns="34290" rIns="68580" bIns="34290">
            <a:spAutoFit/>
          </a:bodyPr>
          <a:lstStyle/>
          <a:p>
            <a:pPr lvl="0"/>
            <a:r>
              <a:rPr lang="en-US" sz="800"/>
              <a:t>Base: n=735</a:t>
            </a:r>
          </a:p>
          <a:p>
            <a:pPr lvl="0"/>
            <a:r>
              <a:rPr lang="en-US" sz="800"/>
              <a:t>Q1. Are you aware of Corona Virus Disease 2019? [SA] </a:t>
            </a:r>
          </a:p>
          <a:p>
            <a:pPr lvl="0"/>
            <a:r>
              <a:rPr lang="en-US" sz="800"/>
              <a:t>Q2. What do you understand about Corona Virus Disease 2019 / COVID-19? VERBATIM RESPONSE</a:t>
            </a:r>
          </a:p>
        </p:txBody>
      </p:sp>
      <p:sp>
        <p:nvSpPr>
          <p:cNvPr id="38" name="Title 2">
            <a:extLst>
              <a:ext uri="{FF2B5EF4-FFF2-40B4-BE49-F238E27FC236}">
                <a16:creationId xmlns:a16="http://schemas.microsoft.com/office/drawing/2014/main" id="{194F89CF-DF43-4E79-895D-1DA9486BDD57}"/>
              </a:ext>
            </a:extLst>
          </p:cNvPr>
          <p:cNvSpPr txBox="1">
            <a:spLocks/>
          </p:cNvSpPr>
          <p:nvPr/>
        </p:nvSpPr>
        <p:spPr>
          <a:xfrm>
            <a:off x="2308288" y="309970"/>
            <a:ext cx="9838344" cy="704367"/>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00" i="1">
                <a:latin typeface="+mn-lt"/>
              </a:rPr>
              <a:t>High awareness level and understanding of Coronavirus  is seen amongst the contacted financial agents.  This is no surprise as about 82% of Nigerians get information on COVID-19 multiple times a day through  different sources</a:t>
            </a:r>
            <a:r>
              <a:rPr lang="en-US" sz="1800" i="1" baseline="30000">
                <a:latin typeface="+mn-lt"/>
              </a:rPr>
              <a:t>1</a:t>
            </a:r>
          </a:p>
        </p:txBody>
      </p:sp>
      <p:grpSp>
        <p:nvGrpSpPr>
          <p:cNvPr id="40" name="Group 39">
            <a:extLst>
              <a:ext uri="{FF2B5EF4-FFF2-40B4-BE49-F238E27FC236}">
                <a16:creationId xmlns:a16="http://schemas.microsoft.com/office/drawing/2014/main" id="{C1EC36DB-DF5E-4ED9-B805-D73FCDE47D47}"/>
              </a:ext>
            </a:extLst>
          </p:cNvPr>
          <p:cNvGrpSpPr/>
          <p:nvPr/>
        </p:nvGrpSpPr>
        <p:grpSpPr>
          <a:xfrm>
            <a:off x="282624" y="3520612"/>
            <a:ext cx="2295991" cy="2287460"/>
            <a:chOff x="448803" y="2154719"/>
            <a:chExt cx="2295991" cy="2287460"/>
          </a:xfrm>
        </p:grpSpPr>
        <p:graphicFrame>
          <p:nvGraphicFramePr>
            <p:cNvPr id="41" name="Chart 40">
              <a:extLst>
                <a:ext uri="{FF2B5EF4-FFF2-40B4-BE49-F238E27FC236}">
                  <a16:creationId xmlns:a16="http://schemas.microsoft.com/office/drawing/2014/main" id="{E5D838AA-A796-436C-9D6C-C54B14B23C15}"/>
                </a:ext>
              </a:extLst>
            </p:cNvPr>
            <p:cNvGraphicFramePr/>
            <p:nvPr/>
          </p:nvGraphicFramePr>
          <p:xfrm>
            <a:off x="448803" y="2154719"/>
            <a:ext cx="2295991" cy="2287460"/>
          </p:xfrm>
          <a:graphic>
            <a:graphicData uri="http://schemas.openxmlformats.org/drawingml/2006/chart">
              <c:chart xmlns:c="http://schemas.openxmlformats.org/drawingml/2006/chart" xmlns:r="http://schemas.openxmlformats.org/officeDocument/2006/relationships" r:id="rId10"/>
            </a:graphicData>
          </a:graphic>
        </p:graphicFrame>
        <p:sp>
          <p:nvSpPr>
            <p:cNvPr id="42" name="TextBox 41">
              <a:extLst>
                <a:ext uri="{FF2B5EF4-FFF2-40B4-BE49-F238E27FC236}">
                  <a16:creationId xmlns:a16="http://schemas.microsoft.com/office/drawing/2014/main" id="{7B05DD9A-076F-4046-B760-C9884BCCD94C}"/>
                </a:ext>
              </a:extLst>
            </p:cNvPr>
            <p:cNvSpPr txBox="1"/>
            <p:nvPr/>
          </p:nvSpPr>
          <p:spPr>
            <a:xfrm>
              <a:off x="1066682" y="3087343"/>
              <a:ext cx="858399" cy="492443"/>
            </a:xfrm>
            <a:prstGeom prst="rect">
              <a:avLst/>
            </a:prstGeom>
            <a:noFill/>
          </p:spPr>
          <p:txBody>
            <a:bodyPr wrap="square" lIns="0" tIns="0" rIns="0" bIns="0" rtlCol="0" anchor="b">
              <a:spAutoFit/>
            </a:bodyPr>
            <a:lstStyle/>
            <a:p>
              <a:pPr algn="ctr" defTabSz="914355">
                <a:defRPr/>
              </a:pPr>
              <a:r>
                <a:rPr lang="en-GB" sz="3200" b="1">
                  <a:solidFill>
                    <a:srgbClr val="222223"/>
                  </a:solidFill>
                  <a:cs typeface="Times New Roman"/>
                </a:rPr>
                <a:t>72%</a:t>
              </a:r>
            </a:p>
          </p:txBody>
        </p:sp>
      </p:grpSp>
      <p:sp>
        <p:nvSpPr>
          <p:cNvPr id="43" name="TextBox 42">
            <a:extLst>
              <a:ext uri="{FF2B5EF4-FFF2-40B4-BE49-F238E27FC236}">
                <a16:creationId xmlns:a16="http://schemas.microsoft.com/office/drawing/2014/main" id="{14EC68AE-4D88-4394-B4A1-3FBD0D9A2DA8}"/>
              </a:ext>
            </a:extLst>
          </p:cNvPr>
          <p:cNvSpPr txBox="1"/>
          <p:nvPr/>
        </p:nvSpPr>
        <p:spPr>
          <a:xfrm>
            <a:off x="421866" y="5454304"/>
            <a:ext cx="2439825" cy="276999"/>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199779">
              <a:defRPr/>
            </a:pPr>
            <a:r>
              <a:rPr lang="en-US" sz="1800" b="1" kern="1200">
                <a:solidFill>
                  <a:srgbClr val="222223"/>
                </a:solidFill>
                <a:latin typeface="+mn-lt"/>
                <a:ea typeface="+mn-ea"/>
              </a:rPr>
              <a:t>Afraid of getting infected </a:t>
            </a:r>
          </a:p>
        </p:txBody>
      </p:sp>
    </p:spTree>
    <p:extLst>
      <p:ext uri="{BB962C8B-B14F-4D97-AF65-F5344CB8AC3E}">
        <p14:creationId xmlns:p14="http://schemas.microsoft.com/office/powerpoint/2010/main" val="942553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9F9DF89-51B0-4584-85DB-9265E2CF2592}"/>
              </a:ext>
            </a:extLst>
          </p:cNvPr>
          <p:cNvSpPr/>
          <p:nvPr/>
        </p:nvSpPr>
        <p:spPr>
          <a:xfrm>
            <a:off x="6372225" y="6299690"/>
            <a:ext cx="3905250" cy="546100"/>
          </a:xfrm>
          <a:prstGeom prst="rect">
            <a:avLst/>
          </a:prstGeom>
          <a:solidFill>
            <a:schemeClr val="bg1"/>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solidFill>
                <a:schemeClr val="tx1"/>
              </a:solidFill>
              <a:cs typeface="Arial" pitchFamily="34" charset="0"/>
            </a:endParaRPr>
          </a:p>
        </p:txBody>
      </p:sp>
      <p:graphicFrame>
        <p:nvGraphicFramePr>
          <p:cNvPr id="4" name="Object 3" hidden="1"/>
          <p:cNvGraphicFramePr>
            <a:graphicFrameLocks noChangeAspect="1"/>
          </p:cNvGraphicFramePr>
          <p:nvPr>
            <p:custDataLst>
              <p:tags r:id="rId2"/>
            </p:custDataLst>
          </p:nvPr>
        </p:nvGraphicFramePr>
        <p:xfrm>
          <a:off x="1144591" y="1593"/>
          <a:ext cx="1587" cy="1587"/>
        </p:xfrm>
        <a:graphic>
          <a:graphicData uri="http://schemas.openxmlformats.org/presentationml/2006/ole">
            <mc:AlternateContent xmlns:mc="http://schemas.openxmlformats.org/markup-compatibility/2006">
              <mc:Choice xmlns:v="urn:schemas-microsoft-com:vml" Requires="v">
                <p:oleObj spid="_x0000_s26625" name="think-cell Slide" r:id="rId5" imgW="216" imgH="216" progId="TCLayout.ActiveDocument.1">
                  <p:embed/>
                </p:oleObj>
              </mc:Choice>
              <mc:Fallback>
                <p:oleObj name="think-cell Slide" r:id="rId5" imgW="216" imgH="216" progId="TCLayout.ActiveDocument.1">
                  <p:embed/>
                  <p:pic>
                    <p:nvPicPr>
                      <p:cNvPr id="4" name="Object 3" hidden="1"/>
                      <p:cNvPicPr/>
                      <p:nvPr/>
                    </p:nvPicPr>
                    <p:blipFill>
                      <a:blip r:embed="rId6"/>
                      <a:stretch>
                        <a:fillRect/>
                      </a:stretch>
                    </p:blipFill>
                    <p:spPr>
                      <a:xfrm>
                        <a:off x="1144591" y="1593"/>
                        <a:ext cx="1587" cy="1587"/>
                      </a:xfrm>
                      <a:prstGeom prst="rect">
                        <a:avLst/>
                      </a:prstGeom>
                    </p:spPr>
                  </p:pic>
                </p:oleObj>
              </mc:Fallback>
            </mc:AlternateContent>
          </a:graphicData>
        </a:graphic>
      </p:graphicFrame>
      <p:sp>
        <p:nvSpPr>
          <p:cNvPr id="10" name="Slide Number Placeholder 9"/>
          <p:cNvSpPr>
            <a:spLocks noGrp="1"/>
          </p:cNvSpPr>
          <p:nvPr>
            <p:ph type="sldNum" sz="quarter" idx="11"/>
          </p:nvPr>
        </p:nvSpPr>
        <p:spPr/>
        <p:txBody>
          <a:bodyPr/>
          <a:lstStyle/>
          <a:p>
            <a:pPr>
              <a:defRPr/>
            </a:pPr>
            <a:fld id="{47794585-347E-4355-955C-F2766ACC4F25}" type="slidenum">
              <a:rPr lang="en-US" smtClean="0"/>
              <a:pPr>
                <a:defRPr/>
              </a:pPr>
              <a:t>8</a:t>
            </a:fld>
            <a:endParaRPr lang="en-US"/>
          </a:p>
        </p:txBody>
      </p:sp>
      <p:sp>
        <p:nvSpPr>
          <p:cNvPr id="9" name="Slide Number Placeholder 3">
            <a:extLst>
              <a:ext uri="{FF2B5EF4-FFF2-40B4-BE49-F238E27FC236}">
                <a16:creationId xmlns:a16="http://schemas.microsoft.com/office/drawing/2014/main" id="{1B15A506-5F36-412F-BD20-1F744F9DB377}"/>
              </a:ext>
            </a:extLst>
          </p:cNvPr>
          <p:cNvSpPr txBox="1">
            <a:spLocks/>
          </p:cNvSpPr>
          <p:nvPr/>
        </p:nvSpPr>
        <p:spPr>
          <a:xfrm>
            <a:off x="10923588" y="6991042"/>
            <a:ext cx="119062" cy="30778"/>
          </a:xfrm>
          <a:prstGeom prst="rect">
            <a:avLst/>
          </a:prstGeom>
        </p:spPr>
        <p:txBody>
          <a:bodyPr vert="horz" wrap="square" lIns="0" tIns="0" rIns="0" bIns="0" numCol="1" anchor="ctr" anchorCtr="0" compatLnSpc="1">
            <a:prstTxWarp prst="textNoShape">
              <a:avLst/>
            </a:prstTxWarp>
            <a:spAutoFit/>
          </a:bodyPr>
          <a:lstStyle>
            <a:defPPr>
              <a:defRPr lang="de-DE"/>
            </a:defPPr>
            <a:lvl1pPr algn="r" rtl="0" fontAlgn="base">
              <a:spcBef>
                <a:spcPct val="0"/>
              </a:spcBef>
              <a:spcAft>
                <a:spcPct val="0"/>
              </a:spcAft>
              <a:defRPr sz="200" b="0" kern="1200">
                <a:solidFill>
                  <a:srgbClr val="FFFFFF"/>
                </a:solidFill>
                <a:latin typeface="Arial" charset="0"/>
                <a:ea typeface="MS PGothic" pitchFamily="34" charset="-128"/>
                <a:cs typeface="Arial" charset="0"/>
              </a:defRPr>
            </a:lvl1pPr>
            <a:lvl2pPr marL="457200" algn="l" rtl="0" fontAlgn="base">
              <a:spcBef>
                <a:spcPct val="0"/>
              </a:spcBef>
              <a:spcAft>
                <a:spcPct val="0"/>
              </a:spcAft>
              <a:defRPr sz="13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3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3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300" b="1" kern="1200">
                <a:solidFill>
                  <a:schemeClr val="tx1"/>
                </a:solidFill>
                <a:latin typeface="Arial" pitchFamily="34" charset="0"/>
                <a:ea typeface="+mn-ea"/>
                <a:cs typeface="Arial" pitchFamily="34" charset="0"/>
              </a:defRPr>
            </a:lvl5pPr>
            <a:lvl6pPr marL="2286000" algn="l" defTabSz="914400" rtl="0" eaLnBrk="1" latinLnBrk="0" hangingPunct="1">
              <a:defRPr sz="1300" b="1" kern="1200">
                <a:solidFill>
                  <a:schemeClr val="tx1"/>
                </a:solidFill>
                <a:latin typeface="Arial" pitchFamily="34" charset="0"/>
                <a:ea typeface="+mn-ea"/>
                <a:cs typeface="Arial" pitchFamily="34" charset="0"/>
              </a:defRPr>
            </a:lvl6pPr>
            <a:lvl7pPr marL="2743200" algn="l" defTabSz="914400" rtl="0" eaLnBrk="1" latinLnBrk="0" hangingPunct="1">
              <a:defRPr sz="1300" b="1" kern="1200">
                <a:solidFill>
                  <a:schemeClr val="tx1"/>
                </a:solidFill>
                <a:latin typeface="Arial" pitchFamily="34" charset="0"/>
                <a:ea typeface="+mn-ea"/>
                <a:cs typeface="Arial" pitchFamily="34" charset="0"/>
              </a:defRPr>
            </a:lvl7pPr>
            <a:lvl8pPr marL="3200400" algn="l" defTabSz="914400" rtl="0" eaLnBrk="1" latinLnBrk="0" hangingPunct="1">
              <a:defRPr sz="1300" b="1" kern="1200">
                <a:solidFill>
                  <a:schemeClr val="tx1"/>
                </a:solidFill>
                <a:latin typeface="Arial" pitchFamily="34" charset="0"/>
                <a:ea typeface="+mn-ea"/>
                <a:cs typeface="Arial" pitchFamily="34" charset="0"/>
              </a:defRPr>
            </a:lvl8pPr>
            <a:lvl9pPr marL="3657600" algn="l" defTabSz="914400" rtl="0" eaLnBrk="1" latinLnBrk="0" hangingPunct="1">
              <a:defRPr sz="1300" b="1" kern="1200">
                <a:solidFill>
                  <a:schemeClr val="tx1"/>
                </a:solidFill>
                <a:latin typeface="Arial" pitchFamily="34" charset="0"/>
                <a:ea typeface="+mn-ea"/>
                <a:cs typeface="Arial" pitchFamily="34" charset="0"/>
              </a:defRPr>
            </a:lvl9pPr>
          </a:lstStyle>
          <a:p>
            <a:pPr>
              <a:defRPr/>
            </a:pPr>
            <a:fld id="{47794585-347E-4355-955C-F2766ACC4F25}" type="slidenum">
              <a:rPr lang="en-US"/>
              <a:pPr>
                <a:defRPr/>
              </a:pPr>
              <a:t>8</a:t>
            </a:fld>
            <a:endParaRPr lang="en-US"/>
          </a:p>
        </p:txBody>
      </p:sp>
      <p:grpSp>
        <p:nvGrpSpPr>
          <p:cNvPr id="14" name="Group 13">
            <a:extLst>
              <a:ext uri="{FF2B5EF4-FFF2-40B4-BE49-F238E27FC236}">
                <a16:creationId xmlns:a16="http://schemas.microsoft.com/office/drawing/2014/main" id="{9CE59210-3D0A-4E3B-92B3-7CE22CE7D1B7}"/>
              </a:ext>
            </a:extLst>
          </p:cNvPr>
          <p:cNvGrpSpPr/>
          <p:nvPr/>
        </p:nvGrpSpPr>
        <p:grpSpPr>
          <a:xfrm>
            <a:off x="300841" y="277770"/>
            <a:ext cx="11567504" cy="6573085"/>
            <a:chOff x="335277" y="300688"/>
            <a:chExt cx="11567504" cy="6573085"/>
          </a:xfrm>
        </p:grpSpPr>
        <p:sp>
          <p:nvSpPr>
            <p:cNvPr id="17" name="Rectangle 16">
              <a:extLst>
                <a:ext uri="{FF2B5EF4-FFF2-40B4-BE49-F238E27FC236}">
                  <a16:creationId xmlns:a16="http://schemas.microsoft.com/office/drawing/2014/main" id="{36543970-CF96-459B-BF93-631DFEE4AF96}"/>
                </a:ext>
              </a:extLst>
            </p:cNvPr>
            <p:cNvSpPr/>
            <p:nvPr/>
          </p:nvSpPr>
          <p:spPr>
            <a:xfrm>
              <a:off x="335277" y="6283740"/>
              <a:ext cx="11358499" cy="590033"/>
            </a:xfrm>
            <a:prstGeom prst="rect">
              <a:avLst/>
            </a:prstGeom>
          </p:spPr>
          <p:txBody>
            <a:bodyPr wrap="square" lIns="91440" tIns="45720" rIns="91440" bIns="45720">
              <a:spAutoFit/>
            </a:bodyPr>
            <a:lstStyle/>
            <a:p>
              <a:pPr lvl="0"/>
              <a:r>
                <a:rPr lang="en-US" sz="1067"/>
                <a:t>Base: n= 631</a:t>
              </a:r>
            </a:p>
            <a:p>
              <a:pPr lvl="0"/>
              <a:r>
                <a:rPr lang="en-US" sz="1067"/>
                <a:t>Q4. Have you received any kind of support from the service providers you work for since the Coronavirus / COVID-19 pandemic began? </a:t>
              </a:r>
            </a:p>
            <a:p>
              <a:r>
                <a:rPr lang="en-US" sz="1067"/>
                <a:t>Q4a. From which service providers have you received support? MULTIPLE RESPONSE.</a:t>
              </a:r>
              <a:r>
                <a:rPr lang="en-US" sz="1100">
                  <a:solidFill>
                    <a:srgbClr val="FF0000"/>
                  </a:solidFill>
                </a:rPr>
                <a:t> n=53 (caution based on small sample)</a:t>
              </a:r>
            </a:p>
          </p:txBody>
        </p:sp>
        <p:grpSp>
          <p:nvGrpSpPr>
            <p:cNvPr id="18" name="Group 17">
              <a:extLst>
                <a:ext uri="{FF2B5EF4-FFF2-40B4-BE49-F238E27FC236}">
                  <a16:creationId xmlns:a16="http://schemas.microsoft.com/office/drawing/2014/main" id="{8FAF2E5A-047E-4044-98DB-4DC41A0CE3A1}"/>
                </a:ext>
              </a:extLst>
            </p:cNvPr>
            <p:cNvGrpSpPr/>
            <p:nvPr/>
          </p:nvGrpSpPr>
          <p:grpSpPr>
            <a:xfrm>
              <a:off x="1419692" y="300688"/>
              <a:ext cx="10483089" cy="5983052"/>
              <a:chOff x="1419692" y="300688"/>
              <a:chExt cx="10483089" cy="5983052"/>
            </a:xfrm>
          </p:grpSpPr>
          <p:sp>
            <p:nvSpPr>
              <p:cNvPr id="19" name="Title 2">
                <a:extLst>
                  <a:ext uri="{FF2B5EF4-FFF2-40B4-BE49-F238E27FC236}">
                    <a16:creationId xmlns:a16="http://schemas.microsoft.com/office/drawing/2014/main" id="{049CDCA5-66A7-4D2F-A1EF-8F22FC50E407}"/>
                  </a:ext>
                </a:extLst>
              </p:cNvPr>
              <p:cNvSpPr txBox="1">
                <a:spLocks/>
              </p:cNvSpPr>
              <p:nvPr/>
            </p:nvSpPr>
            <p:spPr>
              <a:xfrm>
                <a:off x="2460946" y="300688"/>
                <a:ext cx="9441835" cy="936157"/>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i="1">
                    <a:latin typeface="+mn-lt"/>
                  </a:rPr>
                  <a:t>Poor support received from providers/principals so far. Only 8% claimed to have received support from FSPs since the pandemic began.</a:t>
                </a:r>
              </a:p>
              <a:p>
                <a:endParaRPr lang="en-US" sz="1050" i="1">
                  <a:latin typeface="+mn-lt"/>
                </a:endParaRPr>
              </a:p>
              <a:p>
                <a:pPr marL="171450" indent="-171450">
                  <a:buFont typeface="Arial" panose="020B0604020202020204" pitchFamily="34" charset="0"/>
                  <a:buChar char="•"/>
                </a:pPr>
                <a:r>
                  <a:rPr lang="en-US" sz="1200" i="1">
                    <a:latin typeface="+mn-lt"/>
                  </a:rPr>
                  <a:t>First Bank (First Monie), MTN, </a:t>
                </a:r>
                <a:r>
                  <a:rPr lang="en-US" sz="1200" i="1" err="1">
                    <a:latin typeface="+mn-lt"/>
                  </a:rPr>
                  <a:t>OPay</a:t>
                </a:r>
                <a:r>
                  <a:rPr lang="en-US" sz="1200" i="1">
                    <a:latin typeface="+mn-lt"/>
                  </a:rPr>
                  <a:t>, Airtel &amp; </a:t>
                </a:r>
                <a:r>
                  <a:rPr lang="en-US" sz="1200" i="1" err="1">
                    <a:latin typeface="+mn-lt"/>
                  </a:rPr>
                  <a:t>Mimo</a:t>
                </a:r>
                <a:r>
                  <a:rPr lang="en-US" sz="1200" i="1">
                    <a:latin typeface="+mn-lt"/>
                  </a:rPr>
                  <a:t>(</a:t>
                </a:r>
                <a:r>
                  <a:rPr lang="en-US" sz="1200" i="1" err="1">
                    <a:latin typeface="+mn-lt"/>
                  </a:rPr>
                  <a:t>Mkudi</a:t>
                </a:r>
                <a:r>
                  <a:rPr lang="en-US" sz="1200" i="1">
                    <a:latin typeface="+mn-lt"/>
                  </a:rPr>
                  <a:t>) top the list of principals  who have provided support .</a:t>
                </a:r>
              </a:p>
            </p:txBody>
          </p:sp>
          <p:sp>
            <p:nvSpPr>
              <p:cNvPr id="21" name="Rectangle 20">
                <a:extLst>
                  <a:ext uri="{FF2B5EF4-FFF2-40B4-BE49-F238E27FC236}">
                    <a16:creationId xmlns:a16="http://schemas.microsoft.com/office/drawing/2014/main" id="{2D5D1A0D-83FF-46FC-A971-61359504FA4D}"/>
                  </a:ext>
                </a:extLst>
              </p:cNvPr>
              <p:cNvSpPr/>
              <p:nvPr/>
            </p:nvSpPr>
            <p:spPr>
              <a:xfrm>
                <a:off x="7712663" y="1724357"/>
                <a:ext cx="2637389" cy="338554"/>
              </a:xfrm>
              <a:prstGeom prst="rect">
                <a:avLst/>
              </a:prstGeom>
              <a:solidFill>
                <a:srgbClr val="006301"/>
              </a:solidFill>
            </p:spPr>
            <p:txBody>
              <a:bodyPr wrap="none">
                <a:spAutoFit/>
              </a:bodyPr>
              <a:lstStyle/>
              <a:p>
                <a:r>
                  <a:rPr lang="en-US" sz="1600" b="1">
                    <a:solidFill>
                      <a:schemeClr val="bg1"/>
                    </a:solidFill>
                  </a:rPr>
                  <a:t>Principals Providing Support </a:t>
                </a:r>
              </a:p>
            </p:txBody>
          </p:sp>
          <p:sp>
            <p:nvSpPr>
              <p:cNvPr id="22" name="TextBox 21">
                <a:extLst>
                  <a:ext uri="{FF2B5EF4-FFF2-40B4-BE49-F238E27FC236}">
                    <a16:creationId xmlns:a16="http://schemas.microsoft.com/office/drawing/2014/main" id="{0C16EDF5-20CC-4B6E-938A-71BB025B56DA}"/>
                  </a:ext>
                </a:extLst>
              </p:cNvPr>
              <p:cNvSpPr txBox="1"/>
              <p:nvPr/>
            </p:nvSpPr>
            <p:spPr>
              <a:xfrm>
                <a:off x="1419692" y="3897704"/>
                <a:ext cx="2800747" cy="574644"/>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sz="1867" b="1" kern="1200">
                    <a:solidFill>
                      <a:srgbClr val="222223"/>
                    </a:solidFill>
                    <a:latin typeface="+mn-lt"/>
                    <a:ea typeface="+mn-ea"/>
                  </a:rPr>
                  <a:t>Have Received Support  From Providers</a:t>
                </a:r>
              </a:p>
            </p:txBody>
          </p:sp>
          <p:sp>
            <p:nvSpPr>
              <p:cNvPr id="23" name="TextBox 22">
                <a:extLst>
                  <a:ext uri="{FF2B5EF4-FFF2-40B4-BE49-F238E27FC236}">
                    <a16:creationId xmlns:a16="http://schemas.microsoft.com/office/drawing/2014/main" id="{6BC3F82F-70A9-4201-A77A-0A2657BC342E}"/>
                  </a:ext>
                </a:extLst>
              </p:cNvPr>
              <p:cNvSpPr txBox="1"/>
              <p:nvPr/>
            </p:nvSpPr>
            <p:spPr>
              <a:xfrm>
                <a:off x="2175638" y="2887920"/>
                <a:ext cx="1144532" cy="656655"/>
              </a:xfrm>
              <a:prstGeom prst="rect">
                <a:avLst/>
              </a:prstGeom>
              <a:noFill/>
            </p:spPr>
            <p:txBody>
              <a:bodyPr wrap="square" lIns="0" tIns="0" rIns="0" bIns="0" rtlCol="0" anchor="b">
                <a:spAutoFit/>
              </a:bodyPr>
              <a:lstStyle/>
              <a:p>
                <a:pPr algn="ctr" defTabSz="1219110">
                  <a:defRPr/>
                </a:pPr>
                <a:r>
                  <a:rPr lang="en-GB" sz="4267" b="1">
                    <a:solidFill>
                      <a:srgbClr val="222223"/>
                    </a:solidFill>
                    <a:cs typeface="Times New Roman"/>
                  </a:rPr>
                  <a:t>8%</a:t>
                </a:r>
              </a:p>
            </p:txBody>
          </p:sp>
          <p:graphicFrame>
            <p:nvGraphicFramePr>
              <p:cNvPr id="24" name="Chart 23">
                <a:extLst>
                  <a:ext uri="{FF2B5EF4-FFF2-40B4-BE49-F238E27FC236}">
                    <a16:creationId xmlns:a16="http://schemas.microsoft.com/office/drawing/2014/main" id="{8E6CFA88-FE1F-4754-BE31-3BF077294470}"/>
                  </a:ext>
                </a:extLst>
              </p:cNvPr>
              <p:cNvGraphicFramePr>
                <a:graphicFrameLocks/>
              </p:cNvGraphicFramePr>
              <p:nvPr/>
            </p:nvGraphicFramePr>
            <p:xfrm>
              <a:off x="5763492" y="2086311"/>
              <a:ext cx="5077688" cy="4197429"/>
            </p:xfrm>
            <a:graphic>
              <a:graphicData uri="http://schemas.openxmlformats.org/drawingml/2006/chart">
                <c:chart xmlns:c="http://schemas.openxmlformats.org/drawingml/2006/chart" xmlns:r="http://schemas.openxmlformats.org/officeDocument/2006/relationships" r:id="rId7"/>
              </a:graphicData>
            </a:graphic>
          </p:graphicFrame>
        </p:grpSp>
      </p:grpSp>
    </p:spTree>
    <p:extLst>
      <p:ext uri="{BB962C8B-B14F-4D97-AF65-F5344CB8AC3E}">
        <p14:creationId xmlns:p14="http://schemas.microsoft.com/office/powerpoint/2010/main" val="363559604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15C50C2-576F-4474-8597-775349C0DED9}"/>
              </a:ext>
            </a:extLst>
          </p:cNvPr>
          <p:cNvSpPr>
            <a:spLocks noGrp="1"/>
          </p:cNvSpPr>
          <p:nvPr>
            <p:ph type="sldNum" sz="quarter" idx="11"/>
          </p:nvPr>
        </p:nvSpPr>
        <p:spPr/>
        <p:txBody>
          <a:bodyPr/>
          <a:lstStyle/>
          <a:p>
            <a:pPr>
              <a:defRPr/>
            </a:pPr>
            <a:fld id="{47794585-347E-4355-955C-F2766ACC4F25}" type="slidenum">
              <a:rPr lang="en-US" smtClean="0"/>
              <a:pPr>
                <a:defRPr/>
              </a:pPr>
              <a:t>9</a:t>
            </a:fld>
            <a:endParaRPr lang="en-US"/>
          </a:p>
        </p:txBody>
      </p:sp>
      <p:sp>
        <p:nvSpPr>
          <p:cNvPr id="6" name="Title 2">
            <a:extLst>
              <a:ext uri="{FF2B5EF4-FFF2-40B4-BE49-F238E27FC236}">
                <a16:creationId xmlns:a16="http://schemas.microsoft.com/office/drawing/2014/main" id="{B5E1C7B9-4DAE-443E-B95B-4143812B317E}"/>
              </a:ext>
            </a:extLst>
          </p:cNvPr>
          <p:cNvSpPr txBox="1">
            <a:spLocks/>
          </p:cNvSpPr>
          <p:nvPr/>
        </p:nvSpPr>
        <p:spPr>
          <a:xfrm>
            <a:off x="2643809" y="234402"/>
            <a:ext cx="9656973" cy="831559"/>
          </a:xfrm>
          <a:prstGeom prst="rect">
            <a:avLst/>
          </a:prstGeom>
          <a:noFill/>
        </p:spPr>
        <p:txBody>
          <a:bodyPr wrap="square" lIns="0" tIns="0" rIns="0" bIns="0" anchor="ctr" anchorCtr="0">
            <a:noAutofit/>
          </a:bodyPr>
          <a:lstStyle>
            <a:lvl1pPr algn="l" rtl="0" eaLnBrk="0" fontAlgn="base" hangingPunct="0">
              <a:lnSpc>
                <a:spcPct val="90000"/>
              </a:lnSpc>
              <a:spcBef>
                <a:spcPct val="0"/>
              </a:spcBef>
              <a:spcAft>
                <a:spcPct val="0"/>
              </a:spcAft>
              <a:defRPr sz="2000" b="1" kern="1200">
                <a:solidFill>
                  <a:schemeClr val="tx1"/>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70" i="1">
                <a:latin typeface="+mn-lt"/>
              </a:rPr>
              <a:t>Required support at this time is skewed towards items required to survive the pandemic - safety materials (58%) and cash advances (35%), with current support levels not sufficient</a:t>
            </a:r>
          </a:p>
        </p:txBody>
      </p:sp>
      <p:sp>
        <p:nvSpPr>
          <p:cNvPr id="8" name="Rectangle 7">
            <a:extLst>
              <a:ext uri="{FF2B5EF4-FFF2-40B4-BE49-F238E27FC236}">
                <a16:creationId xmlns:a16="http://schemas.microsoft.com/office/drawing/2014/main" id="{B758BEB2-6CE8-4666-AAC1-A199FC9921C1}"/>
              </a:ext>
            </a:extLst>
          </p:cNvPr>
          <p:cNvSpPr/>
          <p:nvPr/>
        </p:nvSpPr>
        <p:spPr>
          <a:xfrm>
            <a:off x="196131" y="6298625"/>
            <a:ext cx="11358499" cy="590033"/>
          </a:xfrm>
          <a:prstGeom prst="rect">
            <a:avLst/>
          </a:prstGeom>
        </p:spPr>
        <p:txBody>
          <a:bodyPr wrap="square" lIns="91440" tIns="45720" rIns="91440" bIns="45720">
            <a:spAutoFit/>
          </a:bodyPr>
          <a:lstStyle/>
          <a:p>
            <a:pPr lvl="0"/>
            <a:r>
              <a:rPr lang="en-US" sz="1067"/>
              <a:t>Base: n=631</a:t>
            </a:r>
          </a:p>
          <a:p>
            <a:r>
              <a:rPr lang="en-US" sz="1067"/>
              <a:t>Q5. What kind of support have you received from your service providers? </a:t>
            </a:r>
            <a:r>
              <a:rPr lang="en-US" sz="1067">
                <a:solidFill>
                  <a:srgbClr val="FF0000"/>
                </a:solidFill>
              </a:rPr>
              <a:t>(n=49) </a:t>
            </a:r>
            <a:r>
              <a:rPr lang="en-US" sz="1100">
                <a:solidFill>
                  <a:srgbClr val="FF0000"/>
                </a:solidFill>
              </a:rPr>
              <a:t>(caution based on small sample)</a:t>
            </a:r>
            <a:endParaRPr lang="en-US" sz="1067"/>
          </a:p>
          <a:p>
            <a:pPr lvl="0"/>
            <a:r>
              <a:rPr lang="en-US" sz="1067"/>
              <a:t>Q8. What kind of support would you like to receive from your service provider during this period? (n=582)</a:t>
            </a:r>
          </a:p>
        </p:txBody>
      </p:sp>
      <p:cxnSp>
        <p:nvCxnSpPr>
          <p:cNvPr id="9" name="Straight Connector 8">
            <a:extLst>
              <a:ext uri="{FF2B5EF4-FFF2-40B4-BE49-F238E27FC236}">
                <a16:creationId xmlns:a16="http://schemas.microsoft.com/office/drawing/2014/main" id="{B26CDC33-A222-4741-A46F-6D72BB6D3FFA}"/>
              </a:ext>
            </a:extLst>
          </p:cNvPr>
          <p:cNvCxnSpPr/>
          <p:nvPr/>
        </p:nvCxnSpPr>
        <p:spPr>
          <a:xfrm>
            <a:off x="2428625" y="2018132"/>
            <a:ext cx="0" cy="1715289"/>
          </a:xfrm>
          <a:prstGeom prst="line">
            <a:avLst/>
          </a:prstGeom>
          <a:noFill/>
          <a:ln w="9525" cap="flat" cmpd="sng" algn="ctr">
            <a:solidFill>
              <a:srgbClr val="007743"/>
            </a:solidFill>
            <a:prstDash val="dash"/>
          </a:ln>
          <a:effectLst/>
        </p:spPr>
      </p:cxnSp>
      <p:cxnSp>
        <p:nvCxnSpPr>
          <p:cNvPr id="10" name="Straight Connector 9">
            <a:extLst>
              <a:ext uri="{FF2B5EF4-FFF2-40B4-BE49-F238E27FC236}">
                <a16:creationId xmlns:a16="http://schemas.microsoft.com/office/drawing/2014/main" id="{CB281A90-F6B6-4795-A2C0-6F5D5642D4D7}"/>
              </a:ext>
            </a:extLst>
          </p:cNvPr>
          <p:cNvCxnSpPr/>
          <p:nvPr/>
        </p:nvCxnSpPr>
        <p:spPr>
          <a:xfrm>
            <a:off x="4371932" y="2012544"/>
            <a:ext cx="0" cy="1715289"/>
          </a:xfrm>
          <a:prstGeom prst="line">
            <a:avLst/>
          </a:prstGeom>
          <a:noFill/>
          <a:ln w="9525" cap="flat" cmpd="sng" algn="ctr">
            <a:solidFill>
              <a:srgbClr val="007743"/>
            </a:solidFill>
            <a:prstDash val="dash"/>
          </a:ln>
          <a:effectLst/>
        </p:spPr>
      </p:cxnSp>
      <p:cxnSp>
        <p:nvCxnSpPr>
          <p:cNvPr id="11" name="Straight Connector 10">
            <a:extLst>
              <a:ext uri="{FF2B5EF4-FFF2-40B4-BE49-F238E27FC236}">
                <a16:creationId xmlns:a16="http://schemas.microsoft.com/office/drawing/2014/main" id="{2B84E8FC-5026-4D23-B781-051C82FA54CB}"/>
              </a:ext>
            </a:extLst>
          </p:cNvPr>
          <p:cNvCxnSpPr/>
          <p:nvPr/>
        </p:nvCxnSpPr>
        <p:spPr>
          <a:xfrm>
            <a:off x="6278517" y="2012544"/>
            <a:ext cx="0" cy="1715289"/>
          </a:xfrm>
          <a:prstGeom prst="line">
            <a:avLst/>
          </a:prstGeom>
          <a:noFill/>
          <a:ln w="9525" cap="flat" cmpd="sng" algn="ctr">
            <a:solidFill>
              <a:srgbClr val="007743"/>
            </a:solidFill>
            <a:prstDash val="dash"/>
          </a:ln>
          <a:effectLst/>
        </p:spPr>
      </p:cxnSp>
      <p:cxnSp>
        <p:nvCxnSpPr>
          <p:cNvPr id="12" name="Straight Connector 11">
            <a:extLst>
              <a:ext uri="{FF2B5EF4-FFF2-40B4-BE49-F238E27FC236}">
                <a16:creationId xmlns:a16="http://schemas.microsoft.com/office/drawing/2014/main" id="{498E5193-7A20-472F-AED0-97E0C8C4E6FF}"/>
              </a:ext>
            </a:extLst>
          </p:cNvPr>
          <p:cNvCxnSpPr/>
          <p:nvPr/>
        </p:nvCxnSpPr>
        <p:spPr>
          <a:xfrm>
            <a:off x="8185861" y="2012544"/>
            <a:ext cx="0" cy="1715289"/>
          </a:xfrm>
          <a:prstGeom prst="line">
            <a:avLst/>
          </a:prstGeom>
          <a:noFill/>
          <a:ln w="9525" cap="flat" cmpd="sng" algn="ctr">
            <a:solidFill>
              <a:srgbClr val="007743"/>
            </a:solidFill>
            <a:prstDash val="dash"/>
          </a:ln>
          <a:effectLst/>
        </p:spPr>
      </p:cxnSp>
      <p:cxnSp>
        <p:nvCxnSpPr>
          <p:cNvPr id="13" name="Straight Connector 12">
            <a:extLst>
              <a:ext uri="{FF2B5EF4-FFF2-40B4-BE49-F238E27FC236}">
                <a16:creationId xmlns:a16="http://schemas.microsoft.com/office/drawing/2014/main" id="{8FA31AC5-C5D4-41AC-A291-9AF4538CADE4}"/>
              </a:ext>
            </a:extLst>
          </p:cNvPr>
          <p:cNvCxnSpPr/>
          <p:nvPr/>
        </p:nvCxnSpPr>
        <p:spPr>
          <a:xfrm>
            <a:off x="524669" y="2006602"/>
            <a:ext cx="11597743" cy="11529"/>
          </a:xfrm>
          <a:prstGeom prst="line">
            <a:avLst/>
          </a:prstGeom>
          <a:noFill/>
          <a:ln w="9525" cap="flat" cmpd="sng" algn="ctr">
            <a:solidFill>
              <a:srgbClr val="007743"/>
            </a:solidFill>
            <a:prstDash val="dash"/>
          </a:ln>
          <a:effectLst/>
        </p:spPr>
      </p:cxnSp>
      <p:cxnSp>
        <p:nvCxnSpPr>
          <p:cNvPr id="14" name="Straight Connector 13">
            <a:extLst>
              <a:ext uri="{FF2B5EF4-FFF2-40B4-BE49-F238E27FC236}">
                <a16:creationId xmlns:a16="http://schemas.microsoft.com/office/drawing/2014/main" id="{9F40B4A1-AB17-4982-9E15-5C2C806F1723}"/>
              </a:ext>
            </a:extLst>
          </p:cNvPr>
          <p:cNvCxnSpPr/>
          <p:nvPr/>
        </p:nvCxnSpPr>
        <p:spPr>
          <a:xfrm>
            <a:off x="524668" y="3733801"/>
            <a:ext cx="11480800" cy="0"/>
          </a:xfrm>
          <a:prstGeom prst="line">
            <a:avLst/>
          </a:prstGeom>
          <a:noFill/>
          <a:ln w="9525" cap="flat" cmpd="sng" algn="ctr">
            <a:solidFill>
              <a:srgbClr val="007743"/>
            </a:solidFill>
            <a:prstDash val="dash"/>
          </a:ln>
          <a:effectLst/>
        </p:spPr>
      </p:cxnSp>
      <p:cxnSp>
        <p:nvCxnSpPr>
          <p:cNvPr id="15" name="Straight Connector 14">
            <a:extLst>
              <a:ext uri="{FF2B5EF4-FFF2-40B4-BE49-F238E27FC236}">
                <a16:creationId xmlns:a16="http://schemas.microsoft.com/office/drawing/2014/main" id="{2C73A2CE-1EE7-4899-89EC-D608785C6303}"/>
              </a:ext>
            </a:extLst>
          </p:cNvPr>
          <p:cNvCxnSpPr/>
          <p:nvPr/>
        </p:nvCxnSpPr>
        <p:spPr>
          <a:xfrm>
            <a:off x="10092656" y="2009504"/>
            <a:ext cx="0" cy="1715289"/>
          </a:xfrm>
          <a:prstGeom prst="line">
            <a:avLst/>
          </a:prstGeom>
          <a:noFill/>
          <a:ln w="9525" cap="flat" cmpd="sng" algn="ctr">
            <a:solidFill>
              <a:srgbClr val="007743"/>
            </a:solidFill>
            <a:prstDash val="dash"/>
          </a:ln>
          <a:effectLst/>
        </p:spPr>
      </p:cxnSp>
      <p:sp>
        <p:nvSpPr>
          <p:cNvPr id="16" name="TextBox 15">
            <a:extLst>
              <a:ext uri="{FF2B5EF4-FFF2-40B4-BE49-F238E27FC236}">
                <a16:creationId xmlns:a16="http://schemas.microsoft.com/office/drawing/2014/main" id="{8829ED4C-036C-4A16-8201-A282BF6CA948}"/>
              </a:ext>
            </a:extLst>
          </p:cNvPr>
          <p:cNvSpPr txBox="1"/>
          <p:nvPr/>
        </p:nvSpPr>
        <p:spPr>
          <a:xfrm>
            <a:off x="569370" y="3282181"/>
            <a:ext cx="1572961" cy="24622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Safety materials</a:t>
            </a:r>
          </a:p>
        </p:txBody>
      </p:sp>
      <p:sp>
        <p:nvSpPr>
          <p:cNvPr id="17" name="TextBox 16">
            <a:extLst>
              <a:ext uri="{FF2B5EF4-FFF2-40B4-BE49-F238E27FC236}">
                <a16:creationId xmlns:a16="http://schemas.microsoft.com/office/drawing/2014/main" id="{973DA41E-A41D-4EEC-9D8E-EC540C1C4EF6}"/>
              </a:ext>
            </a:extLst>
          </p:cNvPr>
          <p:cNvSpPr txBox="1"/>
          <p:nvPr/>
        </p:nvSpPr>
        <p:spPr>
          <a:xfrm>
            <a:off x="999438" y="1965034"/>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47%</a:t>
            </a:r>
          </a:p>
        </p:txBody>
      </p:sp>
      <p:sp>
        <p:nvSpPr>
          <p:cNvPr id="18" name="TextBox 17">
            <a:extLst>
              <a:ext uri="{FF2B5EF4-FFF2-40B4-BE49-F238E27FC236}">
                <a16:creationId xmlns:a16="http://schemas.microsoft.com/office/drawing/2014/main" id="{2B8CA793-C6D7-4CC8-8FE1-0DA0A6A1C97F}"/>
              </a:ext>
            </a:extLst>
          </p:cNvPr>
          <p:cNvSpPr txBox="1"/>
          <p:nvPr/>
        </p:nvSpPr>
        <p:spPr>
          <a:xfrm>
            <a:off x="2540001" y="3282180"/>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Training during the pandemic</a:t>
            </a:r>
          </a:p>
        </p:txBody>
      </p:sp>
      <p:sp>
        <p:nvSpPr>
          <p:cNvPr id="19" name="TextBox 18">
            <a:extLst>
              <a:ext uri="{FF2B5EF4-FFF2-40B4-BE49-F238E27FC236}">
                <a16:creationId xmlns:a16="http://schemas.microsoft.com/office/drawing/2014/main" id="{FCCC70DF-ECD0-484D-BDA7-EC0EA8AF7EC3}"/>
              </a:ext>
            </a:extLst>
          </p:cNvPr>
          <p:cNvSpPr txBox="1"/>
          <p:nvPr/>
        </p:nvSpPr>
        <p:spPr>
          <a:xfrm>
            <a:off x="2841927" y="1965034"/>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3%</a:t>
            </a:r>
          </a:p>
        </p:txBody>
      </p:sp>
      <p:sp>
        <p:nvSpPr>
          <p:cNvPr id="20" name="TextBox 19">
            <a:extLst>
              <a:ext uri="{FF2B5EF4-FFF2-40B4-BE49-F238E27FC236}">
                <a16:creationId xmlns:a16="http://schemas.microsoft.com/office/drawing/2014/main" id="{AFF33BD6-1C77-44FB-AAE4-ECA95B23802F}"/>
              </a:ext>
            </a:extLst>
          </p:cNvPr>
          <p:cNvSpPr txBox="1"/>
          <p:nvPr/>
        </p:nvSpPr>
        <p:spPr>
          <a:xfrm>
            <a:off x="8288187" y="3250850"/>
            <a:ext cx="1871813"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Physical visits to business</a:t>
            </a:r>
          </a:p>
        </p:txBody>
      </p:sp>
      <p:sp>
        <p:nvSpPr>
          <p:cNvPr id="21" name="TextBox 20">
            <a:extLst>
              <a:ext uri="{FF2B5EF4-FFF2-40B4-BE49-F238E27FC236}">
                <a16:creationId xmlns:a16="http://schemas.microsoft.com/office/drawing/2014/main" id="{96A54E28-79DC-40C6-AF6F-3984F336279D}"/>
              </a:ext>
            </a:extLst>
          </p:cNvPr>
          <p:cNvSpPr txBox="1"/>
          <p:nvPr/>
        </p:nvSpPr>
        <p:spPr>
          <a:xfrm>
            <a:off x="8636001" y="2012544"/>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2%</a:t>
            </a:r>
          </a:p>
        </p:txBody>
      </p:sp>
      <p:sp>
        <p:nvSpPr>
          <p:cNvPr id="22" name="TextBox 21">
            <a:extLst>
              <a:ext uri="{FF2B5EF4-FFF2-40B4-BE49-F238E27FC236}">
                <a16:creationId xmlns:a16="http://schemas.microsoft.com/office/drawing/2014/main" id="{8CF60DD8-4A22-4D50-AEE3-CF3D97EBBD7F}"/>
              </a:ext>
            </a:extLst>
          </p:cNvPr>
          <p:cNvSpPr txBox="1"/>
          <p:nvPr/>
        </p:nvSpPr>
        <p:spPr>
          <a:xfrm>
            <a:off x="2738910" y="5765800"/>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Cash advances/credit</a:t>
            </a:r>
          </a:p>
        </p:txBody>
      </p:sp>
      <p:sp>
        <p:nvSpPr>
          <p:cNvPr id="23" name="TextBox 22">
            <a:extLst>
              <a:ext uri="{FF2B5EF4-FFF2-40B4-BE49-F238E27FC236}">
                <a16:creationId xmlns:a16="http://schemas.microsoft.com/office/drawing/2014/main" id="{82C45DF2-17D0-4BB2-87E0-8B6E9F36C33A}"/>
              </a:ext>
            </a:extLst>
          </p:cNvPr>
          <p:cNvSpPr txBox="1"/>
          <p:nvPr/>
        </p:nvSpPr>
        <p:spPr>
          <a:xfrm>
            <a:off x="3050307" y="4553423"/>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35%</a:t>
            </a:r>
          </a:p>
        </p:txBody>
      </p:sp>
      <p:sp>
        <p:nvSpPr>
          <p:cNvPr id="24" name="TextBox 23">
            <a:extLst>
              <a:ext uri="{FF2B5EF4-FFF2-40B4-BE49-F238E27FC236}">
                <a16:creationId xmlns:a16="http://schemas.microsoft.com/office/drawing/2014/main" id="{99E03860-35D9-4AC2-BAB1-9FE4482FB1B7}"/>
              </a:ext>
            </a:extLst>
          </p:cNvPr>
          <p:cNvSpPr txBox="1"/>
          <p:nvPr/>
        </p:nvSpPr>
        <p:spPr>
          <a:xfrm>
            <a:off x="10362918" y="3282181"/>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Increase commission %</a:t>
            </a:r>
          </a:p>
        </p:txBody>
      </p:sp>
      <p:sp>
        <p:nvSpPr>
          <p:cNvPr id="25" name="TextBox 24">
            <a:extLst>
              <a:ext uri="{FF2B5EF4-FFF2-40B4-BE49-F238E27FC236}">
                <a16:creationId xmlns:a16="http://schemas.microsoft.com/office/drawing/2014/main" id="{26A8DFEB-3647-4AB4-990F-6D80D7D1AD5A}"/>
              </a:ext>
            </a:extLst>
          </p:cNvPr>
          <p:cNvSpPr txBox="1"/>
          <p:nvPr/>
        </p:nvSpPr>
        <p:spPr>
          <a:xfrm>
            <a:off x="10604062" y="1965034"/>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2%</a:t>
            </a:r>
          </a:p>
        </p:txBody>
      </p:sp>
      <p:grpSp>
        <p:nvGrpSpPr>
          <p:cNvPr id="26" name="Group 25">
            <a:extLst>
              <a:ext uri="{FF2B5EF4-FFF2-40B4-BE49-F238E27FC236}">
                <a16:creationId xmlns:a16="http://schemas.microsoft.com/office/drawing/2014/main" id="{68C751DF-8292-4447-9AD2-E747F97AB62F}"/>
              </a:ext>
            </a:extLst>
          </p:cNvPr>
          <p:cNvGrpSpPr>
            <a:grpSpLocks noChangeAspect="1"/>
          </p:cNvGrpSpPr>
          <p:nvPr/>
        </p:nvGrpSpPr>
        <p:grpSpPr>
          <a:xfrm>
            <a:off x="2755207" y="2448511"/>
            <a:ext cx="1292419" cy="752088"/>
            <a:chOff x="2501900" y="1600201"/>
            <a:chExt cx="674688" cy="657225"/>
          </a:xfrm>
          <a:solidFill>
            <a:srgbClr val="006301"/>
          </a:solidFill>
        </p:grpSpPr>
        <p:sp>
          <p:nvSpPr>
            <p:cNvPr id="27" name="Freeform 35">
              <a:extLst>
                <a:ext uri="{FF2B5EF4-FFF2-40B4-BE49-F238E27FC236}">
                  <a16:creationId xmlns:a16="http://schemas.microsoft.com/office/drawing/2014/main" id="{FECF8DF0-93A0-465D-A5F3-14090332B847}"/>
                </a:ext>
              </a:extLst>
            </p:cNvPr>
            <p:cNvSpPr>
              <a:spLocks/>
            </p:cNvSpPr>
            <p:nvPr/>
          </p:nvSpPr>
          <p:spPr bwMode="auto">
            <a:xfrm>
              <a:off x="2759075" y="1600201"/>
              <a:ext cx="417513" cy="307975"/>
            </a:xfrm>
            <a:custGeom>
              <a:avLst/>
              <a:gdLst/>
              <a:ahLst/>
              <a:cxnLst>
                <a:cxn ang="0">
                  <a:pos x="5" y="115"/>
                </a:cxn>
                <a:cxn ang="0">
                  <a:pos x="0" y="110"/>
                </a:cxn>
                <a:cxn ang="0">
                  <a:pos x="5" y="105"/>
                </a:cxn>
                <a:cxn ang="0">
                  <a:pos x="7" y="105"/>
                </a:cxn>
                <a:cxn ang="0">
                  <a:pos x="7" y="95"/>
                </a:cxn>
                <a:cxn ang="0">
                  <a:pos x="10" y="97"/>
                </a:cxn>
                <a:cxn ang="0">
                  <a:pos x="13" y="99"/>
                </a:cxn>
                <a:cxn ang="0">
                  <a:pos x="13" y="105"/>
                </a:cxn>
                <a:cxn ang="0">
                  <a:pos x="144" y="105"/>
                </a:cxn>
                <a:cxn ang="0">
                  <a:pos x="144" y="10"/>
                </a:cxn>
                <a:cxn ang="0">
                  <a:pos x="13" y="10"/>
                </a:cxn>
                <a:cxn ang="0">
                  <a:pos x="13" y="67"/>
                </a:cxn>
                <a:cxn ang="0">
                  <a:pos x="7" y="61"/>
                </a:cxn>
                <a:cxn ang="0">
                  <a:pos x="7" y="10"/>
                </a:cxn>
                <a:cxn ang="0">
                  <a:pos x="5" y="10"/>
                </a:cxn>
                <a:cxn ang="0">
                  <a:pos x="0" y="5"/>
                </a:cxn>
                <a:cxn ang="0">
                  <a:pos x="5" y="0"/>
                </a:cxn>
                <a:cxn ang="0">
                  <a:pos x="152" y="0"/>
                </a:cxn>
                <a:cxn ang="0">
                  <a:pos x="157" y="5"/>
                </a:cxn>
                <a:cxn ang="0">
                  <a:pos x="152" y="10"/>
                </a:cxn>
                <a:cxn ang="0">
                  <a:pos x="151" y="10"/>
                </a:cxn>
                <a:cxn ang="0">
                  <a:pos x="151" y="105"/>
                </a:cxn>
                <a:cxn ang="0">
                  <a:pos x="152" y="105"/>
                </a:cxn>
                <a:cxn ang="0">
                  <a:pos x="157" y="110"/>
                </a:cxn>
                <a:cxn ang="0">
                  <a:pos x="152" y="115"/>
                </a:cxn>
                <a:cxn ang="0">
                  <a:pos x="5" y="115"/>
                </a:cxn>
              </a:cxnLst>
              <a:rect l="0" t="0" r="r" b="b"/>
              <a:pathLst>
                <a:path w="157" h="115">
                  <a:moveTo>
                    <a:pt x="5" y="115"/>
                  </a:moveTo>
                  <a:cubicBezTo>
                    <a:pt x="2" y="115"/>
                    <a:pt x="0" y="113"/>
                    <a:pt x="0" y="110"/>
                  </a:cubicBezTo>
                  <a:cubicBezTo>
                    <a:pt x="0" y="107"/>
                    <a:pt x="2" y="105"/>
                    <a:pt x="5" y="105"/>
                  </a:cubicBezTo>
                  <a:cubicBezTo>
                    <a:pt x="7" y="105"/>
                    <a:pt x="7" y="105"/>
                    <a:pt x="7" y="105"/>
                  </a:cubicBezTo>
                  <a:cubicBezTo>
                    <a:pt x="7" y="95"/>
                    <a:pt x="7" y="95"/>
                    <a:pt x="7" y="95"/>
                  </a:cubicBezTo>
                  <a:cubicBezTo>
                    <a:pt x="8" y="95"/>
                    <a:pt x="9" y="96"/>
                    <a:pt x="10" y="97"/>
                  </a:cubicBezTo>
                  <a:cubicBezTo>
                    <a:pt x="11" y="98"/>
                    <a:pt x="12" y="99"/>
                    <a:pt x="13" y="99"/>
                  </a:cubicBezTo>
                  <a:cubicBezTo>
                    <a:pt x="13" y="105"/>
                    <a:pt x="13" y="105"/>
                    <a:pt x="13" y="105"/>
                  </a:cubicBezTo>
                  <a:cubicBezTo>
                    <a:pt x="144" y="105"/>
                    <a:pt x="144" y="105"/>
                    <a:pt x="144" y="105"/>
                  </a:cubicBezTo>
                  <a:cubicBezTo>
                    <a:pt x="144" y="10"/>
                    <a:pt x="144" y="10"/>
                    <a:pt x="144" y="10"/>
                  </a:cubicBezTo>
                  <a:cubicBezTo>
                    <a:pt x="13" y="10"/>
                    <a:pt x="13" y="10"/>
                    <a:pt x="13" y="10"/>
                  </a:cubicBezTo>
                  <a:cubicBezTo>
                    <a:pt x="13" y="67"/>
                    <a:pt x="13" y="67"/>
                    <a:pt x="13" y="67"/>
                  </a:cubicBezTo>
                  <a:cubicBezTo>
                    <a:pt x="11" y="65"/>
                    <a:pt x="9" y="63"/>
                    <a:pt x="7" y="61"/>
                  </a:cubicBezTo>
                  <a:cubicBezTo>
                    <a:pt x="7" y="10"/>
                    <a:pt x="7" y="10"/>
                    <a:pt x="7" y="10"/>
                  </a:cubicBezTo>
                  <a:cubicBezTo>
                    <a:pt x="5" y="10"/>
                    <a:pt x="5" y="10"/>
                    <a:pt x="5" y="10"/>
                  </a:cubicBezTo>
                  <a:cubicBezTo>
                    <a:pt x="2" y="10"/>
                    <a:pt x="0" y="8"/>
                    <a:pt x="0" y="5"/>
                  </a:cubicBezTo>
                  <a:cubicBezTo>
                    <a:pt x="0" y="3"/>
                    <a:pt x="2" y="0"/>
                    <a:pt x="5" y="0"/>
                  </a:cubicBezTo>
                  <a:cubicBezTo>
                    <a:pt x="74" y="0"/>
                    <a:pt x="83" y="0"/>
                    <a:pt x="152" y="0"/>
                  </a:cubicBezTo>
                  <a:cubicBezTo>
                    <a:pt x="155" y="0"/>
                    <a:pt x="157" y="3"/>
                    <a:pt x="157" y="5"/>
                  </a:cubicBezTo>
                  <a:cubicBezTo>
                    <a:pt x="157" y="8"/>
                    <a:pt x="155" y="10"/>
                    <a:pt x="152" y="10"/>
                  </a:cubicBezTo>
                  <a:cubicBezTo>
                    <a:pt x="151" y="10"/>
                    <a:pt x="151" y="10"/>
                    <a:pt x="151" y="10"/>
                  </a:cubicBezTo>
                  <a:cubicBezTo>
                    <a:pt x="151" y="105"/>
                    <a:pt x="151" y="105"/>
                    <a:pt x="151" y="105"/>
                  </a:cubicBezTo>
                  <a:cubicBezTo>
                    <a:pt x="152" y="105"/>
                    <a:pt x="152" y="105"/>
                    <a:pt x="152" y="105"/>
                  </a:cubicBezTo>
                  <a:cubicBezTo>
                    <a:pt x="155" y="105"/>
                    <a:pt x="157" y="107"/>
                    <a:pt x="157" y="110"/>
                  </a:cubicBezTo>
                  <a:cubicBezTo>
                    <a:pt x="157" y="113"/>
                    <a:pt x="155" y="115"/>
                    <a:pt x="152" y="115"/>
                  </a:cubicBezTo>
                  <a:cubicBezTo>
                    <a:pt x="12" y="115"/>
                    <a:pt x="83" y="115"/>
                    <a:pt x="5" y="115"/>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28" name="Freeform 36">
              <a:extLst>
                <a:ext uri="{FF2B5EF4-FFF2-40B4-BE49-F238E27FC236}">
                  <a16:creationId xmlns:a16="http://schemas.microsoft.com/office/drawing/2014/main" id="{EE3DA798-350A-478B-A07E-81A435AD7674}"/>
                </a:ext>
              </a:extLst>
            </p:cNvPr>
            <p:cNvSpPr>
              <a:spLocks noEditPoints="1"/>
            </p:cNvSpPr>
            <p:nvPr/>
          </p:nvSpPr>
          <p:spPr bwMode="auto">
            <a:xfrm>
              <a:off x="2501900" y="1603376"/>
              <a:ext cx="419100" cy="357188"/>
            </a:xfrm>
            <a:custGeom>
              <a:avLst/>
              <a:gdLst/>
              <a:ahLst/>
              <a:cxnLst>
                <a:cxn ang="0">
                  <a:pos x="36" y="106"/>
                </a:cxn>
                <a:cxn ang="0">
                  <a:pos x="36" y="88"/>
                </a:cxn>
                <a:cxn ang="0">
                  <a:pos x="36" y="74"/>
                </a:cxn>
                <a:cxn ang="0">
                  <a:pos x="21" y="92"/>
                </a:cxn>
                <a:cxn ang="0">
                  <a:pos x="36" y="106"/>
                </a:cxn>
                <a:cxn ang="0">
                  <a:pos x="52" y="45"/>
                </a:cxn>
                <a:cxn ang="0">
                  <a:pos x="60" y="69"/>
                </a:cxn>
                <a:cxn ang="0">
                  <a:pos x="60" y="54"/>
                </a:cxn>
                <a:cxn ang="0">
                  <a:pos x="62" y="52"/>
                </a:cxn>
                <a:cxn ang="0">
                  <a:pos x="65" y="54"/>
                </a:cxn>
                <a:cxn ang="0">
                  <a:pos x="65" y="69"/>
                </a:cxn>
                <a:cxn ang="0">
                  <a:pos x="71" y="45"/>
                </a:cxn>
                <a:cxn ang="0">
                  <a:pos x="89" y="50"/>
                </a:cxn>
                <a:cxn ang="0">
                  <a:pos x="95" y="58"/>
                </a:cxn>
                <a:cxn ang="0">
                  <a:pos x="114" y="76"/>
                </a:cxn>
                <a:cxn ang="0">
                  <a:pos x="143" y="58"/>
                </a:cxn>
                <a:cxn ang="0">
                  <a:pos x="150" y="56"/>
                </a:cxn>
                <a:cxn ang="0">
                  <a:pos x="152" y="49"/>
                </a:cxn>
                <a:cxn ang="0">
                  <a:pos x="154" y="48"/>
                </a:cxn>
                <a:cxn ang="0">
                  <a:pos x="155" y="50"/>
                </a:cxn>
                <a:cxn ang="0">
                  <a:pos x="152" y="57"/>
                </a:cxn>
                <a:cxn ang="0">
                  <a:pos x="152" y="69"/>
                </a:cxn>
                <a:cxn ang="0">
                  <a:pos x="118" y="93"/>
                </a:cxn>
                <a:cxn ang="0">
                  <a:pos x="108" y="93"/>
                </a:cxn>
                <a:cxn ang="0">
                  <a:pos x="90" y="77"/>
                </a:cxn>
                <a:cxn ang="0">
                  <a:pos x="90" y="89"/>
                </a:cxn>
                <a:cxn ang="0">
                  <a:pos x="88" y="134"/>
                </a:cxn>
                <a:cxn ang="0">
                  <a:pos x="37" y="134"/>
                </a:cxn>
                <a:cxn ang="0">
                  <a:pos x="36" y="125"/>
                </a:cxn>
                <a:cxn ang="0">
                  <a:pos x="4" y="98"/>
                </a:cxn>
                <a:cxn ang="0">
                  <a:pos x="3" y="87"/>
                </a:cxn>
                <a:cxn ang="0">
                  <a:pos x="35" y="51"/>
                </a:cxn>
                <a:cxn ang="0">
                  <a:pos x="40" y="49"/>
                </a:cxn>
                <a:cxn ang="0">
                  <a:pos x="52" y="45"/>
                </a:cxn>
                <a:cxn ang="0">
                  <a:pos x="62" y="0"/>
                </a:cxn>
                <a:cxn ang="0">
                  <a:pos x="78" y="15"/>
                </a:cxn>
                <a:cxn ang="0">
                  <a:pos x="62" y="40"/>
                </a:cxn>
                <a:cxn ang="0">
                  <a:pos x="47" y="15"/>
                </a:cxn>
                <a:cxn ang="0">
                  <a:pos x="62" y="0"/>
                </a:cxn>
              </a:cxnLst>
              <a:rect l="0" t="0" r="r" b="b"/>
              <a:pathLst>
                <a:path w="157" h="134">
                  <a:moveTo>
                    <a:pt x="36" y="106"/>
                  </a:moveTo>
                  <a:cubicBezTo>
                    <a:pt x="36" y="100"/>
                    <a:pt x="36" y="95"/>
                    <a:pt x="36" y="88"/>
                  </a:cubicBezTo>
                  <a:cubicBezTo>
                    <a:pt x="36" y="74"/>
                    <a:pt x="36" y="74"/>
                    <a:pt x="36" y="74"/>
                  </a:cubicBezTo>
                  <a:cubicBezTo>
                    <a:pt x="31" y="80"/>
                    <a:pt x="26" y="86"/>
                    <a:pt x="21" y="92"/>
                  </a:cubicBezTo>
                  <a:cubicBezTo>
                    <a:pt x="26" y="97"/>
                    <a:pt x="31" y="101"/>
                    <a:pt x="36" y="106"/>
                  </a:cubicBezTo>
                  <a:close/>
                  <a:moveTo>
                    <a:pt x="52" y="45"/>
                  </a:moveTo>
                  <a:cubicBezTo>
                    <a:pt x="54" y="51"/>
                    <a:pt x="57" y="63"/>
                    <a:pt x="60" y="69"/>
                  </a:cubicBezTo>
                  <a:cubicBezTo>
                    <a:pt x="60" y="54"/>
                    <a:pt x="60" y="54"/>
                    <a:pt x="60" y="54"/>
                  </a:cubicBezTo>
                  <a:cubicBezTo>
                    <a:pt x="62" y="52"/>
                    <a:pt x="62" y="52"/>
                    <a:pt x="62" y="52"/>
                  </a:cubicBezTo>
                  <a:cubicBezTo>
                    <a:pt x="65" y="54"/>
                    <a:pt x="65" y="54"/>
                    <a:pt x="65" y="54"/>
                  </a:cubicBezTo>
                  <a:cubicBezTo>
                    <a:pt x="65" y="69"/>
                    <a:pt x="65" y="69"/>
                    <a:pt x="65" y="69"/>
                  </a:cubicBezTo>
                  <a:cubicBezTo>
                    <a:pt x="67" y="62"/>
                    <a:pt x="70" y="51"/>
                    <a:pt x="71" y="45"/>
                  </a:cubicBezTo>
                  <a:cubicBezTo>
                    <a:pt x="76" y="46"/>
                    <a:pt x="84" y="48"/>
                    <a:pt x="89" y="50"/>
                  </a:cubicBezTo>
                  <a:cubicBezTo>
                    <a:pt x="92" y="52"/>
                    <a:pt x="93" y="55"/>
                    <a:pt x="95" y="58"/>
                  </a:cubicBezTo>
                  <a:cubicBezTo>
                    <a:pt x="101" y="64"/>
                    <a:pt x="107" y="70"/>
                    <a:pt x="114" y="76"/>
                  </a:cubicBezTo>
                  <a:cubicBezTo>
                    <a:pt x="126" y="70"/>
                    <a:pt x="134" y="64"/>
                    <a:pt x="143" y="58"/>
                  </a:cubicBezTo>
                  <a:cubicBezTo>
                    <a:pt x="146" y="56"/>
                    <a:pt x="148" y="55"/>
                    <a:pt x="150" y="56"/>
                  </a:cubicBezTo>
                  <a:cubicBezTo>
                    <a:pt x="152" y="49"/>
                    <a:pt x="152" y="49"/>
                    <a:pt x="152" y="49"/>
                  </a:cubicBezTo>
                  <a:cubicBezTo>
                    <a:pt x="152" y="48"/>
                    <a:pt x="153" y="48"/>
                    <a:pt x="154" y="48"/>
                  </a:cubicBezTo>
                  <a:cubicBezTo>
                    <a:pt x="154" y="48"/>
                    <a:pt x="155" y="49"/>
                    <a:pt x="155" y="50"/>
                  </a:cubicBezTo>
                  <a:cubicBezTo>
                    <a:pt x="152" y="57"/>
                    <a:pt x="152" y="57"/>
                    <a:pt x="152" y="57"/>
                  </a:cubicBezTo>
                  <a:cubicBezTo>
                    <a:pt x="156" y="59"/>
                    <a:pt x="157" y="65"/>
                    <a:pt x="152" y="69"/>
                  </a:cubicBezTo>
                  <a:cubicBezTo>
                    <a:pt x="139" y="79"/>
                    <a:pt x="132" y="85"/>
                    <a:pt x="118" y="93"/>
                  </a:cubicBezTo>
                  <a:cubicBezTo>
                    <a:pt x="115" y="95"/>
                    <a:pt x="111" y="95"/>
                    <a:pt x="108" y="93"/>
                  </a:cubicBezTo>
                  <a:cubicBezTo>
                    <a:pt x="102" y="88"/>
                    <a:pt x="96" y="83"/>
                    <a:pt x="90" y="77"/>
                  </a:cubicBezTo>
                  <a:cubicBezTo>
                    <a:pt x="89" y="81"/>
                    <a:pt x="90" y="86"/>
                    <a:pt x="90" y="89"/>
                  </a:cubicBezTo>
                  <a:cubicBezTo>
                    <a:pt x="89" y="105"/>
                    <a:pt x="89" y="120"/>
                    <a:pt x="88" y="134"/>
                  </a:cubicBezTo>
                  <a:cubicBezTo>
                    <a:pt x="37" y="134"/>
                    <a:pt x="37" y="134"/>
                    <a:pt x="37" y="134"/>
                  </a:cubicBezTo>
                  <a:cubicBezTo>
                    <a:pt x="36" y="125"/>
                    <a:pt x="36" y="125"/>
                    <a:pt x="36" y="125"/>
                  </a:cubicBezTo>
                  <a:cubicBezTo>
                    <a:pt x="26" y="118"/>
                    <a:pt x="12" y="107"/>
                    <a:pt x="4" y="98"/>
                  </a:cubicBezTo>
                  <a:cubicBezTo>
                    <a:pt x="1" y="95"/>
                    <a:pt x="0" y="90"/>
                    <a:pt x="3" y="87"/>
                  </a:cubicBezTo>
                  <a:cubicBezTo>
                    <a:pt x="12" y="75"/>
                    <a:pt x="23" y="63"/>
                    <a:pt x="35" y="51"/>
                  </a:cubicBezTo>
                  <a:cubicBezTo>
                    <a:pt x="36" y="50"/>
                    <a:pt x="37" y="50"/>
                    <a:pt x="40" y="49"/>
                  </a:cubicBezTo>
                  <a:cubicBezTo>
                    <a:pt x="44" y="48"/>
                    <a:pt x="48" y="46"/>
                    <a:pt x="52" y="45"/>
                  </a:cubicBezTo>
                  <a:close/>
                  <a:moveTo>
                    <a:pt x="62" y="0"/>
                  </a:moveTo>
                  <a:cubicBezTo>
                    <a:pt x="71" y="0"/>
                    <a:pt x="78" y="7"/>
                    <a:pt x="78" y="15"/>
                  </a:cubicBezTo>
                  <a:cubicBezTo>
                    <a:pt x="78" y="23"/>
                    <a:pt x="72" y="40"/>
                    <a:pt x="62" y="40"/>
                  </a:cubicBezTo>
                  <a:cubicBezTo>
                    <a:pt x="53" y="40"/>
                    <a:pt x="47" y="23"/>
                    <a:pt x="47" y="15"/>
                  </a:cubicBezTo>
                  <a:cubicBezTo>
                    <a:pt x="47" y="7"/>
                    <a:pt x="54" y="0"/>
                    <a:pt x="6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29" name="Freeform 37">
              <a:extLst>
                <a:ext uri="{FF2B5EF4-FFF2-40B4-BE49-F238E27FC236}">
                  <a16:creationId xmlns:a16="http://schemas.microsoft.com/office/drawing/2014/main" id="{6C795F9C-41FC-4E48-90EF-4D0169145BE5}"/>
                </a:ext>
              </a:extLst>
            </p:cNvPr>
            <p:cNvSpPr>
              <a:spLocks noEditPoints="1"/>
            </p:cNvSpPr>
            <p:nvPr/>
          </p:nvSpPr>
          <p:spPr bwMode="auto">
            <a:xfrm>
              <a:off x="3006725" y="2000251"/>
              <a:ext cx="168275" cy="257175"/>
            </a:xfrm>
            <a:custGeom>
              <a:avLst/>
              <a:gdLst/>
              <a:ahLst/>
              <a:cxnLst>
                <a:cxn ang="0">
                  <a:pos x="25" y="38"/>
                </a:cxn>
                <a:cxn ang="0">
                  <a:pos x="32" y="38"/>
                </a:cxn>
                <a:cxn ang="0">
                  <a:pos x="39" y="38"/>
                </a:cxn>
                <a:cxn ang="0">
                  <a:pos x="48" y="17"/>
                </a:cxn>
                <a:cxn ang="0">
                  <a:pos x="32" y="0"/>
                </a:cxn>
                <a:cxn ang="0">
                  <a:pos x="15" y="17"/>
                </a:cxn>
                <a:cxn ang="0">
                  <a:pos x="25" y="38"/>
                </a:cxn>
                <a:cxn ang="0">
                  <a:pos x="46" y="44"/>
                </a:cxn>
                <a:cxn ang="0">
                  <a:pos x="58" y="51"/>
                </a:cxn>
                <a:cxn ang="0">
                  <a:pos x="63" y="96"/>
                </a:cxn>
                <a:cxn ang="0">
                  <a:pos x="0" y="96"/>
                </a:cxn>
                <a:cxn ang="0">
                  <a:pos x="5" y="51"/>
                </a:cxn>
                <a:cxn ang="0">
                  <a:pos x="18" y="44"/>
                </a:cxn>
                <a:cxn ang="0">
                  <a:pos x="32" y="41"/>
                </a:cxn>
                <a:cxn ang="0">
                  <a:pos x="46" y="44"/>
                </a:cxn>
              </a:cxnLst>
              <a:rect l="0" t="0" r="r" b="b"/>
              <a:pathLst>
                <a:path w="63" h="96">
                  <a:moveTo>
                    <a:pt x="25" y="38"/>
                  </a:moveTo>
                  <a:cubicBezTo>
                    <a:pt x="27" y="38"/>
                    <a:pt x="30" y="38"/>
                    <a:pt x="32" y="38"/>
                  </a:cubicBezTo>
                  <a:cubicBezTo>
                    <a:pt x="33" y="38"/>
                    <a:pt x="36" y="38"/>
                    <a:pt x="39" y="38"/>
                  </a:cubicBezTo>
                  <a:cubicBezTo>
                    <a:pt x="41" y="37"/>
                    <a:pt x="48" y="29"/>
                    <a:pt x="48" y="17"/>
                  </a:cubicBezTo>
                  <a:cubicBezTo>
                    <a:pt x="48" y="8"/>
                    <a:pt x="41" y="0"/>
                    <a:pt x="32" y="0"/>
                  </a:cubicBezTo>
                  <a:cubicBezTo>
                    <a:pt x="22" y="0"/>
                    <a:pt x="15" y="8"/>
                    <a:pt x="15" y="17"/>
                  </a:cubicBezTo>
                  <a:cubicBezTo>
                    <a:pt x="15" y="29"/>
                    <a:pt x="22" y="37"/>
                    <a:pt x="25" y="38"/>
                  </a:cubicBezTo>
                  <a:close/>
                  <a:moveTo>
                    <a:pt x="46" y="44"/>
                  </a:moveTo>
                  <a:cubicBezTo>
                    <a:pt x="51" y="46"/>
                    <a:pt x="57" y="48"/>
                    <a:pt x="58" y="51"/>
                  </a:cubicBezTo>
                  <a:cubicBezTo>
                    <a:pt x="61" y="60"/>
                    <a:pt x="63" y="87"/>
                    <a:pt x="63" y="96"/>
                  </a:cubicBezTo>
                  <a:cubicBezTo>
                    <a:pt x="43" y="96"/>
                    <a:pt x="20" y="96"/>
                    <a:pt x="0" y="96"/>
                  </a:cubicBezTo>
                  <a:cubicBezTo>
                    <a:pt x="0" y="87"/>
                    <a:pt x="2" y="60"/>
                    <a:pt x="5" y="51"/>
                  </a:cubicBezTo>
                  <a:cubicBezTo>
                    <a:pt x="6" y="48"/>
                    <a:pt x="13" y="46"/>
                    <a:pt x="18" y="44"/>
                  </a:cubicBezTo>
                  <a:cubicBezTo>
                    <a:pt x="17" y="43"/>
                    <a:pt x="22" y="41"/>
                    <a:pt x="32" y="41"/>
                  </a:cubicBezTo>
                  <a:cubicBezTo>
                    <a:pt x="41" y="41"/>
                    <a:pt x="46" y="43"/>
                    <a:pt x="46"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30" name="Freeform 38">
              <a:extLst>
                <a:ext uri="{FF2B5EF4-FFF2-40B4-BE49-F238E27FC236}">
                  <a16:creationId xmlns:a16="http://schemas.microsoft.com/office/drawing/2014/main" id="{4F212A6D-57FC-4CDD-AAD9-D957072C08F1}"/>
                </a:ext>
              </a:extLst>
            </p:cNvPr>
            <p:cNvSpPr>
              <a:spLocks noEditPoints="1"/>
            </p:cNvSpPr>
            <p:nvPr/>
          </p:nvSpPr>
          <p:spPr bwMode="auto">
            <a:xfrm>
              <a:off x="2509838" y="2000251"/>
              <a:ext cx="168275" cy="257175"/>
            </a:xfrm>
            <a:custGeom>
              <a:avLst/>
              <a:gdLst/>
              <a:ahLst/>
              <a:cxnLst>
                <a:cxn ang="0">
                  <a:pos x="24" y="38"/>
                </a:cxn>
                <a:cxn ang="0">
                  <a:pos x="31" y="38"/>
                </a:cxn>
                <a:cxn ang="0">
                  <a:pos x="38" y="38"/>
                </a:cxn>
                <a:cxn ang="0">
                  <a:pos x="48" y="17"/>
                </a:cxn>
                <a:cxn ang="0">
                  <a:pos x="31" y="0"/>
                </a:cxn>
                <a:cxn ang="0">
                  <a:pos x="15" y="17"/>
                </a:cxn>
                <a:cxn ang="0">
                  <a:pos x="24" y="38"/>
                </a:cxn>
                <a:cxn ang="0">
                  <a:pos x="45" y="44"/>
                </a:cxn>
                <a:cxn ang="0">
                  <a:pos x="57" y="51"/>
                </a:cxn>
                <a:cxn ang="0">
                  <a:pos x="63" y="96"/>
                </a:cxn>
                <a:cxn ang="0">
                  <a:pos x="0" y="96"/>
                </a:cxn>
                <a:cxn ang="0">
                  <a:pos x="5" y="51"/>
                </a:cxn>
                <a:cxn ang="0">
                  <a:pos x="17" y="44"/>
                </a:cxn>
                <a:cxn ang="0">
                  <a:pos x="31" y="41"/>
                </a:cxn>
                <a:cxn ang="0">
                  <a:pos x="45" y="44"/>
                </a:cxn>
              </a:cxnLst>
              <a:rect l="0" t="0" r="r" b="b"/>
              <a:pathLst>
                <a:path w="63" h="96">
                  <a:moveTo>
                    <a:pt x="24" y="38"/>
                  </a:moveTo>
                  <a:cubicBezTo>
                    <a:pt x="27" y="38"/>
                    <a:pt x="30" y="38"/>
                    <a:pt x="31" y="38"/>
                  </a:cubicBezTo>
                  <a:cubicBezTo>
                    <a:pt x="33" y="38"/>
                    <a:pt x="35" y="38"/>
                    <a:pt x="38" y="38"/>
                  </a:cubicBezTo>
                  <a:cubicBezTo>
                    <a:pt x="41" y="37"/>
                    <a:pt x="48" y="29"/>
                    <a:pt x="48" y="17"/>
                  </a:cubicBezTo>
                  <a:cubicBezTo>
                    <a:pt x="48" y="8"/>
                    <a:pt x="40" y="0"/>
                    <a:pt x="31" y="0"/>
                  </a:cubicBezTo>
                  <a:cubicBezTo>
                    <a:pt x="22" y="0"/>
                    <a:pt x="15" y="8"/>
                    <a:pt x="15" y="17"/>
                  </a:cubicBezTo>
                  <a:cubicBezTo>
                    <a:pt x="15" y="29"/>
                    <a:pt x="22" y="37"/>
                    <a:pt x="24" y="38"/>
                  </a:cubicBezTo>
                  <a:close/>
                  <a:moveTo>
                    <a:pt x="45" y="44"/>
                  </a:moveTo>
                  <a:cubicBezTo>
                    <a:pt x="50" y="46"/>
                    <a:pt x="57" y="48"/>
                    <a:pt x="57" y="51"/>
                  </a:cubicBezTo>
                  <a:cubicBezTo>
                    <a:pt x="60" y="60"/>
                    <a:pt x="63" y="87"/>
                    <a:pt x="63" y="96"/>
                  </a:cubicBezTo>
                  <a:cubicBezTo>
                    <a:pt x="42" y="96"/>
                    <a:pt x="20" y="96"/>
                    <a:pt x="0" y="96"/>
                  </a:cubicBezTo>
                  <a:cubicBezTo>
                    <a:pt x="0" y="87"/>
                    <a:pt x="2" y="60"/>
                    <a:pt x="5" y="51"/>
                  </a:cubicBezTo>
                  <a:cubicBezTo>
                    <a:pt x="6" y="48"/>
                    <a:pt x="12" y="46"/>
                    <a:pt x="17" y="44"/>
                  </a:cubicBezTo>
                  <a:cubicBezTo>
                    <a:pt x="16" y="43"/>
                    <a:pt x="21" y="41"/>
                    <a:pt x="31" y="41"/>
                  </a:cubicBezTo>
                  <a:cubicBezTo>
                    <a:pt x="41" y="41"/>
                    <a:pt x="46" y="43"/>
                    <a:pt x="45"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31" name="Freeform 39">
              <a:extLst>
                <a:ext uri="{FF2B5EF4-FFF2-40B4-BE49-F238E27FC236}">
                  <a16:creationId xmlns:a16="http://schemas.microsoft.com/office/drawing/2014/main" id="{509DFF8F-D3AD-4A32-B48B-55050A0DA7D1}"/>
                </a:ext>
              </a:extLst>
            </p:cNvPr>
            <p:cNvSpPr>
              <a:spLocks noEditPoints="1"/>
            </p:cNvSpPr>
            <p:nvPr/>
          </p:nvSpPr>
          <p:spPr bwMode="auto">
            <a:xfrm>
              <a:off x="2674938" y="2000251"/>
              <a:ext cx="168275" cy="257175"/>
            </a:xfrm>
            <a:custGeom>
              <a:avLst/>
              <a:gdLst/>
              <a:ahLst/>
              <a:cxnLst>
                <a:cxn ang="0">
                  <a:pos x="24" y="38"/>
                </a:cxn>
                <a:cxn ang="0">
                  <a:pos x="31" y="38"/>
                </a:cxn>
                <a:cxn ang="0">
                  <a:pos x="38" y="38"/>
                </a:cxn>
                <a:cxn ang="0">
                  <a:pos x="48" y="17"/>
                </a:cxn>
                <a:cxn ang="0">
                  <a:pos x="31" y="0"/>
                </a:cxn>
                <a:cxn ang="0">
                  <a:pos x="15" y="17"/>
                </a:cxn>
                <a:cxn ang="0">
                  <a:pos x="24" y="38"/>
                </a:cxn>
                <a:cxn ang="0">
                  <a:pos x="45" y="44"/>
                </a:cxn>
                <a:cxn ang="0">
                  <a:pos x="57" y="51"/>
                </a:cxn>
                <a:cxn ang="0">
                  <a:pos x="63" y="96"/>
                </a:cxn>
                <a:cxn ang="0">
                  <a:pos x="0" y="96"/>
                </a:cxn>
                <a:cxn ang="0">
                  <a:pos x="5" y="51"/>
                </a:cxn>
                <a:cxn ang="0">
                  <a:pos x="17" y="44"/>
                </a:cxn>
                <a:cxn ang="0">
                  <a:pos x="31" y="41"/>
                </a:cxn>
                <a:cxn ang="0">
                  <a:pos x="45" y="44"/>
                </a:cxn>
              </a:cxnLst>
              <a:rect l="0" t="0" r="r" b="b"/>
              <a:pathLst>
                <a:path w="63" h="96">
                  <a:moveTo>
                    <a:pt x="24" y="38"/>
                  </a:moveTo>
                  <a:cubicBezTo>
                    <a:pt x="27" y="38"/>
                    <a:pt x="30" y="38"/>
                    <a:pt x="31" y="38"/>
                  </a:cubicBezTo>
                  <a:cubicBezTo>
                    <a:pt x="33" y="38"/>
                    <a:pt x="36" y="38"/>
                    <a:pt x="38" y="38"/>
                  </a:cubicBezTo>
                  <a:cubicBezTo>
                    <a:pt x="41" y="37"/>
                    <a:pt x="48" y="29"/>
                    <a:pt x="48" y="17"/>
                  </a:cubicBezTo>
                  <a:cubicBezTo>
                    <a:pt x="48" y="8"/>
                    <a:pt x="40" y="0"/>
                    <a:pt x="31" y="0"/>
                  </a:cubicBezTo>
                  <a:cubicBezTo>
                    <a:pt x="22" y="0"/>
                    <a:pt x="15" y="8"/>
                    <a:pt x="15" y="17"/>
                  </a:cubicBezTo>
                  <a:cubicBezTo>
                    <a:pt x="15" y="29"/>
                    <a:pt x="22" y="37"/>
                    <a:pt x="24" y="38"/>
                  </a:cubicBezTo>
                  <a:close/>
                  <a:moveTo>
                    <a:pt x="45" y="44"/>
                  </a:moveTo>
                  <a:cubicBezTo>
                    <a:pt x="50" y="46"/>
                    <a:pt x="57" y="48"/>
                    <a:pt x="57" y="51"/>
                  </a:cubicBezTo>
                  <a:cubicBezTo>
                    <a:pt x="60" y="60"/>
                    <a:pt x="63" y="87"/>
                    <a:pt x="63" y="96"/>
                  </a:cubicBezTo>
                  <a:cubicBezTo>
                    <a:pt x="43" y="96"/>
                    <a:pt x="20" y="96"/>
                    <a:pt x="0" y="96"/>
                  </a:cubicBezTo>
                  <a:cubicBezTo>
                    <a:pt x="0" y="87"/>
                    <a:pt x="2" y="60"/>
                    <a:pt x="5" y="51"/>
                  </a:cubicBezTo>
                  <a:cubicBezTo>
                    <a:pt x="6" y="48"/>
                    <a:pt x="12" y="46"/>
                    <a:pt x="17" y="44"/>
                  </a:cubicBezTo>
                  <a:cubicBezTo>
                    <a:pt x="16" y="43"/>
                    <a:pt x="21" y="41"/>
                    <a:pt x="31" y="41"/>
                  </a:cubicBezTo>
                  <a:cubicBezTo>
                    <a:pt x="41" y="41"/>
                    <a:pt x="46" y="43"/>
                    <a:pt x="45"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32" name="Freeform 40">
              <a:extLst>
                <a:ext uri="{FF2B5EF4-FFF2-40B4-BE49-F238E27FC236}">
                  <a16:creationId xmlns:a16="http://schemas.microsoft.com/office/drawing/2014/main" id="{9EA37368-0347-40B5-B24B-B324CDFBD1C9}"/>
                </a:ext>
              </a:extLst>
            </p:cNvPr>
            <p:cNvSpPr>
              <a:spLocks noEditPoints="1"/>
            </p:cNvSpPr>
            <p:nvPr/>
          </p:nvSpPr>
          <p:spPr bwMode="auto">
            <a:xfrm>
              <a:off x="2841625" y="2000251"/>
              <a:ext cx="166688" cy="257175"/>
            </a:xfrm>
            <a:custGeom>
              <a:avLst/>
              <a:gdLst/>
              <a:ahLst/>
              <a:cxnLst>
                <a:cxn ang="0">
                  <a:pos x="24" y="38"/>
                </a:cxn>
                <a:cxn ang="0">
                  <a:pos x="31" y="38"/>
                </a:cxn>
                <a:cxn ang="0">
                  <a:pos x="39" y="38"/>
                </a:cxn>
                <a:cxn ang="0">
                  <a:pos x="48" y="17"/>
                </a:cxn>
                <a:cxn ang="0">
                  <a:pos x="31" y="0"/>
                </a:cxn>
                <a:cxn ang="0">
                  <a:pos x="15" y="17"/>
                </a:cxn>
                <a:cxn ang="0">
                  <a:pos x="24" y="38"/>
                </a:cxn>
                <a:cxn ang="0">
                  <a:pos x="45" y="44"/>
                </a:cxn>
                <a:cxn ang="0">
                  <a:pos x="58" y="51"/>
                </a:cxn>
                <a:cxn ang="0">
                  <a:pos x="63" y="96"/>
                </a:cxn>
                <a:cxn ang="0">
                  <a:pos x="0" y="96"/>
                </a:cxn>
                <a:cxn ang="0">
                  <a:pos x="5" y="51"/>
                </a:cxn>
                <a:cxn ang="0">
                  <a:pos x="17" y="44"/>
                </a:cxn>
                <a:cxn ang="0">
                  <a:pos x="31" y="41"/>
                </a:cxn>
                <a:cxn ang="0">
                  <a:pos x="45" y="44"/>
                </a:cxn>
              </a:cxnLst>
              <a:rect l="0" t="0" r="r" b="b"/>
              <a:pathLst>
                <a:path w="63" h="96">
                  <a:moveTo>
                    <a:pt x="24" y="38"/>
                  </a:moveTo>
                  <a:cubicBezTo>
                    <a:pt x="27" y="38"/>
                    <a:pt x="30" y="38"/>
                    <a:pt x="31" y="38"/>
                  </a:cubicBezTo>
                  <a:cubicBezTo>
                    <a:pt x="33" y="38"/>
                    <a:pt x="36" y="38"/>
                    <a:pt x="39" y="38"/>
                  </a:cubicBezTo>
                  <a:cubicBezTo>
                    <a:pt x="41" y="37"/>
                    <a:pt x="48" y="29"/>
                    <a:pt x="48" y="17"/>
                  </a:cubicBezTo>
                  <a:cubicBezTo>
                    <a:pt x="48" y="8"/>
                    <a:pt x="41" y="0"/>
                    <a:pt x="31" y="0"/>
                  </a:cubicBezTo>
                  <a:cubicBezTo>
                    <a:pt x="22" y="0"/>
                    <a:pt x="15" y="8"/>
                    <a:pt x="15" y="17"/>
                  </a:cubicBezTo>
                  <a:cubicBezTo>
                    <a:pt x="15" y="29"/>
                    <a:pt x="22" y="37"/>
                    <a:pt x="24" y="38"/>
                  </a:cubicBezTo>
                  <a:close/>
                  <a:moveTo>
                    <a:pt x="45" y="44"/>
                  </a:moveTo>
                  <a:cubicBezTo>
                    <a:pt x="50" y="46"/>
                    <a:pt x="57" y="48"/>
                    <a:pt x="58" y="51"/>
                  </a:cubicBezTo>
                  <a:cubicBezTo>
                    <a:pt x="61" y="60"/>
                    <a:pt x="63" y="87"/>
                    <a:pt x="63" y="96"/>
                  </a:cubicBezTo>
                  <a:cubicBezTo>
                    <a:pt x="43" y="96"/>
                    <a:pt x="20" y="96"/>
                    <a:pt x="0" y="96"/>
                  </a:cubicBezTo>
                  <a:cubicBezTo>
                    <a:pt x="0" y="87"/>
                    <a:pt x="2" y="60"/>
                    <a:pt x="5" y="51"/>
                  </a:cubicBezTo>
                  <a:cubicBezTo>
                    <a:pt x="6" y="48"/>
                    <a:pt x="12" y="46"/>
                    <a:pt x="17" y="44"/>
                  </a:cubicBezTo>
                  <a:cubicBezTo>
                    <a:pt x="17" y="43"/>
                    <a:pt x="22" y="41"/>
                    <a:pt x="31" y="41"/>
                  </a:cubicBezTo>
                  <a:cubicBezTo>
                    <a:pt x="41" y="41"/>
                    <a:pt x="46" y="43"/>
                    <a:pt x="45"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33" name="Freeform 41">
              <a:extLst>
                <a:ext uri="{FF2B5EF4-FFF2-40B4-BE49-F238E27FC236}">
                  <a16:creationId xmlns:a16="http://schemas.microsoft.com/office/drawing/2014/main" id="{87CB4F75-F3CA-4D2D-A86D-6A925191D6C2}"/>
                </a:ext>
              </a:extLst>
            </p:cNvPr>
            <p:cNvSpPr>
              <a:spLocks noEditPoints="1"/>
            </p:cNvSpPr>
            <p:nvPr/>
          </p:nvSpPr>
          <p:spPr bwMode="auto">
            <a:xfrm>
              <a:off x="2889250" y="1677988"/>
              <a:ext cx="228600" cy="184150"/>
            </a:xfrm>
            <a:custGeom>
              <a:avLst/>
              <a:gdLst/>
              <a:ahLst/>
              <a:cxnLst>
                <a:cxn ang="0">
                  <a:pos x="59" y="39"/>
                </a:cxn>
                <a:cxn ang="0">
                  <a:pos x="60" y="38"/>
                </a:cxn>
                <a:cxn ang="0">
                  <a:pos x="59" y="36"/>
                </a:cxn>
                <a:cxn ang="0">
                  <a:pos x="56" y="36"/>
                </a:cxn>
                <a:cxn ang="0">
                  <a:pos x="55" y="38"/>
                </a:cxn>
                <a:cxn ang="0">
                  <a:pos x="58" y="40"/>
                </a:cxn>
                <a:cxn ang="0">
                  <a:pos x="85" y="9"/>
                </a:cxn>
                <a:cxn ang="0">
                  <a:pos x="85" y="9"/>
                </a:cxn>
                <a:cxn ang="0">
                  <a:pos x="85" y="9"/>
                </a:cxn>
                <a:cxn ang="0">
                  <a:pos x="85" y="9"/>
                </a:cxn>
                <a:cxn ang="0">
                  <a:pos x="86" y="9"/>
                </a:cxn>
                <a:cxn ang="0">
                  <a:pos x="86" y="9"/>
                </a:cxn>
                <a:cxn ang="0">
                  <a:pos x="86" y="9"/>
                </a:cxn>
                <a:cxn ang="0">
                  <a:pos x="86" y="9"/>
                </a:cxn>
                <a:cxn ang="0">
                  <a:pos x="86" y="9"/>
                </a:cxn>
                <a:cxn ang="0">
                  <a:pos x="86" y="9"/>
                </a:cxn>
                <a:cxn ang="0">
                  <a:pos x="86" y="9"/>
                </a:cxn>
                <a:cxn ang="0">
                  <a:pos x="86" y="8"/>
                </a:cxn>
                <a:cxn ang="0">
                  <a:pos x="86" y="8"/>
                </a:cxn>
                <a:cxn ang="0">
                  <a:pos x="86" y="8"/>
                </a:cxn>
                <a:cxn ang="0">
                  <a:pos x="86" y="8"/>
                </a:cxn>
                <a:cxn ang="0">
                  <a:pos x="86" y="8"/>
                </a:cxn>
                <a:cxn ang="0">
                  <a:pos x="71" y="8"/>
                </a:cxn>
                <a:cxn ang="0">
                  <a:pos x="60" y="31"/>
                </a:cxn>
                <a:cxn ang="0">
                  <a:pos x="53" y="33"/>
                </a:cxn>
                <a:cxn ang="0">
                  <a:pos x="53" y="33"/>
                </a:cxn>
                <a:cxn ang="0">
                  <a:pos x="40" y="31"/>
                </a:cxn>
                <a:cxn ang="0">
                  <a:pos x="38" y="27"/>
                </a:cxn>
                <a:cxn ang="0">
                  <a:pos x="28" y="27"/>
                </a:cxn>
                <a:cxn ang="0">
                  <a:pos x="26" y="32"/>
                </a:cxn>
                <a:cxn ang="0">
                  <a:pos x="9" y="55"/>
                </a:cxn>
                <a:cxn ang="0">
                  <a:pos x="2" y="57"/>
                </a:cxn>
                <a:cxn ang="0">
                  <a:pos x="2" y="57"/>
                </a:cxn>
                <a:cxn ang="0">
                  <a:pos x="2" y="67"/>
                </a:cxn>
                <a:cxn ang="0">
                  <a:pos x="7" y="69"/>
                </a:cxn>
                <a:cxn ang="0">
                  <a:pos x="12" y="67"/>
                </a:cxn>
                <a:cxn ang="0">
                  <a:pos x="13" y="58"/>
                </a:cxn>
                <a:cxn ang="0">
                  <a:pos x="33" y="39"/>
                </a:cxn>
                <a:cxn ang="0">
                  <a:pos x="38" y="37"/>
                </a:cxn>
                <a:cxn ang="0">
                  <a:pos x="39" y="35"/>
                </a:cxn>
                <a:cxn ang="0">
                  <a:pos x="53" y="42"/>
                </a:cxn>
                <a:cxn ang="0">
                  <a:pos x="62" y="42"/>
                </a:cxn>
                <a:cxn ang="0">
                  <a:pos x="65" y="38"/>
                </a:cxn>
                <a:cxn ang="0">
                  <a:pos x="77" y="14"/>
                </a:cxn>
                <a:cxn ang="0">
                  <a:pos x="33" y="34"/>
                </a:cxn>
                <a:cxn ang="0">
                  <a:pos x="35" y="34"/>
                </a:cxn>
                <a:cxn ang="0">
                  <a:pos x="35" y="30"/>
                </a:cxn>
                <a:cxn ang="0">
                  <a:pos x="31" y="30"/>
                </a:cxn>
                <a:cxn ang="0">
                  <a:pos x="31" y="30"/>
                </a:cxn>
                <a:cxn ang="0">
                  <a:pos x="31" y="34"/>
                </a:cxn>
                <a:cxn ang="0">
                  <a:pos x="33" y="34"/>
                </a:cxn>
                <a:cxn ang="0">
                  <a:pos x="9" y="63"/>
                </a:cxn>
                <a:cxn ang="0">
                  <a:pos x="9" y="62"/>
                </a:cxn>
                <a:cxn ang="0">
                  <a:pos x="7" y="59"/>
                </a:cxn>
                <a:cxn ang="0">
                  <a:pos x="5" y="60"/>
                </a:cxn>
                <a:cxn ang="0">
                  <a:pos x="5" y="63"/>
                </a:cxn>
                <a:cxn ang="0">
                  <a:pos x="7" y="64"/>
                </a:cxn>
              </a:cxnLst>
              <a:rect l="0" t="0" r="r" b="b"/>
              <a:pathLst>
                <a:path w="86" h="69">
                  <a:moveTo>
                    <a:pt x="58" y="40"/>
                  </a:moveTo>
                  <a:cubicBezTo>
                    <a:pt x="58" y="40"/>
                    <a:pt x="59" y="40"/>
                    <a:pt x="59" y="39"/>
                  </a:cubicBezTo>
                  <a:cubicBezTo>
                    <a:pt x="59" y="39"/>
                    <a:pt x="59" y="39"/>
                    <a:pt x="59" y="39"/>
                  </a:cubicBezTo>
                  <a:cubicBezTo>
                    <a:pt x="60" y="39"/>
                    <a:pt x="60" y="38"/>
                    <a:pt x="60" y="38"/>
                  </a:cubicBezTo>
                  <a:cubicBezTo>
                    <a:pt x="60" y="37"/>
                    <a:pt x="60" y="36"/>
                    <a:pt x="59" y="36"/>
                  </a:cubicBezTo>
                  <a:cubicBezTo>
                    <a:pt x="59" y="36"/>
                    <a:pt x="59" y="36"/>
                    <a:pt x="59" y="36"/>
                  </a:cubicBezTo>
                  <a:cubicBezTo>
                    <a:pt x="59" y="35"/>
                    <a:pt x="58" y="35"/>
                    <a:pt x="58" y="35"/>
                  </a:cubicBezTo>
                  <a:cubicBezTo>
                    <a:pt x="57" y="35"/>
                    <a:pt x="56" y="35"/>
                    <a:pt x="56" y="36"/>
                  </a:cubicBezTo>
                  <a:cubicBezTo>
                    <a:pt x="56" y="36"/>
                    <a:pt x="56" y="36"/>
                    <a:pt x="56" y="36"/>
                  </a:cubicBezTo>
                  <a:cubicBezTo>
                    <a:pt x="55" y="36"/>
                    <a:pt x="55" y="37"/>
                    <a:pt x="55" y="38"/>
                  </a:cubicBezTo>
                  <a:cubicBezTo>
                    <a:pt x="55" y="38"/>
                    <a:pt x="55" y="39"/>
                    <a:pt x="56" y="39"/>
                  </a:cubicBezTo>
                  <a:cubicBezTo>
                    <a:pt x="56" y="40"/>
                    <a:pt x="57" y="40"/>
                    <a:pt x="58" y="40"/>
                  </a:cubicBezTo>
                  <a:close/>
                  <a:moveTo>
                    <a:pt x="78" y="15"/>
                  </a:moveTo>
                  <a:cubicBezTo>
                    <a:pt x="82" y="15"/>
                    <a:pt x="85" y="12"/>
                    <a:pt x="85" y="9"/>
                  </a:cubicBezTo>
                  <a:cubicBezTo>
                    <a:pt x="85" y="9"/>
                    <a:pt x="85" y="9"/>
                    <a:pt x="85" y="9"/>
                  </a:cubicBezTo>
                  <a:cubicBezTo>
                    <a:pt x="85" y="9"/>
                    <a:pt x="85" y="9"/>
                    <a:pt x="85" y="9"/>
                  </a:cubicBezTo>
                  <a:cubicBezTo>
                    <a:pt x="85" y="9"/>
                    <a:pt x="85" y="9"/>
                    <a:pt x="85" y="9"/>
                  </a:cubicBezTo>
                  <a:cubicBezTo>
                    <a:pt x="85" y="9"/>
                    <a:pt x="85" y="9"/>
                    <a:pt x="85" y="9"/>
                  </a:cubicBezTo>
                  <a:cubicBezTo>
                    <a:pt x="85" y="9"/>
                    <a:pt x="85" y="9"/>
                    <a:pt x="85" y="9"/>
                  </a:cubicBezTo>
                  <a:cubicBezTo>
                    <a:pt x="85" y="9"/>
                    <a:pt x="85" y="9"/>
                    <a:pt x="85"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4"/>
                    <a:pt x="82" y="0"/>
                    <a:pt x="78" y="0"/>
                  </a:cubicBezTo>
                  <a:cubicBezTo>
                    <a:pt x="75" y="0"/>
                    <a:pt x="71" y="4"/>
                    <a:pt x="71" y="8"/>
                  </a:cubicBezTo>
                  <a:cubicBezTo>
                    <a:pt x="71" y="9"/>
                    <a:pt x="72" y="11"/>
                    <a:pt x="73" y="12"/>
                  </a:cubicBezTo>
                  <a:cubicBezTo>
                    <a:pt x="60" y="31"/>
                    <a:pt x="60" y="31"/>
                    <a:pt x="60" y="31"/>
                  </a:cubicBezTo>
                  <a:cubicBezTo>
                    <a:pt x="59" y="31"/>
                    <a:pt x="58" y="31"/>
                    <a:pt x="58" y="31"/>
                  </a:cubicBezTo>
                  <a:cubicBezTo>
                    <a:pt x="56" y="31"/>
                    <a:pt x="54" y="31"/>
                    <a:pt x="53" y="33"/>
                  </a:cubicBezTo>
                  <a:cubicBezTo>
                    <a:pt x="53" y="33"/>
                    <a:pt x="53" y="33"/>
                    <a:pt x="53" y="33"/>
                  </a:cubicBezTo>
                  <a:cubicBezTo>
                    <a:pt x="53" y="33"/>
                    <a:pt x="53" y="33"/>
                    <a:pt x="53" y="33"/>
                  </a:cubicBezTo>
                  <a:cubicBezTo>
                    <a:pt x="52" y="33"/>
                    <a:pt x="52" y="33"/>
                    <a:pt x="52" y="34"/>
                  </a:cubicBezTo>
                  <a:cubicBezTo>
                    <a:pt x="40" y="31"/>
                    <a:pt x="40" y="31"/>
                    <a:pt x="40" y="31"/>
                  </a:cubicBezTo>
                  <a:cubicBezTo>
                    <a:pt x="40" y="30"/>
                    <a:pt x="39" y="28"/>
                    <a:pt x="38" y="27"/>
                  </a:cubicBezTo>
                  <a:cubicBezTo>
                    <a:pt x="38" y="27"/>
                    <a:pt x="38" y="27"/>
                    <a:pt x="38" y="27"/>
                  </a:cubicBezTo>
                  <a:cubicBezTo>
                    <a:pt x="37" y="26"/>
                    <a:pt x="35" y="25"/>
                    <a:pt x="33" y="25"/>
                  </a:cubicBezTo>
                  <a:cubicBezTo>
                    <a:pt x="31" y="25"/>
                    <a:pt x="29" y="26"/>
                    <a:pt x="28" y="27"/>
                  </a:cubicBezTo>
                  <a:cubicBezTo>
                    <a:pt x="28" y="27"/>
                    <a:pt x="28" y="27"/>
                    <a:pt x="28" y="27"/>
                  </a:cubicBezTo>
                  <a:cubicBezTo>
                    <a:pt x="27" y="28"/>
                    <a:pt x="26" y="30"/>
                    <a:pt x="26" y="32"/>
                  </a:cubicBezTo>
                  <a:cubicBezTo>
                    <a:pt x="26" y="33"/>
                    <a:pt x="26" y="34"/>
                    <a:pt x="27" y="35"/>
                  </a:cubicBezTo>
                  <a:cubicBezTo>
                    <a:pt x="9" y="55"/>
                    <a:pt x="9" y="55"/>
                    <a:pt x="9" y="55"/>
                  </a:cubicBezTo>
                  <a:cubicBezTo>
                    <a:pt x="9" y="55"/>
                    <a:pt x="8" y="55"/>
                    <a:pt x="7" y="55"/>
                  </a:cubicBezTo>
                  <a:cubicBezTo>
                    <a:pt x="5" y="55"/>
                    <a:pt x="3" y="55"/>
                    <a:pt x="2" y="57"/>
                  </a:cubicBezTo>
                  <a:cubicBezTo>
                    <a:pt x="2" y="57"/>
                    <a:pt x="2" y="57"/>
                    <a:pt x="2" y="57"/>
                  </a:cubicBezTo>
                  <a:cubicBezTo>
                    <a:pt x="2" y="57"/>
                    <a:pt x="2" y="57"/>
                    <a:pt x="2" y="57"/>
                  </a:cubicBezTo>
                  <a:cubicBezTo>
                    <a:pt x="1" y="58"/>
                    <a:pt x="0" y="60"/>
                    <a:pt x="0" y="62"/>
                  </a:cubicBezTo>
                  <a:cubicBezTo>
                    <a:pt x="0" y="64"/>
                    <a:pt x="1" y="65"/>
                    <a:pt x="2" y="67"/>
                  </a:cubicBezTo>
                  <a:cubicBezTo>
                    <a:pt x="2" y="67"/>
                    <a:pt x="2" y="67"/>
                    <a:pt x="2" y="67"/>
                  </a:cubicBezTo>
                  <a:cubicBezTo>
                    <a:pt x="3" y="68"/>
                    <a:pt x="5" y="69"/>
                    <a:pt x="7" y="69"/>
                  </a:cubicBezTo>
                  <a:cubicBezTo>
                    <a:pt x="9" y="69"/>
                    <a:pt x="10" y="68"/>
                    <a:pt x="12" y="67"/>
                  </a:cubicBezTo>
                  <a:cubicBezTo>
                    <a:pt x="12" y="67"/>
                    <a:pt x="12" y="67"/>
                    <a:pt x="12" y="67"/>
                  </a:cubicBezTo>
                  <a:cubicBezTo>
                    <a:pt x="13" y="65"/>
                    <a:pt x="14" y="64"/>
                    <a:pt x="14" y="62"/>
                  </a:cubicBezTo>
                  <a:cubicBezTo>
                    <a:pt x="14" y="60"/>
                    <a:pt x="13" y="59"/>
                    <a:pt x="13" y="58"/>
                  </a:cubicBezTo>
                  <a:cubicBezTo>
                    <a:pt x="30" y="38"/>
                    <a:pt x="30" y="38"/>
                    <a:pt x="30" y="38"/>
                  </a:cubicBezTo>
                  <a:cubicBezTo>
                    <a:pt x="31" y="38"/>
                    <a:pt x="32" y="39"/>
                    <a:pt x="33" y="39"/>
                  </a:cubicBezTo>
                  <a:cubicBezTo>
                    <a:pt x="35" y="39"/>
                    <a:pt x="37" y="38"/>
                    <a:pt x="38" y="37"/>
                  </a:cubicBezTo>
                  <a:cubicBezTo>
                    <a:pt x="38" y="37"/>
                    <a:pt x="38" y="37"/>
                    <a:pt x="38" y="37"/>
                  </a:cubicBezTo>
                  <a:cubicBezTo>
                    <a:pt x="38" y="37"/>
                    <a:pt x="38" y="37"/>
                    <a:pt x="38" y="37"/>
                  </a:cubicBezTo>
                  <a:cubicBezTo>
                    <a:pt x="38" y="36"/>
                    <a:pt x="39" y="36"/>
                    <a:pt x="39" y="35"/>
                  </a:cubicBezTo>
                  <a:cubicBezTo>
                    <a:pt x="51" y="38"/>
                    <a:pt x="51" y="38"/>
                    <a:pt x="51" y="38"/>
                  </a:cubicBezTo>
                  <a:cubicBezTo>
                    <a:pt x="51" y="40"/>
                    <a:pt x="52" y="41"/>
                    <a:pt x="53" y="42"/>
                  </a:cubicBezTo>
                  <a:cubicBezTo>
                    <a:pt x="54" y="44"/>
                    <a:pt x="56" y="44"/>
                    <a:pt x="58" y="44"/>
                  </a:cubicBezTo>
                  <a:cubicBezTo>
                    <a:pt x="59" y="44"/>
                    <a:pt x="61" y="44"/>
                    <a:pt x="62" y="42"/>
                  </a:cubicBezTo>
                  <a:cubicBezTo>
                    <a:pt x="63" y="42"/>
                    <a:pt x="63" y="42"/>
                    <a:pt x="63" y="42"/>
                  </a:cubicBezTo>
                  <a:cubicBezTo>
                    <a:pt x="64" y="41"/>
                    <a:pt x="65" y="39"/>
                    <a:pt x="65" y="38"/>
                  </a:cubicBezTo>
                  <a:cubicBezTo>
                    <a:pt x="65" y="36"/>
                    <a:pt x="64" y="35"/>
                    <a:pt x="63" y="33"/>
                  </a:cubicBezTo>
                  <a:cubicBezTo>
                    <a:pt x="77" y="14"/>
                    <a:pt x="77" y="14"/>
                    <a:pt x="77" y="14"/>
                  </a:cubicBezTo>
                  <a:cubicBezTo>
                    <a:pt x="77" y="15"/>
                    <a:pt x="78" y="15"/>
                    <a:pt x="78" y="15"/>
                  </a:cubicBezTo>
                  <a:close/>
                  <a:moveTo>
                    <a:pt x="33" y="34"/>
                  </a:moveTo>
                  <a:cubicBezTo>
                    <a:pt x="34" y="34"/>
                    <a:pt x="34" y="34"/>
                    <a:pt x="35" y="34"/>
                  </a:cubicBezTo>
                  <a:cubicBezTo>
                    <a:pt x="35" y="34"/>
                    <a:pt x="35" y="34"/>
                    <a:pt x="35" y="34"/>
                  </a:cubicBezTo>
                  <a:cubicBezTo>
                    <a:pt x="35" y="33"/>
                    <a:pt x="36" y="33"/>
                    <a:pt x="36" y="32"/>
                  </a:cubicBezTo>
                  <a:cubicBezTo>
                    <a:pt x="36" y="31"/>
                    <a:pt x="35" y="30"/>
                    <a:pt x="35" y="30"/>
                  </a:cubicBezTo>
                  <a:cubicBezTo>
                    <a:pt x="34" y="30"/>
                    <a:pt x="34" y="29"/>
                    <a:pt x="33" y="29"/>
                  </a:cubicBezTo>
                  <a:cubicBezTo>
                    <a:pt x="32" y="29"/>
                    <a:pt x="32" y="30"/>
                    <a:pt x="31" y="30"/>
                  </a:cubicBezTo>
                  <a:cubicBezTo>
                    <a:pt x="31" y="30"/>
                    <a:pt x="31" y="30"/>
                    <a:pt x="31" y="30"/>
                  </a:cubicBezTo>
                  <a:cubicBezTo>
                    <a:pt x="31" y="30"/>
                    <a:pt x="31" y="30"/>
                    <a:pt x="31" y="30"/>
                  </a:cubicBezTo>
                  <a:cubicBezTo>
                    <a:pt x="31" y="30"/>
                    <a:pt x="31" y="31"/>
                    <a:pt x="31" y="32"/>
                  </a:cubicBezTo>
                  <a:cubicBezTo>
                    <a:pt x="31" y="33"/>
                    <a:pt x="31" y="33"/>
                    <a:pt x="31" y="34"/>
                  </a:cubicBezTo>
                  <a:cubicBezTo>
                    <a:pt x="31" y="34"/>
                    <a:pt x="31" y="34"/>
                    <a:pt x="31" y="34"/>
                  </a:cubicBezTo>
                  <a:cubicBezTo>
                    <a:pt x="32" y="34"/>
                    <a:pt x="32" y="34"/>
                    <a:pt x="33" y="34"/>
                  </a:cubicBezTo>
                  <a:close/>
                  <a:moveTo>
                    <a:pt x="7" y="64"/>
                  </a:moveTo>
                  <a:cubicBezTo>
                    <a:pt x="8" y="64"/>
                    <a:pt x="8" y="64"/>
                    <a:pt x="9" y="63"/>
                  </a:cubicBezTo>
                  <a:cubicBezTo>
                    <a:pt x="9" y="63"/>
                    <a:pt x="9" y="63"/>
                    <a:pt x="9" y="63"/>
                  </a:cubicBezTo>
                  <a:cubicBezTo>
                    <a:pt x="9" y="63"/>
                    <a:pt x="9" y="62"/>
                    <a:pt x="9" y="62"/>
                  </a:cubicBezTo>
                  <a:cubicBezTo>
                    <a:pt x="9" y="61"/>
                    <a:pt x="9" y="60"/>
                    <a:pt x="9" y="60"/>
                  </a:cubicBezTo>
                  <a:cubicBezTo>
                    <a:pt x="8" y="59"/>
                    <a:pt x="8" y="59"/>
                    <a:pt x="7" y="59"/>
                  </a:cubicBezTo>
                  <a:cubicBezTo>
                    <a:pt x="6" y="59"/>
                    <a:pt x="5" y="59"/>
                    <a:pt x="5" y="60"/>
                  </a:cubicBezTo>
                  <a:cubicBezTo>
                    <a:pt x="5" y="60"/>
                    <a:pt x="5" y="60"/>
                    <a:pt x="5" y="60"/>
                  </a:cubicBezTo>
                  <a:cubicBezTo>
                    <a:pt x="5" y="60"/>
                    <a:pt x="4" y="61"/>
                    <a:pt x="4" y="62"/>
                  </a:cubicBezTo>
                  <a:cubicBezTo>
                    <a:pt x="4" y="62"/>
                    <a:pt x="5" y="63"/>
                    <a:pt x="5" y="63"/>
                  </a:cubicBezTo>
                  <a:cubicBezTo>
                    <a:pt x="5" y="64"/>
                    <a:pt x="5" y="64"/>
                    <a:pt x="5" y="64"/>
                  </a:cubicBezTo>
                  <a:cubicBezTo>
                    <a:pt x="6" y="64"/>
                    <a:pt x="6" y="64"/>
                    <a:pt x="7" y="6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grpSp>
      <p:grpSp>
        <p:nvGrpSpPr>
          <p:cNvPr id="34" name="Groupe 122">
            <a:extLst>
              <a:ext uri="{FF2B5EF4-FFF2-40B4-BE49-F238E27FC236}">
                <a16:creationId xmlns:a16="http://schemas.microsoft.com/office/drawing/2014/main" id="{CBA1833F-81B1-4A8C-B920-70875E2665EA}"/>
              </a:ext>
            </a:extLst>
          </p:cNvPr>
          <p:cNvGrpSpPr/>
          <p:nvPr/>
        </p:nvGrpSpPr>
        <p:grpSpPr>
          <a:xfrm>
            <a:off x="6604000" y="2569190"/>
            <a:ext cx="1304768" cy="612009"/>
            <a:chOff x="4819650" y="2487053"/>
            <a:chExt cx="768350" cy="943535"/>
          </a:xfrm>
          <a:solidFill>
            <a:srgbClr val="006301"/>
          </a:solidFill>
        </p:grpSpPr>
        <p:sp>
          <p:nvSpPr>
            <p:cNvPr id="35" name="Freeform 54">
              <a:extLst>
                <a:ext uri="{FF2B5EF4-FFF2-40B4-BE49-F238E27FC236}">
                  <a16:creationId xmlns:a16="http://schemas.microsoft.com/office/drawing/2014/main" id="{080627FC-B044-458B-9038-8799CC1BFECF}"/>
                </a:ext>
              </a:extLst>
            </p:cNvPr>
            <p:cNvSpPr>
              <a:spLocks noEditPoints="1"/>
            </p:cNvSpPr>
            <p:nvPr/>
          </p:nvSpPr>
          <p:spPr bwMode="auto">
            <a:xfrm>
              <a:off x="5349875" y="3159125"/>
              <a:ext cx="238125" cy="77788"/>
            </a:xfrm>
            <a:custGeom>
              <a:avLst/>
              <a:gdLst/>
              <a:ahLst/>
              <a:cxnLst>
                <a:cxn ang="0">
                  <a:pos x="71" y="25"/>
                </a:cxn>
                <a:cxn ang="0">
                  <a:pos x="31" y="21"/>
                </a:cxn>
                <a:cxn ang="0">
                  <a:pos x="5" y="11"/>
                </a:cxn>
                <a:cxn ang="0">
                  <a:pos x="0" y="21"/>
                </a:cxn>
                <a:cxn ang="0">
                  <a:pos x="0" y="21"/>
                </a:cxn>
                <a:cxn ang="0">
                  <a:pos x="5" y="32"/>
                </a:cxn>
                <a:cxn ang="0">
                  <a:pos x="21" y="42"/>
                </a:cxn>
                <a:cxn ang="0">
                  <a:pos x="45" y="47"/>
                </a:cxn>
                <a:cxn ang="0">
                  <a:pos x="74" y="49"/>
                </a:cxn>
                <a:cxn ang="0">
                  <a:pos x="90" y="49"/>
                </a:cxn>
                <a:cxn ang="0">
                  <a:pos x="115" y="45"/>
                </a:cxn>
                <a:cxn ang="0">
                  <a:pos x="136" y="38"/>
                </a:cxn>
                <a:cxn ang="0">
                  <a:pos x="147" y="28"/>
                </a:cxn>
                <a:cxn ang="0">
                  <a:pos x="148" y="22"/>
                </a:cxn>
                <a:cxn ang="0">
                  <a:pos x="150" y="21"/>
                </a:cxn>
                <a:cxn ang="0">
                  <a:pos x="150" y="3"/>
                </a:cxn>
                <a:cxn ang="0">
                  <a:pos x="148" y="0"/>
                </a:cxn>
                <a:cxn ang="0">
                  <a:pos x="137" y="11"/>
                </a:cxn>
                <a:cxn ang="0">
                  <a:pos x="119" y="19"/>
                </a:cxn>
                <a:cxn ang="0">
                  <a:pos x="97" y="24"/>
                </a:cxn>
                <a:cxn ang="0">
                  <a:pos x="71" y="25"/>
                </a:cxn>
                <a:cxn ang="0">
                  <a:pos x="17" y="35"/>
                </a:cxn>
                <a:cxn ang="0">
                  <a:pos x="7" y="29"/>
                </a:cxn>
                <a:cxn ang="0">
                  <a:pos x="7" y="17"/>
                </a:cxn>
                <a:cxn ang="0">
                  <a:pos x="17" y="22"/>
                </a:cxn>
                <a:cxn ang="0">
                  <a:pos x="38" y="42"/>
                </a:cxn>
                <a:cxn ang="0">
                  <a:pos x="28" y="39"/>
                </a:cxn>
                <a:cxn ang="0">
                  <a:pos x="28" y="24"/>
                </a:cxn>
                <a:cxn ang="0">
                  <a:pos x="38" y="42"/>
                </a:cxn>
                <a:cxn ang="0">
                  <a:pos x="57" y="45"/>
                </a:cxn>
                <a:cxn ang="0">
                  <a:pos x="47" y="29"/>
                </a:cxn>
                <a:cxn ang="0">
                  <a:pos x="57" y="31"/>
                </a:cxn>
                <a:cxn ang="0">
                  <a:pos x="78" y="46"/>
                </a:cxn>
                <a:cxn ang="0">
                  <a:pos x="74" y="46"/>
                </a:cxn>
                <a:cxn ang="0">
                  <a:pos x="69" y="45"/>
                </a:cxn>
                <a:cxn ang="0">
                  <a:pos x="69" y="31"/>
                </a:cxn>
                <a:cxn ang="0">
                  <a:pos x="74" y="31"/>
                </a:cxn>
                <a:cxn ang="0">
                  <a:pos x="78" y="46"/>
                </a:cxn>
                <a:cxn ang="0">
                  <a:pos x="140" y="31"/>
                </a:cxn>
                <a:cxn ang="0">
                  <a:pos x="133" y="19"/>
                </a:cxn>
                <a:cxn ang="0">
                  <a:pos x="140" y="15"/>
                </a:cxn>
              </a:cxnLst>
              <a:rect l="0" t="0" r="r" b="b"/>
              <a:pathLst>
                <a:path w="150" h="49">
                  <a:moveTo>
                    <a:pt x="71" y="25"/>
                  </a:moveTo>
                  <a:lnTo>
                    <a:pt x="71" y="25"/>
                  </a:lnTo>
                  <a:lnTo>
                    <a:pt x="50" y="24"/>
                  </a:lnTo>
                  <a:lnTo>
                    <a:pt x="31" y="21"/>
                  </a:lnTo>
                  <a:lnTo>
                    <a:pt x="12" y="15"/>
                  </a:lnTo>
                  <a:lnTo>
                    <a:pt x="5" y="11"/>
                  </a:lnTo>
                  <a:lnTo>
                    <a:pt x="0" y="7"/>
                  </a:lnTo>
                  <a:lnTo>
                    <a:pt x="0" y="21"/>
                  </a:lnTo>
                  <a:lnTo>
                    <a:pt x="0" y="21"/>
                  </a:lnTo>
                  <a:lnTo>
                    <a:pt x="0" y="21"/>
                  </a:lnTo>
                  <a:lnTo>
                    <a:pt x="1" y="26"/>
                  </a:lnTo>
                  <a:lnTo>
                    <a:pt x="5" y="32"/>
                  </a:lnTo>
                  <a:lnTo>
                    <a:pt x="12" y="38"/>
                  </a:lnTo>
                  <a:lnTo>
                    <a:pt x="21" y="42"/>
                  </a:lnTo>
                  <a:lnTo>
                    <a:pt x="32" y="45"/>
                  </a:lnTo>
                  <a:lnTo>
                    <a:pt x="45" y="47"/>
                  </a:lnTo>
                  <a:lnTo>
                    <a:pt x="59" y="49"/>
                  </a:lnTo>
                  <a:lnTo>
                    <a:pt x="74" y="49"/>
                  </a:lnTo>
                  <a:lnTo>
                    <a:pt x="74" y="49"/>
                  </a:lnTo>
                  <a:lnTo>
                    <a:pt x="90" y="49"/>
                  </a:lnTo>
                  <a:lnTo>
                    <a:pt x="102" y="47"/>
                  </a:lnTo>
                  <a:lnTo>
                    <a:pt x="115" y="45"/>
                  </a:lnTo>
                  <a:lnTo>
                    <a:pt x="126" y="42"/>
                  </a:lnTo>
                  <a:lnTo>
                    <a:pt x="136" y="38"/>
                  </a:lnTo>
                  <a:lnTo>
                    <a:pt x="143" y="33"/>
                  </a:lnTo>
                  <a:lnTo>
                    <a:pt x="147" y="28"/>
                  </a:lnTo>
                  <a:lnTo>
                    <a:pt x="148" y="22"/>
                  </a:lnTo>
                  <a:lnTo>
                    <a:pt x="148" y="22"/>
                  </a:lnTo>
                  <a:lnTo>
                    <a:pt x="148" y="21"/>
                  </a:lnTo>
                  <a:lnTo>
                    <a:pt x="150" y="21"/>
                  </a:lnTo>
                  <a:lnTo>
                    <a:pt x="150" y="3"/>
                  </a:lnTo>
                  <a:lnTo>
                    <a:pt x="150" y="3"/>
                  </a:lnTo>
                  <a:lnTo>
                    <a:pt x="148" y="0"/>
                  </a:lnTo>
                  <a:lnTo>
                    <a:pt x="148" y="0"/>
                  </a:lnTo>
                  <a:lnTo>
                    <a:pt x="144" y="5"/>
                  </a:lnTo>
                  <a:lnTo>
                    <a:pt x="137" y="11"/>
                  </a:lnTo>
                  <a:lnTo>
                    <a:pt x="129" y="15"/>
                  </a:lnTo>
                  <a:lnTo>
                    <a:pt x="119" y="19"/>
                  </a:lnTo>
                  <a:lnTo>
                    <a:pt x="108" y="22"/>
                  </a:lnTo>
                  <a:lnTo>
                    <a:pt x="97" y="24"/>
                  </a:lnTo>
                  <a:lnTo>
                    <a:pt x="71" y="25"/>
                  </a:lnTo>
                  <a:lnTo>
                    <a:pt x="71" y="25"/>
                  </a:lnTo>
                  <a:close/>
                  <a:moveTo>
                    <a:pt x="17" y="35"/>
                  </a:moveTo>
                  <a:lnTo>
                    <a:pt x="17" y="35"/>
                  </a:lnTo>
                  <a:lnTo>
                    <a:pt x="11" y="32"/>
                  </a:lnTo>
                  <a:lnTo>
                    <a:pt x="7" y="29"/>
                  </a:lnTo>
                  <a:lnTo>
                    <a:pt x="7" y="17"/>
                  </a:lnTo>
                  <a:lnTo>
                    <a:pt x="7" y="17"/>
                  </a:lnTo>
                  <a:lnTo>
                    <a:pt x="10" y="19"/>
                  </a:lnTo>
                  <a:lnTo>
                    <a:pt x="17" y="22"/>
                  </a:lnTo>
                  <a:lnTo>
                    <a:pt x="17" y="35"/>
                  </a:lnTo>
                  <a:close/>
                  <a:moveTo>
                    <a:pt x="38" y="42"/>
                  </a:moveTo>
                  <a:lnTo>
                    <a:pt x="38" y="42"/>
                  </a:lnTo>
                  <a:lnTo>
                    <a:pt x="28" y="39"/>
                  </a:lnTo>
                  <a:lnTo>
                    <a:pt x="28" y="24"/>
                  </a:lnTo>
                  <a:lnTo>
                    <a:pt x="28" y="24"/>
                  </a:lnTo>
                  <a:lnTo>
                    <a:pt x="38" y="26"/>
                  </a:lnTo>
                  <a:lnTo>
                    <a:pt x="38" y="42"/>
                  </a:lnTo>
                  <a:close/>
                  <a:moveTo>
                    <a:pt x="57" y="45"/>
                  </a:moveTo>
                  <a:lnTo>
                    <a:pt x="57" y="45"/>
                  </a:lnTo>
                  <a:lnTo>
                    <a:pt x="47" y="43"/>
                  </a:lnTo>
                  <a:lnTo>
                    <a:pt x="47" y="29"/>
                  </a:lnTo>
                  <a:lnTo>
                    <a:pt x="47" y="29"/>
                  </a:lnTo>
                  <a:lnTo>
                    <a:pt x="57" y="31"/>
                  </a:lnTo>
                  <a:lnTo>
                    <a:pt x="57" y="45"/>
                  </a:lnTo>
                  <a:close/>
                  <a:moveTo>
                    <a:pt x="78" y="46"/>
                  </a:moveTo>
                  <a:lnTo>
                    <a:pt x="78" y="46"/>
                  </a:lnTo>
                  <a:lnTo>
                    <a:pt x="74" y="46"/>
                  </a:lnTo>
                  <a:lnTo>
                    <a:pt x="74" y="46"/>
                  </a:lnTo>
                  <a:lnTo>
                    <a:pt x="69" y="45"/>
                  </a:lnTo>
                  <a:lnTo>
                    <a:pt x="69" y="31"/>
                  </a:lnTo>
                  <a:lnTo>
                    <a:pt x="69" y="31"/>
                  </a:lnTo>
                  <a:lnTo>
                    <a:pt x="74" y="31"/>
                  </a:lnTo>
                  <a:lnTo>
                    <a:pt x="74" y="31"/>
                  </a:lnTo>
                  <a:lnTo>
                    <a:pt x="78" y="31"/>
                  </a:lnTo>
                  <a:lnTo>
                    <a:pt x="78" y="46"/>
                  </a:lnTo>
                  <a:close/>
                  <a:moveTo>
                    <a:pt x="140" y="31"/>
                  </a:moveTo>
                  <a:lnTo>
                    <a:pt x="140" y="31"/>
                  </a:lnTo>
                  <a:lnTo>
                    <a:pt x="133" y="35"/>
                  </a:lnTo>
                  <a:lnTo>
                    <a:pt x="133" y="19"/>
                  </a:lnTo>
                  <a:lnTo>
                    <a:pt x="133" y="19"/>
                  </a:lnTo>
                  <a:lnTo>
                    <a:pt x="140" y="15"/>
                  </a:lnTo>
                  <a:lnTo>
                    <a:pt x="140" y="3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36" name="Freeform 55">
              <a:extLst>
                <a:ext uri="{FF2B5EF4-FFF2-40B4-BE49-F238E27FC236}">
                  <a16:creationId xmlns:a16="http://schemas.microsoft.com/office/drawing/2014/main" id="{22EB8FCC-8FCC-4CEC-BDBB-98CDD1D0ACC4}"/>
                </a:ext>
              </a:extLst>
            </p:cNvPr>
            <p:cNvSpPr>
              <a:spLocks noEditPoints="1"/>
            </p:cNvSpPr>
            <p:nvPr/>
          </p:nvSpPr>
          <p:spPr bwMode="auto">
            <a:xfrm>
              <a:off x="5343525" y="3111500"/>
              <a:ext cx="238125" cy="77788"/>
            </a:xfrm>
            <a:custGeom>
              <a:avLst/>
              <a:gdLst/>
              <a:ahLst/>
              <a:cxnLst>
                <a:cxn ang="0">
                  <a:pos x="75" y="49"/>
                </a:cxn>
                <a:cxn ang="0">
                  <a:pos x="103" y="48"/>
                </a:cxn>
                <a:cxn ang="0">
                  <a:pos x="127" y="41"/>
                </a:cxn>
                <a:cxn ang="0">
                  <a:pos x="143" y="33"/>
                </a:cxn>
                <a:cxn ang="0">
                  <a:pos x="150" y="23"/>
                </a:cxn>
                <a:cxn ang="0">
                  <a:pos x="150" y="21"/>
                </a:cxn>
                <a:cxn ang="0">
                  <a:pos x="150" y="7"/>
                </a:cxn>
                <a:cxn ang="0">
                  <a:pos x="144" y="11"/>
                </a:cxn>
                <a:cxn ang="0">
                  <a:pos x="119" y="21"/>
                </a:cxn>
                <a:cxn ang="0">
                  <a:pos x="78" y="26"/>
                </a:cxn>
                <a:cxn ang="0">
                  <a:pos x="53" y="24"/>
                </a:cxn>
                <a:cxn ang="0">
                  <a:pos x="30" y="19"/>
                </a:cxn>
                <a:cxn ang="0">
                  <a:pos x="12" y="11"/>
                </a:cxn>
                <a:cxn ang="0">
                  <a:pos x="0" y="0"/>
                </a:cxn>
                <a:cxn ang="0">
                  <a:pos x="0" y="2"/>
                </a:cxn>
                <a:cxn ang="0">
                  <a:pos x="0" y="3"/>
                </a:cxn>
                <a:cxn ang="0">
                  <a:pos x="0" y="21"/>
                </a:cxn>
                <a:cxn ang="0">
                  <a:pos x="1" y="27"/>
                </a:cxn>
                <a:cxn ang="0">
                  <a:pos x="12" y="37"/>
                </a:cxn>
                <a:cxn ang="0">
                  <a:pos x="33" y="45"/>
                </a:cxn>
                <a:cxn ang="0">
                  <a:pos x="60" y="49"/>
                </a:cxn>
                <a:cxn ang="0">
                  <a:pos x="75" y="49"/>
                </a:cxn>
                <a:cxn ang="0">
                  <a:pos x="133" y="23"/>
                </a:cxn>
                <a:cxn ang="0">
                  <a:pos x="141" y="30"/>
                </a:cxn>
                <a:cxn ang="0">
                  <a:pos x="133" y="35"/>
                </a:cxn>
                <a:cxn ang="0">
                  <a:pos x="68" y="31"/>
                </a:cxn>
                <a:cxn ang="0">
                  <a:pos x="75" y="31"/>
                </a:cxn>
                <a:cxn ang="0">
                  <a:pos x="80" y="31"/>
                </a:cxn>
                <a:cxn ang="0">
                  <a:pos x="80" y="45"/>
                </a:cxn>
                <a:cxn ang="0">
                  <a:pos x="75" y="45"/>
                </a:cxn>
                <a:cxn ang="0">
                  <a:pos x="68" y="31"/>
                </a:cxn>
                <a:cxn ang="0">
                  <a:pos x="49" y="28"/>
                </a:cxn>
                <a:cxn ang="0">
                  <a:pos x="58" y="45"/>
                </a:cxn>
                <a:cxn ang="0">
                  <a:pos x="49" y="44"/>
                </a:cxn>
                <a:cxn ang="0">
                  <a:pos x="28" y="24"/>
                </a:cxn>
                <a:cxn ang="0">
                  <a:pos x="37" y="27"/>
                </a:cxn>
                <a:cxn ang="0">
                  <a:pos x="37" y="42"/>
                </a:cxn>
                <a:cxn ang="0">
                  <a:pos x="28" y="24"/>
                </a:cxn>
                <a:cxn ang="0">
                  <a:pos x="8" y="14"/>
                </a:cxn>
                <a:cxn ang="0">
                  <a:pos x="18" y="20"/>
                </a:cxn>
                <a:cxn ang="0">
                  <a:pos x="18" y="35"/>
                </a:cxn>
                <a:cxn ang="0">
                  <a:pos x="8" y="28"/>
                </a:cxn>
              </a:cxnLst>
              <a:rect l="0" t="0" r="r" b="b"/>
              <a:pathLst>
                <a:path w="150" h="49">
                  <a:moveTo>
                    <a:pt x="75" y="49"/>
                  </a:moveTo>
                  <a:lnTo>
                    <a:pt x="75" y="49"/>
                  </a:lnTo>
                  <a:lnTo>
                    <a:pt x="89" y="49"/>
                  </a:lnTo>
                  <a:lnTo>
                    <a:pt x="103" y="48"/>
                  </a:lnTo>
                  <a:lnTo>
                    <a:pt x="116" y="45"/>
                  </a:lnTo>
                  <a:lnTo>
                    <a:pt x="127" y="41"/>
                  </a:lnTo>
                  <a:lnTo>
                    <a:pt x="136" y="38"/>
                  </a:lnTo>
                  <a:lnTo>
                    <a:pt x="143" y="33"/>
                  </a:lnTo>
                  <a:lnTo>
                    <a:pt x="148" y="28"/>
                  </a:lnTo>
                  <a:lnTo>
                    <a:pt x="150" y="23"/>
                  </a:lnTo>
                  <a:lnTo>
                    <a:pt x="150" y="23"/>
                  </a:lnTo>
                  <a:lnTo>
                    <a:pt x="150" y="21"/>
                  </a:lnTo>
                  <a:lnTo>
                    <a:pt x="150" y="21"/>
                  </a:lnTo>
                  <a:lnTo>
                    <a:pt x="150" y="7"/>
                  </a:lnTo>
                  <a:lnTo>
                    <a:pt x="150" y="7"/>
                  </a:lnTo>
                  <a:lnTo>
                    <a:pt x="144" y="11"/>
                  </a:lnTo>
                  <a:lnTo>
                    <a:pt x="137" y="16"/>
                  </a:lnTo>
                  <a:lnTo>
                    <a:pt x="119" y="21"/>
                  </a:lnTo>
                  <a:lnTo>
                    <a:pt x="99" y="24"/>
                  </a:lnTo>
                  <a:lnTo>
                    <a:pt x="78" y="26"/>
                  </a:lnTo>
                  <a:lnTo>
                    <a:pt x="78" y="26"/>
                  </a:lnTo>
                  <a:lnTo>
                    <a:pt x="53" y="24"/>
                  </a:lnTo>
                  <a:lnTo>
                    <a:pt x="42" y="21"/>
                  </a:lnTo>
                  <a:lnTo>
                    <a:pt x="30" y="19"/>
                  </a:lnTo>
                  <a:lnTo>
                    <a:pt x="21" y="16"/>
                  </a:lnTo>
                  <a:lnTo>
                    <a:pt x="12" y="11"/>
                  </a:lnTo>
                  <a:lnTo>
                    <a:pt x="5" y="6"/>
                  </a:lnTo>
                  <a:lnTo>
                    <a:pt x="0" y="0"/>
                  </a:lnTo>
                  <a:lnTo>
                    <a:pt x="0" y="0"/>
                  </a:lnTo>
                  <a:lnTo>
                    <a:pt x="0" y="2"/>
                  </a:lnTo>
                  <a:lnTo>
                    <a:pt x="0" y="2"/>
                  </a:lnTo>
                  <a:lnTo>
                    <a:pt x="0" y="3"/>
                  </a:lnTo>
                  <a:lnTo>
                    <a:pt x="0" y="21"/>
                  </a:lnTo>
                  <a:lnTo>
                    <a:pt x="0" y="21"/>
                  </a:lnTo>
                  <a:lnTo>
                    <a:pt x="0" y="21"/>
                  </a:lnTo>
                  <a:lnTo>
                    <a:pt x="1" y="27"/>
                  </a:lnTo>
                  <a:lnTo>
                    <a:pt x="7" y="33"/>
                  </a:lnTo>
                  <a:lnTo>
                    <a:pt x="12" y="37"/>
                  </a:lnTo>
                  <a:lnTo>
                    <a:pt x="22" y="41"/>
                  </a:lnTo>
                  <a:lnTo>
                    <a:pt x="33" y="45"/>
                  </a:lnTo>
                  <a:lnTo>
                    <a:pt x="46" y="48"/>
                  </a:lnTo>
                  <a:lnTo>
                    <a:pt x="60" y="49"/>
                  </a:lnTo>
                  <a:lnTo>
                    <a:pt x="75" y="49"/>
                  </a:lnTo>
                  <a:lnTo>
                    <a:pt x="75" y="49"/>
                  </a:lnTo>
                  <a:close/>
                  <a:moveTo>
                    <a:pt x="133" y="23"/>
                  </a:moveTo>
                  <a:lnTo>
                    <a:pt x="133" y="23"/>
                  </a:lnTo>
                  <a:lnTo>
                    <a:pt x="141" y="19"/>
                  </a:lnTo>
                  <a:lnTo>
                    <a:pt x="141" y="30"/>
                  </a:lnTo>
                  <a:lnTo>
                    <a:pt x="141" y="30"/>
                  </a:lnTo>
                  <a:lnTo>
                    <a:pt x="133" y="35"/>
                  </a:lnTo>
                  <a:lnTo>
                    <a:pt x="133" y="23"/>
                  </a:lnTo>
                  <a:close/>
                  <a:moveTo>
                    <a:pt x="68" y="31"/>
                  </a:moveTo>
                  <a:lnTo>
                    <a:pt x="68" y="31"/>
                  </a:lnTo>
                  <a:lnTo>
                    <a:pt x="75" y="31"/>
                  </a:lnTo>
                  <a:lnTo>
                    <a:pt x="75" y="31"/>
                  </a:lnTo>
                  <a:lnTo>
                    <a:pt x="80" y="31"/>
                  </a:lnTo>
                  <a:lnTo>
                    <a:pt x="80" y="45"/>
                  </a:lnTo>
                  <a:lnTo>
                    <a:pt x="80" y="45"/>
                  </a:lnTo>
                  <a:lnTo>
                    <a:pt x="75" y="45"/>
                  </a:lnTo>
                  <a:lnTo>
                    <a:pt x="75" y="45"/>
                  </a:lnTo>
                  <a:lnTo>
                    <a:pt x="68" y="45"/>
                  </a:lnTo>
                  <a:lnTo>
                    <a:pt x="68" y="31"/>
                  </a:lnTo>
                  <a:close/>
                  <a:moveTo>
                    <a:pt x="49" y="28"/>
                  </a:moveTo>
                  <a:lnTo>
                    <a:pt x="49" y="28"/>
                  </a:lnTo>
                  <a:lnTo>
                    <a:pt x="58" y="30"/>
                  </a:lnTo>
                  <a:lnTo>
                    <a:pt x="58" y="45"/>
                  </a:lnTo>
                  <a:lnTo>
                    <a:pt x="58" y="45"/>
                  </a:lnTo>
                  <a:lnTo>
                    <a:pt x="49" y="44"/>
                  </a:lnTo>
                  <a:lnTo>
                    <a:pt x="49" y="28"/>
                  </a:lnTo>
                  <a:close/>
                  <a:moveTo>
                    <a:pt x="28" y="24"/>
                  </a:moveTo>
                  <a:lnTo>
                    <a:pt x="28" y="24"/>
                  </a:lnTo>
                  <a:lnTo>
                    <a:pt x="37" y="27"/>
                  </a:lnTo>
                  <a:lnTo>
                    <a:pt x="37" y="42"/>
                  </a:lnTo>
                  <a:lnTo>
                    <a:pt x="37" y="42"/>
                  </a:lnTo>
                  <a:lnTo>
                    <a:pt x="28" y="40"/>
                  </a:lnTo>
                  <a:lnTo>
                    <a:pt x="28" y="24"/>
                  </a:lnTo>
                  <a:close/>
                  <a:moveTo>
                    <a:pt x="8" y="14"/>
                  </a:moveTo>
                  <a:lnTo>
                    <a:pt x="8" y="14"/>
                  </a:lnTo>
                  <a:lnTo>
                    <a:pt x="12" y="17"/>
                  </a:lnTo>
                  <a:lnTo>
                    <a:pt x="18" y="20"/>
                  </a:lnTo>
                  <a:lnTo>
                    <a:pt x="18" y="35"/>
                  </a:lnTo>
                  <a:lnTo>
                    <a:pt x="18" y="35"/>
                  </a:lnTo>
                  <a:lnTo>
                    <a:pt x="11" y="33"/>
                  </a:lnTo>
                  <a:lnTo>
                    <a:pt x="8" y="28"/>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37" name="Freeform 56">
              <a:extLst>
                <a:ext uri="{FF2B5EF4-FFF2-40B4-BE49-F238E27FC236}">
                  <a16:creationId xmlns:a16="http://schemas.microsoft.com/office/drawing/2014/main" id="{A76BBA71-49B6-48ED-94F9-93EBEABA7CAE}"/>
                </a:ext>
              </a:extLst>
            </p:cNvPr>
            <p:cNvSpPr>
              <a:spLocks noEditPoints="1"/>
            </p:cNvSpPr>
            <p:nvPr/>
          </p:nvSpPr>
          <p:spPr bwMode="auto">
            <a:xfrm>
              <a:off x="5343525" y="3208338"/>
              <a:ext cx="238125" cy="77788"/>
            </a:xfrm>
            <a:custGeom>
              <a:avLst/>
              <a:gdLst/>
              <a:ahLst/>
              <a:cxnLst>
                <a:cxn ang="0">
                  <a:pos x="150" y="7"/>
                </a:cxn>
                <a:cxn ang="0">
                  <a:pos x="137" y="14"/>
                </a:cxn>
                <a:cxn ang="0">
                  <a:pos x="99" y="23"/>
                </a:cxn>
                <a:cxn ang="0">
                  <a:pos x="78" y="23"/>
                </a:cxn>
                <a:cxn ang="0">
                  <a:pos x="42" y="21"/>
                </a:cxn>
                <a:cxn ang="0">
                  <a:pos x="21" y="14"/>
                </a:cxn>
                <a:cxn ang="0">
                  <a:pos x="5" y="5"/>
                </a:cxn>
                <a:cxn ang="0">
                  <a:pos x="0" y="0"/>
                </a:cxn>
                <a:cxn ang="0">
                  <a:pos x="0" y="1"/>
                </a:cxn>
                <a:cxn ang="0">
                  <a:pos x="0" y="21"/>
                </a:cxn>
                <a:cxn ang="0">
                  <a:pos x="0" y="21"/>
                </a:cxn>
                <a:cxn ang="0">
                  <a:pos x="7" y="30"/>
                </a:cxn>
                <a:cxn ang="0">
                  <a:pos x="22" y="40"/>
                </a:cxn>
                <a:cxn ang="0">
                  <a:pos x="46" y="46"/>
                </a:cxn>
                <a:cxn ang="0">
                  <a:pos x="75" y="49"/>
                </a:cxn>
                <a:cxn ang="0">
                  <a:pos x="89" y="47"/>
                </a:cxn>
                <a:cxn ang="0">
                  <a:pos x="116" y="43"/>
                </a:cxn>
                <a:cxn ang="0">
                  <a:pos x="136" y="36"/>
                </a:cxn>
                <a:cxn ang="0">
                  <a:pos x="148" y="26"/>
                </a:cxn>
                <a:cxn ang="0">
                  <a:pos x="150" y="21"/>
                </a:cxn>
                <a:cxn ang="0">
                  <a:pos x="150" y="21"/>
                </a:cxn>
                <a:cxn ang="0">
                  <a:pos x="18" y="35"/>
                </a:cxn>
                <a:cxn ang="0">
                  <a:pos x="11" y="30"/>
                </a:cxn>
                <a:cxn ang="0">
                  <a:pos x="8" y="12"/>
                </a:cxn>
                <a:cxn ang="0">
                  <a:pos x="12" y="16"/>
                </a:cxn>
                <a:cxn ang="0">
                  <a:pos x="18" y="35"/>
                </a:cxn>
                <a:cxn ang="0">
                  <a:pos x="37" y="40"/>
                </a:cxn>
                <a:cxn ang="0">
                  <a:pos x="28" y="23"/>
                </a:cxn>
                <a:cxn ang="0">
                  <a:pos x="37" y="26"/>
                </a:cxn>
                <a:cxn ang="0">
                  <a:pos x="58" y="43"/>
                </a:cxn>
                <a:cxn ang="0">
                  <a:pos x="49" y="43"/>
                </a:cxn>
                <a:cxn ang="0">
                  <a:pos x="49" y="28"/>
                </a:cxn>
                <a:cxn ang="0">
                  <a:pos x="58" y="43"/>
                </a:cxn>
                <a:cxn ang="0">
                  <a:pos x="80" y="44"/>
                </a:cxn>
                <a:cxn ang="0">
                  <a:pos x="75" y="44"/>
                </a:cxn>
                <a:cxn ang="0">
                  <a:pos x="68" y="29"/>
                </a:cxn>
                <a:cxn ang="0">
                  <a:pos x="75" y="29"/>
                </a:cxn>
                <a:cxn ang="0">
                  <a:pos x="80" y="29"/>
                </a:cxn>
                <a:cxn ang="0">
                  <a:pos x="141" y="29"/>
                </a:cxn>
                <a:cxn ang="0">
                  <a:pos x="133" y="33"/>
                </a:cxn>
                <a:cxn ang="0">
                  <a:pos x="133" y="21"/>
                </a:cxn>
                <a:cxn ang="0">
                  <a:pos x="141" y="29"/>
                </a:cxn>
              </a:cxnLst>
              <a:rect l="0" t="0" r="r" b="b"/>
              <a:pathLst>
                <a:path w="150" h="49">
                  <a:moveTo>
                    <a:pt x="150" y="7"/>
                  </a:moveTo>
                  <a:lnTo>
                    <a:pt x="150" y="7"/>
                  </a:lnTo>
                  <a:lnTo>
                    <a:pt x="144" y="11"/>
                  </a:lnTo>
                  <a:lnTo>
                    <a:pt x="137" y="14"/>
                  </a:lnTo>
                  <a:lnTo>
                    <a:pt x="119" y="19"/>
                  </a:lnTo>
                  <a:lnTo>
                    <a:pt x="99" y="23"/>
                  </a:lnTo>
                  <a:lnTo>
                    <a:pt x="78" y="23"/>
                  </a:lnTo>
                  <a:lnTo>
                    <a:pt x="78" y="23"/>
                  </a:lnTo>
                  <a:lnTo>
                    <a:pt x="53" y="22"/>
                  </a:lnTo>
                  <a:lnTo>
                    <a:pt x="42" y="21"/>
                  </a:lnTo>
                  <a:lnTo>
                    <a:pt x="30" y="18"/>
                  </a:lnTo>
                  <a:lnTo>
                    <a:pt x="21" y="14"/>
                  </a:lnTo>
                  <a:lnTo>
                    <a:pt x="12" y="9"/>
                  </a:lnTo>
                  <a:lnTo>
                    <a:pt x="5" y="5"/>
                  </a:lnTo>
                  <a:lnTo>
                    <a:pt x="0" y="0"/>
                  </a:lnTo>
                  <a:lnTo>
                    <a:pt x="0" y="0"/>
                  </a:lnTo>
                  <a:lnTo>
                    <a:pt x="0" y="1"/>
                  </a:lnTo>
                  <a:lnTo>
                    <a:pt x="0" y="1"/>
                  </a:lnTo>
                  <a:lnTo>
                    <a:pt x="0" y="1"/>
                  </a:lnTo>
                  <a:lnTo>
                    <a:pt x="0" y="21"/>
                  </a:lnTo>
                  <a:lnTo>
                    <a:pt x="0" y="21"/>
                  </a:lnTo>
                  <a:lnTo>
                    <a:pt x="0" y="21"/>
                  </a:lnTo>
                  <a:lnTo>
                    <a:pt x="1" y="26"/>
                  </a:lnTo>
                  <a:lnTo>
                    <a:pt x="7" y="30"/>
                  </a:lnTo>
                  <a:lnTo>
                    <a:pt x="12" y="36"/>
                  </a:lnTo>
                  <a:lnTo>
                    <a:pt x="22" y="40"/>
                  </a:lnTo>
                  <a:lnTo>
                    <a:pt x="33" y="43"/>
                  </a:lnTo>
                  <a:lnTo>
                    <a:pt x="46" y="46"/>
                  </a:lnTo>
                  <a:lnTo>
                    <a:pt x="60" y="47"/>
                  </a:lnTo>
                  <a:lnTo>
                    <a:pt x="75" y="49"/>
                  </a:lnTo>
                  <a:lnTo>
                    <a:pt x="75" y="49"/>
                  </a:lnTo>
                  <a:lnTo>
                    <a:pt x="89" y="47"/>
                  </a:lnTo>
                  <a:lnTo>
                    <a:pt x="103" y="46"/>
                  </a:lnTo>
                  <a:lnTo>
                    <a:pt x="116" y="43"/>
                  </a:lnTo>
                  <a:lnTo>
                    <a:pt x="127" y="40"/>
                  </a:lnTo>
                  <a:lnTo>
                    <a:pt x="136" y="36"/>
                  </a:lnTo>
                  <a:lnTo>
                    <a:pt x="143" y="32"/>
                  </a:lnTo>
                  <a:lnTo>
                    <a:pt x="148" y="26"/>
                  </a:lnTo>
                  <a:lnTo>
                    <a:pt x="150" y="21"/>
                  </a:lnTo>
                  <a:lnTo>
                    <a:pt x="150" y="21"/>
                  </a:lnTo>
                  <a:lnTo>
                    <a:pt x="150" y="21"/>
                  </a:lnTo>
                  <a:lnTo>
                    <a:pt x="150" y="21"/>
                  </a:lnTo>
                  <a:lnTo>
                    <a:pt x="150" y="7"/>
                  </a:lnTo>
                  <a:close/>
                  <a:moveTo>
                    <a:pt x="18" y="35"/>
                  </a:moveTo>
                  <a:lnTo>
                    <a:pt x="18" y="35"/>
                  </a:lnTo>
                  <a:lnTo>
                    <a:pt x="11" y="30"/>
                  </a:lnTo>
                  <a:lnTo>
                    <a:pt x="8" y="28"/>
                  </a:lnTo>
                  <a:lnTo>
                    <a:pt x="8" y="12"/>
                  </a:lnTo>
                  <a:lnTo>
                    <a:pt x="8" y="12"/>
                  </a:lnTo>
                  <a:lnTo>
                    <a:pt x="12" y="16"/>
                  </a:lnTo>
                  <a:lnTo>
                    <a:pt x="18" y="19"/>
                  </a:lnTo>
                  <a:lnTo>
                    <a:pt x="18" y="35"/>
                  </a:lnTo>
                  <a:close/>
                  <a:moveTo>
                    <a:pt x="37" y="40"/>
                  </a:moveTo>
                  <a:lnTo>
                    <a:pt x="37" y="40"/>
                  </a:lnTo>
                  <a:lnTo>
                    <a:pt x="28" y="37"/>
                  </a:lnTo>
                  <a:lnTo>
                    <a:pt x="28" y="23"/>
                  </a:lnTo>
                  <a:lnTo>
                    <a:pt x="28" y="23"/>
                  </a:lnTo>
                  <a:lnTo>
                    <a:pt x="37" y="26"/>
                  </a:lnTo>
                  <a:lnTo>
                    <a:pt x="37" y="40"/>
                  </a:lnTo>
                  <a:close/>
                  <a:moveTo>
                    <a:pt x="58" y="43"/>
                  </a:moveTo>
                  <a:lnTo>
                    <a:pt x="58" y="43"/>
                  </a:lnTo>
                  <a:lnTo>
                    <a:pt x="49" y="43"/>
                  </a:lnTo>
                  <a:lnTo>
                    <a:pt x="49" y="28"/>
                  </a:lnTo>
                  <a:lnTo>
                    <a:pt x="49" y="28"/>
                  </a:lnTo>
                  <a:lnTo>
                    <a:pt x="58" y="29"/>
                  </a:lnTo>
                  <a:lnTo>
                    <a:pt x="58" y="43"/>
                  </a:lnTo>
                  <a:close/>
                  <a:moveTo>
                    <a:pt x="80" y="44"/>
                  </a:moveTo>
                  <a:lnTo>
                    <a:pt x="80" y="44"/>
                  </a:lnTo>
                  <a:lnTo>
                    <a:pt x="75" y="44"/>
                  </a:lnTo>
                  <a:lnTo>
                    <a:pt x="75" y="44"/>
                  </a:lnTo>
                  <a:lnTo>
                    <a:pt x="68" y="44"/>
                  </a:lnTo>
                  <a:lnTo>
                    <a:pt x="68" y="29"/>
                  </a:lnTo>
                  <a:lnTo>
                    <a:pt x="68" y="29"/>
                  </a:lnTo>
                  <a:lnTo>
                    <a:pt x="75" y="29"/>
                  </a:lnTo>
                  <a:lnTo>
                    <a:pt x="75" y="29"/>
                  </a:lnTo>
                  <a:lnTo>
                    <a:pt x="80" y="29"/>
                  </a:lnTo>
                  <a:lnTo>
                    <a:pt x="80" y="44"/>
                  </a:lnTo>
                  <a:close/>
                  <a:moveTo>
                    <a:pt x="141" y="29"/>
                  </a:moveTo>
                  <a:lnTo>
                    <a:pt x="141" y="29"/>
                  </a:lnTo>
                  <a:lnTo>
                    <a:pt x="133" y="33"/>
                  </a:lnTo>
                  <a:lnTo>
                    <a:pt x="133" y="21"/>
                  </a:lnTo>
                  <a:lnTo>
                    <a:pt x="133" y="21"/>
                  </a:lnTo>
                  <a:lnTo>
                    <a:pt x="141" y="18"/>
                  </a:lnTo>
                  <a:lnTo>
                    <a:pt x="141" y="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38" name="Freeform 57">
              <a:extLst>
                <a:ext uri="{FF2B5EF4-FFF2-40B4-BE49-F238E27FC236}">
                  <a16:creationId xmlns:a16="http://schemas.microsoft.com/office/drawing/2014/main" id="{6638D4D2-A78F-4083-8C9A-E5C6CD90E39B}"/>
                </a:ext>
              </a:extLst>
            </p:cNvPr>
            <p:cNvSpPr>
              <a:spLocks noEditPoints="1"/>
            </p:cNvSpPr>
            <p:nvPr/>
          </p:nvSpPr>
          <p:spPr bwMode="auto">
            <a:xfrm>
              <a:off x="5349875" y="3305175"/>
              <a:ext cx="238125" cy="77788"/>
            </a:xfrm>
            <a:custGeom>
              <a:avLst/>
              <a:gdLst/>
              <a:ahLst/>
              <a:cxnLst>
                <a:cxn ang="0">
                  <a:pos x="71" y="25"/>
                </a:cxn>
                <a:cxn ang="0">
                  <a:pos x="31" y="20"/>
                </a:cxn>
                <a:cxn ang="0">
                  <a:pos x="5" y="11"/>
                </a:cxn>
                <a:cxn ang="0">
                  <a:pos x="0" y="21"/>
                </a:cxn>
                <a:cxn ang="0">
                  <a:pos x="0" y="21"/>
                </a:cxn>
                <a:cxn ang="0">
                  <a:pos x="5" y="32"/>
                </a:cxn>
                <a:cxn ang="0">
                  <a:pos x="21" y="41"/>
                </a:cxn>
                <a:cxn ang="0">
                  <a:pos x="45" y="46"/>
                </a:cxn>
                <a:cxn ang="0">
                  <a:pos x="74" y="49"/>
                </a:cxn>
                <a:cxn ang="0">
                  <a:pos x="90" y="48"/>
                </a:cxn>
                <a:cxn ang="0">
                  <a:pos x="115" y="45"/>
                </a:cxn>
                <a:cxn ang="0">
                  <a:pos x="136" y="37"/>
                </a:cxn>
                <a:cxn ang="0">
                  <a:pos x="147" y="27"/>
                </a:cxn>
                <a:cxn ang="0">
                  <a:pos x="148" y="23"/>
                </a:cxn>
                <a:cxn ang="0">
                  <a:pos x="150" y="21"/>
                </a:cxn>
                <a:cxn ang="0">
                  <a:pos x="150" y="2"/>
                </a:cxn>
                <a:cxn ang="0">
                  <a:pos x="148" y="0"/>
                </a:cxn>
                <a:cxn ang="0">
                  <a:pos x="137" y="10"/>
                </a:cxn>
                <a:cxn ang="0">
                  <a:pos x="119" y="18"/>
                </a:cxn>
                <a:cxn ang="0">
                  <a:pos x="97" y="23"/>
                </a:cxn>
                <a:cxn ang="0">
                  <a:pos x="71" y="25"/>
                </a:cxn>
                <a:cxn ang="0">
                  <a:pos x="17" y="35"/>
                </a:cxn>
                <a:cxn ang="0">
                  <a:pos x="7" y="28"/>
                </a:cxn>
                <a:cxn ang="0">
                  <a:pos x="7" y="16"/>
                </a:cxn>
                <a:cxn ang="0">
                  <a:pos x="17" y="21"/>
                </a:cxn>
                <a:cxn ang="0">
                  <a:pos x="38" y="41"/>
                </a:cxn>
                <a:cxn ang="0">
                  <a:pos x="28" y="38"/>
                </a:cxn>
                <a:cxn ang="0">
                  <a:pos x="28" y="24"/>
                </a:cxn>
                <a:cxn ang="0">
                  <a:pos x="38" y="41"/>
                </a:cxn>
                <a:cxn ang="0">
                  <a:pos x="57" y="44"/>
                </a:cxn>
                <a:cxn ang="0">
                  <a:pos x="47" y="28"/>
                </a:cxn>
                <a:cxn ang="0">
                  <a:pos x="57" y="30"/>
                </a:cxn>
                <a:cxn ang="0">
                  <a:pos x="78" y="45"/>
                </a:cxn>
                <a:cxn ang="0">
                  <a:pos x="74" y="45"/>
                </a:cxn>
                <a:cxn ang="0">
                  <a:pos x="69" y="45"/>
                </a:cxn>
                <a:cxn ang="0">
                  <a:pos x="69" y="30"/>
                </a:cxn>
                <a:cxn ang="0">
                  <a:pos x="74" y="31"/>
                </a:cxn>
                <a:cxn ang="0">
                  <a:pos x="78" y="45"/>
                </a:cxn>
                <a:cxn ang="0">
                  <a:pos x="140" y="30"/>
                </a:cxn>
                <a:cxn ang="0">
                  <a:pos x="133" y="20"/>
                </a:cxn>
                <a:cxn ang="0">
                  <a:pos x="140" y="16"/>
                </a:cxn>
              </a:cxnLst>
              <a:rect l="0" t="0" r="r" b="b"/>
              <a:pathLst>
                <a:path w="150" h="49">
                  <a:moveTo>
                    <a:pt x="71" y="25"/>
                  </a:moveTo>
                  <a:lnTo>
                    <a:pt x="71" y="25"/>
                  </a:lnTo>
                  <a:lnTo>
                    <a:pt x="50" y="24"/>
                  </a:lnTo>
                  <a:lnTo>
                    <a:pt x="31" y="20"/>
                  </a:lnTo>
                  <a:lnTo>
                    <a:pt x="12" y="14"/>
                  </a:lnTo>
                  <a:lnTo>
                    <a:pt x="5" y="11"/>
                  </a:lnTo>
                  <a:lnTo>
                    <a:pt x="0" y="7"/>
                  </a:lnTo>
                  <a:lnTo>
                    <a:pt x="0" y="21"/>
                  </a:lnTo>
                  <a:lnTo>
                    <a:pt x="0" y="21"/>
                  </a:lnTo>
                  <a:lnTo>
                    <a:pt x="0" y="21"/>
                  </a:lnTo>
                  <a:lnTo>
                    <a:pt x="1" y="27"/>
                  </a:lnTo>
                  <a:lnTo>
                    <a:pt x="5" y="32"/>
                  </a:lnTo>
                  <a:lnTo>
                    <a:pt x="12" y="37"/>
                  </a:lnTo>
                  <a:lnTo>
                    <a:pt x="21" y="41"/>
                  </a:lnTo>
                  <a:lnTo>
                    <a:pt x="32" y="44"/>
                  </a:lnTo>
                  <a:lnTo>
                    <a:pt x="45" y="46"/>
                  </a:lnTo>
                  <a:lnTo>
                    <a:pt x="59" y="48"/>
                  </a:lnTo>
                  <a:lnTo>
                    <a:pt x="74" y="49"/>
                  </a:lnTo>
                  <a:lnTo>
                    <a:pt x="74" y="49"/>
                  </a:lnTo>
                  <a:lnTo>
                    <a:pt x="90" y="48"/>
                  </a:lnTo>
                  <a:lnTo>
                    <a:pt x="102" y="46"/>
                  </a:lnTo>
                  <a:lnTo>
                    <a:pt x="115" y="45"/>
                  </a:lnTo>
                  <a:lnTo>
                    <a:pt x="126" y="41"/>
                  </a:lnTo>
                  <a:lnTo>
                    <a:pt x="136" y="37"/>
                  </a:lnTo>
                  <a:lnTo>
                    <a:pt x="143" y="32"/>
                  </a:lnTo>
                  <a:lnTo>
                    <a:pt x="147" y="27"/>
                  </a:lnTo>
                  <a:lnTo>
                    <a:pt x="148" y="23"/>
                  </a:lnTo>
                  <a:lnTo>
                    <a:pt x="148" y="23"/>
                  </a:lnTo>
                  <a:lnTo>
                    <a:pt x="148" y="21"/>
                  </a:lnTo>
                  <a:lnTo>
                    <a:pt x="150" y="21"/>
                  </a:lnTo>
                  <a:lnTo>
                    <a:pt x="150" y="2"/>
                  </a:lnTo>
                  <a:lnTo>
                    <a:pt x="150" y="2"/>
                  </a:lnTo>
                  <a:lnTo>
                    <a:pt x="148" y="0"/>
                  </a:lnTo>
                  <a:lnTo>
                    <a:pt x="148" y="0"/>
                  </a:lnTo>
                  <a:lnTo>
                    <a:pt x="144" y="6"/>
                  </a:lnTo>
                  <a:lnTo>
                    <a:pt x="137" y="10"/>
                  </a:lnTo>
                  <a:lnTo>
                    <a:pt x="129" y="14"/>
                  </a:lnTo>
                  <a:lnTo>
                    <a:pt x="119" y="18"/>
                  </a:lnTo>
                  <a:lnTo>
                    <a:pt x="108" y="21"/>
                  </a:lnTo>
                  <a:lnTo>
                    <a:pt x="97" y="23"/>
                  </a:lnTo>
                  <a:lnTo>
                    <a:pt x="71" y="25"/>
                  </a:lnTo>
                  <a:lnTo>
                    <a:pt x="71" y="25"/>
                  </a:lnTo>
                  <a:close/>
                  <a:moveTo>
                    <a:pt x="17" y="35"/>
                  </a:moveTo>
                  <a:lnTo>
                    <a:pt x="17" y="35"/>
                  </a:lnTo>
                  <a:lnTo>
                    <a:pt x="11" y="31"/>
                  </a:lnTo>
                  <a:lnTo>
                    <a:pt x="7" y="28"/>
                  </a:lnTo>
                  <a:lnTo>
                    <a:pt x="7" y="16"/>
                  </a:lnTo>
                  <a:lnTo>
                    <a:pt x="7" y="16"/>
                  </a:lnTo>
                  <a:lnTo>
                    <a:pt x="10" y="18"/>
                  </a:lnTo>
                  <a:lnTo>
                    <a:pt x="17" y="21"/>
                  </a:lnTo>
                  <a:lnTo>
                    <a:pt x="17" y="35"/>
                  </a:lnTo>
                  <a:close/>
                  <a:moveTo>
                    <a:pt x="38" y="41"/>
                  </a:moveTo>
                  <a:lnTo>
                    <a:pt x="38" y="41"/>
                  </a:lnTo>
                  <a:lnTo>
                    <a:pt x="28" y="38"/>
                  </a:lnTo>
                  <a:lnTo>
                    <a:pt x="28" y="24"/>
                  </a:lnTo>
                  <a:lnTo>
                    <a:pt x="28" y="24"/>
                  </a:lnTo>
                  <a:lnTo>
                    <a:pt x="38" y="27"/>
                  </a:lnTo>
                  <a:lnTo>
                    <a:pt x="38" y="41"/>
                  </a:lnTo>
                  <a:close/>
                  <a:moveTo>
                    <a:pt x="57" y="44"/>
                  </a:moveTo>
                  <a:lnTo>
                    <a:pt x="57" y="44"/>
                  </a:lnTo>
                  <a:lnTo>
                    <a:pt x="47" y="44"/>
                  </a:lnTo>
                  <a:lnTo>
                    <a:pt x="47" y="28"/>
                  </a:lnTo>
                  <a:lnTo>
                    <a:pt x="47" y="28"/>
                  </a:lnTo>
                  <a:lnTo>
                    <a:pt x="57" y="30"/>
                  </a:lnTo>
                  <a:lnTo>
                    <a:pt x="57" y="44"/>
                  </a:lnTo>
                  <a:close/>
                  <a:moveTo>
                    <a:pt x="78" y="45"/>
                  </a:moveTo>
                  <a:lnTo>
                    <a:pt x="78" y="45"/>
                  </a:lnTo>
                  <a:lnTo>
                    <a:pt x="74" y="45"/>
                  </a:lnTo>
                  <a:lnTo>
                    <a:pt x="74" y="45"/>
                  </a:lnTo>
                  <a:lnTo>
                    <a:pt x="69" y="45"/>
                  </a:lnTo>
                  <a:lnTo>
                    <a:pt x="69" y="30"/>
                  </a:lnTo>
                  <a:lnTo>
                    <a:pt x="69" y="30"/>
                  </a:lnTo>
                  <a:lnTo>
                    <a:pt x="74" y="31"/>
                  </a:lnTo>
                  <a:lnTo>
                    <a:pt x="74" y="31"/>
                  </a:lnTo>
                  <a:lnTo>
                    <a:pt x="78" y="31"/>
                  </a:lnTo>
                  <a:lnTo>
                    <a:pt x="78" y="45"/>
                  </a:lnTo>
                  <a:close/>
                  <a:moveTo>
                    <a:pt x="140" y="30"/>
                  </a:moveTo>
                  <a:lnTo>
                    <a:pt x="140" y="30"/>
                  </a:lnTo>
                  <a:lnTo>
                    <a:pt x="133" y="35"/>
                  </a:lnTo>
                  <a:lnTo>
                    <a:pt x="133" y="20"/>
                  </a:lnTo>
                  <a:lnTo>
                    <a:pt x="133" y="20"/>
                  </a:lnTo>
                  <a:lnTo>
                    <a:pt x="140" y="16"/>
                  </a:lnTo>
                  <a:lnTo>
                    <a:pt x="140" y="3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39" name="Freeform 58">
              <a:extLst>
                <a:ext uri="{FF2B5EF4-FFF2-40B4-BE49-F238E27FC236}">
                  <a16:creationId xmlns:a16="http://schemas.microsoft.com/office/drawing/2014/main" id="{24C4119B-C7F0-425F-8F01-D5D04AC62835}"/>
                </a:ext>
              </a:extLst>
            </p:cNvPr>
            <p:cNvSpPr>
              <a:spLocks noEditPoints="1"/>
            </p:cNvSpPr>
            <p:nvPr/>
          </p:nvSpPr>
          <p:spPr bwMode="auto">
            <a:xfrm>
              <a:off x="5343525" y="3255963"/>
              <a:ext cx="238125" cy="77788"/>
            </a:xfrm>
            <a:custGeom>
              <a:avLst/>
              <a:gdLst/>
              <a:ahLst/>
              <a:cxnLst>
                <a:cxn ang="0">
                  <a:pos x="0" y="21"/>
                </a:cxn>
                <a:cxn ang="0">
                  <a:pos x="7" y="33"/>
                </a:cxn>
                <a:cxn ang="0">
                  <a:pos x="22" y="42"/>
                </a:cxn>
                <a:cxn ang="0">
                  <a:pos x="46" y="48"/>
                </a:cxn>
                <a:cxn ang="0">
                  <a:pos x="75" y="49"/>
                </a:cxn>
                <a:cxn ang="0">
                  <a:pos x="89" y="49"/>
                </a:cxn>
                <a:cxn ang="0">
                  <a:pos x="116" y="45"/>
                </a:cxn>
                <a:cxn ang="0">
                  <a:pos x="136" y="38"/>
                </a:cxn>
                <a:cxn ang="0">
                  <a:pos x="148" y="28"/>
                </a:cxn>
                <a:cxn ang="0">
                  <a:pos x="150" y="23"/>
                </a:cxn>
                <a:cxn ang="0">
                  <a:pos x="150" y="21"/>
                </a:cxn>
                <a:cxn ang="0">
                  <a:pos x="150" y="9"/>
                </a:cxn>
                <a:cxn ang="0">
                  <a:pos x="137" y="16"/>
                </a:cxn>
                <a:cxn ang="0">
                  <a:pos x="99" y="24"/>
                </a:cxn>
                <a:cxn ang="0">
                  <a:pos x="78" y="26"/>
                </a:cxn>
                <a:cxn ang="0">
                  <a:pos x="42" y="23"/>
                </a:cxn>
                <a:cxn ang="0">
                  <a:pos x="21" y="16"/>
                </a:cxn>
                <a:cxn ang="0">
                  <a:pos x="5" y="6"/>
                </a:cxn>
                <a:cxn ang="0">
                  <a:pos x="0" y="0"/>
                </a:cxn>
                <a:cxn ang="0">
                  <a:pos x="0" y="3"/>
                </a:cxn>
                <a:cxn ang="0">
                  <a:pos x="0" y="21"/>
                </a:cxn>
                <a:cxn ang="0">
                  <a:pos x="133" y="23"/>
                </a:cxn>
                <a:cxn ang="0">
                  <a:pos x="141" y="20"/>
                </a:cxn>
                <a:cxn ang="0">
                  <a:pos x="141" y="31"/>
                </a:cxn>
                <a:cxn ang="0">
                  <a:pos x="133" y="23"/>
                </a:cxn>
                <a:cxn ang="0">
                  <a:pos x="68" y="31"/>
                </a:cxn>
                <a:cxn ang="0">
                  <a:pos x="75" y="31"/>
                </a:cxn>
                <a:cxn ang="0">
                  <a:pos x="80" y="47"/>
                </a:cxn>
                <a:cxn ang="0">
                  <a:pos x="75" y="47"/>
                </a:cxn>
                <a:cxn ang="0">
                  <a:pos x="68" y="47"/>
                </a:cxn>
                <a:cxn ang="0">
                  <a:pos x="49" y="30"/>
                </a:cxn>
                <a:cxn ang="0">
                  <a:pos x="58" y="31"/>
                </a:cxn>
                <a:cxn ang="0">
                  <a:pos x="58" y="45"/>
                </a:cxn>
                <a:cxn ang="0">
                  <a:pos x="49" y="30"/>
                </a:cxn>
                <a:cxn ang="0">
                  <a:pos x="28" y="26"/>
                </a:cxn>
                <a:cxn ang="0">
                  <a:pos x="37" y="42"/>
                </a:cxn>
                <a:cxn ang="0">
                  <a:pos x="28" y="40"/>
                </a:cxn>
                <a:cxn ang="0">
                  <a:pos x="8" y="14"/>
                </a:cxn>
                <a:cxn ang="0">
                  <a:pos x="12" y="17"/>
                </a:cxn>
                <a:cxn ang="0">
                  <a:pos x="18" y="35"/>
                </a:cxn>
                <a:cxn ang="0">
                  <a:pos x="11" y="33"/>
                </a:cxn>
                <a:cxn ang="0">
                  <a:pos x="8" y="14"/>
                </a:cxn>
              </a:cxnLst>
              <a:rect l="0" t="0" r="r" b="b"/>
              <a:pathLst>
                <a:path w="150" h="49">
                  <a:moveTo>
                    <a:pt x="0" y="21"/>
                  </a:moveTo>
                  <a:lnTo>
                    <a:pt x="0" y="21"/>
                  </a:lnTo>
                  <a:lnTo>
                    <a:pt x="1" y="27"/>
                  </a:lnTo>
                  <a:lnTo>
                    <a:pt x="7" y="33"/>
                  </a:lnTo>
                  <a:lnTo>
                    <a:pt x="12" y="38"/>
                  </a:lnTo>
                  <a:lnTo>
                    <a:pt x="22" y="42"/>
                  </a:lnTo>
                  <a:lnTo>
                    <a:pt x="33" y="45"/>
                  </a:lnTo>
                  <a:lnTo>
                    <a:pt x="46" y="48"/>
                  </a:lnTo>
                  <a:lnTo>
                    <a:pt x="60" y="49"/>
                  </a:lnTo>
                  <a:lnTo>
                    <a:pt x="75" y="49"/>
                  </a:lnTo>
                  <a:lnTo>
                    <a:pt x="75" y="49"/>
                  </a:lnTo>
                  <a:lnTo>
                    <a:pt x="89" y="49"/>
                  </a:lnTo>
                  <a:lnTo>
                    <a:pt x="103" y="48"/>
                  </a:lnTo>
                  <a:lnTo>
                    <a:pt x="116" y="45"/>
                  </a:lnTo>
                  <a:lnTo>
                    <a:pt x="127" y="42"/>
                  </a:lnTo>
                  <a:lnTo>
                    <a:pt x="136" y="38"/>
                  </a:lnTo>
                  <a:lnTo>
                    <a:pt x="143" y="34"/>
                  </a:lnTo>
                  <a:lnTo>
                    <a:pt x="148" y="28"/>
                  </a:lnTo>
                  <a:lnTo>
                    <a:pt x="150" y="23"/>
                  </a:lnTo>
                  <a:lnTo>
                    <a:pt x="150" y="23"/>
                  </a:lnTo>
                  <a:lnTo>
                    <a:pt x="150" y="21"/>
                  </a:lnTo>
                  <a:lnTo>
                    <a:pt x="150" y="21"/>
                  </a:lnTo>
                  <a:lnTo>
                    <a:pt x="150" y="9"/>
                  </a:lnTo>
                  <a:lnTo>
                    <a:pt x="150" y="9"/>
                  </a:lnTo>
                  <a:lnTo>
                    <a:pt x="144" y="13"/>
                  </a:lnTo>
                  <a:lnTo>
                    <a:pt x="137" y="16"/>
                  </a:lnTo>
                  <a:lnTo>
                    <a:pt x="119" y="21"/>
                  </a:lnTo>
                  <a:lnTo>
                    <a:pt x="99" y="24"/>
                  </a:lnTo>
                  <a:lnTo>
                    <a:pt x="78" y="26"/>
                  </a:lnTo>
                  <a:lnTo>
                    <a:pt x="78" y="26"/>
                  </a:lnTo>
                  <a:lnTo>
                    <a:pt x="53" y="24"/>
                  </a:lnTo>
                  <a:lnTo>
                    <a:pt x="42" y="23"/>
                  </a:lnTo>
                  <a:lnTo>
                    <a:pt x="30" y="20"/>
                  </a:lnTo>
                  <a:lnTo>
                    <a:pt x="21" y="16"/>
                  </a:lnTo>
                  <a:lnTo>
                    <a:pt x="12" y="12"/>
                  </a:lnTo>
                  <a:lnTo>
                    <a:pt x="5" y="6"/>
                  </a:lnTo>
                  <a:lnTo>
                    <a:pt x="0" y="0"/>
                  </a:lnTo>
                  <a:lnTo>
                    <a:pt x="0" y="0"/>
                  </a:lnTo>
                  <a:lnTo>
                    <a:pt x="0" y="3"/>
                  </a:lnTo>
                  <a:lnTo>
                    <a:pt x="0" y="3"/>
                  </a:lnTo>
                  <a:lnTo>
                    <a:pt x="0" y="3"/>
                  </a:lnTo>
                  <a:lnTo>
                    <a:pt x="0" y="21"/>
                  </a:lnTo>
                  <a:lnTo>
                    <a:pt x="0" y="21"/>
                  </a:lnTo>
                  <a:close/>
                  <a:moveTo>
                    <a:pt x="133" y="23"/>
                  </a:moveTo>
                  <a:lnTo>
                    <a:pt x="133" y="23"/>
                  </a:lnTo>
                  <a:lnTo>
                    <a:pt x="141" y="20"/>
                  </a:lnTo>
                  <a:lnTo>
                    <a:pt x="141" y="31"/>
                  </a:lnTo>
                  <a:lnTo>
                    <a:pt x="141" y="31"/>
                  </a:lnTo>
                  <a:lnTo>
                    <a:pt x="133" y="35"/>
                  </a:lnTo>
                  <a:lnTo>
                    <a:pt x="133" y="23"/>
                  </a:lnTo>
                  <a:close/>
                  <a:moveTo>
                    <a:pt x="68" y="31"/>
                  </a:moveTo>
                  <a:lnTo>
                    <a:pt x="68" y="31"/>
                  </a:lnTo>
                  <a:lnTo>
                    <a:pt x="75" y="31"/>
                  </a:lnTo>
                  <a:lnTo>
                    <a:pt x="75" y="31"/>
                  </a:lnTo>
                  <a:lnTo>
                    <a:pt x="80" y="31"/>
                  </a:lnTo>
                  <a:lnTo>
                    <a:pt x="80" y="47"/>
                  </a:lnTo>
                  <a:lnTo>
                    <a:pt x="80" y="47"/>
                  </a:lnTo>
                  <a:lnTo>
                    <a:pt x="75" y="47"/>
                  </a:lnTo>
                  <a:lnTo>
                    <a:pt x="75" y="47"/>
                  </a:lnTo>
                  <a:lnTo>
                    <a:pt x="68" y="47"/>
                  </a:lnTo>
                  <a:lnTo>
                    <a:pt x="68" y="31"/>
                  </a:lnTo>
                  <a:close/>
                  <a:moveTo>
                    <a:pt x="49" y="30"/>
                  </a:moveTo>
                  <a:lnTo>
                    <a:pt x="49" y="30"/>
                  </a:lnTo>
                  <a:lnTo>
                    <a:pt x="58" y="31"/>
                  </a:lnTo>
                  <a:lnTo>
                    <a:pt x="58" y="45"/>
                  </a:lnTo>
                  <a:lnTo>
                    <a:pt x="58" y="45"/>
                  </a:lnTo>
                  <a:lnTo>
                    <a:pt x="49" y="44"/>
                  </a:lnTo>
                  <a:lnTo>
                    <a:pt x="49" y="30"/>
                  </a:lnTo>
                  <a:close/>
                  <a:moveTo>
                    <a:pt x="28" y="26"/>
                  </a:moveTo>
                  <a:lnTo>
                    <a:pt x="28" y="26"/>
                  </a:lnTo>
                  <a:lnTo>
                    <a:pt x="37" y="27"/>
                  </a:lnTo>
                  <a:lnTo>
                    <a:pt x="37" y="42"/>
                  </a:lnTo>
                  <a:lnTo>
                    <a:pt x="37" y="42"/>
                  </a:lnTo>
                  <a:lnTo>
                    <a:pt x="28" y="40"/>
                  </a:lnTo>
                  <a:lnTo>
                    <a:pt x="28" y="26"/>
                  </a:lnTo>
                  <a:close/>
                  <a:moveTo>
                    <a:pt x="8" y="14"/>
                  </a:moveTo>
                  <a:lnTo>
                    <a:pt x="8" y="14"/>
                  </a:lnTo>
                  <a:lnTo>
                    <a:pt x="12" y="17"/>
                  </a:lnTo>
                  <a:lnTo>
                    <a:pt x="18" y="21"/>
                  </a:lnTo>
                  <a:lnTo>
                    <a:pt x="18" y="35"/>
                  </a:lnTo>
                  <a:lnTo>
                    <a:pt x="18" y="35"/>
                  </a:lnTo>
                  <a:lnTo>
                    <a:pt x="11" y="33"/>
                  </a:lnTo>
                  <a:lnTo>
                    <a:pt x="8" y="30"/>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0" name="Freeform 59">
              <a:extLst>
                <a:ext uri="{FF2B5EF4-FFF2-40B4-BE49-F238E27FC236}">
                  <a16:creationId xmlns:a16="http://schemas.microsoft.com/office/drawing/2014/main" id="{ACEE6D7D-6296-4D6F-9FAA-C7E100846246}"/>
                </a:ext>
              </a:extLst>
            </p:cNvPr>
            <p:cNvSpPr>
              <a:spLocks noEditPoints="1"/>
            </p:cNvSpPr>
            <p:nvPr/>
          </p:nvSpPr>
          <p:spPr bwMode="auto">
            <a:xfrm>
              <a:off x="5343525" y="3352800"/>
              <a:ext cx="238125" cy="77788"/>
            </a:xfrm>
            <a:custGeom>
              <a:avLst/>
              <a:gdLst/>
              <a:ahLst/>
              <a:cxnLst>
                <a:cxn ang="0">
                  <a:pos x="0" y="0"/>
                </a:cxn>
                <a:cxn ang="0">
                  <a:pos x="0" y="1"/>
                </a:cxn>
                <a:cxn ang="0">
                  <a:pos x="0" y="21"/>
                </a:cxn>
                <a:cxn ang="0">
                  <a:pos x="0" y="21"/>
                </a:cxn>
                <a:cxn ang="0">
                  <a:pos x="7" y="32"/>
                </a:cxn>
                <a:cxn ang="0">
                  <a:pos x="22" y="40"/>
                </a:cxn>
                <a:cxn ang="0">
                  <a:pos x="46" y="47"/>
                </a:cxn>
                <a:cxn ang="0">
                  <a:pos x="75" y="49"/>
                </a:cxn>
                <a:cxn ang="0">
                  <a:pos x="89" y="49"/>
                </a:cxn>
                <a:cxn ang="0">
                  <a:pos x="116" y="44"/>
                </a:cxn>
                <a:cxn ang="0">
                  <a:pos x="136" y="37"/>
                </a:cxn>
                <a:cxn ang="0">
                  <a:pos x="148" y="28"/>
                </a:cxn>
                <a:cxn ang="0">
                  <a:pos x="150" y="22"/>
                </a:cxn>
                <a:cxn ang="0">
                  <a:pos x="150" y="21"/>
                </a:cxn>
                <a:cxn ang="0">
                  <a:pos x="150" y="7"/>
                </a:cxn>
                <a:cxn ang="0">
                  <a:pos x="137" y="15"/>
                </a:cxn>
                <a:cxn ang="0">
                  <a:pos x="99" y="23"/>
                </a:cxn>
                <a:cxn ang="0">
                  <a:pos x="78" y="25"/>
                </a:cxn>
                <a:cxn ang="0">
                  <a:pos x="42" y="21"/>
                </a:cxn>
                <a:cxn ang="0">
                  <a:pos x="21" y="15"/>
                </a:cxn>
                <a:cxn ang="0">
                  <a:pos x="5" y="5"/>
                </a:cxn>
                <a:cxn ang="0">
                  <a:pos x="0" y="0"/>
                </a:cxn>
                <a:cxn ang="0">
                  <a:pos x="18" y="35"/>
                </a:cxn>
                <a:cxn ang="0">
                  <a:pos x="8" y="28"/>
                </a:cxn>
                <a:cxn ang="0">
                  <a:pos x="8" y="14"/>
                </a:cxn>
                <a:cxn ang="0">
                  <a:pos x="18" y="19"/>
                </a:cxn>
                <a:cxn ang="0">
                  <a:pos x="37" y="42"/>
                </a:cxn>
                <a:cxn ang="0">
                  <a:pos x="28" y="39"/>
                </a:cxn>
                <a:cxn ang="0">
                  <a:pos x="28" y="23"/>
                </a:cxn>
                <a:cxn ang="0">
                  <a:pos x="37" y="42"/>
                </a:cxn>
                <a:cxn ang="0">
                  <a:pos x="58" y="44"/>
                </a:cxn>
                <a:cxn ang="0">
                  <a:pos x="49" y="28"/>
                </a:cxn>
                <a:cxn ang="0">
                  <a:pos x="58" y="29"/>
                </a:cxn>
                <a:cxn ang="0">
                  <a:pos x="133" y="22"/>
                </a:cxn>
                <a:cxn ang="0">
                  <a:pos x="141" y="18"/>
                </a:cxn>
                <a:cxn ang="0">
                  <a:pos x="141" y="29"/>
                </a:cxn>
                <a:cxn ang="0">
                  <a:pos x="133" y="22"/>
                </a:cxn>
                <a:cxn ang="0">
                  <a:pos x="80" y="44"/>
                </a:cxn>
                <a:cxn ang="0">
                  <a:pos x="75" y="44"/>
                </a:cxn>
                <a:cxn ang="0">
                  <a:pos x="68" y="30"/>
                </a:cxn>
                <a:cxn ang="0">
                  <a:pos x="75" y="30"/>
                </a:cxn>
                <a:cxn ang="0">
                  <a:pos x="80" y="30"/>
                </a:cxn>
              </a:cxnLst>
              <a:rect l="0" t="0" r="r" b="b"/>
              <a:pathLst>
                <a:path w="150" h="49">
                  <a:moveTo>
                    <a:pt x="0" y="0"/>
                  </a:moveTo>
                  <a:lnTo>
                    <a:pt x="0" y="0"/>
                  </a:lnTo>
                  <a:lnTo>
                    <a:pt x="0" y="1"/>
                  </a:lnTo>
                  <a:lnTo>
                    <a:pt x="0" y="1"/>
                  </a:lnTo>
                  <a:lnTo>
                    <a:pt x="0" y="2"/>
                  </a:lnTo>
                  <a:lnTo>
                    <a:pt x="0" y="21"/>
                  </a:lnTo>
                  <a:lnTo>
                    <a:pt x="0" y="21"/>
                  </a:lnTo>
                  <a:lnTo>
                    <a:pt x="0" y="21"/>
                  </a:lnTo>
                  <a:lnTo>
                    <a:pt x="1" y="26"/>
                  </a:lnTo>
                  <a:lnTo>
                    <a:pt x="7" y="32"/>
                  </a:lnTo>
                  <a:lnTo>
                    <a:pt x="12" y="36"/>
                  </a:lnTo>
                  <a:lnTo>
                    <a:pt x="22" y="40"/>
                  </a:lnTo>
                  <a:lnTo>
                    <a:pt x="33" y="44"/>
                  </a:lnTo>
                  <a:lnTo>
                    <a:pt x="46" y="47"/>
                  </a:lnTo>
                  <a:lnTo>
                    <a:pt x="60" y="49"/>
                  </a:lnTo>
                  <a:lnTo>
                    <a:pt x="75" y="49"/>
                  </a:lnTo>
                  <a:lnTo>
                    <a:pt x="75" y="49"/>
                  </a:lnTo>
                  <a:lnTo>
                    <a:pt x="89" y="49"/>
                  </a:lnTo>
                  <a:lnTo>
                    <a:pt x="103" y="47"/>
                  </a:lnTo>
                  <a:lnTo>
                    <a:pt x="116" y="44"/>
                  </a:lnTo>
                  <a:lnTo>
                    <a:pt x="127" y="42"/>
                  </a:lnTo>
                  <a:lnTo>
                    <a:pt x="136" y="37"/>
                  </a:lnTo>
                  <a:lnTo>
                    <a:pt x="143" y="32"/>
                  </a:lnTo>
                  <a:lnTo>
                    <a:pt x="148" y="28"/>
                  </a:lnTo>
                  <a:lnTo>
                    <a:pt x="150" y="22"/>
                  </a:lnTo>
                  <a:lnTo>
                    <a:pt x="150" y="22"/>
                  </a:lnTo>
                  <a:lnTo>
                    <a:pt x="150" y="21"/>
                  </a:lnTo>
                  <a:lnTo>
                    <a:pt x="150" y="21"/>
                  </a:lnTo>
                  <a:lnTo>
                    <a:pt x="150" y="7"/>
                  </a:lnTo>
                  <a:lnTo>
                    <a:pt x="150" y="7"/>
                  </a:lnTo>
                  <a:lnTo>
                    <a:pt x="144" y="11"/>
                  </a:lnTo>
                  <a:lnTo>
                    <a:pt x="137" y="15"/>
                  </a:lnTo>
                  <a:lnTo>
                    <a:pt x="119" y="21"/>
                  </a:lnTo>
                  <a:lnTo>
                    <a:pt x="99" y="23"/>
                  </a:lnTo>
                  <a:lnTo>
                    <a:pt x="78" y="25"/>
                  </a:lnTo>
                  <a:lnTo>
                    <a:pt x="78" y="25"/>
                  </a:lnTo>
                  <a:lnTo>
                    <a:pt x="53" y="23"/>
                  </a:lnTo>
                  <a:lnTo>
                    <a:pt x="42" y="21"/>
                  </a:lnTo>
                  <a:lnTo>
                    <a:pt x="30" y="18"/>
                  </a:lnTo>
                  <a:lnTo>
                    <a:pt x="21" y="15"/>
                  </a:lnTo>
                  <a:lnTo>
                    <a:pt x="12" y="11"/>
                  </a:lnTo>
                  <a:lnTo>
                    <a:pt x="5" y="5"/>
                  </a:lnTo>
                  <a:lnTo>
                    <a:pt x="0" y="0"/>
                  </a:lnTo>
                  <a:lnTo>
                    <a:pt x="0" y="0"/>
                  </a:lnTo>
                  <a:close/>
                  <a:moveTo>
                    <a:pt x="18" y="35"/>
                  </a:moveTo>
                  <a:lnTo>
                    <a:pt x="18" y="35"/>
                  </a:lnTo>
                  <a:lnTo>
                    <a:pt x="11" y="32"/>
                  </a:lnTo>
                  <a:lnTo>
                    <a:pt x="8" y="28"/>
                  </a:lnTo>
                  <a:lnTo>
                    <a:pt x="8" y="14"/>
                  </a:lnTo>
                  <a:lnTo>
                    <a:pt x="8" y="14"/>
                  </a:lnTo>
                  <a:lnTo>
                    <a:pt x="12" y="16"/>
                  </a:lnTo>
                  <a:lnTo>
                    <a:pt x="18" y="19"/>
                  </a:lnTo>
                  <a:lnTo>
                    <a:pt x="18" y="35"/>
                  </a:lnTo>
                  <a:close/>
                  <a:moveTo>
                    <a:pt x="37" y="42"/>
                  </a:moveTo>
                  <a:lnTo>
                    <a:pt x="37" y="42"/>
                  </a:lnTo>
                  <a:lnTo>
                    <a:pt x="28" y="39"/>
                  </a:lnTo>
                  <a:lnTo>
                    <a:pt x="28" y="23"/>
                  </a:lnTo>
                  <a:lnTo>
                    <a:pt x="28" y="23"/>
                  </a:lnTo>
                  <a:lnTo>
                    <a:pt x="37" y="26"/>
                  </a:lnTo>
                  <a:lnTo>
                    <a:pt x="37" y="42"/>
                  </a:lnTo>
                  <a:close/>
                  <a:moveTo>
                    <a:pt x="58" y="44"/>
                  </a:moveTo>
                  <a:lnTo>
                    <a:pt x="58" y="44"/>
                  </a:lnTo>
                  <a:lnTo>
                    <a:pt x="49" y="43"/>
                  </a:lnTo>
                  <a:lnTo>
                    <a:pt x="49" y="28"/>
                  </a:lnTo>
                  <a:lnTo>
                    <a:pt x="49" y="28"/>
                  </a:lnTo>
                  <a:lnTo>
                    <a:pt x="58" y="29"/>
                  </a:lnTo>
                  <a:lnTo>
                    <a:pt x="58" y="44"/>
                  </a:lnTo>
                  <a:close/>
                  <a:moveTo>
                    <a:pt x="133" y="22"/>
                  </a:moveTo>
                  <a:lnTo>
                    <a:pt x="133" y="22"/>
                  </a:lnTo>
                  <a:lnTo>
                    <a:pt x="141" y="18"/>
                  </a:lnTo>
                  <a:lnTo>
                    <a:pt x="141" y="29"/>
                  </a:lnTo>
                  <a:lnTo>
                    <a:pt x="141" y="29"/>
                  </a:lnTo>
                  <a:lnTo>
                    <a:pt x="133" y="35"/>
                  </a:lnTo>
                  <a:lnTo>
                    <a:pt x="133" y="22"/>
                  </a:lnTo>
                  <a:close/>
                  <a:moveTo>
                    <a:pt x="80" y="44"/>
                  </a:moveTo>
                  <a:lnTo>
                    <a:pt x="80" y="44"/>
                  </a:lnTo>
                  <a:lnTo>
                    <a:pt x="75" y="44"/>
                  </a:lnTo>
                  <a:lnTo>
                    <a:pt x="75" y="44"/>
                  </a:lnTo>
                  <a:lnTo>
                    <a:pt x="68" y="44"/>
                  </a:lnTo>
                  <a:lnTo>
                    <a:pt x="68" y="30"/>
                  </a:lnTo>
                  <a:lnTo>
                    <a:pt x="68" y="30"/>
                  </a:lnTo>
                  <a:lnTo>
                    <a:pt x="75" y="30"/>
                  </a:lnTo>
                  <a:lnTo>
                    <a:pt x="75" y="30"/>
                  </a:lnTo>
                  <a:lnTo>
                    <a:pt x="80" y="30"/>
                  </a:lnTo>
                  <a:lnTo>
                    <a:pt x="80" y="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1" name="Freeform 60">
              <a:extLst>
                <a:ext uri="{FF2B5EF4-FFF2-40B4-BE49-F238E27FC236}">
                  <a16:creationId xmlns:a16="http://schemas.microsoft.com/office/drawing/2014/main" id="{F0CEEC4C-921C-42D7-B879-3D02A49AF386}"/>
                </a:ext>
              </a:extLst>
            </p:cNvPr>
            <p:cNvSpPr>
              <a:spLocks/>
            </p:cNvSpPr>
            <p:nvPr/>
          </p:nvSpPr>
          <p:spPr bwMode="auto">
            <a:xfrm>
              <a:off x="5349875" y="3067050"/>
              <a:ext cx="238125" cy="76200"/>
            </a:xfrm>
            <a:custGeom>
              <a:avLst/>
              <a:gdLst/>
              <a:ahLst/>
              <a:cxnLst>
                <a:cxn ang="0">
                  <a:pos x="140" y="28"/>
                </a:cxn>
                <a:cxn ang="0">
                  <a:pos x="133" y="32"/>
                </a:cxn>
                <a:cxn ang="0">
                  <a:pos x="133" y="18"/>
                </a:cxn>
                <a:cxn ang="0">
                  <a:pos x="109" y="25"/>
                </a:cxn>
                <a:cxn ang="0">
                  <a:pos x="78" y="30"/>
                </a:cxn>
                <a:cxn ang="0">
                  <a:pos x="78" y="44"/>
                </a:cxn>
                <a:cxn ang="0">
                  <a:pos x="74" y="44"/>
                </a:cxn>
                <a:cxn ang="0">
                  <a:pos x="69" y="30"/>
                </a:cxn>
                <a:cxn ang="0">
                  <a:pos x="57" y="28"/>
                </a:cxn>
                <a:cxn ang="0">
                  <a:pos x="57" y="42"/>
                </a:cxn>
                <a:cxn ang="0">
                  <a:pos x="47" y="27"/>
                </a:cxn>
                <a:cxn ang="0">
                  <a:pos x="38" y="25"/>
                </a:cxn>
                <a:cxn ang="0">
                  <a:pos x="38" y="39"/>
                </a:cxn>
                <a:cxn ang="0">
                  <a:pos x="28" y="23"/>
                </a:cxn>
                <a:cxn ang="0">
                  <a:pos x="17" y="18"/>
                </a:cxn>
                <a:cxn ang="0">
                  <a:pos x="17" y="34"/>
                </a:cxn>
                <a:cxn ang="0">
                  <a:pos x="7" y="27"/>
                </a:cxn>
                <a:cxn ang="0">
                  <a:pos x="7" y="13"/>
                </a:cxn>
                <a:cxn ang="0">
                  <a:pos x="0" y="3"/>
                </a:cxn>
                <a:cxn ang="0">
                  <a:pos x="0" y="20"/>
                </a:cxn>
                <a:cxn ang="0">
                  <a:pos x="0" y="20"/>
                </a:cxn>
                <a:cxn ang="0">
                  <a:pos x="5" y="30"/>
                </a:cxn>
                <a:cxn ang="0">
                  <a:pos x="21" y="39"/>
                </a:cxn>
                <a:cxn ang="0">
                  <a:pos x="45" y="45"/>
                </a:cxn>
                <a:cxn ang="0">
                  <a:pos x="74" y="48"/>
                </a:cxn>
                <a:cxn ang="0">
                  <a:pos x="90" y="47"/>
                </a:cxn>
                <a:cxn ang="0">
                  <a:pos x="115" y="42"/>
                </a:cxn>
                <a:cxn ang="0">
                  <a:pos x="136" y="35"/>
                </a:cxn>
                <a:cxn ang="0">
                  <a:pos x="147" y="25"/>
                </a:cxn>
                <a:cxn ang="0">
                  <a:pos x="148" y="20"/>
                </a:cxn>
                <a:cxn ang="0">
                  <a:pos x="150" y="20"/>
                </a:cxn>
                <a:cxn ang="0">
                  <a:pos x="150" y="0"/>
                </a:cxn>
                <a:cxn ang="0">
                  <a:pos x="147" y="7"/>
                </a:cxn>
                <a:cxn ang="0">
                  <a:pos x="140" y="14"/>
                </a:cxn>
              </a:cxnLst>
              <a:rect l="0" t="0" r="r" b="b"/>
              <a:pathLst>
                <a:path w="150" h="48">
                  <a:moveTo>
                    <a:pt x="140" y="14"/>
                  </a:moveTo>
                  <a:lnTo>
                    <a:pt x="140" y="28"/>
                  </a:lnTo>
                  <a:lnTo>
                    <a:pt x="140" y="28"/>
                  </a:lnTo>
                  <a:lnTo>
                    <a:pt x="133" y="32"/>
                  </a:lnTo>
                  <a:lnTo>
                    <a:pt x="133" y="18"/>
                  </a:lnTo>
                  <a:lnTo>
                    <a:pt x="133" y="18"/>
                  </a:lnTo>
                  <a:lnTo>
                    <a:pt x="122" y="23"/>
                  </a:lnTo>
                  <a:lnTo>
                    <a:pt x="109" y="25"/>
                  </a:lnTo>
                  <a:lnTo>
                    <a:pt x="94" y="28"/>
                  </a:lnTo>
                  <a:lnTo>
                    <a:pt x="78" y="30"/>
                  </a:lnTo>
                  <a:lnTo>
                    <a:pt x="78" y="44"/>
                  </a:lnTo>
                  <a:lnTo>
                    <a:pt x="78" y="44"/>
                  </a:lnTo>
                  <a:lnTo>
                    <a:pt x="74" y="44"/>
                  </a:lnTo>
                  <a:lnTo>
                    <a:pt x="74" y="44"/>
                  </a:lnTo>
                  <a:lnTo>
                    <a:pt x="69" y="44"/>
                  </a:lnTo>
                  <a:lnTo>
                    <a:pt x="69" y="30"/>
                  </a:lnTo>
                  <a:lnTo>
                    <a:pt x="69" y="30"/>
                  </a:lnTo>
                  <a:lnTo>
                    <a:pt x="57" y="28"/>
                  </a:lnTo>
                  <a:lnTo>
                    <a:pt x="57" y="42"/>
                  </a:lnTo>
                  <a:lnTo>
                    <a:pt x="57" y="42"/>
                  </a:lnTo>
                  <a:lnTo>
                    <a:pt x="47" y="42"/>
                  </a:lnTo>
                  <a:lnTo>
                    <a:pt x="47" y="27"/>
                  </a:lnTo>
                  <a:lnTo>
                    <a:pt x="47" y="27"/>
                  </a:lnTo>
                  <a:lnTo>
                    <a:pt x="38" y="25"/>
                  </a:lnTo>
                  <a:lnTo>
                    <a:pt x="38" y="39"/>
                  </a:lnTo>
                  <a:lnTo>
                    <a:pt x="38" y="39"/>
                  </a:lnTo>
                  <a:lnTo>
                    <a:pt x="28" y="37"/>
                  </a:lnTo>
                  <a:lnTo>
                    <a:pt x="28" y="23"/>
                  </a:lnTo>
                  <a:lnTo>
                    <a:pt x="28" y="23"/>
                  </a:lnTo>
                  <a:lnTo>
                    <a:pt x="17" y="18"/>
                  </a:lnTo>
                  <a:lnTo>
                    <a:pt x="17" y="34"/>
                  </a:lnTo>
                  <a:lnTo>
                    <a:pt x="17" y="34"/>
                  </a:lnTo>
                  <a:lnTo>
                    <a:pt x="11" y="30"/>
                  </a:lnTo>
                  <a:lnTo>
                    <a:pt x="7" y="27"/>
                  </a:lnTo>
                  <a:lnTo>
                    <a:pt x="7" y="13"/>
                  </a:lnTo>
                  <a:lnTo>
                    <a:pt x="7" y="13"/>
                  </a:lnTo>
                  <a:lnTo>
                    <a:pt x="1" y="7"/>
                  </a:lnTo>
                  <a:lnTo>
                    <a:pt x="0" y="3"/>
                  </a:lnTo>
                  <a:lnTo>
                    <a:pt x="0" y="0"/>
                  </a:lnTo>
                  <a:lnTo>
                    <a:pt x="0" y="20"/>
                  </a:lnTo>
                  <a:lnTo>
                    <a:pt x="0" y="20"/>
                  </a:lnTo>
                  <a:lnTo>
                    <a:pt x="0" y="20"/>
                  </a:lnTo>
                  <a:lnTo>
                    <a:pt x="1" y="25"/>
                  </a:lnTo>
                  <a:lnTo>
                    <a:pt x="5" y="30"/>
                  </a:lnTo>
                  <a:lnTo>
                    <a:pt x="12" y="35"/>
                  </a:lnTo>
                  <a:lnTo>
                    <a:pt x="21" y="39"/>
                  </a:lnTo>
                  <a:lnTo>
                    <a:pt x="32" y="42"/>
                  </a:lnTo>
                  <a:lnTo>
                    <a:pt x="45" y="45"/>
                  </a:lnTo>
                  <a:lnTo>
                    <a:pt x="59" y="47"/>
                  </a:lnTo>
                  <a:lnTo>
                    <a:pt x="74" y="48"/>
                  </a:lnTo>
                  <a:lnTo>
                    <a:pt x="74" y="48"/>
                  </a:lnTo>
                  <a:lnTo>
                    <a:pt x="90" y="47"/>
                  </a:lnTo>
                  <a:lnTo>
                    <a:pt x="102" y="45"/>
                  </a:lnTo>
                  <a:lnTo>
                    <a:pt x="115" y="42"/>
                  </a:lnTo>
                  <a:lnTo>
                    <a:pt x="126" y="39"/>
                  </a:lnTo>
                  <a:lnTo>
                    <a:pt x="136" y="35"/>
                  </a:lnTo>
                  <a:lnTo>
                    <a:pt x="143" y="31"/>
                  </a:lnTo>
                  <a:lnTo>
                    <a:pt x="147" y="25"/>
                  </a:lnTo>
                  <a:lnTo>
                    <a:pt x="148" y="20"/>
                  </a:lnTo>
                  <a:lnTo>
                    <a:pt x="148" y="20"/>
                  </a:lnTo>
                  <a:lnTo>
                    <a:pt x="148" y="20"/>
                  </a:lnTo>
                  <a:lnTo>
                    <a:pt x="150" y="20"/>
                  </a:lnTo>
                  <a:lnTo>
                    <a:pt x="150" y="0"/>
                  </a:lnTo>
                  <a:lnTo>
                    <a:pt x="150" y="0"/>
                  </a:lnTo>
                  <a:lnTo>
                    <a:pt x="148" y="4"/>
                  </a:lnTo>
                  <a:lnTo>
                    <a:pt x="147" y="7"/>
                  </a:lnTo>
                  <a:lnTo>
                    <a:pt x="140" y="14"/>
                  </a:lnTo>
                  <a:lnTo>
                    <a:pt x="140"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2" name="Freeform 61">
              <a:extLst>
                <a:ext uri="{FF2B5EF4-FFF2-40B4-BE49-F238E27FC236}">
                  <a16:creationId xmlns:a16="http://schemas.microsoft.com/office/drawing/2014/main" id="{175C0A29-5AE2-47A1-876F-86BDE673284B}"/>
                </a:ext>
              </a:extLst>
            </p:cNvPr>
            <p:cNvSpPr>
              <a:spLocks/>
            </p:cNvSpPr>
            <p:nvPr/>
          </p:nvSpPr>
          <p:spPr bwMode="auto">
            <a:xfrm>
              <a:off x="5349875" y="3062288"/>
              <a:ext cx="1587" cy="4763"/>
            </a:xfrm>
            <a:custGeom>
              <a:avLst/>
              <a:gdLst/>
              <a:ahLst/>
              <a:cxnLst>
                <a:cxn ang="0">
                  <a:pos x="0" y="0"/>
                </a:cxn>
                <a:cxn ang="0">
                  <a:pos x="0" y="0"/>
                </a:cxn>
                <a:cxn ang="0">
                  <a:pos x="0" y="3"/>
                </a:cxn>
                <a:cxn ang="0">
                  <a:pos x="0" y="3"/>
                </a:cxn>
                <a:cxn ang="0">
                  <a:pos x="0" y="3"/>
                </a:cxn>
                <a:cxn ang="0">
                  <a:pos x="0" y="3"/>
                </a:cxn>
                <a:cxn ang="0">
                  <a:pos x="0" y="3"/>
                </a:cxn>
                <a:cxn ang="0">
                  <a:pos x="0" y="0"/>
                </a:cxn>
                <a:cxn ang="0">
                  <a:pos x="0" y="0"/>
                </a:cxn>
              </a:cxnLst>
              <a:rect l="0" t="0" r="r" b="b"/>
              <a:pathLst>
                <a:path h="3">
                  <a:moveTo>
                    <a:pt x="0" y="0"/>
                  </a:moveTo>
                  <a:lnTo>
                    <a:pt x="0" y="0"/>
                  </a:lnTo>
                  <a:lnTo>
                    <a:pt x="0" y="3"/>
                  </a:lnTo>
                  <a:lnTo>
                    <a:pt x="0" y="3"/>
                  </a:lnTo>
                  <a:lnTo>
                    <a:pt x="0" y="3"/>
                  </a:lnTo>
                  <a:lnTo>
                    <a:pt x="0" y="3"/>
                  </a:lnTo>
                  <a:lnTo>
                    <a:pt x="0"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3" name="Freeform 62">
              <a:extLst>
                <a:ext uri="{FF2B5EF4-FFF2-40B4-BE49-F238E27FC236}">
                  <a16:creationId xmlns:a16="http://schemas.microsoft.com/office/drawing/2014/main" id="{A2F85BDF-3670-4BCE-A7BC-AAD4AAC27824}"/>
                </a:ext>
              </a:extLst>
            </p:cNvPr>
            <p:cNvSpPr>
              <a:spLocks/>
            </p:cNvSpPr>
            <p:nvPr/>
          </p:nvSpPr>
          <p:spPr bwMode="auto">
            <a:xfrm>
              <a:off x="5584825" y="3062288"/>
              <a:ext cx="3175" cy="4763"/>
            </a:xfrm>
            <a:custGeom>
              <a:avLst/>
              <a:gdLst/>
              <a:ahLst/>
              <a:cxnLst>
                <a:cxn ang="0">
                  <a:pos x="0" y="0"/>
                </a:cxn>
                <a:cxn ang="0">
                  <a:pos x="0" y="0"/>
                </a:cxn>
                <a:cxn ang="0">
                  <a:pos x="2" y="3"/>
                </a:cxn>
                <a:cxn ang="0">
                  <a:pos x="2" y="3"/>
                </a:cxn>
                <a:cxn ang="0">
                  <a:pos x="2" y="3"/>
                </a:cxn>
                <a:cxn ang="0">
                  <a:pos x="2" y="3"/>
                </a:cxn>
                <a:cxn ang="0">
                  <a:pos x="2" y="3"/>
                </a:cxn>
                <a:cxn ang="0">
                  <a:pos x="0" y="0"/>
                </a:cxn>
                <a:cxn ang="0">
                  <a:pos x="0" y="0"/>
                </a:cxn>
              </a:cxnLst>
              <a:rect l="0" t="0" r="r" b="b"/>
              <a:pathLst>
                <a:path w="2" h="3">
                  <a:moveTo>
                    <a:pt x="0" y="0"/>
                  </a:moveTo>
                  <a:lnTo>
                    <a:pt x="0" y="0"/>
                  </a:lnTo>
                  <a:lnTo>
                    <a:pt x="2" y="3"/>
                  </a:lnTo>
                  <a:lnTo>
                    <a:pt x="2" y="3"/>
                  </a:lnTo>
                  <a:lnTo>
                    <a:pt x="2" y="3"/>
                  </a:lnTo>
                  <a:lnTo>
                    <a:pt x="2" y="3"/>
                  </a:lnTo>
                  <a:lnTo>
                    <a:pt x="2"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4" name="Freeform 63">
              <a:extLst>
                <a:ext uri="{FF2B5EF4-FFF2-40B4-BE49-F238E27FC236}">
                  <a16:creationId xmlns:a16="http://schemas.microsoft.com/office/drawing/2014/main" id="{AD6ABEBC-FFE9-417A-BDBC-6457CC764964}"/>
                </a:ext>
              </a:extLst>
            </p:cNvPr>
            <p:cNvSpPr>
              <a:spLocks/>
            </p:cNvSpPr>
            <p:nvPr/>
          </p:nvSpPr>
          <p:spPr bwMode="auto">
            <a:xfrm>
              <a:off x="5443538" y="3044825"/>
              <a:ext cx="17462" cy="15875"/>
            </a:xfrm>
            <a:custGeom>
              <a:avLst/>
              <a:gdLst/>
              <a:ahLst/>
              <a:cxnLst>
                <a:cxn ang="0">
                  <a:pos x="1" y="7"/>
                </a:cxn>
                <a:cxn ang="0">
                  <a:pos x="1" y="7"/>
                </a:cxn>
                <a:cxn ang="0">
                  <a:pos x="4" y="9"/>
                </a:cxn>
                <a:cxn ang="0">
                  <a:pos x="8" y="10"/>
                </a:cxn>
                <a:cxn ang="0">
                  <a:pos x="8" y="10"/>
                </a:cxn>
                <a:cxn ang="0">
                  <a:pos x="11" y="10"/>
                </a:cxn>
                <a:cxn ang="0">
                  <a:pos x="11" y="0"/>
                </a:cxn>
                <a:cxn ang="0">
                  <a:pos x="11" y="0"/>
                </a:cxn>
                <a:cxn ang="0">
                  <a:pos x="2" y="2"/>
                </a:cxn>
                <a:cxn ang="0">
                  <a:pos x="2" y="2"/>
                </a:cxn>
                <a:cxn ang="0">
                  <a:pos x="0" y="3"/>
                </a:cxn>
                <a:cxn ang="0">
                  <a:pos x="0" y="4"/>
                </a:cxn>
                <a:cxn ang="0">
                  <a:pos x="0" y="6"/>
                </a:cxn>
                <a:cxn ang="0">
                  <a:pos x="1" y="7"/>
                </a:cxn>
                <a:cxn ang="0">
                  <a:pos x="1" y="7"/>
                </a:cxn>
              </a:cxnLst>
              <a:rect l="0" t="0" r="r" b="b"/>
              <a:pathLst>
                <a:path w="11" h="10">
                  <a:moveTo>
                    <a:pt x="1" y="7"/>
                  </a:moveTo>
                  <a:lnTo>
                    <a:pt x="1" y="7"/>
                  </a:lnTo>
                  <a:lnTo>
                    <a:pt x="4" y="9"/>
                  </a:lnTo>
                  <a:lnTo>
                    <a:pt x="8" y="10"/>
                  </a:lnTo>
                  <a:lnTo>
                    <a:pt x="8" y="10"/>
                  </a:lnTo>
                  <a:lnTo>
                    <a:pt x="11" y="10"/>
                  </a:lnTo>
                  <a:lnTo>
                    <a:pt x="11" y="0"/>
                  </a:lnTo>
                  <a:lnTo>
                    <a:pt x="11" y="0"/>
                  </a:lnTo>
                  <a:lnTo>
                    <a:pt x="2" y="2"/>
                  </a:lnTo>
                  <a:lnTo>
                    <a:pt x="2" y="2"/>
                  </a:lnTo>
                  <a:lnTo>
                    <a:pt x="0" y="3"/>
                  </a:lnTo>
                  <a:lnTo>
                    <a:pt x="0" y="4"/>
                  </a:lnTo>
                  <a:lnTo>
                    <a:pt x="0" y="6"/>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5" name="Freeform 64">
              <a:extLst>
                <a:ext uri="{FF2B5EF4-FFF2-40B4-BE49-F238E27FC236}">
                  <a16:creationId xmlns:a16="http://schemas.microsoft.com/office/drawing/2014/main" id="{07DFC2DF-D287-46C0-938B-455F54969641}"/>
                </a:ext>
              </a:extLst>
            </p:cNvPr>
            <p:cNvSpPr>
              <a:spLocks noEditPoints="1"/>
            </p:cNvSpPr>
            <p:nvPr/>
          </p:nvSpPr>
          <p:spPr bwMode="auto">
            <a:xfrm>
              <a:off x="5365750" y="3028950"/>
              <a:ext cx="204787" cy="74613"/>
            </a:xfrm>
            <a:custGeom>
              <a:avLst/>
              <a:gdLst/>
              <a:ahLst/>
              <a:cxnLst>
                <a:cxn ang="0">
                  <a:pos x="0" y="23"/>
                </a:cxn>
                <a:cxn ang="0">
                  <a:pos x="5" y="33"/>
                </a:cxn>
                <a:cxn ang="0">
                  <a:pos x="19" y="40"/>
                </a:cxn>
                <a:cxn ang="0">
                  <a:pos x="39" y="45"/>
                </a:cxn>
                <a:cxn ang="0">
                  <a:pos x="64" y="47"/>
                </a:cxn>
                <a:cxn ang="0">
                  <a:pos x="77" y="47"/>
                </a:cxn>
                <a:cxn ang="0">
                  <a:pos x="101" y="42"/>
                </a:cxn>
                <a:cxn ang="0">
                  <a:pos x="117" y="37"/>
                </a:cxn>
                <a:cxn ang="0">
                  <a:pos x="127" y="28"/>
                </a:cxn>
                <a:cxn ang="0">
                  <a:pos x="129" y="23"/>
                </a:cxn>
                <a:cxn ang="0">
                  <a:pos x="124" y="14"/>
                </a:cxn>
                <a:cxn ang="0">
                  <a:pos x="110" y="7"/>
                </a:cxn>
                <a:cxn ang="0">
                  <a:pos x="89" y="2"/>
                </a:cxn>
                <a:cxn ang="0">
                  <a:pos x="64" y="0"/>
                </a:cxn>
                <a:cxn ang="0">
                  <a:pos x="51" y="0"/>
                </a:cxn>
                <a:cxn ang="0">
                  <a:pos x="28" y="5"/>
                </a:cxn>
                <a:cxn ang="0">
                  <a:pos x="11" y="10"/>
                </a:cxn>
                <a:cxn ang="0">
                  <a:pos x="1" y="19"/>
                </a:cxn>
                <a:cxn ang="0">
                  <a:pos x="0" y="23"/>
                </a:cxn>
                <a:cxn ang="0">
                  <a:pos x="70" y="6"/>
                </a:cxn>
                <a:cxn ang="0">
                  <a:pos x="75" y="7"/>
                </a:cxn>
                <a:cxn ang="0">
                  <a:pos x="84" y="9"/>
                </a:cxn>
                <a:cxn ang="0">
                  <a:pos x="91" y="12"/>
                </a:cxn>
                <a:cxn ang="0">
                  <a:pos x="91" y="13"/>
                </a:cxn>
                <a:cxn ang="0">
                  <a:pos x="85" y="14"/>
                </a:cxn>
                <a:cxn ang="0">
                  <a:pos x="82" y="14"/>
                </a:cxn>
                <a:cxn ang="0">
                  <a:pos x="82" y="13"/>
                </a:cxn>
                <a:cxn ang="0">
                  <a:pos x="81" y="13"/>
                </a:cxn>
                <a:cxn ang="0">
                  <a:pos x="81" y="13"/>
                </a:cxn>
                <a:cxn ang="0">
                  <a:pos x="73" y="10"/>
                </a:cxn>
                <a:cxn ang="0">
                  <a:pos x="70" y="21"/>
                </a:cxn>
                <a:cxn ang="0">
                  <a:pos x="82" y="24"/>
                </a:cxn>
                <a:cxn ang="0">
                  <a:pos x="89" y="28"/>
                </a:cxn>
                <a:cxn ang="0">
                  <a:pos x="91" y="31"/>
                </a:cxn>
                <a:cxn ang="0">
                  <a:pos x="88" y="35"/>
                </a:cxn>
                <a:cxn ang="0">
                  <a:pos x="84" y="38"/>
                </a:cxn>
                <a:cxn ang="0">
                  <a:pos x="70" y="41"/>
                </a:cxn>
                <a:cxn ang="0">
                  <a:pos x="70" y="44"/>
                </a:cxn>
                <a:cxn ang="0">
                  <a:pos x="61" y="44"/>
                </a:cxn>
                <a:cxn ang="0">
                  <a:pos x="60" y="44"/>
                </a:cxn>
                <a:cxn ang="0">
                  <a:pos x="60" y="41"/>
                </a:cxn>
                <a:cxn ang="0">
                  <a:pos x="42" y="38"/>
                </a:cxn>
                <a:cxn ang="0">
                  <a:pos x="37" y="35"/>
                </a:cxn>
                <a:cxn ang="0">
                  <a:pos x="37" y="34"/>
                </a:cxn>
                <a:cxn ang="0">
                  <a:pos x="43" y="33"/>
                </a:cxn>
                <a:cxn ang="0">
                  <a:pos x="46" y="33"/>
                </a:cxn>
                <a:cxn ang="0">
                  <a:pos x="47" y="33"/>
                </a:cxn>
                <a:cxn ang="0">
                  <a:pos x="47" y="34"/>
                </a:cxn>
                <a:cxn ang="0">
                  <a:pos x="47" y="34"/>
                </a:cxn>
                <a:cxn ang="0">
                  <a:pos x="49" y="34"/>
                </a:cxn>
                <a:cxn ang="0">
                  <a:pos x="56" y="35"/>
                </a:cxn>
                <a:cxn ang="0">
                  <a:pos x="60" y="24"/>
                </a:cxn>
                <a:cxn ang="0">
                  <a:pos x="47" y="23"/>
                </a:cxn>
                <a:cxn ang="0">
                  <a:pos x="43" y="21"/>
                </a:cxn>
                <a:cxn ang="0">
                  <a:pos x="40" y="19"/>
                </a:cxn>
                <a:cxn ang="0">
                  <a:pos x="39" y="14"/>
                </a:cxn>
                <a:cxn ang="0">
                  <a:pos x="44" y="9"/>
                </a:cxn>
                <a:cxn ang="0">
                  <a:pos x="51" y="7"/>
                </a:cxn>
                <a:cxn ang="0">
                  <a:pos x="60" y="3"/>
                </a:cxn>
                <a:cxn ang="0">
                  <a:pos x="61" y="3"/>
                </a:cxn>
                <a:cxn ang="0">
                  <a:pos x="68" y="3"/>
                </a:cxn>
                <a:cxn ang="0">
                  <a:pos x="70" y="3"/>
                </a:cxn>
              </a:cxnLst>
              <a:rect l="0" t="0" r="r" b="b"/>
              <a:pathLst>
                <a:path w="129" h="47">
                  <a:moveTo>
                    <a:pt x="0" y="23"/>
                  </a:moveTo>
                  <a:lnTo>
                    <a:pt x="0" y="23"/>
                  </a:lnTo>
                  <a:lnTo>
                    <a:pt x="1" y="28"/>
                  </a:lnTo>
                  <a:lnTo>
                    <a:pt x="5" y="33"/>
                  </a:lnTo>
                  <a:lnTo>
                    <a:pt x="11" y="37"/>
                  </a:lnTo>
                  <a:lnTo>
                    <a:pt x="19" y="40"/>
                  </a:lnTo>
                  <a:lnTo>
                    <a:pt x="28" y="42"/>
                  </a:lnTo>
                  <a:lnTo>
                    <a:pt x="39" y="45"/>
                  </a:lnTo>
                  <a:lnTo>
                    <a:pt x="51" y="47"/>
                  </a:lnTo>
                  <a:lnTo>
                    <a:pt x="64" y="47"/>
                  </a:lnTo>
                  <a:lnTo>
                    <a:pt x="64" y="47"/>
                  </a:lnTo>
                  <a:lnTo>
                    <a:pt x="77" y="47"/>
                  </a:lnTo>
                  <a:lnTo>
                    <a:pt x="89" y="45"/>
                  </a:lnTo>
                  <a:lnTo>
                    <a:pt x="101" y="42"/>
                  </a:lnTo>
                  <a:lnTo>
                    <a:pt x="110" y="40"/>
                  </a:lnTo>
                  <a:lnTo>
                    <a:pt x="117" y="37"/>
                  </a:lnTo>
                  <a:lnTo>
                    <a:pt x="124" y="33"/>
                  </a:lnTo>
                  <a:lnTo>
                    <a:pt x="127" y="28"/>
                  </a:lnTo>
                  <a:lnTo>
                    <a:pt x="129" y="23"/>
                  </a:lnTo>
                  <a:lnTo>
                    <a:pt x="129" y="23"/>
                  </a:lnTo>
                  <a:lnTo>
                    <a:pt x="127" y="19"/>
                  </a:lnTo>
                  <a:lnTo>
                    <a:pt x="124" y="14"/>
                  </a:lnTo>
                  <a:lnTo>
                    <a:pt x="117" y="10"/>
                  </a:lnTo>
                  <a:lnTo>
                    <a:pt x="110" y="7"/>
                  </a:lnTo>
                  <a:lnTo>
                    <a:pt x="101" y="5"/>
                  </a:lnTo>
                  <a:lnTo>
                    <a:pt x="89" y="2"/>
                  </a:lnTo>
                  <a:lnTo>
                    <a:pt x="77" y="0"/>
                  </a:lnTo>
                  <a:lnTo>
                    <a:pt x="64" y="0"/>
                  </a:lnTo>
                  <a:lnTo>
                    <a:pt x="64" y="0"/>
                  </a:lnTo>
                  <a:lnTo>
                    <a:pt x="51" y="0"/>
                  </a:lnTo>
                  <a:lnTo>
                    <a:pt x="39" y="2"/>
                  </a:lnTo>
                  <a:lnTo>
                    <a:pt x="28" y="5"/>
                  </a:lnTo>
                  <a:lnTo>
                    <a:pt x="19" y="7"/>
                  </a:lnTo>
                  <a:lnTo>
                    <a:pt x="11" y="10"/>
                  </a:lnTo>
                  <a:lnTo>
                    <a:pt x="5" y="14"/>
                  </a:lnTo>
                  <a:lnTo>
                    <a:pt x="1" y="19"/>
                  </a:lnTo>
                  <a:lnTo>
                    <a:pt x="0" y="23"/>
                  </a:lnTo>
                  <a:lnTo>
                    <a:pt x="0" y="23"/>
                  </a:lnTo>
                  <a:close/>
                  <a:moveTo>
                    <a:pt x="70" y="3"/>
                  </a:moveTo>
                  <a:lnTo>
                    <a:pt x="70" y="6"/>
                  </a:lnTo>
                  <a:lnTo>
                    <a:pt x="70" y="6"/>
                  </a:lnTo>
                  <a:lnTo>
                    <a:pt x="75" y="7"/>
                  </a:lnTo>
                  <a:lnTo>
                    <a:pt x="75" y="7"/>
                  </a:lnTo>
                  <a:lnTo>
                    <a:pt x="84" y="9"/>
                  </a:lnTo>
                  <a:lnTo>
                    <a:pt x="91" y="12"/>
                  </a:lnTo>
                  <a:lnTo>
                    <a:pt x="91" y="12"/>
                  </a:lnTo>
                  <a:lnTo>
                    <a:pt x="91" y="12"/>
                  </a:lnTo>
                  <a:lnTo>
                    <a:pt x="91" y="13"/>
                  </a:lnTo>
                  <a:lnTo>
                    <a:pt x="88" y="14"/>
                  </a:lnTo>
                  <a:lnTo>
                    <a:pt x="85" y="14"/>
                  </a:lnTo>
                  <a:lnTo>
                    <a:pt x="82" y="14"/>
                  </a:lnTo>
                  <a:lnTo>
                    <a:pt x="82" y="14"/>
                  </a:lnTo>
                  <a:lnTo>
                    <a:pt x="82" y="13"/>
                  </a:lnTo>
                  <a:lnTo>
                    <a:pt x="82" y="13"/>
                  </a:lnTo>
                  <a:lnTo>
                    <a:pt x="81" y="13"/>
                  </a:lnTo>
                  <a:lnTo>
                    <a:pt x="81" y="13"/>
                  </a:lnTo>
                  <a:lnTo>
                    <a:pt x="81" y="13"/>
                  </a:lnTo>
                  <a:lnTo>
                    <a:pt x="81" y="13"/>
                  </a:lnTo>
                  <a:lnTo>
                    <a:pt x="73" y="10"/>
                  </a:lnTo>
                  <a:lnTo>
                    <a:pt x="73" y="10"/>
                  </a:lnTo>
                  <a:lnTo>
                    <a:pt x="70" y="10"/>
                  </a:lnTo>
                  <a:lnTo>
                    <a:pt x="70" y="21"/>
                  </a:lnTo>
                  <a:lnTo>
                    <a:pt x="70" y="21"/>
                  </a:lnTo>
                  <a:lnTo>
                    <a:pt x="82" y="24"/>
                  </a:lnTo>
                  <a:lnTo>
                    <a:pt x="87" y="27"/>
                  </a:lnTo>
                  <a:lnTo>
                    <a:pt x="89" y="28"/>
                  </a:lnTo>
                  <a:lnTo>
                    <a:pt x="89" y="28"/>
                  </a:lnTo>
                  <a:lnTo>
                    <a:pt x="91" y="31"/>
                  </a:lnTo>
                  <a:lnTo>
                    <a:pt x="91" y="34"/>
                  </a:lnTo>
                  <a:lnTo>
                    <a:pt x="88" y="35"/>
                  </a:lnTo>
                  <a:lnTo>
                    <a:pt x="84" y="38"/>
                  </a:lnTo>
                  <a:lnTo>
                    <a:pt x="84" y="38"/>
                  </a:lnTo>
                  <a:lnTo>
                    <a:pt x="78" y="40"/>
                  </a:lnTo>
                  <a:lnTo>
                    <a:pt x="70" y="41"/>
                  </a:lnTo>
                  <a:lnTo>
                    <a:pt x="70" y="44"/>
                  </a:lnTo>
                  <a:lnTo>
                    <a:pt x="70" y="44"/>
                  </a:lnTo>
                  <a:lnTo>
                    <a:pt x="68" y="44"/>
                  </a:lnTo>
                  <a:lnTo>
                    <a:pt x="61" y="44"/>
                  </a:lnTo>
                  <a:lnTo>
                    <a:pt x="61" y="44"/>
                  </a:lnTo>
                  <a:lnTo>
                    <a:pt x="60" y="44"/>
                  </a:lnTo>
                  <a:lnTo>
                    <a:pt x="60" y="41"/>
                  </a:lnTo>
                  <a:lnTo>
                    <a:pt x="60" y="41"/>
                  </a:lnTo>
                  <a:lnTo>
                    <a:pt x="47" y="40"/>
                  </a:lnTo>
                  <a:lnTo>
                    <a:pt x="42" y="38"/>
                  </a:lnTo>
                  <a:lnTo>
                    <a:pt x="37" y="35"/>
                  </a:lnTo>
                  <a:lnTo>
                    <a:pt x="37" y="35"/>
                  </a:lnTo>
                  <a:lnTo>
                    <a:pt x="37" y="35"/>
                  </a:lnTo>
                  <a:lnTo>
                    <a:pt x="37" y="34"/>
                  </a:lnTo>
                  <a:lnTo>
                    <a:pt x="40" y="33"/>
                  </a:lnTo>
                  <a:lnTo>
                    <a:pt x="43" y="33"/>
                  </a:lnTo>
                  <a:lnTo>
                    <a:pt x="46" y="33"/>
                  </a:lnTo>
                  <a:lnTo>
                    <a:pt x="46" y="33"/>
                  </a:lnTo>
                  <a:lnTo>
                    <a:pt x="47" y="33"/>
                  </a:lnTo>
                  <a:lnTo>
                    <a:pt x="47" y="33"/>
                  </a:lnTo>
                  <a:lnTo>
                    <a:pt x="47" y="34"/>
                  </a:lnTo>
                  <a:lnTo>
                    <a:pt x="47" y="34"/>
                  </a:lnTo>
                  <a:lnTo>
                    <a:pt x="47" y="34"/>
                  </a:lnTo>
                  <a:lnTo>
                    <a:pt x="47" y="34"/>
                  </a:lnTo>
                  <a:lnTo>
                    <a:pt x="49" y="34"/>
                  </a:lnTo>
                  <a:lnTo>
                    <a:pt x="49" y="34"/>
                  </a:lnTo>
                  <a:lnTo>
                    <a:pt x="56" y="35"/>
                  </a:lnTo>
                  <a:lnTo>
                    <a:pt x="56" y="35"/>
                  </a:lnTo>
                  <a:lnTo>
                    <a:pt x="60" y="37"/>
                  </a:lnTo>
                  <a:lnTo>
                    <a:pt x="60" y="24"/>
                  </a:lnTo>
                  <a:lnTo>
                    <a:pt x="60" y="24"/>
                  </a:lnTo>
                  <a:lnTo>
                    <a:pt x="47" y="23"/>
                  </a:lnTo>
                  <a:lnTo>
                    <a:pt x="47" y="23"/>
                  </a:lnTo>
                  <a:lnTo>
                    <a:pt x="43" y="21"/>
                  </a:lnTo>
                  <a:lnTo>
                    <a:pt x="40" y="19"/>
                  </a:lnTo>
                  <a:lnTo>
                    <a:pt x="40" y="19"/>
                  </a:lnTo>
                  <a:lnTo>
                    <a:pt x="39" y="16"/>
                  </a:lnTo>
                  <a:lnTo>
                    <a:pt x="39" y="14"/>
                  </a:lnTo>
                  <a:lnTo>
                    <a:pt x="40" y="12"/>
                  </a:lnTo>
                  <a:lnTo>
                    <a:pt x="44" y="9"/>
                  </a:lnTo>
                  <a:lnTo>
                    <a:pt x="44" y="9"/>
                  </a:lnTo>
                  <a:lnTo>
                    <a:pt x="51" y="7"/>
                  </a:lnTo>
                  <a:lnTo>
                    <a:pt x="60" y="6"/>
                  </a:lnTo>
                  <a:lnTo>
                    <a:pt x="60" y="3"/>
                  </a:lnTo>
                  <a:lnTo>
                    <a:pt x="60" y="3"/>
                  </a:lnTo>
                  <a:lnTo>
                    <a:pt x="61" y="3"/>
                  </a:lnTo>
                  <a:lnTo>
                    <a:pt x="68" y="3"/>
                  </a:lnTo>
                  <a:lnTo>
                    <a:pt x="68" y="3"/>
                  </a:lnTo>
                  <a:lnTo>
                    <a:pt x="70" y="3"/>
                  </a:lnTo>
                  <a:lnTo>
                    <a:pt x="7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6" name="Freeform 65">
              <a:extLst>
                <a:ext uri="{FF2B5EF4-FFF2-40B4-BE49-F238E27FC236}">
                  <a16:creationId xmlns:a16="http://schemas.microsoft.com/office/drawing/2014/main" id="{803B2520-9C33-496A-A023-2C5A19A1298F}"/>
                </a:ext>
              </a:extLst>
            </p:cNvPr>
            <p:cNvSpPr>
              <a:spLocks/>
            </p:cNvSpPr>
            <p:nvPr/>
          </p:nvSpPr>
          <p:spPr bwMode="auto">
            <a:xfrm>
              <a:off x="5476875" y="3071813"/>
              <a:ext cx="17462" cy="15875"/>
            </a:xfrm>
            <a:custGeom>
              <a:avLst/>
              <a:gdLst/>
              <a:ahLst/>
              <a:cxnLst>
                <a:cxn ang="0">
                  <a:pos x="10" y="3"/>
                </a:cxn>
                <a:cxn ang="0">
                  <a:pos x="10" y="3"/>
                </a:cxn>
                <a:cxn ang="0">
                  <a:pos x="8" y="1"/>
                </a:cxn>
                <a:cxn ang="0">
                  <a:pos x="5" y="1"/>
                </a:cxn>
                <a:cxn ang="0">
                  <a:pos x="5" y="1"/>
                </a:cxn>
                <a:cxn ang="0">
                  <a:pos x="0" y="0"/>
                </a:cxn>
                <a:cxn ang="0">
                  <a:pos x="0" y="10"/>
                </a:cxn>
                <a:cxn ang="0">
                  <a:pos x="0" y="10"/>
                </a:cxn>
                <a:cxn ang="0">
                  <a:pos x="8" y="8"/>
                </a:cxn>
                <a:cxn ang="0">
                  <a:pos x="8" y="8"/>
                </a:cxn>
                <a:cxn ang="0">
                  <a:pos x="11" y="6"/>
                </a:cxn>
                <a:cxn ang="0">
                  <a:pos x="11" y="4"/>
                </a:cxn>
                <a:cxn ang="0">
                  <a:pos x="10" y="3"/>
                </a:cxn>
                <a:cxn ang="0">
                  <a:pos x="10" y="3"/>
                </a:cxn>
              </a:cxnLst>
              <a:rect l="0" t="0" r="r" b="b"/>
              <a:pathLst>
                <a:path w="11" h="10">
                  <a:moveTo>
                    <a:pt x="10" y="3"/>
                  </a:moveTo>
                  <a:lnTo>
                    <a:pt x="10" y="3"/>
                  </a:lnTo>
                  <a:lnTo>
                    <a:pt x="8" y="1"/>
                  </a:lnTo>
                  <a:lnTo>
                    <a:pt x="5" y="1"/>
                  </a:lnTo>
                  <a:lnTo>
                    <a:pt x="5" y="1"/>
                  </a:lnTo>
                  <a:lnTo>
                    <a:pt x="0" y="0"/>
                  </a:lnTo>
                  <a:lnTo>
                    <a:pt x="0" y="10"/>
                  </a:lnTo>
                  <a:lnTo>
                    <a:pt x="0" y="10"/>
                  </a:lnTo>
                  <a:lnTo>
                    <a:pt x="8" y="8"/>
                  </a:lnTo>
                  <a:lnTo>
                    <a:pt x="8" y="8"/>
                  </a:lnTo>
                  <a:lnTo>
                    <a:pt x="11" y="6"/>
                  </a:lnTo>
                  <a:lnTo>
                    <a:pt x="11" y="4"/>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7" name="Freeform 66">
              <a:extLst>
                <a:ext uri="{FF2B5EF4-FFF2-40B4-BE49-F238E27FC236}">
                  <a16:creationId xmlns:a16="http://schemas.microsoft.com/office/drawing/2014/main" id="{5AFD857B-CE16-4090-A229-1AB631E9C9F9}"/>
                </a:ext>
              </a:extLst>
            </p:cNvPr>
            <p:cNvSpPr>
              <a:spLocks noEditPoints="1"/>
            </p:cNvSpPr>
            <p:nvPr/>
          </p:nvSpPr>
          <p:spPr bwMode="auto">
            <a:xfrm>
              <a:off x="5106988" y="3316288"/>
              <a:ext cx="214312" cy="71438"/>
            </a:xfrm>
            <a:custGeom>
              <a:avLst/>
              <a:gdLst/>
              <a:ahLst/>
              <a:cxnLst>
                <a:cxn ang="0">
                  <a:pos x="63" y="23"/>
                </a:cxn>
                <a:cxn ang="0">
                  <a:pos x="27" y="18"/>
                </a:cxn>
                <a:cxn ang="0">
                  <a:pos x="4" y="11"/>
                </a:cxn>
                <a:cxn ang="0">
                  <a:pos x="0" y="20"/>
                </a:cxn>
                <a:cxn ang="0">
                  <a:pos x="0" y="20"/>
                </a:cxn>
                <a:cxn ang="0">
                  <a:pos x="4" y="30"/>
                </a:cxn>
                <a:cxn ang="0">
                  <a:pos x="20" y="38"/>
                </a:cxn>
                <a:cxn ang="0">
                  <a:pos x="41" y="44"/>
                </a:cxn>
                <a:cxn ang="0">
                  <a:pos x="67" y="45"/>
                </a:cxn>
                <a:cxn ang="0">
                  <a:pos x="80" y="45"/>
                </a:cxn>
                <a:cxn ang="0">
                  <a:pos x="104" y="41"/>
                </a:cxn>
                <a:cxn ang="0">
                  <a:pos x="122" y="34"/>
                </a:cxn>
                <a:cxn ang="0">
                  <a:pos x="132" y="25"/>
                </a:cxn>
                <a:cxn ang="0">
                  <a:pos x="135" y="21"/>
                </a:cxn>
                <a:cxn ang="0">
                  <a:pos x="135" y="20"/>
                </a:cxn>
                <a:cxn ang="0">
                  <a:pos x="135" y="3"/>
                </a:cxn>
                <a:cxn ang="0">
                  <a:pos x="135" y="0"/>
                </a:cxn>
                <a:cxn ang="0">
                  <a:pos x="123" y="10"/>
                </a:cxn>
                <a:cxn ang="0">
                  <a:pos x="107" y="17"/>
                </a:cxn>
                <a:cxn ang="0">
                  <a:pos x="87" y="21"/>
                </a:cxn>
                <a:cxn ang="0">
                  <a:pos x="63" y="23"/>
                </a:cxn>
                <a:cxn ang="0">
                  <a:pos x="16" y="32"/>
                </a:cxn>
                <a:cxn ang="0">
                  <a:pos x="6" y="27"/>
                </a:cxn>
                <a:cxn ang="0">
                  <a:pos x="6" y="16"/>
                </a:cxn>
                <a:cxn ang="0">
                  <a:pos x="16" y="20"/>
                </a:cxn>
                <a:cxn ang="0">
                  <a:pos x="34" y="38"/>
                </a:cxn>
                <a:cxn ang="0">
                  <a:pos x="24" y="35"/>
                </a:cxn>
                <a:cxn ang="0">
                  <a:pos x="24" y="23"/>
                </a:cxn>
                <a:cxn ang="0">
                  <a:pos x="34" y="38"/>
                </a:cxn>
                <a:cxn ang="0">
                  <a:pos x="52" y="41"/>
                </a:cxn>
                <a:cxn ang="0">
                  <a:pos x="44" y="27"/>
                </a:cxn>
                <a:cxn ang="0">
                  <a:pos x="52" y="28"/>
                </a:cxn>
                <a:cxn ang="0">
                  <a:pos x="70" y="41"/>
                </a:cxn>
                <a:cxn ang="0">
                  <a:pos x="67" y="41"/>
                </a:cxn>
                <a:cxn ang="0">
                  <a:pos x="62" y="41"/>
                </a:cxn>
                <a:cxn ang="0">
                  <a:pos x="62" y="28"/>
                </a:cxn>
                <a:cxn ang="0">
                  <a:pos x="67" y="28"/>
                </a:cxn>
                <a:cxn ang="0">
                  <a:pos x="70" y="41"/>
                </a:cxn>
                <a:cxn ang="0">
                  <a:pos x="126" y="27"/>
                </a:cxn>
                <a:cxn ang="0">
                  <a:pos x="119" y="18"/>
                </a:cxn>
                <a:cxn ang="0">
                  <a:pos x="126" y="14"/>
                </a:cxn>
              </a:cxnLst>
              <a:rect l="0" t="0" r="r" b="b"/>
              <a:pathLst>
                <a:path w="135" h="45">
                  <a:moveTo>
                    <a:pt x="63" y="23"/>
                  </a:moveTo>
                  <a:lnTo>
                    <a:pt x="63" y="23"/>
                  </a:lnTo>
                  <a:lnTo>
                    <a:pt x="45" y="23"/>
                  </a:lnTo>
                  <a:lnTo>
                    <a:pt x="27" y="18"/>
                  </a:lnTo>
                  <a:lnTo>
                    <a:pt x="11" y="14"/>
                  </a:lnTo>
                  <a:lnTo>
                    <a:pt x="4" y="11"/>
                  </a:lnTo>
                  <a:lnTo>
                    <a:pt x="0" y="7"/>
                  </a:lnTo>
                  <a:lnTo>
                    <a:pt x="0" y="20"/>
                  </a:lnTo>
                  <a:lnTo>
                    <a:pt x="0" y="20"/>
                  </a:lnTo>
                  <a:lnTo>
                    <a:pt x="0" y="20"/>
                  </a:lnTo>
                  <a:lnTo>
                    <a:pt x="2" y="25"/>
                  </a:lnTo>
                  <a:lnTo>
                    <a:pt x="4" y="30"/>
                  </a:lnTo>
                  <a:lnTo>
                    <a:pt x="11" y="34"/>
                  </a:lnTo>
                  <a:lnTo>
                    <a:pt x="20" y="38"/>
                  </a:lnTo>
                  <a:lnTo>
                    <a:pt x="30" y="41"/>
                  </a:lnTo>
                  <a:lnTo>
                    <a:pt x="41" y="44"/>
                  </a:lnTo>
                  <a:lnTo>
                    <a:pt x="53" y="45"/>
                  </a:lnTo>
                  <a:lnTo>
                    <a:pt x="67" y="45"/>
                  </a:lnTo>
                  <a:lnTo>
                    <a:pt x="67" y="45"/>
                  </a:lnTo>
                  <a:lnTo>
                    <a:pt x="80" y="45"/>
                  </a:lnTo>
                  <a:lnTo>
                    <a:pt x="93" y="44"/>
                  </a:lnTo>
                  <a:lnTo>
                    <a:pt x="104" y="41"/>
                  </a:lnTo>
                  <a:lnTo>
                    <a:pt x="114" y="38"/>
                  </a:lnTo>
                  <a:lnTo>
                    <a:pt x="122" y="34"/>
                  </a:lnTo>
                  <a:lnTo>
                    <a:pt x="128" y="30"/>
                  </a:lnTo>
                  <a:lnTo>
                    <a:pt x="132" y="25"/>
                  </a:lnTo>
                  <a:lnTo>
                    <a:pt x="135" y="21"/>
                  </a:lnTo>
                  <a:lnTo>
                    <a:pt x="135" y="21"/>
                  </a:lnTo>
                  <a:lnTo>
                    <a:pt x="135" y="20"/>
                  </a:lnTo>
                  <a:lnTo>
                    <a:pt x="135" y="20"/>
                  </a:lnTo>
                  <a:lnTo>
                    <a:pt x="135" y="3"/>
                  </a:lnTo>
                  <a:lnTo>
                    <a:pt x="135" y="3"/>
                  </a:lnTo>
                  <a:lnTo>
                    <a:pt x="135" y="0"/>
                  </a:lnTo>
                  <a:lnTo>
                    <a:pt x="135" y="0"/>
                  </a:lnTo>
                  <a:lnTo>
                    <a:pt x="130" y="6"/>
                  </a:lnTo>
                  <a:lnTo>
                    <a:pt x="123" y="10"/>
                  </a:lnTo>
                  <a:lnTo>
                    <a:pt x="116" y="14"/>
                  </a:lnTo>
                  <a:lnTo>
                    <a:pt x="107" y="17"/>
                  </a:lnTo>
                  <a:lnTo>
                    <a:pt x="97" y="20"/>
                  </a:lnTo>
                  <a:lnTo>
                    <a:pt x="87" y="21"/>
                  </a:lnTo>
                  <a:lnTo>
                    <a:pt x="63" y="23"/>
                  </a:lnTo>
                  <a:lnTo>
                    <a:pt x="63" y="23"/>
                  </a:lnTo>
                  <a:close/>
                  <a:moveTo>
                    <a:pt x="16" y="32"/>
                  </a:moveTo>
                  <a:lnTo>
                    <a:pt x="16" y="32"/>
                  </a:lnTo>
                  <a:lnTo>
                    <a:pt x="10" y="30"/>
                  </a:lnTo>
                  <a:lnTo>
                    <a:pt x="6" y="27"/>
                  </a:lnTo>
                  <a:lnTo>
                    <a:pt x="6" y="16"/>
                  </a:lnTo>
                  <a:lnTo>
                    <a:pt x="6" y="16"/>
                  </a:lnTo>
                  <a:lnTo>
                    <a:pt x="10" y="17"/>
                  </a:lnTo>
                  <a:lnTo>
                    <a:pt x="16" y="20"/>
                  </a:lnTo>
                  <a:lnTo>
                    <a:pt x="16" y="32"/>
                  </a:lnTo>
                  <a:close/>
                  <a:moveTo>
                    <a:pt x="34" y="38"/>
                  </a:moveTo>
                  <a:lnTo>
                    <a:pt x="34" y="38"/>
                  </a:lnTo>
                  <a:lnTo>
                    <a:pt x="24" y="35"/>
                  </a:lnTo>
                  <a:lnTo>
                    <a:pt x="24" y="23"/>
                  </a:lnTo>
                  <a:lnTo>
                    <a:pt x="24" y="23"/>
                  </a:lnTo>
                  <a:lnTo>
                    <a:pt x="34" y="25"/>
                  </a:lnTo>
                  <a:lnTo>
                    <a:pt x="34" y="38"/>
                  </a:lnTo>
                  <a:close/>
                  <a:moveTo>
                    <a:pt x="52" y="41"/>
                  </a:moveTo>
                  <a:lnTo>
                    <a:pt x="52" y="41"/>
                  </a:lnTo>
                  <a:lnTo>
                    <a:pt x="44" y="39"/>
                  </a:lnTo>
                  <a:lnTo>
                    <a:pt x="44" y="27"/>
                  </a:lnTo>
                  <a:lnTo>
                    <a:pt x="44" y="27"/>
                  </a:lnTo>
                  <a:lnTo>
                    <a:pt x="52" y="28"/>
                  </a:lnTo>
                  <a:lnTo>
                    <a:pt x="52" y="41"/>
                  </a:lnTo>
                  <a:close/>
                  <a:moveTo>
                    <a:pt x="70" y="41"/>
                  </a:moveTo>
                  <a:lnTo>
                    <a:pt x="70" y="41"/>
                  </a:lnTo>
                  <a:lnTo>
                    <a:pt x="67" y="41"/>
                  </a:lnTo>
                  <a:lnTo>
                    <a:pt x="67" y="41"/>
                  </a:lnTo>
                  <a:lnTo>
                    <a:pt x="62" y="41"/>
                  </a:lnTo>
                  <a:lnTo>
                    <a:pt x="62" y="28"/>
                  </a:lnTo>
                  <a:lnTo>
                    <a:pt x="62" y="28"/>
                  </a:lnTo>
                  <a:lnTo>
                    <a:pt x="67" y="28"/>
                  </a:lnTo>
                  <a:lnTo>
                    <a:pt x="67" y="28"/>
                  </a:lnTo>
                  <a:lnTo>
                    <a:pt x="70" y="28"/>
                  </a:lnTo>
                  <a:lnTo>
                    <a:pt x="70" y="41"/>
                  </a:lnTo>
                  <a:close/>
                  <a:moveTo>
                    <a:pt x="126" y="27"/>
                  </a:moveTo>
                  <a:lnTo>
                    <a:pt x="126" y="27"/>
                  </a:lnTo>
                  <a:lnTo>
                    <a:pt x="119" y="32"/>
                  </a:lnTo>
                  <a:lnTo>
                    <a:pt x="119" y="18"/>
                  </a:lnTo>
                  <a:lnTo>
                    <a:pt x="119" y="18"/>
                  </a:lnTo>
                  <a:lnTo>
                    <a:pt x="126" y="14"/>
                  </a:lnTo>
                  <a:lnTo>
                    <a:pt x="126" y="2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8" name="Freeform 67">
              <a:extLst>
                <a:ext uri="{FF2B5EF4-FFF2-40B4-BE49-F238E27FC236}">
                  <a16:creationId xmlns:a16="http://schemas.microsoft.com/office/drawing/2014/main" id="{74F15544-F04C-42EE-B37E-1B9B5F840E0E}"/>
                </a:ext>
              </a:extLst>
            </p:cNvPr>
            <p:cNvSpPr>
              <a:spLocks noEditPoints="1"/>
            </p:cNvSpPr>
            <p:nvPr/>
          </p:nvSpPr>
          <p:spPr bwMode="auto">
            <a:xfrm>
              <a:off x="5100638" y="3275013"/>
              <a:ext cx="215900" cy="69850"/>
            </a:xfrm>
            <a:custGeom>
              <a:avLst/>
              <a:gdLst/>
              <a:ahLst/>
              <a:cxnLst>
                <a:cxn ang="0">
                  <a:pos x="0" y="19"/>
                </a:cxn>
                <a:cxn ang="0">
                  <a:pos x="6" y="29"/>
                </a:cxn>
                <a:cxn ang="0">
                  <a:pos x="21" y="36"/>
                </a:cxn>
                <a:cxn ang="0">
                  <a:pos x="42" y="42"/>
                </a:cxn>
                <a:cxn ang="0">
                  <a:pos x="67" y="44"/>
                </a:cxn>
                <a:cxn ang="0">
                  <a:pos x="81" y="43"/>
                </a:cxn>
                <a:cxn ang="0">
                  <a:pos x="105" y="40"/>
                </a:cxn>
                <a:cxn ang="0">
                  <a:pos x="123" y="33"/>
                </a:cxn>
                <a:cxn ang="0">
                  <a:pos x="133" y="25"/>
                </a:cxn>
                <a:cxn ang="0">
                  <a:pos x="134" y="19"/>
                </a:cxn>
                <a:cxn ang="0">
                  <a:pos x="136" y="19"/>
                </a:cxn>
                <a:cxn ang="0">
                  <a:pos x="136" y="7"/>
                </a:cxn>
                <a:cxn ang="0">
                  <a:pos x="123" y="14"/>
                </a:cxn>
                <a:cxn ang="0">
                  <a:pos x="90" y="21"/>
                </a:cxn>
                <a:cxn ang="0">
                  <a:pos x="71" y="22"/>
                </a:cxn>
                <a:cxn ang="0">
                  <a:pos x="38" y="19"/>
                </a:cxn>
                <a:cxn ang="0">
                  <a:pos x="18" y="14"/>
                </a:cxn>
                <a:cxn ang="0">
                  <a:pos x="6" y="5"/>
                </a:cxn>
                <a:cxn ang="0">
                  <a:pos x="1" y="0"/>
                </a:cxn>
                <a:cxn ang="0">
                  <a:pos x="0" y="1"/>
                </a:cxn>
                <a:cxn ang="0">
                  <a:pos x="0" y="19"/>
                </a:cxn>
                <a:cxn ang="0">
                  <a:pos x="120" y="19"/>
                </a:cxn>
                <a:cxn ang="0">
                  <a:pos x="127" y="16"/>
                </a:cxn>
                <a:cxn ang="0">
                  <a:pos x="127" y="26"/>
                </a:cxn>
                <a:cxn ang="0">
                  <a:pos x="120" y="19"/>
                </a:cxn>
                <a:cxn ang="0">
                  <a:pos x="63" y="28"/>
                </a:cxn>
                <a:cxn ang="0">
                  <a:pos x="67" y="28"/>
                </a:cxn>
                <a:cxn ang="0">
                  <a:pos x="71" y="40"/>
                </a:cxn>
                <a:cxn ang="0">
                  <a:pos x="67" y="40"/>
                </a:cxn>
                <a:cxn ang="0">
                  <a:pos x="63" y="40"/>
                </a:cxn>
                <a:cxn ang="0">
                  <a:pos x="43" y="26"/>
                </a:cxn>
                <a:cxn ang="0">
                  <a:pos x="53" y="26"/>
                </a:cxn>
                <a:cxn ang="0">
                  <a:pos x="53" y="40"/>
                </a:cxn>
                <a:cxn ang="0">
                  <a:pos x="43" y="26"/>
                </a:cxn>
                <a:cxn ang="0">
                  <a:pos x="25" y="22"/>
                </a:cxn>
                <a:cxn ang="0">
                  <a:pos x="35" y="37"/>
                </a:cxn>
                <a:cxn ang="0">
                  <a:pos x="25" y="35"/>
                </a:cxn>
                <a:cxn ang="0">
                  <a:pos x="7" y="12"/>
                </a:cxn>
                <a:cxn ang="0">
                  <a:pos x="17" y="18"/>
                </a:cxn>
                <a:cxn ang="0">
                  <a:pos x="17" y="32"/>
                </a:cxn>
                <a:cxn ang="0">
                  <a:pos x="7" y="25"/>
                </a:cxn>
              </a:cxnLst>
              <a:rect l="0" t="0" r="r" b="b"/>
              <a:pathLst>
                <a:path w="136" h="44">
                  <a:moveTo>
                    <a:pt x="0" y="19"/>
                  </a:moveTo>
                  <a:lnTo>
                    <a:pt x="0" y="19"/>
                  </a:lnTo>
                  <a:lnTo>
                    <a:pt x="1" y="23"/>
                  </a:lnTo>
                  <a:lnTo>
                    <a:pt x="6" y="29"/>
                  </a:lnTo>
                  <a:lnTo>
                    <a:pt x="13" y="33"/>
                  </a:lnTo>
                  <a:lnTo>
                    <a:pt x="21" y="36"/>
                  </a:lnTo>
                  <a:lnTo>
                    <a:pt x="31" y="40"/>
                  </a:lnTo>
                  <a:lnTo>
                    <a:pt x="42" y="42"/>
                  </a:lnTo>
                  <a:lnTo>
                    <a:pt x="55" y="43"/>
                  </a:lnTo>
                  <a:lnTo>
                    <a:pt x="67" y="44"/>
                  </a:lnTo>
                  <a:lnTo>
                    <a:pt x="67" y="44"/>
                  </a:lnTo>
                  <a:lnTo>
                    <a:pt x="81" y="43"/>
                  </a:lnTo>
                  <a:lnTo>
                    <a:pt x="94" y="42"/>
                  </a:lnTo>
                  <a:lnTo>
                    <a:pt x="105" y="40"/>
                  </a:lnTo>
                  <a:lnTo>
                    <a:pt x="115" y="37"/>
                  </a:lnTo>
                  <a:lnTo>
                    <a:pt x="123" y="33"/>
                  </a:lnTo>
                  <a:lnTo>
                    <a:pt x="129" y="29"/>
                  </a:lnTo>
                  <a:lnTo>
                    <a:pt x="133" y="25"/>
                  </a:lnTo>
                  <a:lnTo>
                    <a:pt x="134" y="19"/>
                  </a:lnTo>
                  <a:lnTo>
                    <a:pt x="134" y="19"/>
                  </a:lnTo>
                  <a:lnTo>
                    <a:pt x="136" y="19"/>
                  </a:lnTo>
                  <a:lnTo>
                    <a:pt x="136" y="19"/>
                  </a:lnTo>
                  <a:lnTo>
                    <a:pt x="136" y="7"/>
                  </a:lnTo>
                  <a:lnTo>
                    <a:pt x="136" y="7"/>
                  </a:lnTo>
                  <a:lnTo>
                    <a:pt x="130" y="9"/>
                  </a:lnTo>
                  <a:lnTo>
                    <a:pt x="123" y="14"/>
                  </a:lnTo>
                  <a:lnTo>
                    <a:pt x="108" y="18"/>
                  </a:lnTo>
                  <a:lnTo>
                    <a:pt x="90" y="21"/>
                  </a:lnTo>
                  <a:lnTo>
                    <a:pt x="71" y="22"/>
                  </a:lnTo>
                  <a:lnTo>
                    <a:pt x="71" y="22"/>
                  </a:lnTo>
                  <a:lnTo>
                    <a:pt x="49" y="21"/>
                  </a:lnTo>
                  <a:lnTo>
                    <a:pt x="38" y="19"/>
                  </a:lnTo>
                  <a:lnTo>
                    <a:pt x="28" y="16"/>
                  </a:lnTo>
                  <a:lnTo>
                    <a:pt x="18" y="14"/>
                  </a:lnTo>
                  <a:lnTo>
                    <a:pt x="11" y="9"/>
                  </a:lnTo>
                  <a:lnTo>
                    <a:pt x="6" y="5"/>
                  </a:lnTo>
                  <a:lnTo>
                    <a:pt x="1" y="0"/>
                  </a:lnTo>
                  <a:lnTo>
                    <a:pt x="1" y="0"/>
                  </a:lnTo>
                  <a:lnTo>
                    <a:pt x="0" y="1"/>
                  </a:lnTo>
                  <a:lnTo>
                    <a:pt x="0" y="1"/>
                  </a:lnTo>
                  <a:lnTo>
                    <a:pt x="0" y="2"/>
                  </a:lnTo>
                  <a:lnTo>
                    <a:pt x="0" y="19"/>
                  </a:lnTo>
                  <a:lnTo>
                    <a:pt x="0" y="19"/>
                  </a:lnTo>
                  <a:close/>
                  <a:moveTo>
                    <a:pt x="120" y="19"/>
                  </a:moveTo>
                  <a:lnTo>
                    <a:pt x="120" y="19"/>
                  </a:lnTo>
                  <a:lnTo>
                    <a:pt x="127" y="16"/>
                  </a:lnTo>
                  <a:lnTo>
                    <a:pt x="127" y="26"/>
                  </a:lnTo>
                  <a:lnTo>
                    <a:pt x="127" y="26"/>
                  </a:lnTo>
                  <a:lnTo>
                    <a:pt x="120" y="30"/>
                  </a:lnTo>
                  <a:lnTo>
                    <a:pt x="120" y="19"/>
                  </a:lnTo>
                  <a:close/>
                  <a:moveTo>
                    <a:pt x="63" y="28"/>
                  </a:moveTo>
                  <a:lnTo>
                    <a:pt x="63" y="28"/>
                  </a:lnTo>
                  <a:lnTo>
                    <a:pt x="67" y="28"/>
                  </a:lnTo>
                  <a:lnTo>
                    <a:pt x="67" y="28"/>
                  </a:lnTo>
                  <a:lnTo>
                    <a:pt x="71" y="28"/>
                  </a:lnTo>
                  <a:lnTo>
                    <a:pt x="71" y="40"/>
                  </a:lnTo>
                  <a:lnTo>
                    <a:pt x="71" y="40"/>
                  </a:lnTo>
                  <a:lnTo>
                    <a:pt x="67" y="40"/>
                  </a:lnTo>
                  <a:lnTo>
                    <a:pt x="67" y="40"/>
                  </a:lnTo>
                  <a:lnTo>
                    <a:pt x="63" y="40"/>
                  </a:lnTo>
                  <a:lnTo>
                    <a:pt x="63" y="28"/>
                  </a:lnTo>
                  <a:close/>
                  <a:moveTo>
                    <a:pt x="43" y="26"/>
                  </a:moveTo>
                  <a:lnTo>
                    <a:pt x="43" y="26"/>
                  </a:lnTo>
                  <a:lnTo>
                    <a:pt x="53" y="26"/>
                  </a:lnTo>
                  <a:lnTo>
                    <a:pt x="53" y="40"/>
                  </a:lnTo>
                  <a:lnTo>
                    <a:pt x="53" y="40"/>
                  </a:lnTo>
                  <a:lnTo>
                    <a:pt x="43" y="39"/>
                  </a:lnTo>
                  <a:lnTo>
                    <a:pt x="43" y="26"/>
                  </a:lnTo>
                  <a:close/>
                  <a:moveTo>
                    <a:pt x="25" y="22"/>
                  </a:moveTo>
                  <a:lnTo>
                    <a:pt x="25" y="22"/>
                  </a:lnTo>
                  <a:lnTo>
                    <a:pt x="35" y="23"/>
                  </a:lnTo>
                  <a:lnTo>
                    <a:pt x="35" y="37"/>
                  </a:lnTo>
                  <a:lnTo>
                    <a:pt x="35" y="37"/>
                  </a:lnTo>
                  <a:lnTo>
                    <a:pt x="25" y="35"/>
                  </a:lnTo>
                  <a:lnTo>
                    <a:pt x="25" y="22"/>
                  </a:lnTo>
                  <a:close/>
                  <a:moveTo>
                    <a:pt x="7" y="12"/>
                  </a:moveTo>
                  <a:lnTo>
                    <a:pt x="7" y="12"/>
                  </a:lnTo>
                  <a:lnTo>
                    <a:pt x="17" y="18"/>
                  </a:lnTo>
                  <a:lnTo>
                    <a:pt x="17" y="32"/>
                  </a:lnTo>
                  <a:lnTo>
                    <a:pt x="17" y="32"/>
                  </a:lnTo>
                  <a:lnTo>
                    <a:pt x="11" y="29"/>
                  </a:lnTo>
                  <a:lnTo>
                    <a:pt x="7" y="25"/>
                  </a:lnTo>
                  <a:lnTo>
                    <a:pt x="7" y="1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49" name="Freeform 68">
              <a:extLst>
                <a:ext uri="{FF2B5EF4-FFF2-40B4-BE49-F238E27FC236}">
                  <a16:creationId xmlns:a16="http://schemas.microsoft.com/office/drawing/2014/main" id="{6F645C4E-0C6D-4C9E-B72A-00F0C505BA48}"/>
                </a:ext>
              </a:extLst>
            </p:cNvPr>
            <p:cNvSpPr>
              <a:spLocks noEditPoints="1"/>
            </p:cNvSpPr>
            <p:nvPr/>
          </p:nvSpPr>
          <p:spPr bwMode="auto">
            <a:xfrm>
              <a:off x="5100638" y="3359150"/>
              <a:ext cx="215900" cy="71438"/>
            </a:xfrm>
            <a:custGeom>
              <a:avLst/>
              <a:gdLst/>
              <a:ahLst/>
              <a:cxnLst>
                <a:cxn ang="0">
                  <a:pos x="1" y="0"/>
                </a:cxn>
                <a:cxn ang="0">
                  <a:pos x="0" y="3"/>
                </a:cxn>
                <a:cxn ang="0">
                  <a:pos x="0" y="19"/>
                </a:cxn>
                <a:cxn ang="0">
                  <a:pos x="0" y="19"/>
                </a:cxn>
                <a:cxn ang="0">
                  <a:pos x="6" y="29"/>
                </a:cxn>
                <a:cxn ang="0">
                  <a:pos x="21" y="38"/>
                </a:cxn>
                <a:cxn ang="0">
                  <a:pos x="42" y="43"/>
                </a:cxn>
                <a:cxn ang="0">
                  <a:pos x="67" y="45"/>
                </a:cxn>
                <a:cxn ang="0">
                  <a:pos x="81" y="45"/>
                </a:cxn>
                <a:cxn ang="0">
                  <a:pos x="105" y="40"/>
                </a:cxn>
                <a:cxn ang="0">
                  <a:pos x="123" y="33"/>
                </a:cxn>
                <a:cxn ang="0">
                  <a:pos x="133" y="25"/>
                </a:cxn>
                <a:cxn ang="0">
                  <a:pos x="134" y="21"/>
                </a:cxn>
                <a:cxn ang="0">
                  <a:pos x="136" y="19"/>
                </a:cxn>
                <a:cxn ang="0">
                  <a:pos x="136" y="7"/>
                </a:cxn>
                <a:cxn ang="0">
                  <a:pos x="123" y="14"/>
                </a:cxn>
                <a:cxn ang="0">
                  <a:pos x="90" y="22"/>
                </a:cxn>
                <a:cxn ang="0">
                  <a:pos x="71" y="24"/>
                </a:cxn>
                <a:cxn ang="0">
                  <a:pos x="38" y="19"/>
                </a:cxn>
                <a:cxn ang="0">
                  <a:pos x="18" y="14"/>
                </a:cxn>
                <a:cxn ang="0">
                  <a:pos x="6" y="5"/>
                </a:cxn>
                <a:cxn ang="0">
                  <a:pos x="1" y="0"/>
                </a:cxn>
                <a:cxn ang="0">
                  <a:pos x="17" y="32"/>
                </a:cxn>
                <a:cxn ang="0">
                  <a:pos x="7" y="26"/>
                </a:cxn>
                <a:cxn ang="0">
                  <a:pos x="7" y="12"/>
                </a:cxn>
                <a:cxn ang="0">
                  <a:pos x="17" y="32"/>
                </a:cxn>
                <a:cxn ang="0">
                  <a:pos x="35" y="38"/>
                </a:cxn>
                <a:cxn ang="0">
                  <a:pos x="25" y="22"/>
                </a:cxn>
                <a:cxn ang="0">
                  <a:pos x="35" y="25"/>
                </a:cxn>
                <a:cxn ang="0">
                  <a:pos x="53" y="40"/>
                </a:cxn>
                <a:cxn ang="0">
                  <a:pos x="43" y="39"/>
                </a:cxn>
                <a:cxn ang="0">
                  <a:pos x="43" y="26"/>
                </a:cxn>
                <a:cxn ang="0">
                  <a:pos x="53" y="40"/>
                </a:cxn>
                <a:cxn ang="0">
                  <a:pos x="120" y="21"/>
                </a:cxn>
                <a:cxn ang="0">
                  <a:pos x="127" y="28"/>
                </a:cxn>
                <a:cxn ang="0">
                  <a:pos x="120" y="32"/>
                </a:cxn>
                <a:cxn ang="0">
                  <a:pos x="71" y="40"/>
                </a:cxn>
                <a:cxn ang="0">
                  <a:pos x="67" y="42"/>
                </a:cxn>
                <a:cxn ang="0">
                  <a:pos x="63" y="40"/>
                </a:cxn>
                <a:cxn ang="0">
                  <a:pos x="63" y="28"/>
                </a:cxn>
                <a:cxn ang="0">
                  <a:pos x="67" y="28"/>
                </a:cxn>
                <a:cxn ang="0">
                  <a:pos x="71" y="40"/>
                </a:cxn>
              </a:cxnLst>
              <a:rect l="0" t="0" r="r" b="b"/>
              <a:pathLst>
                <a:path w="136" h="45">
                  <a:moveTo>
                    <a:pt x="1" y="0"/>
                  </a:moveTo>
                  <a:lnTo>
                    <a:pt x="1" y="0"/>
                  </a:lnTo>
                  <a:lnTo>
                    <a:pt x="0" y="3"/>
                  </a:lnTo>
                  <a:lnTo>
                    <a:pt x="0" y="3"/>
                  </a:lnTo>
                  <a:lnTo>
                    <a:pt x="0" y="3"/>
                  </a:lnTo>
                  <a:lnTo>
                    <a:pt x="0" y="19"/>
                  </a:lnTo>
                  <a:lnTo>
                    <a:pt x="0" y="19"/>
                  </a:lnTo>
                  <a:lnTo>
                    <a:pt x="0" y="19"/>
                  </a:lnTo>
                  <a:lnTo>
                    <a:pt x="1" y="25"/>
                  </a:lnTo>
                  <a:lnTo>
                    <a:pt x="6" y="29"/>
                  </a:lnTo>
                  <a:lnTo>
                    <a:pt x="13" y="33"/>
                  </a:lnTo>
                  <a:lnTo>
                    <a:pt x="21" y="38"/>
                  </a:lnTo>
                  <a:lnTo>
                    <a:pt x="31" y="40"/>
                  </a:lnTo>
                  <a:lnTo>
                    <a:pt x="42" y="43"/>
                  </a:lnTo>
                  <a:lnTo>
                    <a:pt x="55" y="45"/>
                  </a:lnTo>
                  <a:lnTo>
                    <a:pt x="67" y="45"/>
                  </a:lnTo>
                  <a:lnTo>
                    <a:pt x="67" y="45"/>
                  </a:lnTo>
                  <a:lnTo>
                    <a:pt x="81" y="45"/>
                  </a:lnTo>
                  <a:lnTo>
                    <a:pt x="94" y="43"/>
                  </a:lnTo>
                  <a:lnTo>
                    <a:pt x="105" y="40"/>
                  </a:lnTo>
                  <a:lnTo>
                    <a:pt x="115" y="38"/>
                  </a:lnTo>
                  <a:lnTo>
                    <a:pt x="123" y="33"/>
                  </a:lnTo>
                  <a:lnTo>
                    <a:pt x="129" y="31"/>
                  </a:lnTo>
                  <a:lnTo>
                    <a:pt x="133" y="25"/>
                  </a:lnTo>
                  <a:lnTo>
                    <a:pt x="134" y="21"/>
                  </a:lnTo>
                  <a:lnTo>
                    <a:pt x="134" y="21"/>
                  </a:lnTo>
                  <a:lnTo>
                    <a:pt x="136" y="19"/>
                  </a:lnTo>
                  <a:lnTo>
                    <a:pt x="136" y="19"/>
                  </a:lnTo>
                  <a:lnTo>
                    <a:pt x="136" y="7"/>
                  </a:lnTo>
                  <a:lnTo>
                    <a:pt x="136" y="7"/>
                  </a:lnTo>
                  <a:lnTo>
                    <a:pt x="130" y="11"/>
                  </a:lnTo>
                  <a:lnTo>
                    <a:pt x="123" y="14"/>
                  </a:lnTo>
                  <a:lnTo>
                    <a:pt x="108" y="19"/>
                  </a:lnTo>
                  <a:lnTo>
                    <a:pt x="90" y="22"/>
                  </a:lnTo>
                  <a:lnTo>
                    <a:pt x="71" y="24"/>
                  </a:lnTo>
                  <a:lnTo>
                    <a:pt x="71" y="24"/>
                  </a:lnTo>
                  <a:lnTo>
                    <a:pt x="49" y="22"/>
                  </a:lnTo>
                  <a:lnTo>
                    <a:pt x="38" y="19"/>
                  </a:lnTo>
                  <a:lnTo>
                    <a:pt x="28" y="17"/>
                  </a:lnTo>
                  <a:lnTo>
                    <a:pt x="18" y="14"/>
                  </a:lnTo>
                  <a:lnTo>
                    <a:pt x="11" y="10"/>
                  </a:lnTo>
                  <a:lnTo>
                    <a:pt x="6" y="5"/>
                  </a:lnTo>
                  <a:lnTo>
                    <a:pt x="1" y="0"/>
                  </a:lnTo>
                  <a:lnTo>
                    <a:pt x="1" y="0"/>
                  </a:lnTo>
                  <a:close/>
                  <a:moveTo>
                    <a:pt x="17" y="32"/>
                  </a:moveTo>
                  <a:lnTo>
                    <a:pt x="17" y="32"/>
                  </a:lnTo>
                  <a:lnTo>
                    <a:pt x="11" y="29"/>
                  </a:lnTo>
                  <a:lnTo>
                    <a:pt x="7" y="26"/>
                  </a:lnTo>
                  <a:lnTo>
                    <a:pt x="7" y="12"/>
                  </a:lnTo>
                  <a:lnTo>
                    <a:pt x="7" y="12"/>
                  </a:lnTo>
                  <a:lnTo>
                    <a:pt x="17" y="18"/>
                  </a:lnTo>
                  <a:lnTo>
                    <a:pt x="17" y="32"/>
                  </a:lnTo>
                  <a:close/>
                  <a:moveTo>
                    <a:pt x="35" y="38"/>
                  </a:moveTo>
                  <a:lnTo>
                    <a:pt x="35" y="38"/>
                  </a:lnTo>
                  <a:lnTo>
                    <a:pt x="25" y="35"/>
                  </a:lnTo>
                  <a:lnTo>
                    <a:pt x="25" y="22"/>
                  </a:lnTo>
                  <a:lnTo>
                    <a:pt x="25" y="22"/>
                  </a:lnTo>
                  <a:lnTo>
                    <a:pt x="35" y="25"/>
                  </a:lnTo>
                  <a:lnTo>
                    <a:pt x="35" y="38"/>
                  </a:lnTo>
                  <a:close/>
                  <a:moveTo>
                    <a:pt x="53" y="40"/>
                  </a:moveTo>
                  <a:lnTo>
                    <a:pt x="53" y="40"/>
                  </a:lnTo>
                  <a:lnTo>
                    <a:pt x="43" y="39"/>
                  </a:lnTo>
                  <a:lnTo>
                    <a:pt x="43" y="26"/>
                  </a:lnTo>
                  <a:lnTo>
                    <a:pt x="43" y="26"/>
                  </a:lnTo>
                  <a:lnTo>
                    <a:pt x="53" y="28"/>
                  </a:lnTo>
                  <a:lnTo>
                    <a:pt x="53" y="40"/>
                  </a:lnTo>
                  <a:close/>
                  <a:moveTo>
                    <a:pt x="120" y="21"/>
                  </a:moveTo>
                  <a:lnTo>
                    <a:pt x="120" y="21"/>
                  </a:lnTo>
                  <a:lnTo>
                    <a:pt x="127" y="17"/>
                  </a:lnTo>
                  <a:lnTo>
                    <a:pt x="127" y="28"/>
                  </a:lnTo>
                  <a:lnTo>
                    <a:pt x="127" y="28"/>
                  </a:lnTo>
                  <a:lnTo>
                    <a:pt x="120" y="32"/>
                  </a:lnTo>
                  <a:lnTo>
                    <a:pt x="120" y="21"/>
                  </a:lnTo>
                  <a:close/>
                  <a:moveTo>
                    <a:pt x="71" y="40"/>
                  </a:moveTo>
                  <a:lnTo>
                    <a:pt x="71" y="40"/>
                  </a:lnTo>
                  <a:lnTo>
                    <a:pt x="67" y="42"/>
                  </a:lnTo>
                  <a:lnTo>
                    <a:pt x="67" y="42"/>
                  </a:lnTo>
                  <a:lnTo>
                    <a:pt x="63" y="40"/>
                  </a:lnTo>
                  <a:lnTo>
                    <a:pt x="63" y="28"/>
                  </a:lnTo>
                  <a:lnTo>
                    <a:pt x="63" y="28"/>
                  </a:lnTo>
                  <a:lnTo>
                    <a:pt x="67" y="28"/>
                  </a:lnTo>
                  <a:lnTo>
                    <a:pt x="67" y="28"/>
                  </a:lnTo>
                  <a:lnTo>
                    <a:pt x="71" y="28"/>
                  </a:lnTo>
                  <a:lnTo>
                    <a:pt x="71"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0" name="Freeform 69">
              <a:extLst>
                <a:ext uri="{FF2B5EF4-FFF2-40B4-BE49-F238E27FC236}">
                  <a16:creationId xmlns:a16="http://schemas.microsoft.com/office/drawing/2014/main" id="{DAD41988-6322-4867-B0D9-7C2963F6E2F4}"/>
                </a:ext>
              </a:extLst>
            </p:cNvPr>
            <p:cNvSpPr>
              <a:spLocks/>
            </p:cNvSpPr>
            <p:nvPr/>
          </p:nvSpPr>
          <p:spPr bwMode="auto">
            <a:xfrm>
              <a:off x="5106988" y="3233738"/>
              <a:ext cx="214312" cy="69850"/>
            </a:xfrm>
            <a:custGeom>
              <a:avLst/>
              <a:gdLst/>
              <a:ahLst/>
              <a:cxnLst>
                <a:cxn ang="0">
                  <a:pos x="126" y="26"/>
                </a:cxn>
                <a:cxn ang="0">
                  <a:pos x="119" y="30"/>
                </a:cxn>
                <a:cxn ang="0">
                  <a:pos x="119" y="17"/>
                </a:cxn>
                <a:cxn ang="0">
                  <a:pos x="98" y="24"/>
                </a:cxn>
                <a:cxn ang="0">
                  <a:pos x="70" y="27"/>
                </a:cxn>
                <a:cxn ang="0">
                  <a:pos x="70" y="40"/>
                </a:cxn>
                <a:cxn ang="0">
                  <a:pos x="67" y="40"/>
                </a:cxn>
                <a:cxn ang="0">
                  <a:pos x="62" y="27"/>
                </a:cxn>
                <a:cxn ang="0">
                  <a:pos x="52" y="26"/>
                </a:cxn>
                <a:cxn ang="0">
                  <a:pos x="52" y="38"/>
                </a:cxn>
                <a:cxn ang="0">
                  <a:pos x="44" y="26"/>
                </a:cxn>
                <a:cxn ang="0">
                  <a:pos x="34" y="23"/>
                </a:cxn>
                <a:cxn ang="0">
                  <a:pos x="34" y="37"/>
                </a:cxn>
                <a:cxn ang="0">
                  <a:pos x="24" y="21"/>
                </a:cxn>
                <a:cxn ang="0">
                  <a:pos x="16" y="17"/>
                </a:cxn>
                <a:cxn ang="0">
                  <a:pos x="16" y="30"/>
                </a:cxn>
                <a:cxn ang="0">
                  <a:pos x="6" y="24"/>
                </a:cxn>
                <a:cxn ang="0">
                  <a:pos x="6" y="12"/>
                </a:cxn>
                <a:cxn ang="0">
                  <a:pos x="0" y="0"/>
                </a:cxn>
                <a:cxn ang="0">
                  <a:pos x="0" y="17"/>
                </a:cxn>
                <a:cxn ang="0">
                  <a:pos x="2" y="23"/>
                </a:cxn>
                <a:cxn ang="0">
                  <a:pos x="11" y="33"/>
                </a:cxn>
                <a:cxn ang="0">
                  <a:pos x="30" y="38"/>
                </a:cxn>
                <a:cxn ang="0">
                  <a:pos x="53" y="42"/>
                </a:cxn>
                <a:cxn ang="0">
                  <a:pos x="67" y="44"/>
                </a:cxn>
                <a:cxn ang="0">
                  <a:pos x="93" y="41"/>
                </a:cxn>
                <a:cxn ang="0">
                  <a:pos x="114" y="35"/>
                </a:cxn>
                <a:cxn ang="0">
                  <a:pos x="128" y="28"/>
                </a:cxn>
                <a:cxn ang="0">
                  <a:pos x="135" y="19"/>
                </a:cxn>
                <a:cxn ang="0">
                  <a:pos x="135" y="17"/>
                </a:cxn>
                <a:cxn ang="0">
                  <a:pos x="135" y="0"/>
                </a:cxn>
                <a:cxn ang="0">
                  <a:pos x="133" y="5"/>
                </a:cxn>
                <a:cxn ang="0">
                  <a:pos x="126" y="13"/>
                </a:cxn>
              </a:cxnLst>
              <a:rect l="0" t="0" r="r" b="b"/>
              <a:pathLst>
                <a:path w="135" h="44">
                  <a:moveTo>
                    <a:pt x="126" y="13"/>
                  </a:moveTo>
                  <a:lnTo>
                    <a:pt x="126" y="26"/>
                  </a:lnTo>
                  <a:lnTo>
                    <a:pt x="126" y="26"/>
                  </a:lnTo>
                  <a:lnTo>
                    <a:pt x="119" y="30"/>
                  </a:lnTo>
                  <a:lnTo>
                    <a:pt x="119" y="17"/>
                  </a:lnTo>
                  <a:lnTo>
                    <a:pt x="119" y="17"/>
                  </a:lnTo>
                  <a:lnTo>
                    <a:pt x="109" y="21"/>
                  </a:lnTo>
                  <a:lnTo>
                    <a:pt x="98" y="24"/>
                  </a:lnTo>
                  <a:lnTo>
                    <a:pt x="84" y="26"/>
                  </a:lnTo>
                  <a:lnTo>
                    <a:pt x="70" y="27"/>
                  </a:lnTo>
                  <a:lnTo>
                    <a:pt x="70" y="40"/>
                  </a:lnTo>
                  <a:lnTo>
                    <a:pt x="70" y="40"/>
                  </a:lnTo>
                  <a:lnTo>
                    <a:pt x="67" y="40"/>
                  </a:lnTo>
                  <a:lnTo>
                    <a:pt x="67" y="40"/>
                  </a:lnTo>
                  <a:lnTo>
                    <a:pt x="62" y="40"/>
                  </a:lnTo>
                  <a:lnTo>
                    <a:pt x="62" y="27"/>
                  </a:lnTo>
                  <a:lnTo>
                    <a:pt x="62" y="27"/>
                  </a:lnTo>
                  <a:lnTo>
                    <a:pt x="52" y="26"/>
                  </a:lnTo>
                  <a:lnTo>
                    <a:pt x="52" y="38"/>
                  </a:lnTo>
                  <a:lnTo>
                    <a:pt x="52" y="38"/>
                  </a:lnTo>
                  <a:lnTo>
                    <a:pt x="44" y="38"/>
                  </a:lnTo>
                  <a:lnTo>
                    <a:pt x="44" y="26"/>
                  </a:lnTo>
                  <a:lnTo>
                    <a:pt x="44" y="26"/>
                  </a:lnTo>
                  <a:lnTo>
                    <a:pt x="34" y="23"/>
                  </a:lnTo>
                  <a:lnTo>
                    <a:pt x="34" y="37"/>
                  </a:lnTo>
                  <a:lnTo>
                    <a:pt x="34" y="37"/>
                  </a:lnTo>
                  <a:lnTo>
                    <a:pt x="24" y="34"/>
                  </a:lnTo>
                  <a:lnTo>
                    <a:pt x="24" y="21"/>
                  </a:lnTo>
                  <a:lnTo>
                    <a:pt x="24" y="21"/>
                  </a:lnTo>
                  <a:lnTo>
                    <a:pt x="16" y="17"/>
                  </a:lnTo>
                  <a:lnTo>
                    <a:pt x="16" y="30"/>
                  </a:lnTo>
                  <a:lnTo>
                    <a:pt x="16" y="30"/>
                  </a:lnTo>
                  <a:lnTo>
                    <a:pt x="10" y="27"/>
                  </a:lnTo>
                  <a:lnTo>
                    <a:pt x="6" y="24"/>
                  </a:lnTo>
                  <a:lnTo>
                    <a:pt x="6" y="12"/>
                  </a:lnTo>
                  <a:lnTo>
                    <a:pt x="6" y="12"/>
                  </a:lnTo>
                  <a:lnTo>
                    <a:pt x="2" y="6"/>
                  </a:lnTo>
                  <a:lnTo>
                    <a:pt x="0" y="0"/>
                  </a:lnTo>
                  <a:lnTo>
                    <a:pt x="0" y="17"/>
                  </a:lnTo>
                  <a:lnTo>
                    <a:pt x="0" y="17"/>
                  </a:lnTo>
                  <a:lnTo>
                    <a:pt x="0" y="17"/>
                  </a:lnTo>
                  <a:lnTo>
                    <a:pt x="2" y="23"/>
                  </a:lnTo>
                  <a:lnTo>
                    <a:pt x="4" y="27"/>
                  </a:lnTo>
                  <a:lnTo>
                    <a:pt x="11" y="33"/>
                  </a:lnTo>
                  <a:lnTo>
                    <a:pt x="20" y="35"/>
                  </a:lnTo>
                  <a:lnTo>
                    <a:pt x="30" y="38"/>
                  </a:lnTo>
                  <a:lnTo>
                    <a:pt x="41" y="41"/>
                  </a:lnTo>
                  <a:lnTo>
                    <a:pt x="53" y="42"/>
                  </a:lnTo>
                  <a:lnTo>
                    <a:pt x="67" y="44"/>
                  </a:lnTo>
                  <a:lnTo>
                    <a:pt x="67" y="44"/>
                  </a:lnTo>
                  <a:lnTo>
                    <a:pt x="80" y="42"/>
                  </a:lnTo>
                  <a:lnTo>
                    <a:pt x="93" y="41"/>
                  </a:lnTo>
                  <a:lnTo>
                    <a:pt x="104" y="40"/>
                  </a:lnTo>
                  <a:lnTo>
                    <a:pt x="114" y="35"/>
                  </a:lnTo>
                  <a:lnTo>
                    <a:pt x="122" y="33"/>
                  </a:lnTo>
                  <a:lnTo>
                    <a:pt x="128" y="28"/>
                  </a:lnTo>
                  <a:lnTo>
                    <a:pt x="132" y="24"/>
                  </a:lnTo>
                  <a:lnTo>
                    <a:pt x="135" y="19"/>
                  </a:lnTo>
                  <a:lnTo>
                    <a:pt x="135" y="19"/>
                  </a:lnTo>
                  <a:lnTo>
                    <a:pt x="135" y="17"/>
                  </a:lnTo>
                  <a:lnTo>
                    <a:pt x="135" y="17"/>
                  </a:lnTo>
                  <a:lnTo>
                    <a:pt x="135" y="0"/>
                  </a:lnTo>
                  <a:lnTo>
                    <a:pt x="135" y="0"/>
                  </a:lnTo>
                  <a:lnTo>
                    <a:pt x="133" y="5"/>
                  </a:lnTo>
                  <a:lnTo>
                    <a:pt x="132" y="7"/>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1" name="Freeform 70">
              <a:extLst>
                <a:ext uri="{FF2B5EF4-FFF2-40B4-BE49-F238E27FC236}">
                  <a16:creationId xmlns:a16="http://schemas.microsoft.com/office/drawing/2014/main" id="{39A64C73-D039-4F86-9242-937D17ED3A81}"/>
                </a:ext>
              </a:extLst>
            </p:cNvPr>
            <p:cNvSpPr>
              <a:spLocks/>
            </p:cNvSpPr>
            <p:nvPr/>
          </p:nvSpPr>
          <p:spPr bwMode="auto">
            <a:xfrm>
              <a:off x="5318125" y="3230563"/>
              <a:ext cx="3175" cy="3175"/>
            </a:xfrm>
            <a:custGeom>
              <a:avLst/>
              <a:gdLst/>
              <a:ahLst/>
              <a:cxnLst>
                <a:cxn ang="0">
                  <a:pos x="2" y="2"/>
                </a:cxn>
                <a:cxn ang="0">
                  <a:pos x="2" y="2"/>
                </a:cxn>
                <a:cxn ang="0">
                  <a:pos x="2" y="2"/>
                </a:cxn>
                <a:cxn ang="0">
                  <a:pos x="2" y="2"/>
                </a:cxn>
                <a:cxn ang="0">
                  <a:pos x="2" y="2"/>
                </a:cxn>
                <a:cxn ang="0">
                  <a:pos x="0" y="0"/>
                </a:cxn>
                <a:cxn ang="0">
                  <a:pos x="0" y="0"/>
                </a:cxn>
                <a:cxn ang="0">
                  <a:pos x="2" y="2"/>
                </a:cxn>
                <a:cxn ang="0">
                  <a:pos x="2" y="2"/>
                </a:cxn>
              </a:cxnLst>
              <a:rect l="0" t="0" r="r" b="b"/>
              <a:pathLst>
                <a:path w="2" h="2">
                  <a:moveTo>
                    <a:pt x="2" y="2"/>
                  </a:moveTo>
                  <a:lnTo>
                    <a:pt x="2" y="2"/>
                  </a:lnTo>
                  <a:lnTo>
                    <a:pt x="2" y="2"/>
                  </a:lnTo>
                  <a:lnTo>
                    <a:pt x="2" y="2"/>
                  </a:lnTo>
                  <a:lnTo>
                    <a:pt x="2" y="2"/>
                  </a:lnTo>
                  <a:lnTo>
                    <a:pt x="0" y="0"/>
                  </a:lnTo>
                  <a:lnTo>
                    <a:pt x="0" y="0"/>
                  </a:lnTo>
                  <a:lnTo>
                    <a:pt x="2" y="2"/>
                  </a:lnTo>
                  <a:lnTo>
                    <a:pt x="2"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2" name="Freeform 71">
              <a:extLst>
                <a:ext uri="{FF2B5EF4-FFF2-40B4-BE49-F238E27FC236}">
                  <a16:creationId xmlns:a16="http://schemas.microsoft.com/office/drawing/2014/main" id="{E29BD5BC-04B4-4F46-876F-883A29B9A044}"/>
                </a:ext>
              </a:extLst>
            </p:cNvPr>
            <p:cNvSpPr>
              <a:spLocks/>
            </p:cNvSpPr>
            <p:nvPr/>
          </p:nvSpPr>
          <p:spPr bwMode="auto">
            <a:xfrm>
              <a:off x="5106988" y="3230563"/>
              <a:ext cx="1587" cy="3175"/>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3" name="Freeform 72">
              <a:extLst>
                <a:ext uri="{FF2B5EF4-FFF2-40B4-BE49-F238E27FC236}">
                  <a16:creationId xmlns:a16="http://schemas.microsoft.com/office/drawing/2014/main" id="{A5B20047-525B-44FE-863F-C46869268D96}"/>
                </a:ext>
              </a:extLst>
            </p:cNvPr>
            <p:cNvSpPr>
              <a:spLocks/>
            </p:cNvSpPr>
            <p:nvPr/>
          </p:nvSpPr>
          <p:spPr bwMode="auto">
            <a:xfrm>
              <a:off x="5221288" y="3238500"/>
              <a:ext cx="14287" cy="14288"/>
            </a:xfrm>
            <a:custGeom>
              <a:avLst/>
              <a:gdLst/>
              <a:ahLst/>
              <a:cxnLst>
                <a:cxn ang="0">
                  <a:pos x="9" y="3"/>
                </a:cxn>
                <a:cxn ang="0">
                  <a:pos x="9" y="3"/>
                </a:cxn>
                <a:cxn ang="0">
                  <a:pos x="4" y="2"/>
                </a:cxn>
                <a:cxn ang="0">
                  <a:pos x="4" y="2"/>
                </a:cxn>
                <a:cxn ang="0">
                  <a:pos x="0" y="0"/>
                </a:cxn>
                <a:cxn ang="0">
                  <a:pos x="0" y="9"/>
                </a:cxn>
                <a:cxn ang="0">
                  <a:pos x="0" y="9"/>
                </a:cxn>
                <a:cxn ang="0">
                  <a:pos x="7" y="7"/>
                </a:cxn>
                <a:cxn ang="0">
                  <a:pos x="7" y="7"/>
                </a:cxn>
                <a:cxn ang="0">
                  <a:pos x="9" y="6"/>
                </a:cxn>
                <a:cxn ang="0">
                  <a:pos x="9" y="4"/>
                </a:cxn>
                <a:cxn ang="0">
                  <a:pos x="9" y="3"/>
                </a:cxn>
                <a:cxn ang="0">
                  <a:pos x="9" y="3"/>
                </a:cxn>
              </a:cxnLst>
              <a:rect l="0" t="0" r="r" b="b"/>
              <a:pathLst>
                <a:path w="9" h="9">
                  <a:moveTo>
                    <a:pt x="9" y="3"/>
                  </a:moveTo>
                  <a:lnTo>
                    <a:pt x="9" y="3"/>
                  </a:lnTo>
                  <a:lnTo>
                    <a:pt x="4" y="2"/>
                  </a:lnTo>
                  <a:lnTo>
                    <a:pt x="4" y="2"/>
                  </a:lnTo>
                  <a:lnTo>
                    <a:pt x="0" y="0"/>
                  </a:lnTo>
                  <a:lnTo>
                    <a:pt x="0" y="9"/>
                  </a:lnTo>
                  <a:lnTo>
                    <a:pt x="0" y="9"/>
                  </a:lnTo>
                  <a:lnTo>
                    <a:pt x="7" y="7"/>
                  </a:lnTo>
                  <a:lnTo>
                    <a:pt x="7" y="7"/>
                  </a:lnTo>
                  <a:lnTo>
                    <a:pt x="9" y="6"/>
                  </a:lnTo>
                  <a:lnTo>
                    <a:pt x="9" y="4"/>
                  </a:lnTo>
                  <a:lnTo>
                    <a:pt x="9" y="3"/>
                  </a:lnTo>
                  <a:lnTo>
                    <a:pt x="9"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4" name="Freeform 73">
              <a:extLst>
                <a:ext uri="{FF2B5EF4-FFF2-40B4-BE49-F238E27FC236}">
                  <a16:creationId xmlns:a16="http://schemas.microsoft.com/office/drawing/2014/main" id="{BEB3D16B-717F-422B-92CD-BDA3B2B39345}"/>
                </a:ext>
              </a:extLst>
            </p:cNvPr>
            <p:cNvSpPr>
              <a:spLocks/>
            </p:cNvSpPr>
            <p:nvPr/>
          </p:nvSpPr>
          <p:spPr bwMode="auto">
            <a:xfrm>
              <a:off x="5189538" y="3214688"/>
              <a:ext cx="17462" cy="12700"/>
            </a:xfrm>
            <a:custGeom>
              <a:avLst/>
              <a:gdLst/>
              <a:ahLst/>
              <a:cxnLst>
                <a:cxn ang="0">
                  <a:pos x="1" y="7"/>
                </a:cxn>
                <a:cxn ang="0">
                  <a:pos x="1" y="7"/>
                </a:cxn>
                <a:cxn ang="0">
                  <a:pos x="4" y="8"/>
                </a:cxn>
                <a:cxn ang="0">
                  <a:pos x="8" y="8"/>
                </a:cxn>
                <a:cxn ang="0">
                  <a:pos x="8" y="8"/>
                </a:cxn>
                <a:cxn ang="0">
                  <a:pos x="11" y="8"/>
                </a:cxn>
                <a:cxn ang="0">
                  <a:pos x="11" y="0"/>
                </a:cxn>
                <a:cxn ang="0">
                  <a:pos x="11" y="0"/>
                </a:cxn>
                <a:cxn ang="0">
                  <a:pos x="3" y="1"/>
                </a:cxn>
                <a:cxn ang="0">
                  <a:pos x="3" y="1"/>
                </a:cxn>
                <a:cxn ang="0">
                  <a:pos x="0" y="4"/>
                </a:cxn>
                <a:cxn ang="0">
                  <a:pos x="0" y="5"/>
                </a:cxn>
                <a:cxn ang="0">
                  <a:pos x="1" y="7"/>
                </a:cxn>
                <a:cxn ang="0">
                  <a:pos x="1" y="7"/>
                </a:cxn>
              </a:cxnLst>
              <a:rect l="0" t="0" r="r" b="b"/>
              <a:pathLst>
                <a:path w="11" h="8">
                  <a:moveTo>
                    <a:pt x="1" y="7"/>
                  </a:moveTo>
                  <a:lnTo>
                    <a:pt x="1" y="7"/>
                  </a:lnTo>
                  <a:lnTo>
                    <a:pt x="4" y="8"/>
                  </a:lnTo>
                  <a:lnTo>
                    <a:pt x="8" y="8"/>
                  </a:lnTo>
                  <a:lnTo>
                    <a:pt x="8" y="8"/>
                  </a:lnTo>
                  <a:lnTo>
                    <a:pt x="11" y="8"/>
                  </a:lnTo>
                  <a:lnTo>
                    <a:pt x="11" y="0"/>
                  </a:lnTo>
                  <a:lnTo>
                    <a:pt x="11" y="0"/>
                  </a:lnTo>
                  <a:lnTo>
                    <a:pt x="3" y="1"/>
                  </a:lnTo>
                  <a:lnTo>
                    <a:pt x="3" y="1"/>
                  </a:lnTo>
                  <a:lnTo>
                    <a:pt x="0" y="4"/>
                  </a:lnTo>
                  <a:lnTo>
                    <a:pt x="0" y="5"/>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5" name="Freeform 74">
              <a:extLst>
                <a:ext uri="{FF2B5EF4-FFF2-40B4-BE49-F238E27FC236}">
                  <a16:creationId xmlns:a16="http://schemas.microsoft.com/office/drawing/2014/main" id="{2A6F97A5-F819-4414-B418-D92EBDBA3114}"/>
                </a:ext>
              </a:extLst>
            </p:cNvPr>
            <p:cNvSpPr>
              <a:spLocks noEditPoints="1"/>
            </p:cNvSpPr>
            <p:nvPr/>
          </p:nvSpPr>
          <p:spPr bwMode="auto">
            <a:xfrm>
              <a:off x="5121275" y="3200400"/>
              <a:ext cx="184150" cy="66675"/>
            </a:xfrm>
            <a:custGeom>
              <a:avLst/>
              <a:gdLst/>
              <a:ahLst/>
              <a:cxnLst>
                <a:cxn ang="0">
                  <a:pos x="0" y="21"/>
                </a:cxn>
                <a:cxn ang="0">
                  <a:pos x="4" y="28"/>
                </a:cxn>
                <a:cxn ang="0">
                  <a:pos x="16" y="35"/>
                </a:cxn>
                <a:cxn ang="0">
                  <a:pos x="35" y="40"/>
                </a:cxn>
                <a:cxn ang="0">
                  <a:pos x="58" y="42"/>
                </a:cxn>
                <a:cxn ang="0">
                  <a:pos x="70" y="41"/>
                </a:cxn>
                <a:cxn ang="0">
                  <a:pos x="91" y="38"/>
                </a:cxn>
                <a:cxn ang="0">
                  <a:pos x="106" y="33"/>
                </a:cxn>
                <a:cxn ang="0">
                  <a:pos x="114" y="26"/>
                </a:cxn>
                <a:cxn ang="0">
                  <a:pos x="116" y="21"/>
                </a:cxn>
                <a:cxn ang="0">
                  <a:pos x="112" y="13"/>
                </a:cxn>
                <a:cxn ang="0">
                  <a:pos x="99" y="6"/>
                </a:cxn>
                <a:cxn ang="0">
                  <a:pos x="81" y="2"/>
                </a:cxn>
                <a:cxn ang="0">
                  <a:pos x="58" y="0"/>
                </a:cxn>
                <a:cxn ang="0">
                  <a:pos x="46" y="0"/>
                </a:cxn>
                <a:cxn ang="0">
                  <a:pos x="25" y="3"/>
                </a:cxn>
                <a:cxn ang="0">
                  <a:pos x="9" y="9"/>
                </a:cxn>
                <a:cxn ang="0">
                  <a:pos x="1" y="17"/>
                </a:cxn>
                <a:cxn ang="0">
                  <a:pos x="0" y="21"/>
                </a:cxn>
                <a:cxn ang="0">
                  <a:pos x="63" y="6"/>
                </a:cxn>
                <a:cxn ang="0">
                  <a:pos x="68" y="6"/>
                </a:cxn>
                <a:cxn ang="0">
                  <a:pos x="75" y="7"/>
                </a:cxn>
                <a:cxn ang="0">
                  <a:pos x="81" y="10"/>
                </a:cxn>
                <a:cxn ang="0">
                  <a:pos x="79" y="13"/>
                </a:cxn>
                <a:cxn ang="0">
                  <a:pos x="74" y="13"/>
                </a:cxn>
                <a:cxn ang="0">
                  <a:pos x="74" y="12"/>
                </a:cxn>
                <a:cxn ang="0">
                  <a:pos x="74" y="12"/>
                </a:cxn>
                <a:cxn ang="0">
                  <a:pos x="74" y="12"/>
                </a:cxn>
                <a:cxn ang="0">
                  <a:pos x="72" y="12"/>
                </a:cxn>
                <a:cxn ang="0">
                  <a:pos x="65" y="10"/>
                </a:cxn>
                <a:cxn ang="0">
                  <a:pos x="63" y="9"/>
                </a:cxn>
                <a:cxn ang="0">
                  <a:pos x="63" y="20"/>
                </a:cxn>
                <a:cxn ang="0">
                  <a:pos x="78" y="24"/>
                </a:cxn>
                <a:cxn ang="0">
                  <a:pos x="81" y="26"/>
                </a:cxn>
                <a:cxn ang="0">
                  <a:pos x="81" y="30"/>
                </a:cxn>
                <a:cxn ang="0">
                  <a:pos x="75" y="34"/>
                </a:cxn>
                <a:cxn ang="0">
                  <a:pos x="70" y="35"/>
                </a:cxn>
                <a:cxn ang="0">
                  <a:pos x="63" y="38"/>
                </a:cxn>
                <a:cxn ang="0">
                  <a:pos x="61" y="40"/>
                </a:cxn>
                <a:cxn ang="0">
                  <a:pos x="56" y="40"/>
                </a:cxn>
                <a:cxn ang="0">
                  <a:pos x="54" y="37"/>
                </a:cxn>
                <a:cxn ang="0">
                  <a:pos x="42" y="35"/>
                </a:cxn>
                <a:cxn ang="0">
                  <a:pos x="35" y="33"/>
                </a:cxn>
                <a:cxn ang="0">
                  <a:pos x="36" y="30"/>
                </a:cxn>
                <a:cxn ang="0">
                  <a:pos x="42" y="30"/>
                </a:cxn>
                <a:cxn ang="0">
                  <a:pos x="42" y="30"/>
                </a:cxn>
                <a:cxn ang="0">
                  <a:pos x="42" y="30"/>
                </a:cxn>
                <a:cxn ang="0">
                  <a:pos x="43" y="30"/>
                </a:cxn>
                <a:cxn ang="0">
                  <a:pos x="43" y="30"/>
                </a:cxn>
                <a:cxn ang="0">
                  <a:pos x="50" y="33"/>
                </a:cxn>
                <a:cxn ang="0">
                  <a:pos x="54" y="33"/>
                </a:cxn>
                <a:cxn ang="0">
                  <a:pos x="54" y="23"/>
                </a:cxn>
                <a:cxn ang="0">
                  <a:pos x="43" y="20"/>
                </a:cxn>
                <a:cxn ang="0">
                  <a:pos x="36" y="17"/>
                </a:cxn>
                <a:cxn ang="0">
                  <a:pos x="35" y="14"/>
                </a:cxn>
                <a:cxn ang="0">
                  <a:pos x="37" y="10"/>
                </a:cxn>
                <a:cxn ang="0">
                  <a:pos x="40" y="9"/>
                </a:cxn>
                <a:cxn ang="0">
                  <a:pos x="54" y="6"/>
                </a:cxn>
                <a:cxn ang="0">
                  <a:pos x="54" y="3"/>
                </a:cxn>
                <a:cxn ang="0">
                  <a:pos x="61" y="3"/>
                </a:cxn>
                <a:cxn ang="0">
                  <a:pos x="63" y="3"/>
                </a:cxn>
              </a:cxnLst>
              <a:rect l="0" t="0" r="r" b="b"/>
              <a:pathLst>
                <a:path w="116" h="42">
                  <a:moveTo>
                    <a:pt x="0" y="21"/>
                  </a:moveTo>
                  <a:lnTo>
                    <a:pt x="0" y="21"/>
                  </a:lnTo>
                  <a:lnTo>
                    <a:pt x="1" y="26"/>
                  </a:lnTo>
                  <a:lnTo>
                    <a:pt x="4" y="28"/>
                  </a:lnTo>
                  <a:lnTo>
                    <a:pt x="9" y="33"/>
                  </a:lnTo>
                  <a:lnTo>
                    <a:pt x="16" y="35"/>
                  </a:lnTo>
                  <a:lnTo>
                    <a:pt x="25" y="38"/>
                  </a:lnTo>
                  <a:lnTo>
                    <a:pt x="35" y="40"/>
                  </a:lnTo>
                  <a:lnTo>
                    <a:pt x="46" y="41"/>
                  </a:lnTo>
                  <a:lnTo>
                    <a:pt x="58" y="42"/>
                  </a:lnTo>
                  <a:lnTo>
                    <a:pt x="58" y="42"/>
                  </a:lnTo>
                  <a:lnTo>
                    <a:pt x="70" y="41"/>
                  </a:lnTo>
                  <a:lnTo>
                    <a:pt x="81" y="40"/>
                  </a:lnTo>
                  <a:lnTo>
                    <a:pt x="91" y="38"/>
                  </a:lnTo>
                  <a:lnTo>
                    <a:pt x="99" y="35"/>
                  </a:lnTo>
                  <a:lnTo>
                    <a:pt x="106" y="33"/>
                  </a:lnTo>
                  <a:lnTo>
                    <a:pt x="112" y="28"/>
                  </a:lnTo>
                  <a:lnTo>
                    <a:pt x="114" y="26"/>
                  </a:lnTo>
                  <a:lnTo>
                    <a:pt x="116" y="21"/>
                  </a:lnTo>
                  <a:lnTo>
                    <a:pt x="116" y="21"/>
                  </a:lnTo>
                  <a:lnTo>
                    <a:pt x="114" y="17"/>
                  </a:lnTo>
                  <a:lnTo>
                    <a:pt x="112" y="13"/>
                  </a:lnTo>
                  <a:lnTo>
                    <a:pt x="106" y="9"/>
                  </a:lnTo>
                  <a:lnTo>
                    <a:pt x="99" y="6"/>
                  </a:lnTo>
                  <a:lnTo>
                    <a:pt x="91" y="3"/>
                  </a:lnTo>
                  <a:lnTo>
                    <a:pt x="81" y="2"/>
                  </a:lnTo>
                  <a:lnTo>
                    <a:pt x="70" y="0"/>
                  </a:lnTo>
                  <a:lnTo>
                    <a:pt x="58" y="0"/>
                  </a:lnTo>
                  <a:lnTo>
                    <a:pt x="58" y="0"/>
                  </a:lnTo>
                  <a:lnTo>
                    <a:pt x="46" y="0"/>
                  </a:lnTo>
                  <a:lnTo>
                    <a:pt x="35" y="2"/>
                  </a:lnTo>
                  <a:lnTo>
                    <a:pt x="25" y="3"/>
                  </a:lnTo>
                  <a:lnTo>
                    <a:pt x="16" y="6"/>
                  </a:lnTo>
                  <a:lnTo>
                    <a:pt x="9" y="9"/>
                  </a:lnTo>
                  <a:lnTo>
                    <a:pt x="4" y="13"/>
                  </a:lnTo>
                  <a:lnTo>
                    <a:pt x="1" y="17"/>
                  </a:lnTo>
                  <a:lnTo>
                    <a:pt x="0" y="21"/>
                  </a:lnTo>
                  <a:lnTo>
                    <a:pt x="0" y="21"/>
                  </a:lnTo>
                  <a:close/>
                  <a:moveTo>
                    <a:pt x="63" y="3"/>
                  </a:moveTo>
                  <a:lnTo>
                    <a:pt x="63" y="6"/>
                  </a:lnTo>
                  <a:lnTo>
                    <a:pt x="63" y="6"/>
                  </a:lnTo>
                  <a:lnTo>
                    <a:pt x="68" y="6"/>
                  </a:lnTo>
                  <a:lnTo>
                    <a:pt x="68" y="6"/>
                  </a:lnTo>
                  <a:lnTo>
                    <a:pt x="75" y="7"/>
                  </a:lnTo>
                  <a:lnTo>
                    <a:pt x="81" y="10"/>
                  </a:lnTo>
                  <a:lnTo>
                    <a:pt x="81" y="10"/>
                  </a:lnTo>
                  <a:lnTo>
                    <a:pt x="82" y="12"/>
                  </a:lnTo>
                  <a:lnTo>
                    <a:pt x="79" y="13"/>
                  </a:lnTo>
                  <a:lnTo>
                    <a:pt x="77" y="13"/>
                  </a:lnTo>
                  <a:lnTo>
                    <a:pt x="74" y="13"/>
                  </a:lnTo>
                  <a:lnTo>
                    <a:pt x="74" y="13"/>
                  </a:lnTo>
                  <a:lnTo>
                    <a:pt x="74" y="12"/>
                  </a:lnTo>
                  <a:lnTo>
                    <a:pt x="74" y="12"/>
                  </a:lnTo>
                  <a:lnTo>
                    <a:pt x="74" y="12"/>
                  </a:lnTo>
                  <a:lnTo>
                    <a:pt x="74" y="12"/>
                  </a:lnTo>
                  <a:lnTo>
                    <a:pt x="74" y="12"/>
                  </a:lnTo>
                  <a:lnTo>
                    <a:pt x="74" y="12"/>
                  </a:lnTo>
                  <a:lnTo>
                    <a:pt x="72" y="12"/>
                  </a:lnTo>
                  <a:lnTo>
                    <a:pt x="72" y="12"/>
                  </a:lnTo>
                  <a:lnTo>
                    <a:pt x="65" y="10"/>
                  </a:lnTo>
                  <a:lnTo>
                    <a:pt x="65" y="10"/>
                  </a:lnTo>
                  <a:lnTo>
                    <a:pt x="63" y="9"/>
                  </a:lnTo>
                  <a:lnTo>
                    <a:pt x="63" y="20"/>
                  </a:lnTo>
                  <a:lnTo>
                    <a:pt x="63" y="20"/>
                  </a:lnTo>
                  <a:lnTo>
                    <a:pt x="74" y="21"/>
                  </a:lnTo>
                  <a:lnTo>
                    <a:pt x="78" y="24"/>
                  </a:lnTo>
                  <a:lnTo>
                    <a:pt x="81" y="26"/>
                  </a:lnTo>
                  <a:lnTo>
                    <a:pt x="81" y="26"/>
                  </a:lnTo>
                  <a:lnTo>
                    <a:pt x="82" y="28"/>
                  </a:lnTo>
                  <a:lnTo>
                    <a:pt x="81" y="30"/>
                  </a:lnTo>
                  <a:lnTo>
                    <a:pt x="79" y="33"/>
                  </a:lnTo>
                  <a:lnTo>
                    <a:pt x="75" y="34"/>
                  </a:lnTo>
                  <a:lnTo>
                    <a:pt x="75" y="34"/>
                  </a:lnTo>
                  <a:lnTo>
                    <a:pt x="70" y="35"/>
                  </a:lnTo>
                  <a:lnTo>
                    <a:pt x="63" y="37"/>
                  </a:lnTo>
                  <a:lnTo>
                    <a:pt x="63" y="38"/>
                  </a:lnTo>
                  <a:lnTo>
                    <a:pt x="63" y="38"/>
                  </a:lnTo>
                  <a:lnTo>
                    <a:pt x="61" y="40"/>
                  </a:lnTo>
                  <a:lnTo>
                    <a:pt x="56" y="40"/>
                  </a:lnTo>
                  <a:lnTo>
                    <a:pt x="56" y="40"/>
                  </a:lnTo>
                  <a:lnTo>
                    <a:pt x="54" y="38"/>
                  </a:lnTo>
                  <a:lnTo>
                    <a:pt x="54" y="37"/>
                  </a:lnTo>
                  <a:lnTo>
                    <a:pt x="54" y="37"/>
                  </a:lnTo>
                  <a:lnTo>
                    <a:pt x="42" y="35"/>
                  </a:lnTo>
                  <a:lnTo>
                    <a:pt x="35" y="33"/>
                  </a:lnTo>
                  <a:lnTo>
                    <a:pt x="35" y="33"/>
                  </a:lnTo>
                  <a:lnTo>
                    <a:pt x="35" y="31"/>
                  </a:lnTo>
                  <a:lnTo>
                    <a:pt x="36" y="30"/>
                  </a:lnTo>
                  <a:lnTo>
                    <a:pt x="39" y="28"/>
                  </a:lnTo>
                  <a:lnTo>
                    <a:pt x="42" y="30"/>
                  </a:lnTo>
                  <a:lnTo>
                    <a:pt x="42" y="30"/>
                  </a:lnTo>
                  <a:lnTo>
                    <a:pt x="42" y="30"/>
                  </a:lnTo>
                  <a:lnTo>
                    <a:pt x="42" y="30"/>
                  </a:lnTo>
                  <a:lnTo>
                    <a:pt x="42" y="30"/>
                  </a:lnTo>
                  <a:lnTo>
                    <a:pt x="42" y="30"/>
                  </a:lnTo>
                  <a:lnTo>
                    <a:pt x="43" y="30"/>
                  </a:lnTo>
                  <a:lnTo>
                    <a:pt x="43" y="30"/>
                  </a:lnTo>
                  <a:lnTo>
                    <a:pt x="43" y="30"/>
                  </a:lnTo>
                  <a:lnTo>
                    <a:pt x="43" y="30"/>
                  </a:lnTo>
                  <a:lnTo>
                    <a:pt x="50" y="33"/>
                  </a:lnTo>
                  <a:lnTo>
                    <a:pt x="50" y="33"/>
                  </a:lnTo>
                  <a:lnTo>
                    <a:pt x="54" y="33"/>
                  </a:lnTo>
                  <a:lnTo>
                    <a:pt x="54" y="23"/>
                  </a:lnTo>
                  <a:lnTo>
                    <a:pt x="54" y="23"/>
                  </a:lnTo>
                  <a:lnTo>
                    <a:pt x="43" y="20"/>
                  </a:lnTo>
                  <a:lnTo>
                    <a:pt x="43" y="20"/>
                  </a:lnTo>
                  <a:lnTo>
                    <a:pt x="39" y="19"/>
                  </a:lnTo>
                  <a:lnTo>
                    <a:pt x="36" y="17"/>
                  </a:lnTo>
                  <a:lnTo>
                    <a:pt x="36" y="17"/>
                  </a:lnTo>
                  <a:lnTo>
                    <a:pt x="35" y="14"/>
                  </a:lnTo>
                  <a:lnTo>
                    <a:pt x="35" y="13"/>
                  </a:lnTo>
                  <a:lnTo>
                    <a:pt x="37" y="10"/>
                  </a:lnTo>
                  <a:lnTo>
                    <a:pt x="40" y="9"/>
                  </a:lnTo>
                  <a:lnTo>
                    <a:pt x="40" y="9"/>
                  </a:lnTo>
                  <a:lnTo>
                    <a:pt x="46" y="6"/>
                  </a:lnTo>
                  <a:lnTo>
                    <a:pt x="54" y="6"/>
                  </a:lnTo>
                  <a:lnTo>
                    <a:pt x="54" y="3"/>
                  </a:lnTo>
                  <a:lnTo>
                    <a:pt x="54" y="3"/>
                  </a:lnTo>
                  <a:lnTo>
                    <a:pt x="56" y="3"/>
                  </a:lnTo>
                  <a:lnTo>
                    <a:pt x="61" y="3"/>
                  </a:lnTo>
                  <a:lnTo>
                    <a:pt x="61" y="3"/>
                  </a:lnTo>
                  <a:lnTo>
                    <a:pt x="63" y="3"/>
                  </a:lnTo>
                  <a:lnTo>
                    <a:pt x="63"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6" name="Freeform 75">
              <a:extLst>
                <a:ext uri="{FF2B5EF4-FFF2-40B4-BE49-F238E27FC236}">
                  <a16:creationId xmlns:a16="http://schemas.microsoft.com/office/drawing/2014/main" id="{044ACF95-8575-49B4-BF1D-744BAECCBCDE}"/>
                </a:ext>
              </a:extLst>
            </p:cNvPr>
            <p:cNvSpPr>
              <a:spLocks noEditPoints="1"/>
            </p:cNvSpPr>
            <p:nvPr/>
          </p:nvSpPr>
          <p:spPr bwMode="auto">
            <a:xfrm>
              <a:off x="4852988" y="3359150"/>
              <a:ext cx="215900" cy="71438"/>
            </a:xfrm>
            <a:custGeom>
              <a:avLst/>
              <a:gdLst/>
              <a:ahLst/>
              <a:cxnLst>
                <a:cxn ang="0">
                  <a:pos x="2" y="0"/>
                </a:cxn>
                <a:cxn ang="0">
                  <a:pos x="0" y="3"/>
                </a:cxn>
                <a:cxn ang="0">
                  <a:pos x="0" y="19"/>
                </a:cxn>
                <a:cxn ang="0">
                  <a:pos x="0" y="19"/>
                </a:cxn>
                <a:cxn ang="0">
                  <a:pos x="6" y="29"/>
                </a:cxn>
                <a:cxn ang="0">
                  <a:pos x="21" y="38"/>
                </a:cxn>
                <a:cxn ang="0">
                  <a:pos x="42" y="43"/>
                </a:cxn>
                <a:cxn ang="0">
                  <a:pos x="69" y="45"/>
                </a:cxn>
                <a:cxn ang="0">
                  <a:pos x="82" y="45"/>
                </a:cxn>
                <a:cxn ang="0">
                  <a:pos x="105" y="40"/>
                </a:cxn>
                <a:cxn ang="0">
                  <a:pos x="124" y="33"/>
                </a:cxn>
                <a:cxn ang="0">
                  <a:pos x="133" y="25"/>
                </a:cxn>
                <a:cxn ang="0">
                  <a:pos x="135" y="21"/>
                </a:cxn>
                <a:cxn ang="0">
                  <a:pos x="136" y="19"/>
                </a:cxn>
                <a:cxn ang="0">
                  <a:pos x="136" y="7"/>
                </a:cxn>
                <a:cxn ang="0">
                  <a:pos x="124" y="14"/>
                </a:cxn>
                <a:cxn ang="0">
                  <a:pos x="90" y="22"/>
                </a:cxn>
                <a:cxn ang="0">
                  <a:pos x="72" y="24"/>
                </a:cxn>
                <a:cxn ang="0">
                  <a:pos x="38" y="19"/>
                </a:cxn>
                <a:cxn ang="0">
                  <a:pos x="19" y="14"/>
                </a:cxn>
                <a:cxn ang="0">
                  <a:pos x="6" y="5"/>
                </a:cxn>
                <a:cxn ang="0">
                  <a:pos x="2" y="0"/>
                </a:cxn>
                <a:cxn ang="0">
                  <a:pos x="17" y="32"/>
                </a:cxn>
                <a:cxn ang="0">
                  <a:pos x="7" y="26"/>
                </a:cxn>
                <a:cxn ang="0">
                  <a:pos x="7" y="12"/>
                </a:cxn>
                <a:cxn ang="0">
                  <a:pos x="17" y="32"/>
                </a:cxn>
                <a:cxn ang="0">
                  <a:pos x="35" y="38"/>
                </a:cxn>
                <a:cxn ang="0">
                  <a:pos x="26" y="22"/>
                </a:cxn>
                <a:cxn ang="0">
                  <a:pos x="35" y="25"/>
                </a:cxn>
                <a:cxn ang="0">
                  <a:pos x="54" y="40"/>
                </a:cxn>
                <a:cxn ang="0">
                  <a:pos x="44" y="39"/>
                </a:cxn>
                <a:cxn ang="0">
                  <a:pos x="44" y="26"/>
                </a:cxn>
                <a:cxn ang="0">
                  <a:pos x="54" y="40"/>
                </a:cxn>
                <a:cxn ang="0">
                  <a:pos x="121" y="21"/>
                </a:cxn>
                <a:cxn ang="0">
                  <a:pos x="128" y="28"/>
                </a:cxn>
                <a:cxn ang="0">
                  <a:pos x="121" y="32"/>
                </a:cxn>
                <a:cxn ang="0">
                  <a:pos x="72" y="40"/>
                </a:cxn>
                <a:cxn ang="0">
                  <a:pos x="69" y="42"/>
                </a:cxn>
                <a:cxn ang="0">
                  <a:pos x="63" y="40"/>
                </a:cxn>
                <a:cxn ang="0">
                  <a:pos x="63" y="28"/>
                </a:cxn>
                <a:cxn ang="0">
                  <a:pos x="68" y="28"/>
                </a:cxn>
                <a:cxn ang="0">
                  <a:pos x="72" y="40"/>
                </a:cxn>
              </a:cxnLst>
              <a:rect l="0" t="0" r="r" b="b"/>
              <a:pathLst>
                <a:path w="136" h="45">
                  <a:moveTo>
                    <a:pt x="2" y="0"/>
                  </a:moveTo>
                  <a:lnTo>
                    <a:pt x="2" y="0"/>
                  </a:lnTo>
                  <a:lnTo>
                    <a:pt x="0" y="3"/>
                  </a:lnTo>
                  <a:lnTo>
                    <a:pt x="0" y="3"/>
                  </a:lnTo>
                  <a:lnTo>
                    <a:pt x="0" y="3"/>
                  </a:lnTo>
                  <a:lnTo>
                    <a:pt x="0" y="19"/>
                  </a:lnTo>
                  <a:lnTo>
                    <a:pt x="0" y="19"/>
                  </a:lnTo>
                  <a:lnTo>
                    <a:pt x="0" y="19"/>
                  </a:lnTo>
                  <a:lnTo>
                    <a:pt x="2" y="25"/>
                  </a:lnTo>
                  <a:lnTo>
                    <a:pt x="6" y="29"/>
                  </a:lnTo>
                  <a:lnTo>
                    <a:pt x="13" y="33"/>
                  </a:lnTo>
                  <a:lnTo>
                    <a:pt x="21" y="38"/>
                  </a:lnTo>
                  <a:lnTo>
                    <a:pt x="31" y="40"/>
                  </a:lnTo>
                  <a:lnTo>
                    <a:pt x="42" y="43"/>
                  </a:lnTo>
                  <a:lnTo>
                    <a:pt x="55" y="45"/>
                  </a:lnTo>
                  <a:lnTo>
                    <a:pt x="69" y="45"/>
                  </a:lnTo>
                  <a:lnTo>
                    <a:pt x="69" y="45"/>
                  </a:lnTo>
                  <a:lnTo>
                    <a:pt x="82" y="45"/>
                  </a:lnTo>
                  <a:lnTo>
                    <a:pt x="94" y="43"/>
                  </a:lnTo>
                  <a:lnTo>
                    <a:pt x="105" y="40"/>
                  </a:lnTo>
                  <a:lnTo>
                    <a:pt x="115" y="38"/>
                  </a:lnTo>
                  <a:lnTo>
                    <a:pt x="124" y="33"/>
                  </a:lnTo>
                  <a:lnTo>
                    <a:pt x="129" y="31"/>
                  </a:lnTo>
                  <a:lnTo>
                    <a:pt x="133" y="25"/>
                  </a:lnTo>
                  <a:lnTo>
                    <a:pt x="135" y="21"/>
                  </a:lnTo>
                  <a:lnTo>
                    <a:pt x="135" y="21"/>
                  </a:lnTo>
                  <a:lnTo>
                    <a:pt x="136" y="19"/>
                  </a:lnTo>
                  <a:lnTo>
                    <a:pt x="136" y="19"/>
                  </a:lnTo>
                  <a:lnTo>
                    <a:pt x="136" y="7"/>
                  </a:lnTo>
                  <a:lnTo>
                    <a:pt x="136" y="7"/>
                  </a:lnTo>
                  <a:lnTo>
                    <a:pt x="131" y="11"/>
                  </a:lnTo>
                  <a:lnTo>
                    <a:pt x="124" y="14"/>
                  </a:lnTo>
                  <a:lnTo>
                    <a:pt x="108" y="19"/>
                  </a:lnTo>
                  <a:lnTo>
                    <a:pt x="90" y="22"/>
                  </a:lnTo>
                  <a:lnTo>
                    <a:pt x="72" y="24"/>
                  </a:lnTo>
                  <a:lnTo>
                    <a:pt x="72" y="24"/>
                  </a:lnTo>
                  <a:lnTo>
                    <a:pt x="49" y="22"/>
                  </a:lnTo>
                  <a:lnTo>
                    <a:pt x="38" y="19"/>
                  </a:lnTo>
                  <a:lnTo>
                    <a:pt x="28" y="17"/>
                  </a:lnTo>
                  <a:lnTo>
                    <a:pt x="19" y="14"/>
                  </a:lnTo>
                  <a:lnTo>
                    <a:pt x="12" y="10"/>
                  </a:lnTo>
                  <a:lnTo>
                    <a:pt x="6" y="5"/>
                  </a:lnTo>
                  <a:lnTo>
                    <a:pt x="2" y="0"/>
                  </a:lnTo>
                  <a:lnTo>
                    <a:pt x="2" y="0"/>
                  </a:lnTo>
                  <a:close/>
                  <a:moveTo>
                    <a:pt x="17" y="32"/>
                  </a:moveTo>
                  <a:lnTo>
                    <a:pt x="17" y="32"/>
                  </a:lnTo>
                  <a:lnTo>
                    <a:pt x="12" y="29"/>
                  </a:lnTo>
                  <a:lnTo>
                    <a:pt x="7" y="26"/>
                  </a:lnTo>
                  <a:lnTo>
                    <a:pt x="7" y="12"/>
                  </a:lnTo>
                  <a:lnTo>
                    <a:pt x="7" y="12"/>
                  </a:lnTo>
                  <a:lnTo>
                    <a:pt x="17" y="18"/>
                  </a:lnTo>
                  <a:lnTo>
                    <a:pt x="17" y="32"/>
                  </a:lnTo>
                  <a:close/>
                  <a:moveTo>
                    <a:pt x="35" y="38"/>
                  </a:moveTo>
                  <a:lnTo>
                    <a:pt x="35" y="38"/>
                  </a:lnTo>
                  <a:lnTo>
                    <a:pt x="26" y="36"/>
                  </a:lnTo>
                  <a:lnTo>
                    <a:pt x="26" y="22"/>
                  </a:lnTo>
                  <a:lnTo>
                    <a:pt x="26" y="22"/>
                  </a:lnTo>
                  <a:lnTo>
                    <a:pt x="35" y="25"/>
                  </a:lnTo>
                  <a:lnTo>
                    <a:pt x="35" y="38"/>
                  </a:lnTo>
                  <a:close/>
                  <a:moveTo>
                    <a:pt x="54" y="40"/>
                  </a:moveTo>
                  <a:lnTo>
                    <a:pt x="54" y="40"/>
                  </a:lnTo>
                  <a:lnTo>
                    <a:pt x="44" y="39"/>
                  </a:lnTo>
                  <a:lnTo>
                    <a:pt x="44" y="26"/>
                  </a:lnTo>
                  <a:lnTo>
                    <a:pt x="44" y="26"/>
                  </a:lnTo>
                  <a:lnTo>
                    <a:pt x="54" y="28"/>
                  </a:lnTo>
                  <a:lnTo>
                    <a:pt x="54" y="40"/>
                  </a:lnTo>
                  <a:close/>
                  <a:moveTo>
                    <a:pt x="121" y="21"/>
                  </a:moveTo>
                  <a:lnTo>
                    <a:pt x="121" y="21"/>
                  </a:lnTo>
                  <a:lnTo>
                    <a:pt x="128" y="17"/>
                  </a:lnTo>
                  <a:lnTo>
                    <a:pt x="128" y="28"/>
                  </a:lnTo>
                  <a:lnTo>
                    <a:pt x="128" y="28"/>
                  </a:lnTo>
                  <a:lnTo>
                    <a:pt x="121" y="32"/>
                  </a:lnTo>
                  <a:lnTo>
                    <a:pt x="121" y="21"/>
                  </a:lnTo>
                  <a:close/>
                  <a:moveTo>
                    <a:pt x="72" y="40"/>
                  </a:moveTo>
                  <a:lnTo>
                    <a:pt x="72" y="40"/>
                  </a:lnTo>
                  <a:lnTo>
                    <a:pt x="69" y="42"/>
                  </a:lnTo>
                  <a:lnTo>
                    <a:pt x="69" y="42"/>
                  </a:lnTo>
                  <a:lnTo>
                    <a:pt x="63" y="40"/>
                  </a:lnTo>
                  <a:lnTo>
                    <a:pt x="63" y="28"/>
                  </a:lnTo>
                  <a:lnTo>
                    <a:pt x="63" y="28"/>
                  </a:lnTo>
                  <a:lnTo>
                    <a:pt x="68" y="28"/>
                  </a:lnTo>
                  <a:lnTo>
                    <a:pt x="68" y="28"/>
                  </a:lnTo>
                  <a:lnTo>
                    <a:pt x="72" y="28"/>
                  </a:lnTo>
                  <a:lnTo>
                    <a:pt x="72"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7" name="Freeform 76">
              <a:extLst>
                <a:ext uri="{FF2B5EF4-FFF2-40B4-BE49-F238E27FC236}">
                  <a16:creationId xmlns:a16="http://schemas.microsoft.com/office/drawing/2014/main" id="{A9ADA586-D5C8-4A87-A5E7-09142951F6C8}"/>
                </a:ext>
              </a:extLst>
            </p:cNvPr>
            <p:cNvSpPr>
              <a:spLocks/>
            </p:cNvSpPr>
            <p:nvPr/>
          </p:nvSpPr>
          <p:spPr bwMode="auto">
            <a:xfrm>
              <a:off x="4860925" y="3321050"/>
              <a:ext cx="212725" cy="66675"/>
            </a:xfrm>
            <a:custGeom>
              <a:avLst/>
              <a:gdLst/>
              <a:ahLst/>
              <a:cxnLst>
                <a:cxn ang="0">
                  <a:pos x="126" y="24"/>
                </a:cxn>
                <a:cxn ang="0">
                  <a:pos x="119" y="29"/>
                </a:cxn>
                <a:cxn ang="0">
                  <a:pos x="119" y="15"/>
                </a:cxn>
                <a:cxn ang="0">
                  <a:pos x="98" y="22"/>
                </a:cxn>
                <a:cxn ang="0">
                  <a:pos x="70" y="25"/>
                </a:cxn>
                <a:cxn ang="0">
                  <a:pos x="70" y="38"/>
                </a:cxn>
                <a:cxn ang="0">
                  <a:pos x="67" y="38"/>
                </a:cxn>
                <a:cxn ang="0">
                  <a:pos x="61" y="25"/>
                </a:cxn>
                <a:cxn ang="0">
                  <a:pos x="51" y="25"/>
                </a:cxn>
                <a:cxn ang="0">
                  <a:pos x="51" y="38"/>
                </a:cxn>
                <a:cxn ang="0">
                  <a:pos x="43" y="24"/>
                </a:cxn>
                <a:cxn ang="0">
                  <a:pos x="33" y="22"/>
                </a:cxn>
                <a:cxn ang="0">
                  <a:pos x="33" y="35"/>
                </a:cxn>
                <a:cxn ang="0">
                  <a:pos x="23" y="20"/>
                </a:cxn>
                <a:cxn ang="0">
                  <a:pos x="15" y="17"/>
                </a:cxn>
                <a:cxn ang="0">
                  <a:pos x="15" y="29"/>
                </a:cxn>
                <a:cxn ang="0">
                  <a:pos x="5" y="24"/>
                </a:cxn>
                <a:cxn ang="0">
                  <a:pos x="5" y="11"/>
                </a:cxn>
                <a:cxn ang="0">
                  <a:pos x="0" y="0"/>
                </a:cxn>
                <a:cxn ang="0">
                  <a:pos x="0" y="17"/>
                </a:cxn>
                <a:cxn ang="0">
                  <a:pos x="1" y="21"/>
                </a:cxn>
                <a:cxn ang="0">
                  <a:pos x="11" y="31"/>
                </a:cxn>
                <a:cxn ang="0">
                  <a:pos x="29" y="38"/>
                </a:cxn>
                <a:cxn ang="0">
                  <a:pos x="53" y="42"/>
                </a:cxn>
                <a:cxn ang="0">
                  <a:pos x="67" y="42"/>
                </a:cxn>
                <a:cxn ang="0">
                  <a:pos x="92" y="41"/>
                </a:cxn>
                <a:cxn ang="0">
                  <a:pos x="113" y="35"/>
                </a:cxn>
                <a:cxn ang="0">
                  <a:pos x="127" y="27"/>
                </a:cxn>
                <a:cxn ang="0">
                  <a:pos x="134" y="18"/>
                </a:cxn>
                <a:cxn ang="0">
                  <a:pos x="134" y="17"/>
                </a:cxn>
                <a:cxn ang="0">
                  <a:pos x="134" y="0"/>
                </a:cxn>
                <a:cxn ang="0">
                  <a:pos x="133" y="3"/>
                </a:cxn>
                <a:cxn ang="0">
                  <a:pos x="126" y="13"/>
                </a:cxn>
              </a:cxnLst>
              <a:rect l="0" t="0" r="r" b="b"/>
              <a:pathLst>
                <a:path w="134" h="42">
                  <a:moveTo>
                    <a:pt x="126" y="13"/>
                  </a:moveTo>
                  <a:lnTo>
                    <a:pt x="126" y="24"/>
                  </a:lnTo>
                  <a:lnTo>
                    <a:pt x="126" y="24"/>
                  </a:lnTo>
                  <a:lnTo>
                    <a:pt x="119" y="29"/>
                  </a:lnTo>
                  <a:lnTo>
                    <a:pt x="119" y="15"/>
                  </a:lnTo>
                  <a:lnTo>
                    <a:pt x="119" y="15"/>
                  </a:lnTo>
                  <a:lnTo>
                    <a:pt x="109" y="20"/>
                  </a:lnTo>
                  <a:lnTo>
                    <a:pt x="98" y="22"/>
                  </a:lnTo>
                  <a:lnTo>
                    <a:pt x="84" y="25"/>
                  </a:lnTo>
                  <a:lnTo>
                    <a:pt x="70" y="25"/>
                  </a:lnTo>
                  <a:lnTo>
                    <a:pt x="70" y="38"/>
                  </a:lnTo>
                  <a:lnTo>
                    <a:pt x="70" y="38"/>
                  </a:lnTo>
                  <a:lnTo>
                    <a:pt x="67" y="38"/>
                  </a:lnTo>
                  <a:lnTo>
                    <a:pt x="67" y="38"/>
                  </a:lnTo>
                  <a:lnTo>
                    <a:pt x="61" y="38"/>
                  </a:lnTo>
                  <a:lnTo>
                    <a:pt x="61" y="25"/>
                  </a:lnTo>
                  <a:lnTo>
                    <a:pt x="61" y="25"/>
                  </a:lnTo>
                  <a:lnTo>
                    <a:pt x="51" y="25"/>
                  </a:lnTo>
                  <a:lnTo>
                    <a:pt x="51" y="38"/>
                  </a:lnTo>
                  <a:lnTo>
                    <a:pt x="51" y="38"/>
                  </a:lnTo>
                  <a:lnTo>
                    <a:pt x="43" y="36"/>
                  </a:lnTo>
                  <a:lnTo>
                    <a:pt x="43" y="24"/>
                  </a:lnTo>
                  <a:lnTo>
                    <a:pt x="43" y="24"/>
                  </a:lnTo>
                  <a:lnTo>
                    <a:pt x="33" y="22"/>
                  </a:lnTo>
                  <a:lnTo>
                    <a:pt x="33" y="35"/>
                  </a:lnTo>
                  <a:lnTo>
                    <a:pt x="33" y="35"/>
                  </a:lnTo>
                  <a:lnTo>
                    <a:pt x="23" y="32"/>
                  </a:lnTo>
                  <a:lnTo>
                    <a:pt x="23" y="20"/>
                  </a:lnTo>
                  <a:lnTo>
                    <a:pt x="23" y="20"/>
                  </a:lnTo>
                  <a:lnTo>
                    <a:pt x="15" y="17"/>
                  </a:lnTo>
                  <a:lnTo>
                    <a:pt x="15" y="29"/>
                  </a:lnTo>
                  <a:lnTo>
                    <a:pt x="15" y="29"/>
                  </a:lnTo>
                  <a:lnTo>
                    <a:pt x="9" y="27"/>
                  </a:lnTo>
                  <a:lnTo>
                    <a:pt x="5" y="24"/>
                  </a:lnTo>
                  <a:lnTo>
                    <a:pt x="5" y="11"/>
                  </a:lnTo>
                  <a:lnTo>
                    <a:pt x="5" y="11"/>
                  </a:lnTo>
                  <a:lnTo>
                    <a:pt x="1" y="6"/>
                  </a:lnTo>
                  <a:lnTo>
                    <a:pt x="0" y="0"/>
                  </a:lnTo>
                  <a:lnTo>
                    <a:pt x="0" y="17"/>
                  </a:lnTo>
                  <a:lnTo>
                    <a:pt x="0" y="17"/>
                  </a:lnTo>
                  <a:lnTo>
                    <a:pt x="0" y="17"/>
                  </a:lnTo>
                  <a:lnTo>
                    <a:pt x="1" y="21"/>
                  </a:lnTo>
                  <a:lnTo>
                    <a:pt x="4" y="27"/>
                  </a:lnTo>
                  <a:lnTo>
                    <a:pt x="11" y="31"/>
                  </a:lnTo>
                  <a:lnTo>
                    <a:pt x="19" y="35"/>
                  </a:lnTo>
                  <a:lnTo>
                    <a:pt x="29" y="38"/>
                  </a:lnTo>
                  <a:lnTo>
                    <a:pt x="40" y="41"/>
                  </a:lnTo>
                  <a:lnTo>
                    <a:pt x="53" y="42"/>
                  </a:lnTo>
                  <a:lnTo>
                    <a:pt x="67" y="42"/>
                  </a:lnTo>
                  <a:lnTo>
                    <a:pt x="67" y="42"/>
                  </a:lnTo>
                  <a:lnTo>
                    <a:pt x="79" y="42"/>
                  </a:lnTo>
                  <a:lnTo>
                    <a:pt x="92" y="41"/>
                  </a:lnTo>
                  <a:lnTo>
                    <a:pt x="103" y="38"/>
                  </a:lnTo>
                  <a:lnTo>
                    <a:pt x="113" y="35"/>
                  </a:lnTo>
                  <a:lnTo>
                    <a:pt x="121" y="31"/>
                  </a:lnTo>
                  <a:lnTo>
                    <a:pt x="127" y="27"/>
                  </a:lnTo>
                  <a:lnTo>
                    <a:pt x="131" y="22"/>
                  </a:lnTo>
                  <a:lnTo>
                    <a:pt x="134" y="18"/>
                  </a:lnTo>
                  <a:lnTo>
                    <a:pt x="134" y="18"/>
                  </a:lnTo>
                  <a:lnTo>
                    <a:pt x="134" y="17"/>
                  </a:lnTo>
                  <a:lnTo>
                    <a:pt x="134" y="17"/>
                  </a:lnTo>
                  <a:lnTo>
                    <a:pt x="134" y="0"/>
                  </a:lnTo>
                  <a:lnTo>
                    <a:pt x="134" y="0"/>
                  </a:lnTo>
                  <a:lnTo>
                    <a:pt x="133" y="3"/>
                  </a:lnTo>
                  <a:lnTo>
                    <a:pt x="131" y="6"/>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8" name="Freeform 77">
              <a:extLst>
                <a:ext uri="{FF2B5EF4-FFF2-40B4-BE49-F238E27FC236}">
                  <a16:creationId xmlns:a16="http://schemas.microsoft.com/office/drawing/2014/main" id="{5662B763-CEC2-4432-8407-FF922C48F4E9}"/>
                </a:ext>
              </a:extLst>
            </p:cNvPr>
            <p:cNvSpPr>
              <a:spLocks/>
            </p:cNvSpPr>
            <p:nvPr/>
          </p:nvSpPr>
          <p:spPr bwMode="auto">
            <a:xfrm>
              <a:off x="5072063" y="3316288"/>
              <a:ext cx="1587" cy="4763"/>
            </a:xfrm>
            <a:custGeom>
              <a:avLst/>
              <a:gdLst/>
              <a:ahLst/>
              <a:cxnLst>
                <a:cxn ang="0">
                  <a:pos x="1" y="2"/>
                </a:cxn>
                <a:cxn ang="0">
                  <a:pos x="1" y="3"/>
                </a:cxn>
                <a:cxn ang="0">
                  <a:pos x="1" y="3"/>
                </a:cxn>
                <a:cxn ang="0">
                  <a:pos x="1" y="3"/>
                </a:cxn>
                <a:cxn ang="0">
                  <a:pos x="1" y="3"/>
                </a:cxn>
                <a:cxn ang="0">
                  <a:pos x="0" y="0"/>
                </a:cxn>
                <a:cxn ang="0">
                  <a:pos x="0" y="0"/>
                </a:cxn>
                <a:cxn ang="0">
                  <a:pos x="1" y="2"/>
                </a:cxn>
                <a:cxn ang="0">
                  <a:pos x="1" y="2"/>
                </a:cxn>
              </a:cxnLst>
              <a:rect l="0" t="0" r="r" b="b"/>
              <a:pathLst>
                <a:path w="1" h="3">
                  <a:moveTo>
                    <a:pt x="1" y="2"/>
                  </a:moveTo>
                  <a:lnTo>
                    <a:pt x="1" y="3"/>
                  </a:lnTo>
                  <a:lnTo>
                    <a:pt x="1" y="3"/>
                  </a:lnTo>
                  <a:lnTo>
                    <a:pt x="1" y="3"/>
                  </a:lnTo>
                  <a:lnTo>
                    <a:pt x="1" y="3"/>
                  </a:lnTo>
                  <a:lnTo>
                    <a:pt x="0" y="0"/>
                  </a:lnTo>
                  <a:lnTo>
                    <a:pt x="0" y="0"/>
                  </a:lnTo>
                  <a:lnTo>
                    <a:pt x="1" y="2"/>
                  </a:lnTo>
                  <a:lnTo>
                    <a:pt x="1"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59" name="Freeform 78">
              <a:extLst>
                <a:ext uri="{FF2B5EF4-FFF2-40B4-BE49-F238E27FC236}">
                  <a16:creationId xmlns:a16="http://schemas.microsoft.com/office/drawing/2014/main" id="{B421A335-9EC3-491A-84E0-7CCB1E44AD91}"/>
                </a:ext>
              </a:extLst>
            </p:cNvPr>
            <p:cNvSpPr>
              <a:spLocks/>
            </p:cNvSpPr>
            <p:nvPr/>
          </p:nvSpPr>
          <p:spPr bwMode="auto">
            <a:xfrm>
              <a:off x="4860925" y="3316288"/>
              <a:ext cx="1587" cy="4763"/>
            </a:xfrm>
            <a:custGeom>
              <a:avLst/>
              <a:gdLst/>
              <a:ahLst/>
              <a:cxnLst>
                <a:cxn ang="0">
                  <a:pos x="0" y="0"/>
                </a:cxn>
                <a:cxn ang="0">
                  <a:pos x="0" y="0"/>
                </a:cxn>
                <a:cxn ang="0">
                  <a:pos x="0" y="3"/>
                </a:cxn>
                <a:cxn ang="0">
                  <a:pos x="0" y="3"/>
                </a:cxn>
                <a:cxn ang="0">
                  <a:pos x="0" y="3"/>
                </a:cxn>
                <a:cxn ang="0">
                  <a:pos x="0" y="2"/>
                </a:cxn>
                <a:cxn ang="0">
                  <a:pos x="0" y="2"/>
                </a:cxn>
                <a:cxn ang="0">
                  <a:pos x="0" y="0"/>
                </a:cxn>
                <a:cxn ang="0">
                  <a:pos x="0" y="0"/>
                </a:cxn>
              </a:cxnLst>
              <a:rect l="0" t="0" r="r" b="b"/>
              <a:pathLst>
                <a:path h="3">
                  <a:moveTo>
                    <a:pt x="0" y="0"/>
                  </a:moveTo>
                  <a:lnTo>
                    <a:pt x="0" y="0"/>
                  </a:lnTo>
                  <a:lnTo>
                    <a:pt x="0" y="3"/>
                  </a:lnTo>
                  <a:lnTo>
                    <a:pt x="0" y="3"/>
                  </a:lnTo>
                  <a:lnTo>
                    <a:pt x="0" y="3"/>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60" name="Freeform 79">
              <a:extLst>
                <a:ext uri="{FF2B5EF4-FFF2-40B4-BE49-F238E27FC236}">
                  <a16:creationId xmlns:a16="http://schemas.microsoft.com/office/drawing/2014/main" id="{B78EC0C9-3042-49A2-822B-EAB40B6BF381}"/>
                </a:ext>
              </a:extLst>
            </p:cNvPr>
            <p:cNvSpPr>
              <a:spLocks/>
            </p:cNvSpPr>
            <p:nvPr/>
          </p:nvSpPr>
          <p:spPr bwMode="auto">
            <a:xfrm>
              <a:off x="4941888" y="3300413"/>
              <a:ext cx="19050" cy="14288"/>
            </a:xfrm>
            <a:custGeom>
              <a:avLst/>
              <a:gdLst/>
              <a:ahLst/>
              <a:cxnLst>
                <a:cxn ang="0">
                  <a:pos x="2" y="6"/>
                </a:cxn>
                <a:cxn ang="0">
                  <a:pos x="2" y="6"/>
                </a:cxn>
                <a:cxn ang="0">
                  <a:pos x="5" y="7"/>
                </a:cxn>
                <a:cxn ang="0">
                  <a:pos x="9" y="9"/>
                </a:cxn>
                <a:cxn ang="0">
                  <a:pos x="9" y="9"/>
                </a:cxn>
                <a:cxn ang="0">
                  <a:pos x="12" y="9"/>
                </a:cxn>
                <a:cxn ang="0">
                  <a:pos x="12" y="0"/>
                </a:cxn>
                <a:cxn ang="0">
                  <a:pos x="12" y="0"/>
                </a:cxn>
                <a:cxn ang="0">
                  <a:pos x="3" y="2"/>
                </a:cxn>
                <a:cxn ang="0">
                  <a:pos x="3" y="2"/>
                </a:cxn>
                <a:cxn ang="0">
                  <a:pos x="0" y="3"/>
                </a:cxn>
                <a:cxn ang="0">
                  <a:pos x="2" y="5"/>
                </a:cxn>
                <a:cxn ang="0">
                  <a:pos x="2" y="6"/>
                </a:cxn>
                <a:cxn ang="0">
                  <a:pos x="2" y="6"/>
                </a:cxn>
              </a:cxnLst>
              <a:rect l="0" t="0" r="r" b="b"/>
              <a:pathLst>
                <a:path w="12" h="9">
                  <a:moveTo>
                    <a:pt x="2" y="6"/>
                  </a:moveTo>
                  <a:lnTo>
                    <a:pt x="2" y="6"/>
                  </a:lnTo>
                  <a:lnTo>
                    <a:pt x="5" y="7"/>
                  </a:lnTo>
                  <a:lnTo>
                    <a:pt x="9" y="9"/>
                  </a:lnTo>
                  <a:lnTo>
                    <a:pt x="9" y="9"/>
                  </a:lnTo>
                  <a:lnTo>
                    <a:pt x="12" y="9"/>
                  </a:lnTo>
                  <a:lnTo>
                    <a:pt x="12" y="0"/>
                  </a:lnTo>
                  <a:lnTo>
                    <a:pt x="12" y="0"/>
                  </a:lnTo>
                  <a:lnTo>
                    <a:pt x="3" y="2"/>
                  </a:lnTo>
                  <a:lnTo>
                    <a:pt x="3" y="2"/>
                  </a:lnTo>
                  <a:lnTo>
                    <a:pt x="0" y="3"/>
                  </a:lnTo>
                  <a:lnTo>
                    <a:pt x="2" y="5"/>
                  </a:lnTo>
                  <a:lnTo>
                    <a:pt x="2" y="6"/>
                  </a:lnTo>
                  <a:lnTo>
                    <a:pt x="2"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61" name="Freeform 80">
              <a:extLst>
                <a:ext uri="{FF2B5EF4-FFF2-40B4-BE49-F238E27FC236}">
                  <a16:creationId xmlns:a16="http://schemas.microsoft.com/office/drawing/2014/main" id="{4FDC40F2-7BA0-4E1A-8189-ADF6DF3EBA29}"/>
                </a:ext>
              </a:extLst>
            </p:cNvPr>
            <p:cNvSpPr>
              <a:spLocks/>
            </p:cNvSpPr>
            <p:nvPr/>
          </p:nvSpPr>
          <p:spPr bwMode="auto">
            <a:xfrm>
              <a:off x="4973638" y="3322638"/>
              <a:ext cx="15875" cy="15875"/>
            </a:xfrm>
            <a:custGeom>
              <a:avLst/>
              <a:gdLst/>
              <a:ahLst/>
              <a:cxnLst>
                <a:cxn ang="0">
                  <a:pos x="10" y="3"/>
                </a:cxn>
                <a:cxn ang="0">
                  <a:pos x="10" y="3"/>
                </a:cxn>
                <a:cxn ang="0">
                  <a:pos x="4" y="2"/>
                </a:cxn>
                <a:cxn ang="0">
                  <a:pos x="4" y="2"/>
                </a:cxn>
                <a:cxn ang="0">
                  <a:pos x="0" y="0"/>
                </a:cxn>
                <a:cxn ang="0">
                  <a:pos x="0" y="10"/>
                </a:cxn>
                <a:cxn ang="0">
                  <a:pos x="0" y="10"/>
                </a:cxn>
                <a:cxn ang="0">
                  <a:pos x="7" y="9"/>
                </a:cxn>
                <a:cxn ang="0">
                  <a:pos x="7" y="9"/>
                </a:cxn>
                <a:cxn ang="0">
                  <a:pos x="10" y="6"/>
                </a:cxn>
                <a:cxn ang="0">
                  <a:pos x="10" y="5"/>
                </a:cxn>
                <a:cxn ang="0">
                  <a:pos x="10" y="3"/>
                </a:cxn>
                <a:cxn ang="0">
                  <a:pos x="10" y="3"/>
                </a:cxn>
              </a:cxnLst>
              <a:rect l="0" t="0" r="r" b="b"/>
              <a:pathLst>
                <a:path w="10" h="10">
                  <a:moveTo>
                    <a:pt x="10" y="3"/>
                  </a:moveTo>
                  <a:lnTo>
                    <a:pt x="10" y="3"/>
                  </a:lnTo>
                  <a:lnTo>
                    <a:pt x="4" y="2"/>
                  </a:lnTo>
                  <a:lnTo>
                    <a:pt x="4" y="2"/>
                  </a:lnTo>
                  <a:lnTo>
                    <a:pt x="0" y="0"/>
                  </a:lnTo>
                  <a:lnTo>
                    <a:pt x="0" y="10"/>
                  </a:lnTo>
                  <a:lnTo>
                    <a:pt x="0" y="10"/>
                  </a:lnTo>
                  <a:lnTo>
                    <a:pt x="7" y="9"/>
                  </a:lnTo>
                  <a:lnTo>
                    <a:pt x="7" y="9"/>
                  </a:lnTo>
                  <a:lnTo>
                    <a:pt x="10" y="6"/>
                  </a:lnTo>
                  <a:lnTo>
                    <a:pt x="10" y="5"/>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62" name="Freeform 81">
              <a:extLst>
                <a:ext uri="{FF2B5EF4-FFF2-40B4-BE49-F238E27FC236}">
                  <a16:creationId xmlns:a16="http://schemas.microsoft.com/office/drawing/2014/main" id="{772CCE64-DB6A-47B1-955C-FFC2371C461B}"/>
                </a:ext>
              </a:extLst>
            </p:cNvPr>
            <p:cNvSpPr>
              <a:spLocks noEditPoints="1"/>
            </p:cNvSpPr>
            <p:nvPr/>
          </p:nvSpPr>
          <p:spPr bwMode="auto">
            <a:xfrm>
              <a:off x="4873625" y="3286125"/>
              <a:ext cx="184150" cy="66675"/>
            </a:xfrm>
            <a:custGeom>
              <a:avLst/>
              <a:gdLst/>
              <a:ahLst/>
              <a:cxnLst>
                <a:cxn ang="0">
                  <a:pos x="0" y="21"/>
                </a:cxn>
                <a:cxn ang="0">
                  <a:pos x="4" y="29"/>
                </a:cxn>
                <a:cxn ang="0">
                  <a:pos x="17" y="36"/>
                </a:cxn>
                <a:cxn ang="0">
                  <a:pos x="35" y="40"/>
                </a:cxn>
                <a:cxn ang="0">
                  <a:pos x="59" y="42"/>
                </a:cxn>
                <a:cxn ang="0">
                  <a:pos x="70" y="42"/>
                </a:cxn>
                <a:cxn ang="0">
                  <a:pos x="91" y="37"/>
                </a:cxn>
                <a:cxn ang="0">
                  <a:pos x="106" y="32"/>
                </a:cxn>
                <a:cxn ang="0">
                  <a:pos x="115" y="25"/>
                </a:cxn>
                <a:cxn ang="0">
                  <a:pos x="116" y="21"/>
                </a:cxn>
                <a:cxn ang="0">
                  <a:pos x="112" y="12"/>
                </a:cxn>
                <a:cxn ang="0">
                  <a:pos x="99" y="7"/>
                </a:cxn>
                <a:cxn ang="0">
                  <a:pos x="81" y="1"/>
                </a:cxn>
                <a:cxn ang="0">
                  <a:pos x="59" y="0"/>
                </a:cxn>
                <a:cxn ang="0">
                  <a:pos x="46" y="1"/>
                </a:cxn>
                <a:cxn ang="0">
                  <a:pos x="25" y="4"/>
                </a:cxn>
                <a:cxn ang="0">
                  <a:pos x="10" y="9"/>
                </a:cxn>
                <a:cxn ang="0">
                  <a:pos x="1" y="16"/>
                </a:cxn>
                <a:cxn ang="0">
                  <a:pos x="0" y="21"/>
                </a:cxn>
                <a:cxn ang="0">
                  <a:pos x="63" y="5"/>
                </a:cxn>
                <a:cxn ang="0">
                  <a:pos x="69" y="5"/>
                </a:cxn>
                <a:cxn ang="0">
                  <a:pos x="76" y="7"/>
                </a:cxn>
                <a:cxn ang="0">
                  <a:pos x="81" y="9"/>
                </a:cxn>
                <a:cxn ang="0">
                  <a:pos x="80" y="12"/>
                </a:cxn>
                <a:cxn ang="0">
                  <a:pos x="74" y="12"/>
                </a:cxn>
                <a:cxn ang="0">
                  <a:pos x="74" y="12"/>
                </a:cxn>
                <a:cxn ang="0">
                  <a:pos x="74" y="12"/>
                </a:cxn>
                <a:cxn ang="0">
                  <a:pos x="74" y="12"/>
                </a:cxn>
                <a:cxn ang="0">
                  <a:pos x="73" y="11"/>
                </a:cxn>
                <a:cxn ang="0">
                  <a:pos x="66" y="9"/>
                </a:cxn>
                <a:cxn ang="0">
                  <a:pos x="63" y="9"/>
                </a:cxn>
                <a:cxn ang="0">
                  <a:pos x="63" y="19"/>
                </a:cxn>
                <a:cxn ang="0">
                  <a:pos x="78" y="23"/>
                </a:cxn>
                <a:cxn ang="0">
                  <a:pos x="81" y="25"/>
                </a:cxn>
                <a:cxn ang="0">
                  <a:pos x="81" y="30"/>
                </a:cxn>
                <a:cxn ang="0">
                  <a:pos x="76" y="33"/>
                </a:cxn>
                <a:cxn ang="0">
                  <a:pos x="70" y="35"/>
                </a:cxn>
                <a:cxn ang="0">
                  <a:pos x="63" y="39"/>
                </a:cxn>
                <a:cxn ang="0">
                  <a:pos x="62" y="39"/>
                </a:cxn>
                <a:cxn ang="0">
                  <a:pos x="56" y="39"/>
                </a:cxn>
                <a:cxn ang="0">
                  <a:pos x="55" y="36"/>
                </a:cxn>
                <a:cxn ang="0">
                  <a:pos x="42" y="35"/>
                </a:cxn>
                <a:cxn ang="0">
                  <a:pos x="35" y="32"/>
                </a:cxn>
                <a:cxn ang="0">
                  <a:pos x="36" y="29"/>
                </a:cxn>
                <a:cxn ang="0">
                  <a:pos x="42" y="29"/>
                </a:cxn>
                <a:cxn ang="0">
                  <a:pos x="42" y="29"/>
                </a:cxn>
                <a:cxn ang="0">
                  <a:pos x="43" y="30"/>
                </a:cxn>
                <a:cxn ang="0">
                  <a:pos x="43" y="30"/>
                </a:cxn>
                <a:cxn ang="0">
                  <a:pos x="50" y="32"/>
                </a:cxn>
                <a:cxn ang="0">
                  <a:pos x="55" y="32"/>
                </a:cxn>
                <a:cxn ang="0">
                  <a:pos x="55" y="22"/>
                </a:cxn>
                <a:cxn ang="0">
                  <a:pos x="43" y="19"/>
                </a:cxn>
                <a:cxn ang="0">
                  <a:pos x="36" y="16"/>
                </a:cxn>
                <a:cxn ang="0">
                  <a:pos x="35" y="15"/>
                </a:cxn>
                <a:cxn ang="0">
                  <a:pos x="38" y="9"/>
                </a:cxn>
                <a:cxn ang="0">
                  <a:pos x="41" y="8"/>
                </a:cxn>
                <a:cxn ang="0">
                  <a:pos x="55" y="5"/>
                </a:cxn>
                <a:cxn ang="0">
                  <a:pos x="55" y="2"/>
                </a:cxn>
                <a:cxn ang="0">
                  <a:pos x="62" y="2"/>
                </a:cxn>
                <a:cxn ang="0">
                  <a:pos x="63" y="2"/>
                </a:cxn>
              </a:cxnLst>
              <a:rect l="0" t="0" r="r" b="b"/>
              <a:pathLst>
                <a:path w="116" h="42">
                  <a:moveTo>
                    <a:pt x="0" y="21"/>
                  </a:moveTo>
                  <a:lnTo>
                    <a:pt x="0" y="21"/>
                  </a:lnTo>
                  <a:lnTo>
                    <a:pt x="1" y="25"/>
                  </a:lnTo>
                  <a:lnTo>
                    <a:pt x="4" y="29"/>
                  </a:lnTo>
                  <a:lnTo>
                    <a:pt x="10" y="32"/>
                  </a:lnTo>
                  <a:lnTo>
                    <a:pt x="17" y="36"/>
                  </a:lnTo>
                  <a:lnTo>
                    <a:pt x="25" y="37"/>
                  </a:lnTo>
                  <a:lnTo>
                    <a:pt x="35" y="40"/>
                  </a:lnTo>
                  <a:lnTo>
                    <a:pt x="46" y="42"/>
                  </a:lnTo>
                  <a:lnTo>
                    <a:pt x="59" y="42"/>
                  </a:lnTo>
                  <a:lnTo>
                    <a:pt x="59" y="42"/>
                  </a:lnTo>
                  <a:lnTo>
                    <a:pt x="70" y="42"/>
                  </a:lnTo>
                  <a:lnTo>
                    <a:pt x="81" y="40"/>
                  </a:lnTo>
                  <a:lnTo>
                    <a:pt x="91" y="37"/>
                  </a:lnTo>
                  <a:lnTo>
                    <a:pt x="99" y="36"/>
                  </a:lnTo>
                  <a:lnTo>
                    <a:pt x="106" y="32"/>
                  </a:lnTo>
                  <a:lnTo>
                    <a:pt x="112" y="29"/>
                  </a:lnTo>
                  <a:lnTo>
                    <a:pt x="115" y="25"/>
                  </a:lnTo>
                  <a:lnTo>
                    <a:pt x="116" y="21"/>
                  </a:lnTo>
                  <a:lnTo>
                    <a:pt x="116" y="21"/>
                  </a:lnTo>
                  <a:lnTo>
                    <a:pt x="115" y="16"/>
                  </a:lnTo>
                  <a:lnTo>
                    <a:pt x="112" y="12"/>
                  </a:lnTo>
                  <a:lnTo>
                    <a:pt x="106" y="9"/>
                  </a:lnTo>
                  <a:lnTo>
                    <a:pt x="99" y="7"/>
                  </a:lnTo>
                  <a:lnTo>
                    <a:pt x="91" y="4"/>
                  </a:lnTo>
                  <a:lnTo>
                    <a:pt x="81" y="1"/>
                  </a:lnTo>
                  <a:lnTo>
                    <a:pt x="70" y="1"/>
                  </a:lnTo>
                  <a:lnTo>
                    <a:pt x="59" y="0"/>
                  </a:lnTo>
                  <a:lnTo>
                    <a:pt x="59" y="0"/>
                  </a:lnTo>
                  <a:lnTo>
                    <a:pt x="46" y="1"/>
                  </a:lnTo>
                  <a:lnTo>
                    <a:pt x="35" y="1"/>
                  </a:lnTo>
                  <a:lnTo>
                    <a:pt x="25" y="4"/>
                  </a:lnTo>
                  <a:lnTo>
                    <a:pt x="17" y="7"/>
                  </a:lnTo>
                  <a:lnTo>
                    <a:pt x="10" y="9"/>
                  </a:lnTo>
                  <a:lnTo>
                    <a:pt x="4" y="12"/>
                  </a:lnTo>
                  <a:lnTo>
                    <a:pt x="1" y="16"/>
                  </a:lnTo>
                  <a:lnTo>
                    <a:pt x="0" y="21"/>
                  </a:lnTo>
                  <a:lnTo>
                    <a:pt x="0" y="21"/>
                  </a:lnTo>
                  <a:close/>
                  <a:moveTo>
                    <a:pt x="63" y="2"/>
                  </a:moveTo>
                  <a:lnTo>
                    <a:pt x="63" y="5"/>
                  </a:lnTo>
                  <a:lnTo>
                    <a:pt x="63" y="5"/>
                  </a:lnTo>
                  <a:lnTo>
                    <a:pt x="69" y="5"/>
                  </a:lnTo>
                  <a:lnTo>
                    <a:pt x="69" y="5"/>
                  </a:lnTo>
                  <a:lnTo>
                    <a:pt x="76" y="7"/>
                  </a:lnTo>
                  <a:lnTo>
                    <a:pt x="81" y="9"/>
                  </a:lnTo>
                  <a:lnTo>
                    <a:pt x="81" y="9"/>
                  </a:lnTo>
                  <a:lnTo>
                    <a:pt x="83" y="11"/>
                  </a:lnTo>
                  <a:lnTo>
                    <a:pt x="80" y="12"/>
                  </a:lnTo>
                  <a:lnTo>
                    <a:pt x="77" y="12"/>
                  </a:lnTo>
                  <a:lnTo>
                    <a:pt x="74" y="12"/>
                  </a:lnTo>
                  <a:lnTo>
                    <a:pt x="74" y="12"/>
                  </a:lnTo>
                  <a:lnTo>
                    <a:pt x="74" y="12"/>
                  </a:lnTo>
                  <a:lnTo>
                    <a:pt x="74" y="12"/>
                  </a:lnTo>
                  <a:lnTo>
                    <a:pt x="74" y="12"/>
                  </a:lnTo>
                  <a:lnTo>
                    <a:pt x="74" y="12"/>
                  </a:lnTo>
                  <a:lnTo>
                    <a:pt x="74" y="12"/>
                  </a:lnTo>
                  <a:lnTo>
                    <a:pt x="74" y="12"/>
                  </a:lnTo>
                  <a:lnTo>
                    <a:pt x="73" y="11"/>
                  </a:lnTo>
                  <a:lnTo>
                    <a:pt x="73" y="11"/>
                  </a:lnTo>
                  <a:lnTo>
                    <a:pt x="66" y="9"/>
                  </a:lnTo>
                  <a:lnTo>
                    <a:pt x="66" y="9"/>
                  </a:lnTo>
                  <a:lnTo>
                    <a:pt x="63" y="9"/>
                  </a:lnTo>
                  <a:lnTo>
                    <a:pt x="63" y="19"/>
                  </a:lnTo>
                  <a:lnTo>
                    <a:pt x="63" y="19"/>
                  </a:lnTo>
                  <a:lnTo>
                    <a:pt x="74" y="22"/>
                  </a:lnTo>
                  <a:lnTo>
                    <a:pt x="78" y="23"/>
                  </a:lnTo>
                  <a:lnTo>
                    <a:pt x="81" y="25"/>
                  </a:lnTo>
                  <a:lnTo>
                    <a:pt x="81" y="25"/>
                  </a:lnTo>
                  <a:lnTo>
                    <a:pt x="83" y="28"/>
                  </a:lnTo>
                  <a:lnTo>
                    <a:pt x="81" y="30"/>
                  </a:lnTo>
                  <a:lnTo>
                    <a:pt x="80" y="32"/>
                  </a:lnTo>
                  <a:lnTo>
                    <a:pt x="76" y="33"/>
                  </a:lnTo>
                  <a:lnTo>
                    <a:pt x="76" y="33"/>
                  </a:lnTo>
                  <a:lnTo>
                    <a:pt x="70" y="35"/>
                  </a:lnTo>
                  <a:lnTo>
                    <a:pt x="63" y="36"/>
                  </a:lnTo>
                  <a:lnTo>
                    <a:pt x="63" y="39"/>
                  </a:lnTo>
                  <a:lnTo>
                    <a:pt x="63" y="39"/>
                  </a:lnTo>
                  <a:lnTo>
                    <a:pt x="62" y="39"/>
                  </a:lnTo>
                  <a:lnTo>
                    <a:pt x="56" y="39"/>
                  </a:lnTo>
                  <a:lnTo>
                    <a:pt x="56" y="39"/>
                  </a:lnTo>
                  <a:lnTo>
                    <a:pt x="55" y="39"/>
                  </a:lnTo>
                  <a:lnTo>
                    <a:pt x="55" y="36"/>
                  </a:lnTo>
                  <a:lnTo>
                    <a:pt x="55" y="36"/>
                  </a:lnTo>
                  <a:lnTo>
                    <a:pt x="42" y="35"/>
                  </a:lnTo>
                  <a:lnTo>
                    <a:pt x="35" y="32"/>
                  </a:lnTo>
                  <a:lnTo>
                    <a:pt x="35" y="32"/>
                  </a:lnTo>
                  <a:lnTo>
                    <a:pt x="35" y="30"/>
                  </a:lnTo>
                  <a:lnTo>
                    <a:pt x="36" y="29"/>
                  </a:lnTo>
                  <a:lnTo>
                    <a:pt x="39" y="29"/>
                  </a:lnTo>
                  <a:lnTo>
                    <a:pt x="42" y="29"/>
                  </a:lnTo>
                  <a:lnTo>
                    <a:pt x="42" y="29"/>
                  </a:lnTo>
                  <a:lnTo>
                    <a:pt x="42" y="29"/>
                  </a:lnTo>
                  <a:lnTo>
                    <a:pt x="42" y="29"/>
                  </a:lnTo>
                  <a:lnTo>
                    <a:pt x="43" y="30"/>
                  </a:lnTo>
                  <a:lnTo>
                    <a:pt x="43" y="30"/>
                  </a:lnTo>
                  <a:lnTo>
                    <a:pt x="43" y="30"/>
                  </a:lnTo>
                  <a:lnTo>
                    <a:pt x="43" y="30"/>
                  </a:lnTo>
                  <a:lnTo>
                    <a:pt x="50" y="32"/>
                  </a:lnTo>
                  <a:lnTo>
                    <a:pt x="50" y="32"/>
                  </a:lnTo>
                  <a:lnTo>
                    <a:pt x="55" y="32"/>
                  </a:lnTo>
                  <a:lnTo>
                    <a:pt x="55" y="22"/>
                  </a:lnTo>
                  <a:lnTo>
                    <a:pt x="55" y="22"/>
                  </a:lnTo>
                  <a:lnTo>
                    <a:pt x="43" y="19"/>
                  </a:lnTo>
                  <a:lnTo>
                    <a:pt x="43" y="19"/>
                  </a:lnTo>
                  <a:lnTo>
                    <a:pt x="39" y="18"/>
                  </a:lnTo>
                  <a:lnTo>
                    <a:pt x="36" y="16"/>
                  </a:lnTo>
                  <a:lnTo>
                    <a:pt x="36" y="16"/>
                  </a:lnTo>
                  <a:lnTo>
                    <a:pt x="35" y="15"/>
                  </a:lnTo>
                  <a:lnTo>
                    <a:pt x="35" y="12"/>
                  </a:lnTo>
                  <a:lnTo>
                    <a:pt x="38" y="9"/>
                  </a:lnTo>
                  <a:lnTo>
                    <a:pt x="41" y="8"/>
                  </a:lnTo>
                  <a:lnTo>
                    <a:pt x="41" y="8"/>
                  </a:lnTo>
                  <a:lnTo>
                    <a:pt x="46" y="7"/>
                  </a:lnTo>
                  <a:lnTo>
                    <a:pt x="55" y="5"/>
                  </a:lnTo>
                  <a:lnTo>
                    <a:pt x="55" y="2"/>
                  </a:lnTo>
                  <a:lnTo>
                    <a:pt x="55" y="2"/>
                  </a:lnTo>
                  <a:lnTo>
                    <a:pt x="56" y="2"/>
                  </a:lnTo>
                  <a:lnTo>
                    <a:pt x="62" y="2"/>
                  </a:lnTo>
                  <a:lnTo>
                    <a:pt x="62" y="2"/>
                  </a:lnTo>
                  <a:lnTo>
                    <a:pt x="63" y="2"/>
                  </a:lnTo>
                  <a:lnTo>
                    <a:pt x="63"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63" name="Freeform 82">
              <a:extLst>
                <a:ext uri="{FF2B5EF4-FFF2-40B4-BE49-F238E27FC236}">
                  <a16:creationId xmlns:a16="http://schemas.microsoft.com/office/drawing/2014/main" id="{C7C04DF6-3818-45BA-8E36-28B489CE763F}"/>
                </a:ext>
              </a:extLst>
            </p:cNvPr>
            <p:cNvSpPr>
              <a:spLocks/>
            </p:cNvSpPr>
            <p:nvPr/>
          </p:nvSpPr>
          <p:spPr bwMode="auto">
            <a:xfrm flipV="1">
              <a:off x="4819650" y="2487053"/>
              <a:ext cx="762000" cy="453134"/>
            </a:xfrm>
            <a:custGeom>
              <a:avLst/>
              <a:gdLst/>
              <a:ahLst/>
              <a:cxnLst>
                <a:cxn ang="0">
                  <a:pos x="156" y="218"/>
                </a:cxn>
                <a:cxn ang="0">
                  <a:pos x="234" y="277"/>
                </a:cxn>
                <a:cxn ang="0">
                  <a:pos x="234" y="277"/>
                </a:cxn>
                <a:cxn ang="0">
                  <a:pos x="240" y="280"/>
                </a:cxn>
                <a:cxn ang="0">
                  <a:pos x="248" y="280"/>
                </a:cxn>
                <a:cxn ang="0">
                  <a:pos x="254" y="279"/>
                </a:cxn>
                <a:cxn ang="0">
                  <a:pos x="261" y="273"/>
                </a:cxn>
                <a:cxn ang="0">
                  <a:pos x="418" y="71"/>
                </a:cxn>
                <a:cxn ang="0">
                  <a:pos x="418" y="73"/>
                </a:cxn>
                <a:cxn ang="0">
                  <a:pos x="415" y="126"/>
                </a:cxn>
                <a:cxn ang="0">
                  <a:pos x="415" y="126"/>
                </a:cxn>
                <a:cxn ang="0">
                  <a:pos x="417" y="132"/>
                </a:cxn>
                <a:cxn ang="0">
                  <a:pos x="419" y="137"/>
                </a:cxn>
                <a:cxn ang="0">
                  <a:pos x="424" y="141"/>
                </a:cxn>
                <a:cxn ang="0">
                  <a:pos x="431" y="143"/>
                </a:cxn>
                <a:cxn ang="0">
                  <a:pos x="431" y="143"/>
                </a:cxn>
                <a:cxn ang="0">
                  <a:pos x="436" y="143"/>
                </a:cxn>
                <a:cxn ang="0">
                  <a:pos x="442" y="139"/>
                </a:cxn>
                <a:cxn ang="0">
                  <a:pos x="446" y="134"/>
                </a:cxn>
                <a:cxn ang="0">
                  <a:pos x="447" y="127"/>
                </a:cxn>
                <a:cxn ang="0">
                  <a:pos x="453" y="17"/>
                </a:cxn>
                <a:cxn ang="0">
                  <a:pos x="453" y="17"/>
                </a:cxn>
                <a:cxn ang="0">
                  <a:pos x="453" y="13"/>
                </a:cxn>
                <a:cxn ang="0">
                  <a:pos x="452" y="10"/>
                </a:cxn>
                <a:cxn ang="0">
                  <a:pos x="450" y="6"/>
                </a:cxn>
                <a:cxn ang="0">
                  <a:pos x="447" y="3"/>
                </a:cxn>
                <a:cxn ang="0">
                  <a:pos x="447" y="3"/>
                </a:cxn>
                <a:cxn ang="0">
                  <a:pos x="445" y="1"/>
                </a:cxn>
                <a:cxn ang="0">
                  <a:pos x="440" y="0"/>
                </a:cxn>
                <a:cxn ang="0">
                  <a:pos x="438" y="0"/>
                </a:cxn>
                <a:cxn ang="0">
                  <a:pos x="433" y="0"/>
                </a:cxn>
                <a:cxn ang="0">
                  <a:pos x="328" y="28"/>
                </a:cxn>
                <a:cxn ang="0">
                  <a:pos x="328" y="28"/>
                </a:cxn>
                <a:cxn ang="0">
                  <a:pos x="323" y="31"/>
                </a:cxn>
                <a:cxn ang="0">
                  <a:pos x="318" y="35"/>
                </a:cxn>
                <a:cxn ang="0">
                  <a:pos x="317" y="41"/>
                </a:cxn>
                <a:cxn ang="0">
                  <a:pos x="317" y="48"/>
                </a:cxn>
                <a:cxn ang="0">
                  <a:pos x="317" y="48"/>
                </a:cxn>
                <a:cxn ang="0">
                  <a:pos x="320" y="53"/>
                </a:cxn>
                <a:cxn ang="0">
                  <a:pos x="325" y="57"/>
                </a:cxn>
                <a:cxn ang="0">
                  <a:pos x="331" y="59"/>
                </a:cxn>
                <a:cxn ang="0">
                  <a:pos x="337" y="59"/>
                </a:cxn>
                <a:cxn ang="0">
                  <a:pos x="383" y="48"/>
                </a:cxn>
                <a:cxn ang="0">
                  <a:pos x="386" y="49"/>
                </a:cxn>
                <a:cxn ang="0">
                  <a:pos x="241" y="234"/>
                </a:cxn>
                <a:cxn ang="0">
                  <a:pos x="163" y="175"/>
                </a:cxn>
                <a:cxn ang="0">
                  <a:pos x="163" y="175"/>
                </a:cxn>
                <a:cxn ang="0">
                  <a:pos x="157" y="172"/>
                </a:cxn>
                <a:cxn ang="0">
                  <a:pos x="150" y="172"/>
                </a:cxn>
                <a:cxn ang="0">
                  <a:pos x="143" y="174"/>
                </a:cxn>
                <a:cxn ang="0">
                  <a:pos x="138" y="179"/>
                </a:cxn>
                <a:cxn ang="0">
                  <a:pos x="5" y="325"/>
                </a:cxn>
                <a:cxn ang="0">
                  <a:pos x="5" y="325"/>
                </a:cxn>
                <a:cxn ang="0">
                  <a:pos x="0" y="331"/>
                </a:cxn>
                <a:cxn ang="0">
                  <a:pos x="0" y="339"/>
                </a:cxn>
                <a:cxn ang="0">
                  <a:pos x="2" y="346"/>
                </a:cxn>
                <a:cxn ang="0">
                  <a:pos x="6" y="353"/>
                </a:cxn>
                <a:cxn ang="0">
                  <a:pos x="6" y="353"/>
                </a:cxn>
                <a:cxn ang="0">
                  <a:pos x="13" y="356"/>
                </a:cxn>
                <a:cxn ang="0">
                  <a:pos x="21" y="357"/>
                </a:cxn>
                <a:cxn ang="0">
                  <a:pos x="28" y="356"/>
                </a:cxn>
                <a:cxn ang="0">
                  <a:pos x="34" y="350"/>
                </a:cxn>
                <a:cxn ang="0">
                  <a:pos x="156" y="218"/>
                </a:cxn>
              </a:cxnLst>
              <a:rect l="0" t="0" r="r" b="b"/>
              <a:pathLst>
                <a:path w="453" h="357">
                  <a:moveTo>
                    <a:pt x="156" y="218"/>
                  </a:moveTo>
                  <a:lnTo>
                    <a:pt x="234" y="277"/>
                  </a:lnTo>
                  <a:lnTo>
                    <a:pt x="234" y="277"/>
                  </a:lnTo>
                  <a:lnTo>
                    <a:pt x="240" y="280"/>
                  </a:lnTo>
                  <a:lnTo>
                    <a:pt x="248" y="280"/>
                  </a:lnTo>
                  <a:lnTo>
                    <a:pt x="254" y="279"/>
                  </a:lnTo>
                  <a:lnTo>
                    <a:pt x="261" y="273"/>
                  </a:lnTo>
                  <a:lnTo>
                    <a:pt x="418" y="71"/>
                  </a:lnTo>
                  <a:lnTo>
                    <a:pt x="418" y="73"/>
                  </a:lnTo>
                  <a:lnTo>
                    <a:pt x="415" y="126"/>
                  </a:lnTo>
                  <a:lnTo>
                    <a:pt x="415" y="126"/>
                  </a:lnTo>
                  <a:lnTo>
                    <a:pt x="417" y="132"/>
                  </a:lnTo>
                  <a:lnTo>
                    <a:pt x="419" y="137"/>
                  </a:lnTo>
                  <a:lnTo>
                    <a:pt x="424" y="141"/>
                  </a:lnTo>
                  <a:lnTo>
                    <a:pt x="431" y="143"/>
                  </a:lnTo>
                  <a:lnTo>
                    <a:pt x="431" y="143"/>
                  </a:lnTo>
                  <a:lnTo>
                    <a:pt x="436" y="143"/>
                  </a:lnTo>
                  <a:lnTo>
                    <a:pt x="442" y="139"/>
                  </a:lnTo>
                  <a:lnTo>
                    <a:pt x="446" y="134"/>
                  </a:lnTo>
                  <a:lnTo>
                    <a:pt x="447" y="127"/>
                  </a:lnTo>
                  <a:lnTo>
                    <a:pt x="453" y="17"/>
                  </a:lnTo>
                  <a:lnTo>
                    <a:pt x="453" y="17"/>
                  </a:lnTo>
                  <a:lnTo>
                    <a:pt x="453" y="13"/>
                  </a:lnTo>
                  <a:lnTo>
                    <a:pt x="452" y="10"/>
                  </a:lnTo>
                  <a:lnTo>
                    <a:pt x="450" y="6"/>
                  </a:lnTo>
                  <a:lnTo>
                    <a:pt x="447" y="3"/>
                  </a:lnTo>
                  <a:lnTo>
                    <a:pt x="447" y="3"/>
                  </a:lnTo>
                  <a:lnTo>
                    <a:pt x="445" y="1"/>
                  </a:lnTo>
                  <a:lnTo>
                    <a:pt x="440" y="0"/>
                  </a:lnTo>
                  <a:lnTo>
                    <a:pt x="438" y="0"/>
                  </a:lnTo>
                  <a:lnTo>
                    <a:pt x="433" y="0"/>
                  </a:lnTo>
                  <a:lnTo>
                    <a:pt x="328" y="28"/>
                  </a:lnTo>
                  <a:lnTo>
                    <a:pt x="328" y="28"/>
                  </a:lnTo>
                  <a:lnTo>
                    <a:pt x="323" y="31"/>
                  </a:lnTo>
                  <a:lnTo>
                    <a:pt x="318" y="35"/>
                  </a:lnTo>
                  <a:lnTo>
                    <a:pt x="317" y="41"/>
                  </a:lnTo>
                  <a:lnTo>
                    <a:pt x="317" y="48"/>
                  </a:lnTo>
                  <a:lnTo>
                    <a:pt x="317" y="48"/>
                  </a:lnTo>
                  <a:lnTo>
                    <a:pt x="320" y="53"/>
                  </a:lnTo>
                  <a:lnTo>
                    <a:pt x="325" y="57"/>
                  </a:lnTo>
                  <a:lnTo>
                    <a:pt x="331" y="59"/>
                  </a:lnTo>
                  <a:lnTo>
                    <a:pt x="337" y="59"/>
                  </a:lnTo>
                  <a:lnTo>
                    <a:pt x="383" y="48"/>
                  </a:lnTo>
                  <a:lnTo>
                    <a:pt x="386" y="49"/>
                  </a:lnTo>
                  <a:lnTo>
                    <a:pt x="241" y="234"/>
                  </a:lnTo>
                  <a:lnTo>
                    <a:pt x="163" y="175"/>
                  </a:lnTo>
                  <a:lnTo>
                    <a:pt x="163" y="175"/>
                  </a:lnTo>
                  <a:lnTo>
                    <a:pt x="157" y="172"/>
                  </a:lnTo>
                  <a:lnTo>
                    <a:pt x="150" y="172"/>
                  </a:lnTo>
                  <a:lnTo>
                    <a:pt x="143" y="174"/>
                  </a:lnTo>
                  <a:lnTo>
                    <a:pt x="138" y="179"/>
                  </a:lnTo>
                  <a:lnTo>
                    <a:pt x="5" y="325"/>
                  </a:lnTo>
                  <a:lnTo>
                    <a:pt x="5" y="325"/>
                  </a:lnTo>
                  <a:lnTo>
                    <a:pt x="0" y="331"/>
                  </a:lnTo>
                  <a:lnTo>
                    <a:pt x="0" y="339"/>
                  </a:lnTo>
                  <a:lnTo>
                    <a:pt x="2" y="346"/>
                  </a:lnTo>
                  <a:lnTo>
                    <a:pt x="6" y="353"/>
                  </a:lnTo>
                  <a:lnTo>
                    <a:pt x="6" y="353"/>
                  </a:lnTo>
                  <a:lnTo>
                    <a:pt x="13" y="356"/>
                  </a:lnTo>
                  <a:lnTo>
                    <a:pt x="21" y="357"/>
                  </a:lnTo>
                  <a:lnTo>
                    <a:pt x="28" y="356"/>
                  </a:lnTo>
                  <a:lnTo>
                    <a:pt x="34" y="350"/>
                  </a:lnTo>
                  <a:lnTo>
                    <a:pt x="156" y="2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grpSp>
        <p:nvGrpSpPr>
          <p:cNvPr id="64" name="Groupe 279">
            <a:extLst>
              <a:ext uri="{FF2B5EF4-FFF2-40B4-BE49-F238E27FC236}">
                <a16:creationId xmlns:a16="http://schemas.microsoft.com/office/drawing/2014/main" id="{CD884C9B-172A-4285-86C3-83419FC820C4}"/>
              </a:ext>
            </a:extLst>
          </p:cNvPr>
          <p:cNvGrpSpPr/>
          <p:nvPr/>
        </p:nvGrpSpPr>
        <p:grpSpPr>
          <a:xfrm>
            <a:off x="2870106" y="5157579"/>
            <a:ext cx="1136965" cy="565000"/>
            <a:chOff x="1436342" y="3479214"/>
            <a:chExt cx="689725" cy="794363"/>
          </a:xfrm>
          <a:solidFill>
            <a:srgbClr val="006301"/>
          </a:solidFill>
        </p:grpSpPr>
        <p:grpSp>
          <p:nvGrpSpPr>
            <p:cNvPr id="65" name="Groupe 124">
              <a:extLst>
                <a:ext uri="{FF2B5EF4-FFF2-40B4-BE49-F238E27FC236}">
                  <a16:creationId xmlns:a16="http://schemas.microsoft.com/office/drawing/2014/main" id="{381269F4-D410-46B6-A30A-1A189D571388}"/>
                </a:ext>
              </a:extLst>
            </p:cNvPr>
            <p:cNvGrpSpPr/>
            <p:nvPr/>
          </p:nvGrpSpPr>
          <p:grpSpPr>
            <a:xfrm>
              <a:off x="1436342" y="3479214"/>
              <a:ext cx="689725" cy="794363"/>
              <a:chOff x="2428875" y="3808413"/>
              <a:chExt cx="742950" cy="855662"/>
            </a:xfrm>
            <a:grpFill/>
          </p:grpSpPr>
          <p:sp>
            <p:nvSpPr>
              <p:cNvPr id="67" name="Freeform 93">
                <a:extLst>
                  <a:ext uri="{FF2B5EF4-FFF2-40B4-BE49-F238E27FC236}">
                    <a16:creationId xmlns:a16="http://schemas.microsoft.com/office/drawing/2014/main" id="{BCE87E5D-A3CA-4C07-AED7-C77A98294897}"/>
                  </a:ext>
                </a:extLst>
              </p:cNvPr>
              <p:cNvSpPr>
                <a:spLocks/>
              </p:cNvSpPr>
              <p:nvPr/>
            </p:nvSpPr>
            <p:spPr bwMode="auto">
              <a:xfrm>
                <a:off x="2782888" y="3935413"/>
                <a:ext cx="176212" cy="25400"/>
              </a:xfrm>
              <a:custGeom>
                <a:avLst/>
                <a:gdLst/>
                <a:ahLst/>
                <a:cxnLst>
                  <a:cxn ang="0">
                    <a:pos x="10" y="0"/>
                  </a:cxn>
                  <a:cxn ang="0">
                    <a:pos x="10" y="0"/>
                  </a:cxn>
                  <a:cxn ang="0">
                    <a:pos x="5" y="0"/>
                  </a:cxn>
                  <a:cxn ang="0">
                    <a:pos x="3" y="2"/>
                  </a:cxn>
                  <a:cxn ang="0">
                    <a:pos x="1" y="5"/>
                  </a:cxn>
                  <a:cxn ang="0">
                    <a:pos x="0" y="8"/>
                  </a:cxn>
                  <a:cxn ang="0">
                    <a:pos x="0" y="8"/>
                  </a:cxn>
                  <a:cxn ang="0">
                    <a:pos x="1" y="11"/>
                  </a:cxn>
                  <a:cxn ang="0">
                    <a:pos x="3" y="14"/>
                  </a:cxn>
                  <a:cxn ang="0">
                    <a:pos x="5" y="16"/>
                  </a:cxn>
                  <a:cxn ang="0">
                    <a:pos x="10" y="16"/>
                  </a:cxn>
                  <a:cxn ang="0">
                    <a:pos x="101" y="16"/>
                  </a:cxn>
                  <a:cxn ang="0">
                    <a:pos x="101" y="16"/>
                  </a:cxn>
                  <a:cxn ang="0">
                    <a:pos x="105" y="16"/>
                  </a:cxn>
                  <a:cxn ang="0">
                    <a:pos x="108" y="14"/>
                  </a:cxn>
                  <a:cxn ang="0">
                    <a:pos x="111" y="11"/>
                  </a:cxn>
                  <a:cxn ang="0">
                    <a:pos x="111" y="8"/>
                  </a:cxn>
                  <a:cxn ang="0">
                    <a:pos x="111" y="8"/>
                  </a:cxn>
                  <a:cxn ang="0">
                    <a:pos x="111" y="5"/>
                  </a:cxn>
                  <a:cxn ang="0">
                    <a:pos x="108" y="2"/>
                  </a:cxn>
                  <a:cxn ang="0">
                    <a:pos x="105" y="0"/>
                  </a:cxn>
                  <a:cxn ang="0">
                    <a:pos x="101" y="0"/>
                  </a:cxn>
                  <a:cxn ang="0">
                    <a:pos x="10" y="0"/>
                  </a:cxn>
                </a:cxnLst>
                <a:rect l="0" t="0" r="r" b="b"/>
                <a:pathLst>
                  <a:path w="111" h="16">
                    <a:moveTo>
                      <a:pt x="10" y="0"/>
                    </a:moveTo>
                    <a:lnTo>
                      <a:pt x="10" y="0"/>
                    </a:lnTo>
                    <a:lnTo>
                      <a:pt x="5" y="0"/>
                    </a:lnTo>
                    <a:lnTo>
                      <a:pt x="3" y="2"/>
                    </a:lnTo>
                    <a:lnTo>
                      <a:pt x="1" y="5"/>
                    </a:lnTo>
                    <a:lnTo>
                      <a:pt x="0" y="8"/>
                    </a:lnTo>
                    <a:lnTo>
                      <a:pt x="0" y="8"/>
                    </a:lnTo>
                    <a:lnTo>
                      <a:pt x="1" y="11"/>
                    </a:lnTo>
                    <a:lnTo>
                      <a:pt x="3" y="14"/>
                    </a:lnTo>
                    <a:lnTo>
                      <a:pt x="5" y="16"/>
                    </a:lnTo>
                    <a:lnTo>
                      <a:pt x="10" y="16"/>
                    </a:lnTo>
                    <a:lnTo>
                      <a:pt x="101" y="16"/>
                    </a:lnTo>
                    <a:lnTo>
                      <a:pt x="101" y="16"/>
                    </a:lnTo>
                    <a:lnTo>
                      <a:pt x="105" y="16"/>
                    </a:lnTo>
                    <a:lnTo>
                      <a:pt x="108" y="14"/>
                    </a:lnTo>
                    <a:lnTo>
                      <a:pt x="111" y="11"/>
                    </a:lnTo>
                    <a:lnTo>
                      <a:pt x="111" y="8"/>
                    </a:lnTo>
                    <a:lnTo>
                      <a:pt x="111" y="8"/>
                    </a:lnTo>
                    <a:lnTo>
                      <a:pt x="111" y="5"/>
                    </a:lnTo>
                    <a:lnTo>
                      <a:pt x="108" y="2"/>
                    </a:lnTo>
                    <a:lnTo>
                      <a:pt x="105" y="0"/>
                    </a:lnTo>
                    <a:lnTo>
                      <a:pt x="101" y="0"/>
                    </a:lnTo>
                    <a:lnTo>
                      <a:pt x="1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68" name="Freeform 94">
                <a:extLst>
                  <a:ext uri="{FF2B5EF4-FFF2-40B4-BE49-F238E27FC236}">
                    <a16:creationId xmlns:a16="http://schemas.microsoft.com/office/drawing/2014/main" id="{0E68FEDB-0E6D-491E-9ABE-9E84271A4C8C}"/>
                  </a:ext>
                </a:extLst>
              </p:cNvPr>
              <p:cNvSpPr>
                <a:spLocks/>
              </p:cNvSpPr>
              <p:nvPr/>
            </p:nvSpPr>
            <p:spPr bwMode="auto">
              <a:xfrm>
                <a:off x="2740025" y="3808413"/>
                <a:ext cx="269875" cy="107950"/>
              </a:xfrm>
              <a:custGeom>
                <a:avLst/>
                <a:gdLst/>
                <a:ahLst/>
                <a:cxnLst>
                  <a:cxn ang="0">
                    <a:pos x="83" y="68"/>
                  </a:cxn>
                  <a:cxn ang="0">
                    <a:pos x="135" y="68"/>
                  </a:cxn>
                  <a:cxn ang="0">
                    <a:pos x="138" y="61"/>
                  </a:cxn>
                  <a:cxn ang="0">
                    <a:pos x="149" y="43"/>
                  </a:cxn>
                  <a:cxn ang="0">
                    <a:pos x="164" y="31"/>
                  </a:cxn>
                  <a:cxn ang="0">
                    <a:pos x="170" y="24"/>
                  </a:cxn>
                  <a:cxn ang="0">
                    <a:pos x="168" y="21"/>
                  </a:cxn>
                  <a:cxn ang="0">
                    <a:pos x="160" y="17"/>
                  </a:cxn>
                  <a:cxn ang="0">
                    <a:pos x="145" y="11"/>
                  </a:cxn>
                  <a:cxn ang="0">
                    <a:pos x="132" y="11"/>
                  </a:cxn>
                  <a:cxn ang="0">
                    <a:pos x="129" y="12"/>
                  </a:cxn>
                  <a:cxn ang="0">
                    <a:pos x="119" y="29"/>
                  </a:cxn>
                  <a:cxn ang="0">
                    <a:pos x="112" y="38"/>
                  </a:cxn>
                  <a:cxn ang="0">
                    <a:pos x="103" y="43"/>
                  </a:cxn>
                  <a:cxn ang="0">
                    <a:pos x="105" y="35"/>
                  </a:cxn>
                  <a:cxn ang="0">
                    <a:pos x="115" y="14"/>
                  </a:cxn>
                  <a:cxn ang="0">
                    <a:pos x="114" y="5"/>
                  </a:cxn>
                  <a:cxn ang="0">
                    <a:pos x="111" y="4"/>
                  </a:cxn>
                  <a:cxn ang="0">
                    <a:pos x="100" y="1"/>
                  </a:cxn>
                  <a:cxn ang="0">
                    <a:pos x="83" y="0"/>
                  </a:cxn>
                  <a:cxn ang="0">
                    <a:pos x="59" y="3"/>
                  </a:cxn>
                  <a:cxn ang="0">
                    <a:pos x="53" y="5"/>
                  </a:cxn>
                  <a:cxn ang="0">
                    <a:pos x="52" y="8"/>
                  </a:cxn>
                  <a:cxn ang="0">
                    <a:pos x="56" y="24"/>
                  </a:cxn>
                  <a:cxn ang="0">
                    <a:pos x="65" y="43"/>
                  </a:cxn>
                  <a:cxn ang="0">
                    <a:pos x="59" y="42"/>
                  </a:cxn>
                  <a:cxn ang="0">
                    <a:pos x="51" y="33"/>
                  </a:cxn>
                  <a:cxn ang="0">
                    <a:pos x="42" y="18"/>
                  </a:cxn>
                  <a:cxn ang="0">
                    <a:pos x="38" y="12"/>
                  </a:cxn>
                  <a:cxn ang="0">
                    <a:pos x="31" y="10"/>
                  </a:cxn>
                  <a:cxn ang="0">
                    <a:pos x="14" y="12"/>
                  </a:cxn>
                  <a:cxn ang="0">
                    <a:pos x="7" y="17"/>
                  </a:cxn>
                  <a:cxn ang="0">
                    <a:pos x="0" y="28"/>
                  </a:cxn>
                  <a:cxn ang="0">
                    <a:pos x="6" y="33"/>
                  </a:cxn>
                  <a:cxn ang="0">
                    <a:pos x="18" y="45"/>
                  </a:cxn>
                  <a:cxn ang="0">
                    <a:pos x="32" y="68"/>
                  </a:cxn>
                </a:cxnLst>
                <a:rect l="0" t="0" r="r" b="b"/>
                <a:pathLst>
                  <a:path w="170" h="68">
                    <a:moveTo>
                      <a:pt x="32" y="68"/>
                    </a:moveTo>
                    <a:lnTo>
                      <a:pt x="83" y="68"/>
                    </a:lnTo>
                    <a:lnTo>
                      <a:pt x="84" y="68"/>
                    </a:lnTo>
                    <a:lnTo>
                      <a:pt x="135" y="68"/>
                    </a:lnTo>
                    <a:lnTo>
                      <a:pt x="135" y="68"/>
                    </a:lnTo>
                    <a:lnTo>
                      <a:pt x="138" y="61"/>
                    </a:lnTo>
                    <a:lnTo>
                      <a:pt x="142" y="54"/>
                    </a:lnTo>
                    <a:lnTo>
                      <a:pt x="149" y="43"/>
                    </a:lnTo>
                    <a:lnTo>
                      <a:pt x="157" y="36"/>
                    </a:lnTo>
                    <a:lnTo>
                      <a:pt x="164" y="31"/>
                    </a:lnTo>
                    <a:lnTo>
                      <a:pt x="168" y="26"/>
                    </a:lnTo>
                    <a:lnTo>
                      <a:pt x="170" y="24"/>
                    </a:lnTo>
                    <a:lnTo>
                      <a:pt x="170" y="22"/>
                    </a:lnTo>
                    <a:lnTo>
                      <a:pt x="168" y="21"/>
                    </a:lnTo>
                    <a:lnTo>
                      <a:pt x="160" y="17"/>
                    </a:lnTo>
                    <a:lnTo>
                      <a:pt x="160" y="17"/>
                    </a:lnTo>
                    <a:lnTo>
                      <a:pt x="153" y="14"/>
                    </a:lnTo>
                    <a:lnTo>
                      <a:pt x="145" y="11"/>
                    </a:lnTo>
                    <a:lnTo>
                      <a:pt x="136" y="10"/>
                    </a:lnTo>
                    <a:lnTo>
                      <a:pt x="132" y="11"/>
                    </a:lnTo>
                    <a:lnTo>
                      <a:pt x="129" y="12"/>
                    </a:lnTo>
                    <a:lnTo>
                      <a:pt x="129" y="12"/>
                    </a:lnTo>
                    <a:lnTo>
                      <a:pt x="125" y="18"/>
                    </a:lnTo>
                    <a:lnTo>
                      <a:pt x="119" y="29"/>
                    </a:lnTo>
                    <a:lnTo>
                      <a:pt x="117" y="33"/>
                    </a:lnTo>
                    <a:lnTo>
                      <a:pt x="112" y="38"/>
                    </a:lnTo>
                    <a:lnTo>
                      <a:pt x="108" y="42"/>
                    </a:lnTo>
                    <a:lnTo>
                      <a:pt x="103" y="43"/>
                    </a:lnTo>
                    <a:lnTo>
                      <a:pt x="103" y="43"/>
                    </a:lnTo>
                    <a:lnTo>
                      <a:pt x="105" y="35"/>
                    </a:lnTo>
                    <a:lnTo>
                      <a:pt x="111" y="24"/>
                    </a:lnTo>
                    <a:lnTo>
                      <a:pt x="115" y="14"/>
                    </a:lnTo>
                    <a:lnTo>
                      <a:pt x="115" y="8"/>
                    </a:lnTo>
                    <a:lnTo>
                      <a:pt x="114" y="5"/>
                    </a:lnTo>
                    <a:lnTo>
                      <a:pt x="114" y="5"/>
                    </a:lnTo>
                    <a:lnTo>
                      <a:pt x="111" y="4"/>
                    </a:lnTo>
                    <a:lnTo>
                      <a:pt x="108" y="3"/>
                    </a:lnTo>
                    <a:lnTo>
                      <a:pt x="100" y="1"/>
                    </a:lnTo>
                    <a:lnTo>
                      <a:pt x="83" y="0"/>
                    </a:lnTo>
                    <a:lnTo>
                      <a:pt x="83" y="0"/>
                    </a:lnTo>
                    <a:lnTo>
                      <a:pt x="67" y="1"/>
                    </a:lnTo>
                    <a:lnTo>
                      <a:pt x="59" y="3"/>
                    </a:lnTo>
                    <a:lnTo>
                      <a:pt x="55" y="4"/>
                    </a:lnTo>
                    <a:lnTo>
                      <a:pt x="53" y="5"/>
                    </a:lnTo>
                    <a:lnTo>
                      <a:pt x="53" y="5"/>
                    </a:lnTo>
                    <a:lnTo>
                      <a:pt x="52" y="8"/>
                    </a:lnTo>
                    <a:lnTo>
                      <a:pt x="52" y="14"/>
                    </a:lnTo>
                    <a:lnTo>
                      <a:pt x="56" y="24"/>
                    </a:lnTo>
                    <a:lnTo>
                      <a:pt x="62" y="35"/>
                    </a:lnTo>
                    <a:lnTo>
                      <a:pt x="65" y="43"/>
                    </a:lnTo>
                    <a:lnTo>
                      <a:pt x="65" y="43"/>
                    </a:lnTo>
                    <a:lnTo>
                      <a:pt x="59" y="42"/>
                    </a:lnTo>
                    <a:lnTo>
                      <a:pt x="55" y="38"/>
                    </a:lnTo>
                    <a:lnTo>
                      <a:pt x="51" y="33"/>
                    </a:lnTo>
                    <a:lnTo>
                      <a:pt x="48" y="29"/>
                    </a:lnTo>
                    <a:lnTo>
                      <a:pt x="42" y="18"/>
                    </a:lnTo>
                    <a:lnTo>
                      <a:pt x="38" y="12"/>
                    </a:lnTo>
                    <a:lnTo>
                      <a:pt x="38" y="12"/>
                    </a:lnTo>
                    <a:lnTo>
                      <a:pt x="35" y="11"/>
                    </a:lnTo>
                    <a:lnTo>
                      <a:pt x="31" y="10"/>
                    </a:lnTo>
                    <a:lnTo>
                      <a:pt x="23" y="10"/>
                    </a:lnTo>
                    <a:lnTo>
                      <a:pt x="14" y="12"/>
                    </a:lnTo>
                    <a:lnTo>
                      <a:pt x="7" y="17"/>
                    </a:lnTo>
                    <a:lnTo>
                      <a:pt x="7" y="17"/>
                    </a:lnTo>
                    <a:lnTo>
                      <a:pt x="2" y="24"/>
                    </a:lnTo>
                    <a:lnTo>
                      <a:pt x="0" y="28"/>
                    </a:lnTo>
                    <a:lnTo>
                      <a:pt x="2" y="31"/>
                    </a:lnTo>
                    <a:lnTo>
                      <a:pt x="6" y="33"/>
                    </a:lnTo>
                    <a:lnTo>
                      <a:pt x="11" y="38"/>
                    </a:lnTo>
                    <a:lnTo>
                      <a:pt x="18" y="45"/>
                    </a:lnTo>
                    <a:lnTo>
                      <a:pt x="25" y="54"/>
                    </a:lnTo>
                    <a:lnTo>
                      <a:pt x="32" y="68"/>
                    </a:lnTo>
                    <a:lnTo>
                      <a:pt x="32" y="6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69" name="Freeform 95">
                <a:extLst>
                  <a:ext uri="{FF2B5EF4-FFF2-40B4-BE49-F238E27FC236}">
                    <a16:creationId xmlns:a16="http://schemas.microsoft.com/office/drawing/2014/main" id="{3063AF56-C5CD-480F-814F-D78F0FA3914C}"/>
                  </a:ext>
                </a:extLst>
              </p:cNvPr>
              <p:cNvSpPr>
                <a:spLocks/>
              </p:cNvSpPr>
              <p:nvPr/>
            </p:nvSpPr>
            <p:spPr bwMode="auto">
              <a:xfrm>
                <a:off x="2813050" y="4070350"/>
                <a:ext cx="36512" cy="66675"/>
              </a:xfrm>
              <a:custGeom>
                <a:avLst/>
                <a:gdLst/>
                <a:ahLst/>
                <a:cxnLst>
                  <a:cxn ang="0">
                    <a:pos x="23" y="0"/>
                  </a:cxn>
                  <a:cxn ang="0">
                    <a:pos x="23" y="0"/>
                  </a:cxn>
                  <a:cxn ang="0">
                    <a:pos x="14" y="3"/>
                  </a:cxn>
                  <a:cxn ang="0">
                    <a:pos x="6" y="7"/>
                  </a:cxn>
                  <a:cxn ang="0">
                    <a:pos x="6" y="7"/>
                  </a:cxn>
                  <a:cxn ang="0">
                    <a:pos x="2" y="11"/>
                  </a:cxn>
                  <a:cxn ang="0">
                    <a:pos x="0" y="17"/>
                  </a:cxn>
                  <a:cxn ang="0">
                    <a:pos x="0" y="24"/>
                  </a:cxn>
                  <a:cxn ang="0">
                    <a:pos x="3" y="30"/>
                  </a:cxn>
                  <a:cxn ang="0">
                    <a:pos x="3" y="30"/>
                  </a:cxn>
                  <a:cxn ang="0">
                    <a:pos x="6" y="34"/>
                  </a:cxn>
                  <a:cxn ang="0">
                    <a:pos x="10" y="37"/>
                  </a:cxn>
                  <a:cxn ang="0">
                    <a:pos x="19" y="41"/>
                  </a:cxn>
                  <a:cxn ang="0">
                    <a:pos x="19" y="41"/>
                  </a:cxn>
                  <a:cxn ang="0">
                    <a:pos x="23" y="42"/>
                  </a:cxn>
                  <a:cxn ang="0">
                    <a:pos x="23" y="0"/>
                  </a:cxn>
                </a:cxnLst>
                <a:rect l="0" t="0" r="r" b="b"/>
                <a:pathLst>
                  <a:path w="23" h="42">
                    <a:moveTo>
                      <a:pt x="23" y="0"/>
                    </a:moveTo>
                    <a:lnTo>
                      <a:pt x="23" y="0"/>
                    </a:lnTo>
                    <a:lnTo>
                      <a:pt x="14" y="3"/>
                    </a:lnTo>
                    <a:lnTo>
                      <a:pt x="6" y="7"/>
                    </a:lnTo>
                    <a:lnTo>
                      <a:pt x="6" y="7"/>
                    </a:lnTo>
                    <a:lnTo>
                      <a:pt x="2" y="11"/>
                    </a:lnTo>
                    <a:lnTo>
                      <a:pt x="0" y="17"/>
                    </a:lnTo>
                    <a:lnTo>
                      <a:pt x="0" y="24"/>
                    </a:lnTo>
                    <a:lnTo>
                      <a:pt x="3" y="30"/>
                    </a:lnTo>
                    <a:lnTo>
                      <a:pt x="3" y="30"/>
                    </a:lnTo>
                    <a:lnTo>
                      <a:pt x="6" y="34"/>
                    </a:lnTo>
                    <a:lnTo>
                      <a:pt x="10" y="37"/>
                    </a:lnTo>
                    <a:lnTo>
                      <a:pt x="19" y="41"/>
                    </a:lnTo>
                    <a:lnTo>
                      <a:pt x="19" y="41"/>
                    </a:lnTo>
                    <a:lnTo>
                      <a:pt x="23" y="42"/>
                    </a:lnTo>
                    <a:lnTo>
                      <a:pt x="23"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70" name="Freeform 96">
                <a:extLst>
                  <a:ext uri="{FF2B5EF4-FFF2-40B4-BE49-F238E27FC236}">
                    <a16:creationId xmlns:a16="http://schemas.microsoft.com/office/drawing/2014/main" id="{BAC24653-D445-428F-9E8E-5BF7947DCC31}"/>
                  </a:ext>
                </a:extLst>
              </p:cNvPr>
              <p:cNvSpPr>
                <a:spLocks/>
              </p:cNvSpPr>
              <p:nvPr/>
            </p:nvSpPr>
            <p:spPr bwMode="auto">
              <a:xfrm>
                <a:off x="2884488" y="4184650"/>
                <a:ext cx="42862" cy="66675"/>
              </a:xfrm>
              <a:custGeom>
                <a:avLst/>
                <a:gdLst/>
                <a:ahLst/>
                <a:cxnLst>
                  <a:cxn ang="0">
                    <a:pos x="26" y="15"/>
                  </a:cxn>
                  <a:cxn ang="0">
                    <a:pos x="26" y="15"/>
                  </a:cxn>
                  <a:cxn ang="0">
                    <a:pos x="23" y="11"/>
                  </a:cxn>
                  <a:cxn ang="0">
                    <a:pos x="19" y="8"/>
                  </a:cxn>
                  <a:cxn ang="0">
                    <a:pos x="10" y="4"/>
                  </a:cxn>
                  <a:cxn ang="0">
                    <a:pos x="10" y="4"/>
                  </a:cxn>
                  <a:cxn ang="0">
                    <a:pos x="0" y="0"/>
                  </a:cxn>
                  <a:cxn ang="0">
                    <a:pos x="0" y="42"/>
                  </a:cxn>
                  <a:cxn ang="0">
                    <a:pos x="0" y="42"/>
                  </a:cxn>
                  <a:cxn ang="0">
                    <a:pos x="12" y="40"/>
                  </a:cxn>
                  <a:cxn ang="0">
                    <a:pos x="16" y="39"/>
                  </a:cxn>
                  <a:cxn ang="0">
                    <a:pos x="20" y="36"/>
                  </a:cxn>
                  <a:cxn ang="0">
                    <a:pos x="20" y="36"/>
                  </a:cxn>
                  <a:cxn ang="0">
                    <a:pos x="24" y="32"/>
                  </a:cxn>
                  <a:cxn ang="0">
                    <a:pos x="27" y="26"/>
                  </a:cxn>
                  <a:cxn ang="0">
                    <a:pos x="27" y="21"/>
                  </a:cxn>
                  <a:cxn ang="0">
                    <a:pos x="26" y="15"/>
                  </a:cxn>
                  <a:cxn ang="0">
                    <a:pos x="26" y="15"/>
                  </a:cxn>
                </a:cxnLst>
                <a:rect l="0" t="0" r="r" b="b"/>
                <a:pathLst>
                  <a:path w="27" h="42">
                    <a:moveTo>
                      <a:pt x="26" y="15"/>
                    </a:moveTo>
                    <a:lnTo>
                      <a:pt x="26" y="15"/>
                    </a:lnTo>
                    <a:lnTo>
                      <a:pt x="23" y="11"/>
                    </a:lnTo>
                    <a:lnTo>
                      <a:pt x="19" y="8"/>
                    </a:lnTo>
                    <a:lnTo>
                      <a:pt x="10" y="4"/>
                    </a:lnTo>
                    <a:lnTo>
                      <a:pt x="10" y="4"/>
                    </a:lnTo>
                    <a:lnTo>
                      <a:pt x="0" y="0"/>
                    </a:lnTo>
                    <a:lnTo>
                      <a:pt x="0" y="42"/>
                    </a:lnTo>
                    <a:lnTo>
                      <a:pt x="0" y="42"/>
                    </a:lnTo>
                    <a:lnTo>
                      <a:pt x="12" y="40"/>
                    </a:lnTo>
                    <a:lnTo>
                      <a:pt x="16" y="39"/>
                    </a:lnTo>
                    <a:lnTo>
                      <a:pt x="20" y="36"/>
                    </a:lnTo>
                    <a:lnTo>
                      <a:pt x="20" y="36"/>
                    </a:lnTo>
                    <a:lnTo>
                      <a:pt x="24" y="32"/>
                    </a:lnTo>
                    <a:lnTo>
                      <a:pt x="27" y="26"/>
                    </a:lnTo>
                    <a:lnTo>
                      <a:pt x="27" y="21"/>
                    </a:lnTo>
                    <a:lnTo>
                      <a:pt x="26" y="15"/>
                    </a:lnTo>
                    <a:lnTo>
                      <a:pt x="26" y="15"/>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71" name="Freeform 97">
                <a:extLst>
                  <a:ext uri="{FF2B5EF4-FFF2-40B4-BE49-F238E27FC236}">
                    <a16:creationId xmlns:a16="http://schemas.microsoft.com/office/drawing/2014/main" id="{7FB1848A-FC9C-4459-878B-1ABCD699C11C}"/>
                  </a:ext>
                </a:extLst>
              </p:cNvPr>
              <p:cNvSpPr>
                <a:spLocks noEditPoints="1"/>
              </p:cNvSpPr>
              <p:nvPr/>
            </p:nvSpPr>
            <p:spPr bwMode="auto">
              <a:xfrm>
                <a:off x="2627313" y="3976688"/>
                <a:ext cx="488950" cy="377825"/>
              </a:xfrm>
              <a:custGeom>
                <a:avLst/>
                <a:gdLst/>
                <a:ahLst/>
                <a:cxnLst>
                  <a:cxn ang="0">
                    <a:pos x="154" y="238"/>
                  </a:cxn>
                  <a:cxn ang="0">
                    <a:pos x="154" y="238"/>
                  </a:cxn>
                  <a:cxn ang="0">
                    <a:pos x="242" y="230"/>
                  </a:cxn>
                  <a:cxn ang="0">
                    <a:pos x="274" y="217"/>
                  </a:cxn>
                  <a:cxn ang="0">
                    <a:pos x="297" y="198"/>
                  </a:cxn>
                  <a:cxn ang="0">
                    <a:pos x="307" y="167"/>
                  </a:cxn>
                  <a:cxn ang="0">
                    <a:pos x="307" y="138"/>
                  </a:cxn>
                  <a:cxn ang="0">
                    <a:pos x="294" y="97"/>
                  </a:cxn>
                  <a:cxn ang="0">
                    <a:pos x="272" y="65"/>
                  </a:cxn>
                  <a:cxn ang="0">
                    <a:pos x="230" y="24"/>
                  </a:cxn>
                  <a:cxn ang="0">
                    <a:pos x="207" y="0"/>
                  </a:cxn>
                  <a:cxn ang="0">
                    <a:pos x="101" y="0"/>
                  </a:cxn>
                  <a:cxn ang="0">
                    <a:pos x="92" y="11"/>
                  </a:cxn>
                  <a:cxn ang="0">
                    <a:pos x="45" y="55"/>
                  </a:cxn>
                  <a:cxn ang="0">
                    <a:pos x="19" y="86"/>
                  </a:cxn>
                  <a:cxn ang="0">
                    <a:pos x="4" y="124"/>
                  </a:cxn>
                  <a:cxn ang="0">
                    <a:pos x="0" y="153"/>
                  </a:cxn>
                  <a:cxn ang="0">
                    <a:pos x="7" y="188"/>
                  </a:cxn>
                  <a:cxn ang="0">
                    <a:pos x="25" y="212"/>
                  </a:cxn>
                  <a:cxn ang="0">
                    <a:pos x="53" y="227"/>
                  </a:cxn>
                  <a:cxn ang="0">
                    <a:pos x="120" y="237"/>
                  </a:cxn>
                  <a:cxn ang="0">
                    <a:pos x="115" y="159"/>
                  </a:cxn>
                  <a:cxn ang="0">
                    <a:pos x="116" y="160"/>
                  </a:cxn>
                  <a:cxn ang="0">
                    <a:pos x="133" y="168"/>
                  </a:cxn>
                  <a:cxn ang="0">
                    <a:pos x="140" y="122"/>
                  </a:cxn>
                  <a:cxn ang="0">
                    <a:pos x="110" y="108"/>
                  </a:cxn>
                  <a:cxn ang="0">
                    <a:pos x="99" y="97"/>
                  </a:cxn>
                  <a:cxn ang="0">
                    <a:pos x="96" y="80"/>
                  </a:cxn>
                  <a:cxn ang="0">
                    <a:pos x="101" y="65"/>
                  </a:cxn>
                  <a:cxn ang="0">
                    <a:pos x="109" y="56"/>
                  </a:cxn>
                  <a:cxn ang="0">
                    <a:pos x="131" y="45"/>
                  </a:cxn>
                  <a:cxn ang="0">
                    <a:pos x="140" y="32"/>
                  </a:cxn>
                  <a:cxn ang="0">
                    <a:pos x="158" y="28"/>
                  </a:cxn>
                  <a:cxn ang="0">
                    <a:pos x="162" y="32"/>
                  </a:cxn>
                  <a:cxn ang="0">
                    <a:pos x="174" y="44"/>
                  </a:cxn>
                  <a:cxn ang="0">
                    <a:pos x="192" y="52"/>
                  </a:cxn>
                  <a:cxn ang="0">
                    <a:pos x="206" y="63"/>
                  </a:cxn>
                  <a:cxn ang="0">
                    <a:pos x="204" y="72"/>
                  </a:cxn>
                  <a:cxn ang="0">
                    <a:pos x="195" y="77"/>
                  </a:cxn>
                  <a:cxn ang="0">
                    <a:pos x="189" y="74"/>
                  </a:cxn>
                  <a:cxn ang="0">
                    <a:pos x="186" y="73"/>
                  </a:cxn>
                  <a:cxn ang="0">
                    <a:pos x="185" y="72"/>
                  </a:cxn>
                  <a:cxn ang="0">
                    <a:pos x="168" y="62"/>
                  </a:cxn>
                  <a:cxn ang="0">
                    <a:pos x="162" y="110"/>
                  </a:cxn>
                  <a:cxn ang="0">
                    <a:pos x="199" y="125"/>
                  </a:cxn>
                  <a:cxn ang="0">
                    <a:pos x="211" y="139"/>
                  </a:cxn>
                  <a:cxn ang="0">
                    <a:pos x="214" y="150"/>
                  </a:cxn>
                  <a:cxn ang="0">
                    <a:pos x="210" y="166"/>
                  </a:cxn>
                  <a:cxn ang="0">
                    <a:pos x="199" y="180"/>
                  </a:cxn>
                  <a:cxn ang="0">
                    <a:pos x="174" y="188"/>
                  </a:cxn>
                  <a:cxn ang="0">
                    <a:pos x="162" y="199"/>
                  </a:cxn>
                  <a:cxn ang="0">
                    <a:pos x="144" y="203"/>
                  </a:cxn>
                  <a:cxn ang="0">
                    <a:pos x="140" y="199"/>
                  </a:cxn>
                  <a:cxn ang="0">
                    <a:pos x="126" y="185"/>
                  </a:cxn>
                  <a:cxn ang="0">
                    <a:pos x="98" y="173"/>
                  </a:cxn>
                  <a:cxn ang="0">
                    <a:pos x="94" y="166"/>
                  </a:cxn>
                  <a:cxn ang="0">
                    <a:pos x="99" y="156"/>
                  </a:cxn>
                  <a:cxn ang="0">
                    <a:pos x="110" y="154"/>
                  </a:cxn>
                  <a:cxn ang="0">
                    <a:pos x="113" y="157"/>
                  </a:cxn>
                  <a:cxn ang="0">
                    <a:pos x="115" y="159"/>
                  </a:cxn>
                </a:cxnLst>
                <a:rect l="0" t="0" r="r" b="b"/>
                <a:pathLst>
                  <a:path w="308" h="238">
                    <a:moveTo>
                      <a:pt x="154" y="238"/>
                    </a:moveTo>
                    <a:lnTo>
                      <a:pt x="154" y="238"/>
                    </a:lnTo>
                    <a:lnTo>
                      <a:pt x="154" y="238"/>
                    </a:lnTo>
                    <a:lnTo>
                      <a:pt x="154" y="238"/>
                    </a:lnTo>
                    <a:lnTo>
                      <a:pt x="154" y="238"/>
                    </a:lnTo>
                    <a:lnTo>
                      <a:pt x="154" y="238"/>
                    </a:lnTo>
                    <a:lnTo>
                      <a:pt x="188" y="237"/>
                    </a:lnTo>
                    <a:lnTo>
                      <a:pt x="217" y="234"/>
                    </a:lnTo>
                    <a:lnTo>
                      <a:pt x="242" y="230"/>
                    </a:lnTo>
                    <a:lnTo>
                      <a:pt x="255" y="227"/>
                    </a:lnTo>
                    <a:lnTo>
                      <a:pt x="265" y="223"/>
                    </a:lnTo>
                    <a:lnTo>
                      <a:pt x="274" y="217"/>
                    </a:lnTo>
                    <a:lnTo>
                      <a:pt x="283" y="212"/>
                    </a:lnTo>
                    <a:lnTo>
                      <a:pt x="290" y="205"/>
                    </a:lnTo>
                    <a:lnTo>
                      <a:pt x="297" y="198"/>
                    </a:lnTo>
                    <a:lnTo>
                      <a:pt x="301" y="188"/>
                    </a:lnTo>
                    <a:lnTo>
                      <a:pt x="305" y="178"/>
                    </a:lnTo>
                    <a:lnTo>
                      <a:pt x="307" y="167"/>
                    </a:lnTo>
                    <a:lnTo>
                      <a:pt x="308" y="153"/>
                    </a:lnTo>
                    <a:lnTo>
                      <a:pt x="308" y="153"/>
                    </a:lnTo>
                    <a:lnTo>
                      <a:pt x="307" y="138"/>
                    </a:lnTo>
                    <a:lnTo>
                      <a:pt x="304" y="124"/>
                    </a:lnTo>
                    <a:lnTo>
                      <a:pt x="300" y="110"/>
                    </a:lnTo>
                    <a:lnTo>
                      <a:pt x="294" y="97"/>
                    </a:lnTo>
                    <a:lnTo>
                      <a:pt x="288" y="86"/>
                    </a:lnTo>
                    <a:lnTo>
                      <a:pt x="280" y="74"/>
                    </a:lnTo>
                    <a:lnTo>
                      <a:pt x="272" y="65"/>
                    </a:lnTo>
                    <a:lnTo>
                      <a:pt x="263" y="55"/>
                    </a:lnTo>
                    <a:lnTo>
                      <a:pt x="246" y="39"/>
                    </a:lnTo>
                    <a:lnTo>
                      <a:pt x="230" y="24"/>
                    </a:lnTo>
                    <a:lnTo>
                      <a:pt x="216" y="11"/>
                    </a:lnTo>
                    <a:lnTo>
                      <a:pt x="210" y="6"/>
                    </a:lnTo>
                    <a:lnTo>
                      <a:pt x="207" y="0"/>
                    </a:lnTo>
                    <a:lnTo>
                      <a:pt x="157" y="0"/>
                    </a:lnTo>
                    <a:lnTo>
                      <a:pt x="150" y="0"/>
                    </a:lnTo>
                    <a:lnTo>
                      <a:pt x="101" y="0"/>
                    </a:lnTo>
                    <a:lnTo>
                      <a:pt x="101" y="0"/>
                    </a:lnTo>
                    <a:lnTo>
                      <a:pt x="98" y="6"/>
                    </a:lnTo>
                    <a:lnTo>
                      <a:pt x="92" y="11"/>
                    </a:lnTo>
                    <a:lnTo>
                      <a:pt x="78" y="24"/>
                    </a:lnTo>
                    <a:lnTo>
                      <a:pt x="61" y="39"/>
                    </a:lnTo>
                    <a:lnTo>
                      <a:pt x="45" y="55"/>
                    </a:lnTo>
                    <a:lnTo>
                      <a:pt x="36" y="65"/>
                    </a:lnTo>
                    <a:lnTo>
                      <a:pt x="28" y="74"/>
                    </a:lnTo>
                    <a:lnTo>
                      <a:pt x="19" y="86"/>
                    </a:lnTo>
                    <a:lnTo>
                      <a:pt x="14" y="97"/>
                    </a:lnTo>
                    <a:lnTo>
                      <a:pt x="8" y="110"/>
                    </a:lnTo>
                    <a:lnTo>
                      <a:pt x="4" y="124"/>
                    </a:lnTo>
                    <a:lnTo>
                      <a:pt x="1" y="138"/>
                    </a:lnTo>
                    <a:lnTo>
                      <a:pt x="0" y="153"/>
                    </a:lnTo>
                    <a:lnTo>
                      <a:pt x="0" y="153"/>
                    </a:lnTo>
                    <a:lnTo>
                      <a:pt x="1" y="167"/>
                    </a:lnTo>
                    <a:lnTo>
                      <a:pt x="3" y="178"/>
                    </a:lnTo>
                    <a:lnTo>
                      <a:pt x="7" y="188"/>
                    </a:lnTo>
                    <a:lnTo>
                      <a:pt x="11" y="198"/>
                    </a:lnTo>
                    <a:lnTo>
                      <a:pt x="18" y="205"/>
                    </a:lnTo>
                    <a:lnTo>
                      <a:pt x="25" y="212"/>
                    </a:lnTo>
                    <a:lnTo>
                      <a:pt x="33" y="217"/>
                    </a:lnTo>
                    <a:lnTo>
                      <a:pt x="43" y="223"/>
                    </a:lnTo>
                    <a:lnTo>
                      <a:pt x="53" y="227"/>
                    </a:lnTo>
                    <a:lnTo>
                      <a:pt x="66" y="230"/>
                    </a:lnTo>
                    <a:lnTo>
                      <a:pt x="91" y="234"/>
                    </a:lnTo>
                    <a:lnTo>
                      <a:pt x="120" y="237"/>
                    </a:lnTo>
                    <a:lnTo>
                      <a:pt x="154" y="238"/>
                    </a:lnTo>
                    <a:lnTo>
                      <a:pt x="154" y="238"/>
                    </a:lnTo>
                    <a:close/>
                    <a:moveTo>
                      <a:pt x="115" y="159"/>
                    </a:moveTo>
                    <a:lnTo>
                      <a:pt x="115" y="159"/>
                    </a:lnTo>
                    <a:lnTo>
                      <a:pt x="116" y="160"/>
                    </a:lnTo>
                    <a:lnTo>
                      <a:pt x="116" y="160"/>
                    </a:lnTo>
                    <a:lnTo>
                      <a:pt x="124" y="164"/>
                    </a:lnTo>
                    <a:lnTo>
                      <a:pt x="133" y="168"/>
                    </a:lnTo>
                    <a:lnTo>
                      <a:pt x="133" y="168"/>
                    </a:lnTo>
                    <a:lnTo>
                      <a:pt x="140" y="170"/>
                    </a:lnTo>
                    <a:lnTo>
                      <a:pt x="140" y="122"/>
                    </a:lnTo>
                    <a:lnTo>
                      <a:pt x="140" y="122"/>
                    </a:lnTo>
                    <a:lnTo>
                      <a:pt x="116" y="111"/>
                    </a:lnTo>
                    <a:lnTo>
                      <a:pt x="116" y="111"/>
                    </a:lnTo>
                    <a:lnTo>
                      <a:pt x="110" y="108"/>
                    </a:lnTo>
                    <a:lnTo>
                      <a:pt x="106" y="105"/>
                    </a:lnTo>
                    <a:lnTo>
                      <a:pt x="99" y="97"/>
                    </a:lnTo>
                    <a:lnTo>
                      <a:pt x="99" y="97"/>
                    </a:lnTo>
                    <a:lnTo>
                      <a:pt x="98" y="91"/>
                    </a:lnTo>
                    <a:lnTo>
                      <a:pt x="96" y="86"/>
                    </a:lnTo>
                    <a:lnTo>
                      <a:pt x="96" y="80"/>
                    </a:lnTo>
                    <a:lnTo>
                      <a:pt x="96" y="74"/>
                    </a:lnTo>
                    <a:lnTo>
                      <a:pt x="98" y="70"/>
                    </a:lnTo>
                    <a:lnTo>
                      <a:pt x="101" y="65"/>
                    </a:lnTo>
                    <a:lnTo>
                      <a:pt x="105" y="60"/>
                    </a:lnTo>
                    <a:lnTo>
                      <a:pt x="109" y="56"/>
                    </a:lnTo>
                    <a:lnTo>
                      <a:pt x="109" y="56"/>
                    </a:lnTo>
                    <a:lnTo>
                      <a:pt x="116" y="51"/>
                    </a:lnTo>
                    <a:lnTo>
                      <a:pt x="123" y="48"/>
                    </a:lnTo>
                    <a:lnTo>
                      <a:pt x="131" y="45"/>
                    </a:lnTo>
                    <a:lnTo>
                      <a:pt x="140" y="42"/>
                    </a:lnTo>
                    <a:lnTo>
                      <a:pt x="140" y="32"/>
                    </a:lnTo>
                    <a:lnTo>
                      <a:pt x="140" y="32"/>
                    </a:lnTo>
                    <a:lnTo>
                      <a:pt x="141" y="30"/>
                    </a:lnTo>
                    <a:lnTo>
                      <a:pt x="144" y="28"/>
                    </a:lnTo>
                    <a:lnTo>
                      <a:pt x="158" y="28"/>
                    </a:lnTo>
                    <a:lnTo>
                      <a:pt x="158" y="28"/>
                    </a:lnTo>
                    <a:lnTo>
                      <a:pt x="161" y="30"/>
                    </a:lnTo>
                    <a:lnTo>
                      <a:pt x="162" y="32"/>
                    </a:lnTo>
                    <a:lnTo>
                      <a:pt x="162" y="42"/>
                    </a:lnTo>
                    <a:lnTo>
                      <a:pt x="162" y="42"/>
                    </a:lnTo>
                    <a:lnTo>
                      <a:pt x="174" y="44"/>
                    </a:lnTo>
                    <a:lnTo>
                      <a:pt x="174" y="44"/>
                    </a:lnTo>
                    <a:lnTo>
                      <a:pt x="183" y="48"/>
                    </a:lnTo>
                    <a:lnTo>
                      <a:pt x="192" y="52"/>
                    </a:lnTo>
                    <a:lnTo>
                      <a:pt x="200" y="58"/>
                    </a:lnTo>
                    <a:lnTo>
                      <a:pt x="206" y="63"/>
                    </a:lnTo>
                    <a:lnTo>
                      <a:pt x="206" y="63"/>
                    </a:lnTo>
                    <a:lnTo>
                      <a:pt x="207" y="66"/>
                    </a:lnTo>
                    <a:lnTo>
                      <a:pt x="207" y="69"/>
                    </a:lnTo>
                    <a:lnTo>
                      <a:pt x="204" y="72"/>
                    </a:lnTo>
                    <a:lnTo>
                      <a:pt x="202" y="74"/>
                    </a:lnTo>
                    <a:lnTo>
                      <a:pt x="199" y="77"/>
                    </a:lnTo>
                    <a:lnTo>
                      <a:pt x="195" y="77"/>
                    </a:lnTo>
                    <a:lnTo>
                      <a:pt x="192" y="77"/>
                    </a:lnTo>
                    <a:lnTo>
                      <a:pt x="189" y="74"/>
                    </a:lnTo>
                    <a:lnTo>
                      <a:pt x="189" y="74"/>
                    </a:lnTo>
                    <a:lnTo>
                      <a:pt x="188" y="73"/>
                    </a:lnTo>
                    <a:lnTo>
                      <a:pt x="188" y="73"/>
                    </a:lnTo>
                    <a:lnTo>
                      <a:pt x="186" y="73"/>
                    </a:lnTo>
                    <a:lnTo>
                      <a:pt x="186" y="73"/>
                    </a:lnTo>
                    <a:lnTo>
                      <a:pt x="185" y="72"/>
                    </a:lnTo>
                    <a:lnTo>
                      <a:pt x="185" y="72"/>
                    </a:lnTo>
                    <a:lnTo>
                      <a:pt x="176" y="66"/>
                    </a:lnTo>
                    <a:lnTo>
                      <a:pt x="168" y="62"/>
                    </a:lnTo>
                    <a:lnTo>
                      <a:pt x="168" y="62"/>
                    </a:lnTo>
                    <a:lnTo>
                      <a:pt x="162" y="60"/>
                    </a:lnTo>
                    <a:lnTo>
                      <a:pt x="162" y="110"/>
                    </a:lnTo>
                    <a:lnTo>
                      <a:pt x="162" y="110"/>
                    </a:lnTo>
                    <a:lnTo>
                      <a:pt x="176" y="115"/>
                    </a:lnTo>
                    <a:lnTo>
                      <a:pt x="192" y="121"/>
                    </a:lnTo>
                    <a:lnTo>
                      <a:pt x="199" y="125"/>
                    </a:lnTo>
                    <a:lnTo>
                      <a:pt x="204" y="129"/>
                    </a:lnTo>
                    <a:lnTo>
                      <a:pt x="209" y="135"/>
                    </a:lnTo>
                    <a:lnTo>
                      <a:pt x="211" y="139"/>
                    </a:lnTo>
                    <a:lnTo>
                      <a:pt x="211" y="139"/>
                    </a:lnTo>
                    <a:lnTo>
                      <a:pt x="213" y="145"/>
                    </a:lnTo>
                    <a:lnTo>
                      <a:pt x="214" y="150"/>
                    </a:lnTo>
                    <a:lnTo>
                      <a:pt x="213" y="156"/>
                    </a:lnTo>
                    <a:lnTo>
                      <a:pt x="211" y="161"/>
                    </a:lnTo>
                    <a:lnTo>
                      <a:pt x="210" y="166"/>
                    </a:lnTo>
                    <a:lnTo>
                      <a:pt x="207" y="171"/>
                    </a:lnTo>
                    <a:lnTo>
                      <a:pt x="199" y="180"/>
                    </a:lnTo>
                    <a:lnTo>
                      <a:pt x="199" y="180"/>
                    </a:lnTo>
                    <a:lnTo>
                      <a:pt x="192" y="184"/>
                    </a:lnTo>
                    <a:lnTo>
                      <a:pt x="183" y="187"/>
                    </a:lnTo>
                    <a:lnTo>
                      <a:pt x="174" y="188"/>
                    </a:lnTo>
                    <a:lnTo>
                      <a:pt x="162" y="189"/>
                    </a:lnTo>
                    <a:lnTo>
                      <a:pt x="162" y="199"/>
                    </a:lnTo>
                    <a:lnTo>
                      <a:pt x="162" y="199"/>
                    </a:lnTo>
                    <a:lnTo>
                      <a:pt x="161" y="202"/>
                    </a:lnTo>
                    <a:lnTo>
                      <a:pt x="158" y="203"/>
                    </a:lnTo>
                    <a:lnTo>
                      <a:pt x="144" y="203"/>
                    </a:lnTo>
                    <a:lnTo>
                      <a:pt x="144" y="203"/>
                    </a:lnTo>
                    <a:lnTo>
                      <a:pt x="141" y="202"/>
                    </a:lnTo>
                    <a:lnTo>
                      <a:pt x="140" y="199"/>
                    </a:lnTo>
                    <a:lnTo>
                      <a:pt x="140" y="188"/>
                    </a:lnTo>
                    <a:lnTo>
                      <a:pt x="140" y="188"/>
                    </a:lnTo>
                    <a:lnTo>
                      <a:pt x="126" y="185"/>
                    </a:lnTo>
                    <a:lnTo>
                      <a:pt x="113" y="181"/>
                    </a:lnTo>
                    <a:lnTo>
                      <a:pt x="102" y="175"/>
                    </a:lnTo>
                    <a:lnTo>
                      <a:pt x="98" y="173"/>
                    </a:lnTo>
                    <a:lnTo>
                      <a:pt x="95" y="168"/>
                    </a:lnTo>
                    <a:lnTo>
                      <a:pt x="95" y="168"/>
                    </a:lnTo>
                    <a:lnTo>
                      <a:pt x="94" y="166"/>
                    </a:lnTo>
                    <a:lnTo>
                      <a:pt x="95" y="161"/>
                    </a:lnTo>
                    <a:lnTo>
                      <a:pt x="96" y="159"/>
                    </a:lnTo>
                    <a:lnTo>
                      <a:pt x="99" y="156"/>
                    </a:lnTo>
                    <a:lnTo>
                      <a:pt x="103" y="154"/>
                    </a:lnTo>
                    <a:lnTo>
                      <a:pt x="106" y="153"/>
                    </a:lnTo>
                    <a:lnTo>
                      <a:pt x="110" y="154"/>
                    </a:lnTo>
                    <a:lnTo>
                      <a:pt x="113" y="156"/>
                    </a:lnTo>
                    <a:lnTo>
                      <a:pt x="113" y="156"/>
                    </a:lnTo>
                    <a:lnTo>
                      <a:pt x="113" y="157"/>
                    </a:lnTo>
                    <a:lnTo>
                      <a:pt x="113" y="157"/>
                    </a:lnTo>
                    <a:lnTo>
                      <a:pt x="115" y="159"/>
                    </a:lnTo>
                    <a:lnTo>
                      <a:pt x="115" y="15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72" name="Freeform 98">
                <a:extLst>
                  <a:ext uri="{FF2B5EF4-FFF2-40B4-BE49-F238E27FC236}">
                    <a16:creationId xmlns:a16="http://schemas.microsoft.com/office/drawing/2014/main" id="{268BD4A0-9BB9-48E4-9A98-1B9869FD97E2}"/>
                  </a:ext>
                </a:extLst>
              </p:cNvPr>
              <p:cNvSpPr>
                <a:spLocks/>
              </p:cNvSpPr>
              <p:nvPr/>
            </p:nvSpPr>
            <p:spPr bwMode="auto">
              <a:xfrm>
                <a:off x="2428875" y="4464050"/>
                <a:ext cx="233362" cy="200025"/>
              </a:xfrm>
              <a:custGeom>
                <a:avLst/>
                <a:gdLst/>
                <a:ahLst/>
                <a:cxnLst>
                  <a:cxn ang="0">
                    <a:pos x="0" y="39"/>
                  </a:cxn>
                  <a:cxn ang="0">
                    <a:pos x="93" y="126"/>
                  </a:cxn>
                  <a:cxn ang="0">
                    <a:pos x="93" y="126"/>
                  </a:cxn>
                  <a:cxn ang="0">
                    <a:pos x="109" y="112"/>
                  </a:cxn>
                  <a:cxn ang="0">
                    <a:pos x="147" y="84"/>
                  </a:cxn>
                  <a:cxn ang="0">
                    <a:pos x="49" y="0"/>
                  </a:cxn>
                  <a:cxn ang="0">
                    <a:pos x="49" y="0"/>
                  </a:cxn>
                  <a:cxn ang="0">
                    <a:pos x="11" y="29"/>
                  </a:cxn>
                  <a:cxn ang="0">
                    <a:pos x="0" y="39"/>
                  </a:cxn>
                  <a:cxn ang="0">
                    <a:pos x="0" y="39"/>
                  </a:cxn>
                </a:cxnLst>
                <a:rect l="0" t="0" r="r" b="b"/>
                <a:pathLst>
                  <a:path w="147" h="126">
                    <a:moveTo>
                      <a:pt x="0" y="39"/>
                    </a:moveTo>
                    <a:lnTo>
                      <a:pt x="93" y="126"/>
                    </a:lnTo>
                    <a:lnTo>
                      <a:pt x="93" y="126"/>
                    </a:lnTo>
                    <a:lnTo>
                      <a:pt x="109" y="112"/>
                    </a:lnTo>
                    <a:lnTo>
                      <a:pt x="147" y="84"/>
                    </a:lnTo>
                    <a:lnTo>
                      <a:pt x="49" y="0"/>
                    </a:lnTo>
                    <a:lnTo>
                      <a:pt x="49" y="0"/>
                    </a:lnTo>
                    <a:lnTo>
                      <a:pt x="11" y="29"/>
                    </a:lnTo>
                    <a:lnTo>
                      <a:pt x="0" y="39"/>
                    </a:lnTo>
                    <a:lnTo>
                      <a:pt x="0" y="3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73" name="Freeform 99">
                <a:extLst>
                  <a:ext uri="{FF2B5EF4-FFF2-40B4-BE49-F238E27FC236}">
                    <a16:creationId xmlns:a16="http://schemas.microsoft.com/office/drawing/2014/main" id="{81E152A7-1058-42AF-926F-02700ED2C5E8}"/>
                  </a:ext>
                </a:extLst>
              </p:cNvPr>
              <p:cNvSpPr>
                <a:spLocks/>
              </p:cNvSpPr>
              <p:nvPr/>
            </p:nvSpPr>
            <p:spPr bwMode="auto">
              <a:xfrm>
                <a:off x="2544763" y="4376738"/>
                <a:ext cx="627062" cy="204788"/>
              </a:xfrm>
              <a:custGeom>
                <a:avLst/>
                <a:gdLst/>
                <a:ahLst/>
                <a:cxnLst>
                  <a:cxn ang="0">
                    <a:pos x="333" y="26"/>
                  </a:cxn>
                  <a:cxn ang="0">
                    <a:pos x="300" y="52"/>
                  </a:cxn>
                  <a:cxn ang="0">
                    <a:pos x="282" y="61"/>
                  </a:cxn>
                  <a:cxn ang="0">
                    <a:pos x="262" y="66"/>
                  </a:cxn>
                  <a:cxn ang="0">
                    <a:pos x="245" y="69"/>
                  </a:cxn>
                  <a:cxn ang="0">
                    <a:pos x="213" y="68"/>
                  </a:cxn>
                  <a:cxn ang="0">
                    <a:pos x="186" y="65"/>
                  </a:cxn>
                  <a:cxn ang="0">
                    <a:pos x="167" y="58"/>
                  </a:cxn>
                  <a:cxn ang="0">
                    <a:pos x="160" y="55"/>
                  </a:cxn>
                  <a:cxn ang="0">
                    <a:pos x="153" y="48"/>
                  </a:cxn>
                  <a:cxn ang="0">
                    <a:pos x="161" y="47"/>
                  </a:cxn>
                  <a:cxn ang="0">
                    <a:pos x="226" y="45"/>
                  </a:cxn>
                  <a:cxn ang="0">
                    <a:pos x="237" y="45"/>
                  </a:cxn>
                  <a:cxn ang="0">
                    <a:pos x="255" y="41"/>
                  </a:cxn>
                  <a:cxn ang="0">
                    <a:pos x="266" y="35"/>
                  </a:cxn>
                  <a:cxn ang="0">
                    <a:pos x="276" y="26"/>
                  </a:cxn>
                  <a:cxn ang="0">
                    <a:pos x="279" y="13"/>
                  </a:cxn>
                  <a:cxn ang="0">
                    <a:pos x="277" y="7"/>
                  </a:cxn>
                  <a:cxn ang="0">
                    <a:pos x="179" y="3"/>
                  </a:cxn>
                  <a:cxn ang="0">
                    <a:pos x="130" y="0"/>
                  </a:cxn>
                  <a:cxn ang="0">
                    <a:pos x="94" y="0"/>
                  </a:cxn>
                  <a:cxn ang="0">
                    <a:pos x="84" y="2"/>
                  </a:cxn>
                  <a:cxn ang="0">
                    <a:pos x="66" y="9"/>
                  </a:cxn>
                  <a:cxn ang="0">
                    <a:pos x="0" y="54"/>
                  </a:cxn>
                  <a:cxn ang="0">
                    <a:pos x="87" y="129"/>
                  </a:cxn>
                  <a:cxn ang="0">
                    <a:pos x="112" y="115"/>
                  </a:cxn>
                  <a:cxn ang="0">
                    <a:pos x="116" y="114"/>
                  </a:cxn>
                  <a:cxn ang="0">
                    <a:pos x="221" y="117"/>
                  </a:cxn>
                  <a:cxn ang="0">
                    <a:pos x="262" y="114"/>
                  </a:cxn>
                  <a:cxn ang="0">
                    <a:pos x="279" y="105"/>
                  </a:cxn>
                  <a:cxn ang="0">
                    <a:pos x="324" y="77"/>
                  </a:cxn>
                  <a:cxn ang="0">
                    <a:pos x="366" y="44"/>
                  </a:cxn>
                  <a:cxn ang="0">
                    <a:pos x="388" y="19"/>
                  </a:cxn>
                  <a:cxn ang="0">
                    <a:pos x="395" y="9"/>
                  </a:cxn>
                  <a:cxn ang="0">
                    <a:pos x="385" y="3"/>
                  </a:cxn>
                  <a:cxn ang="0">
                    <a:pos x="368" y="2"/>
                  </a:cxn>
                  <a:cxn ang="0">
                    <a:pos x="346" y="13"/>
                  </a:cxn>
                  <a:cxn ang="0">
                    <a:pos x="333" y="26"/>
                  </a:cxn>
                </a:cxnLst>
                <a:rect l="0" t="0" r="r" b="b"/>
                <a:pathLst>
                  <a:path w="395" h="129">
                    <a:moveTo>
                      <a:pt x="333" y="26"/>
                    </a:moveTo>
                    <a:lnTo>
                      <a:pt x="333" y="26"/>
                    </a:lnTo>
                    <a:lnTo>
                      <a:pt x="317" y="40"/>
                    </a:lnTo>
                    <a:lnTo>
                      <a:pt x="300" y="52"/>
                    </a:lnTo>
                    <a:lnTo>
                      <a:pt x="291" y="56"/>
                    </a:lnTo>
                    <a:lnTo>
                      <a:pt x="282" y="61"/>
                    </a:lnTo>
                    <a:lnTo>
                      <a:pt x="272" y="63"/>
                    </a:lnTo>
                    <a:lnTo>
                      <a:pt x="262" y="66"/>
                    </a:lnTo>
                    <a:lnTo>
                      <a:pt x="262" y="66"/>
                    </a:lnTo>
                    <a:lnTo>
                      <a:pt x="245" y="69"/>
                    </a:lnTo>
                    <a:lnTo>
                      <a:pt x="230" y="69"/>
                    </a:lnTo>
                    <a:lnTo>
                      <a:pt x="213" y="68"/>
                    </a:lnTo>
                    <a:lnTo>
                      <a:pt x="199" y="66"/>
                    </a:lnTo>
                    <a:lnTo>
                      <a:pt x="186" y="65"/>
                    </a:lnTo>
                    <a:lnTo>
                      <a:pt x="175" y="61"/>
                    </a:lnTo>
                    <a:lnTo>
                      <a:pt x="167" y="58"/>
                    </a:lnTo>
                    <a:lnTo>
                      <a:pt x="160" y="55"/>
                    </a:lnTo>
                    <a:lnTo>
                      <a:pt x="160" y="55"/>
                    </a:lnTo>
                    <a:lnTo>
                      <a:pt x="154" y="51"/>
                    </a:lnTo>
                    <a:lnTo>
                      <a:pt x="153" y="48"/>
                    </a:lnTo>
                    <a:lnTo>
                      <a:pt x="154" y="47"/>
                    </a:lnTo>
                    <a:lnTo>
                      <a:pt x="161" y="47"/>
                    </a:lnTo>
                    <a:lnTo>
                      <a:pt x="185" y="47"/>
                    </a:lnTo>
                    <a:lnTo>
                      <a:pt x="226" y="45"/>
                    </a:lnTo>
                    <a:lnTo>
                      <a:pt x="226" y="45"/>
                    </a:lnTo>
                    <a:lnTo>
                      <a:pt x="237" y="45"/>
                    </a:lnTo>
                    <a:lnTo>
                      <a:pt x="247" y="44"/>
                    </a:lnTo>
                    <a:lnTo>
                      <a:pt x="255" y="41"/>
                    </a:lnTo>
                    <a:lnTo>
                      <a:pt x="261" y="38"/>
                    </a:lnTo>
                    <a:lnTo>
                      <a:pt x="266" y="35"/>
                    </a:lnTo>
                    <a:lnTo>
                      <a:pt x="270" y="33"/>
                    </a:lnTo>
                    <a:lnTo>
                      <a:pt x="276" y="26"/>
                    </a:lnTo>
                    <a:lnTo>
                      <a:pt x="279" y="19"/>
                    </a:lnTo>
                    <a:lnTo>
                      <a:pt x="279" y="13"/>
                    </a:lnTo>
                    <a:lnTo>
                      <a:pt x="277" y="7"/>
                    </a:lnTo>
                    <a:lnTo>
                      <a:pt x="277" y="7"/>
                    </a:lnTo>
                    <a:lnTo>
                      <a:pt x="248" y="6"/>
                    </a:lnTo>
                    <a:lnTo>
                      <a:pt x="179" y="3"/>
                    </a:lnTo>
                    <a:lnTo>
                      <a:pt x="179" y="3"/>
                    </a:lnTo>
                    <a:lnTo>
                      <a:pt x="130" y="0"/>
                    </a:lnTo>
                    <a:lnTo>
                      <a:pt x="105" y="0"/>
                    </a:lnTo>
                    <a:lnTo>
                      <a:pt x="94" y="0"/>
                    </a:lnTo>
                    <a:lnTo>
                      <a:pt x="84" y="2"/>
                    </a:lnTo>
                    <a:lnTo>
                      <a:pt x="84" y="2"/>
                    </a:lnTo>
                    <a:lnTo>
                      <a:pt x="76" y="5"/>
                    </a:lnTo>
                    <a:lnTo>
                      <a:pt x="66" y="9"/>
                    </a:lnTo>
                    <a:lnTo>
                      <a:pt x="46" y="20"/>
                    </a:lnTo>
                    <a:lnTo>
                      <a:pt x="0" y="54"/>
                    </a:lnTo>
                    <a:lnTo>
                      <a:pt x="87" y="129"/>
                    </a:lnTo>
                    <a:lnTo>
                      <a:pt x="87" y="129"/>
                    </a:lnTo>
                    <a:lnTo>
                      <a:pt x="105" y="118"/>
                    </a:lnTo>
                    <a:lnTo>
                      <a:pt x="112" y="115"/>
                    </a:lnTo>
                    <a:lnTo>
                      <a:pt x="116" y="114"/>
                    </a:lnTo>
                    <a:lnTo>
                      <a:pt x="116" y="114"/>
                    </a:lnTo>
                    <a:lnTo>
                      <a:pt x="181" y="117"/>
                    </a:lnTo>
                    <a:lnTo>
                      <a:pt x="221" y="117"/>
                    </a:lnTo>
                    <a:lnTo>
                      <a:pt x="242" y="117"/>
                    </a:lnTo>
                    <a:lnTo>
                      <a:pt x="262" y="114"/>
                    </a:lnTo>
                    <a:lnTo>
                      <a:pt x="262" y="114"/>
                    </a:lnTo>
                    <a:lnTo>
                      <a:pt x="279" y="105"/>
                    </a:lnTo>
                    <a:lnTo>
                      <a:pt x="296" y="96"/>
                    </a:lnTo>
                    <a:lnTo>
                      <a:pt x="324" y="77"/>
                    </a:lnTo>
                    <a:lnTo>
                      <a:pt x="347" y="59"/>
                    </a:lnTo>
                    <a:lnTo>
                      <a:pt x="366" y="44"/>
                    </a:lnTo>
                    <a:lnTo>
                      <a:pt x="378" y="30"/>
                    </a:lnTo>
                    <a:lnTo>
                      <a:pt x="388" y="19"/>
                    </a:lnTo>
                    <a:lnTo>
                      <a:pt x="395" y="9"/>
                    </a:lnTo>
                    <a:lnTo>
                      <a:pt x="395" y="9"/>
                    </a:lnTo>
                    <a:lnTo>
                      <a:pt x="391" y="5"/>
                    </a:lnTo>
                    <a:lnTo>
                      <a:pt x="385" y="3"/>
                    </a:lnTo>
                    <a:lnTo>
                      <a:pt x="377" y="2"/>
                    </a:lnTo>
                    <a:lnTo>
                      <a:pt x="368" y="2"/>
                    </a:lnTo>
                    <a:lnTo>
                      <a:pt x="357" y="6"/>
                    </a:lnTo>
                    <a:lnTo>
                      <a:pt x="346" y="13"/>
                    </a:lnTo>
                    <a:lnTo>
                      <a:pt x="340" y="19"/>
                    </a:lnTo>
                    <a:lnTo>
                      <a:pt x="333" y="26"/>
                    </a:lnTo>
                    <a:lnTo>
                      <a:pt x="333" y="2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sp>
          <p:nvSpPr>
            <p:cNvPr id="66" name="Rectangle 65">
              <a:extLst>
                <a:ext uri="{FF2B5EF4-FFF2-40B4-BE49-F238E27FC236}">
                  <a16:creationId xmlns:a16="http://schemas.microsoft.com/office/drawing/2014/main" id="{7EF42ED6-5143-4982-A2DD-00EEED1E5468}"/>
                </a:ext>
              </a:extLst>
            </p:cNvPr>
            <p:cNvSpPr/>
            <p:nvPr/>
          </p:nvSpPr>
          <p:spPr>
            <a:xfrm>
              <a:off x="1755648" y="3666744"/>
              <a:ext cx="182880" cy="3017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cxnSp>
        <p:nvCxnSpPr>
          <p:cNvPr id="74" name="Straight Connector 73">
            <a:extLst>
              <a:ext uri="{FF2B5EF4-FFF2-40B4-BE49-F238E27FC236}">
                <a16:creationId xmlns:a16="http://schemas.microsoft.com/office/drawing/2014/main" id="{ADDCA949-BAB0-4BE0-B7CF-FF3986ADEDE7}"/>
              </a:ext>
            </a:extLst>
          </p:cNvPr>
          <p:cNvCxnSpPr/>
          <p:nvPr/>
        </p:nvCxnSpPr>
        <p:spPr>
          <a:xfrm>
            <a:off x="2438400" y="4558130"/>
            <a:ext cx="0" cy="1715289"/>
          </a:xfrm>
          <a:prstGeom prst="line">
            <a:avLst/>
          </a:prstGeom>
          <a:noFill/>
          <a:ln w="9525" cap="flat" cmpd="sng" algn="ctr">
            <a:solidFill>
              <a:srgbClr val="007743"/>
            </a:solidFill>
            <a:prstDash val="dash"/>
          </a:ln>
          <a:effectLst/>
        </p:spPr>
      </p:cxnSp>
      <p:cxnSp>
        <p:nvCxnSpPr>
          <p:cNvPr id="75" name="Straight Connector 74">
            <a:extLst>
              <a:ext uri="{FF2B5EF4-FFF2-40B4-BE49-F238E27FC236}">
                <a16:creationId xmlns:a16="http://schemas.microsoft.com/office/drawing/2014/main" id="{81DC1EF7-0FC4-475A-9818-D9C43F30E758}"/>
              </a:ext>
            </a:extLst>
          </p:cNvPr>
          <p:cNvCxnSpPr/>
          <p:nvPr/>
        </p:nvCxnSpPr>
        <p:spPr>
          <a:xfrm>
            <a:off x="4470400" y="4552542"/>
            <a:ext cx="0" cy="1715289"/>
          </a:xfrm>
          <a:prstGeom prst="line">
            <a:avLst/>
          </a:prstGeom>
          <a:noFill/>
          <a:ln w="9525" cap="flat" cmpd="sng" algn="ctr">
            <a:solidFill>
              <a:srgbClr val="007743"/>
            </a:solidFill>
            <a:prstDash val="dash"/>
          </a:ln>
          <a:effectLst/>
        </p:spPr>
      </p:cxnSp>
      <p:cxnSp>
        <p:nvCxnSpPr>
          <p:cNvPr id="76" name="Straight Connector 75">
            <a:extLst>
              <a:ext uri="{FF2B5EF4-FFF2-40B4-BE49-F238E27FC236}">
                <a16:creationId xmlns:a16="http://schemas.microsoft.com/office/drawing/2014/main" id="{FF1CDD7A-6368-49C0-BFC7-E26C894EF63C}"/>
              </a:ext>
            </a:extLst>
          </p:cNvPr>
          <p:cNvCxnSpPr/>
          <p:nvPr/>
        </p:nvCxnSpPr>
        <p:spPr>
          <a:xfrm>
            <a:off x="6465049" y="4552542"/>
            <a:ext cx="0" cy="1715289"/>
          </a:xfrm>
          <a:prstGeom prst="line">
            <a:avLst/>
          </a:prstGeom>
          <a:noFill/>
          <a:ln w="9525" cap="flat" cmpd="sng" algn="ctr">
            <a:solidFill>
              <a:srgbClr val="007743"/>
            </a:solidFill>
            <a:prstDash val="dash"/>
          </a:ln>
          <a:effectLst/>
        </p:spPr>
      </p:cxnSp>
      <p:cxnSp>
        <p:nvCxnSpPr>
          <p:cNvPr id="77" name="Straight Connector 76">
            <a:extLst>
              <a:ext uri="{FF2B5EF4-FFF2-40B4-BE49-F238E27FC236}">
                <a16:creationId xmlns:a16="http://schemas.microsoft.com/office/drawing/2014/main" id="{B8CF4F11-6E14-4714-A64B-358433F5BF2E}"/>
              </a:ext>
            </a:extLst>
          </p:cNvPr>
          <p:cNvCxnSpPr/>
          <p:nvPr/>
        </p:nvCxnSpPr>
        <p:spPr>
          <a:xfrm>
            <a:off x="8372393" y="4552542"/>
            <a:ext cx="0" cy="1715289"/>
          </a:xfrm>
          <a:prstGeom prst="line">
            <a:avLst/>
          </a:prstGeom>
          <a:noFill/>
          <a:ln w="9525" cap="flat" cmpd="sng" algn="ctr">
            <a:solidFill>
              <a:srgbClr val="007743"/>
            </a:solidFill>
            <a:prstDash val="dash"/>
          </a:ln>
          <a:effectLst/>
        </p:spPr>
      </p:cxnSp>
      <p:cxnSp>
        <p:nvCxnSpPr>
          <p:cNvPr id="78" name="Straight Connector 77">
            <a:extLst>
              <a:ext uri="{FF2B5EF4-FFF2-40B4-BE49-F238E27FC236}">
                <a16:creationId xmlns:a16="http://schemas.microsoft.com/office/drawing/2014/main" id="{90F61121-18B6-48A9-A3EA-930C1269C95D}"/>
              </a:ext>
            </a:extLst>
          </p:cNvPr>
          <p:cNvCxnSpPr/>
          <p:nvPr/>
        </p:nvCxnSpPr>
        <p:spPr>
          <a:xfrm flipV="1">
            <a:off x="508000" y="4546600"/>
            <a:ext cx="11480800" cy="0"/>
          </a:xfrm>
          <a:prstGeom prst="line">
            <a:avLst/>
          </a:prstGeom>
          <a:noFill/>
          <a:ln w="9525" cap="flat" cmpd="sng" algn="ctr">
            <a:solidFill>
              <a:srgbClr val="007743"/>
            </a:solidFill>
            <a:prstDash val="dash"/>
          </a:ln>
          <a:effectLst/>
        </p:spPr>
      </p:cxnSp>
      <p:cxnSp>
        <p:nvCxnSpPr>
          <p:cNvPr id="79" name="Straight Connector 78">
            <a:extLst>
              <a:ext uri="{FF2B5EF4-FFF2-40B4-BE49-F238E27FC236}">
                <a16:creationId xmlns:a16="http://schemas.microsoft.com/office/drawing/2014/main" id="{566537EA-5A6A-4809-9AFD-AFC0FE0E1B88}"/>
              </a:ext>
            </a:extLst>
          </p:cNvPr>
          <p:cNvCxnSpPr/>
          <p:nvPr/>
        </p:nvCxnSpPr>
        <p:spPr>
          <a:xfrm>
            <a:off x="711200" y="6273800"/>
            <a:ext cx="11480800" cy="0"/>
          </a:xfrm>
          <a:prstGeom prst="line">
            <a:avLst/>
          </a:prstGeom>
          <a:noFill/>
          <a:ln w="9525" cap="flat" cmpd="sng" algn="ctr">
            <a:solidFill>
              <a:srgbClr val="007743"/>
            </a:solidFill>
            <a:prstDash val="dash"/>
          </a:ln>
          <a:effectLst/>
        </p:spPr>
      </p:cxnSp>
      <p:cxnSp>
        <p:nvCxnSpPr>
          <p:cNvPr id="80" name="Straight Connector 79">
            <a:extLst>
              <a:ext uri="{FF2B5EF4-FFF2-40B4-BE49-F238E27FC236}">
                <a16:creationId xmlns:a16="http://schemas.microsoft.com/office/drawing/2014/main" id="{52FE051F-C9A5-4ED8-BA31-48F34D3889F6}"/>
              </a:ext>
            </a:extLst>
          </p:cNvPr>
          <p:cNvCxnSpPr/>
          <p:nvPr/>
        </p:nvCxnSpPr>
        <p:spPr>
          <a:xfrm>
            <a:off x="10279188" y="4549502"/>
            <a:ext cx="0" cy="1715289"/>
          </a:xfrm>
          <a:prstGeom prst="line">
            <a:avLst/>
          </a:prstGeom>
          <a:noFill/>
          <a:ln w="9525" cap="flat" cmpd="sng" algn="ctr">
            <a:solidFill>
              <a:srgbClr val="007743"/>
            </a:solidFill>
            <a:prstDash val="dash"/>
          </a:ln>
          <a:effectLst/>
        </p:spPr>
      </p:cxnSp>
      <p:sp>
        <p:nvSpPr>
          <p:cNvPr id="81" name="TextBox 80">
            <a:extLst>
              <a:ext uri="{FF2B5EF4-FFF2-40B4-BE49-F238E27FC236}">
                <a16:creationId xmlns:a16="http://schemas.microsoft.com/office/drawing/2014/main" id="{2FD63D9C-8F50-4BB6-B4B4-52EACF61A562}"/>
              </a:ext>
            </a:extLst>
          </p:cNvPr>
          <p:cNvSpPr txBox="1"/>
          <p:nvPr/>
        </p:nvSpPr>
        <p:spPr>
          <a:xfrm>
            <a:off x="609601" y="5822179"/>
            <a:ext cx="1572961" cy="24622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rPr>
              <a:t>Safety materials</a:t>
            </a:r>
          </a:p>
        </p:txBody>
      </p:sp>
      <p:sp>
        <p:nvSpPr>
          <p:cNvPr id="82" name="TextBox 81">
            <a:extLst>
              <a:ext uri="{FF2B5EF4-FFF2-40B4-BE49-F238E27FC236}">
                <a16:creationId xmlns:a16="http://schemas.microsoft.com/office/drawing/2014/main" id="{A91E9568-9C19-4E48-B946-446C681BB8F1}"/>
              </a:ext>
            </a:extLst>
          </p:cNvPr>
          <p:cNvSpPr txBox="1"/>
          <p:nvPr/>
        </p:nvSpPr>
        <p:spPr>
          <a:xfrm>
            <a:off x="1185970" y="4505032"/>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58%</a:t>
            </a:r>
          </a:p>
        </p:txBody>
      </p:sp>
      <p:sp>
        <p:nvSpPr>
          <p:cNvPr id="83" name="TextBox 82">
            <a:extLst>
              <a:ext uri="{FF2B5EF4-FFF2-40B4-BE49-F238E27FC236}">
                <a16:creationId xmlns:a16="http://schemas.microsoft.com/office/drawing/2014/main" id="{93A64B63-9EE4-4C20-91CA-7E85A9A899F8}"/>
              </a:ext>
            </a:extLst>
          </p:cNvPr>
          <p:cNvSpPr txBox="1"/>
          <p:nvPr/>
        </p:nvSpPr>
        <p:spPr>
          <a:xfrm>
            <a:off x="5172551" y="4580146"/>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6%</a:t>
            </a:r>
          </a:p>
        </p:txBody>
      </p:sp>
      <p:sp>
        <p:nvSpPr>
          <p:cNvPr id="84" name="TextBox 83">
            <a:extLst>
              <a:ext uri="{FF2B5EF4-FFF2-40B4-BE49-F238E27FC236}">
                <a16:creationId xmlns:a16="http://schemas.microsoft.com/office/drawing/2014/main" id="{85E1BDC4-F0C0-4F34-937A-4B615E13FC0F}"/>
              </a:ext>
            </a:extLst>
          </p:cNvPr>
          <p:cNvSpPr txBox="1"/>
          <p:nvPr/>
        </p:nvSpPr>
        <p:spPr>
          <a:xfrm>
            <a:off x="6977170" y="4505032"/>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4%</a:t>
            </a:r>
          </a:p>
        </p:txBody>
      </p:sp>
      <p:sp>
        <p:nvSpPr>
          <p:cNvPr id="85" name="TextBox 84">
            <a:extLst>
              <a:ext uri="{FF2B5EF4-FFF2-40B4-BE49-F238E27FC236}">
                <a16:creationId xmlns:a16="http://schemas.microsoft.com/office/drawing/2014/main" id="{8686D01C-CE4B-469F-BC9C-C4F04B512B0D}"/>
              </a:ext>
            </a:extLst>
          </p:cNvPr>
          <p:cNvSpPr txBox="1"/>
          <p:nvPr/>
        </p:nvSpPr>
        <p:spPr>
          <a:xfrm>
            <a:off x="8898437" y="4505032"/>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4%</a:t>
            </a:r>
          </a:p>
        </p:txBody>
      </p:sp>
      <p:sp>
        <p:nvSpPr>
          <p:cNvPr id="86" name="TextBox 85">
            <a:extLst>
              <a:ext uri="{FF2B5EF4-FFF2-40B4-BE49-F238E27FC236}">
                <a16:creationId xmlns:a16="http://schemas.microsoft.com/office/drawing/2014/main" id="{825D62F3-6CC4-42FE-89A2-202DB46B2596}"/>
              </a:ext>
            </a:extLst>
          </p:cNvPr>
          <p:cNvSpPr txBox="1"/>
          <p:nvPr/>
        </p:nvSpPr>
        <p:spPr>
          <a:xfrm>
            <a:off x="8547590" y="5760495"/>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Increase Commission %</a:t>
            </a:r>
          </a:p>
        </p:txBody>
      </p:sp>
      <p:sp>
        <p:nvSpPr>
          <p:cNvPr id="87" name="TextBox 86">
            <a:extLst>
              <a:ext uri="{FF2B5EF4-FFF2-40B4-BE49-F238E27FC236}">
                <a16:creationId xmlns:a16="http://schemas.microsoft.com/office/drawing/2014/main" id="{7E7F4B24-D4E2-42CB-BAA4-3F97D58EC798}"/>
              </a:ext>
            </a:extLst>
          </p:cNvPr>
          <p:cNvSpPr txBox="1"/>
          <p:nvPr/>
        </p:nvSpPr>
        <p:spPr>
          <a:xfrm>
            <a:off x="10790594" y="4505032"/>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3%</a:t>
            </a:r>
          </a:p>
        </p:txBody>
      </p:sp>
      <p:grpSp>
        <p:nvGrpSpPr>
          <p:cNvPr id="88" name="Groupe 122">
            <a:extLst>
              <a:ext uri="{FF2B5EF4-FFF2-40B4-BE49-F238E27FC236}">
                <a16:creationId xmlns:a16="http://schemas.microsoft.com/office/drawing/2014/main" id="{C779C6DE-5F4B-4812-A889-82FC9D321E33}"/>
              </a:ext>
            </a:extLst>
          </p:cNvPr>
          <p:cNvGrpSpPr/>
          <p:nvPr/>
        </p:nvGrpSpPr>
        <p:grpSpPr>
          <a:xfrm>
            <a:off x="8652032" y="5054600"/>
            <a:ext cx="1304768" cy="565000"/>
            <a:chOff x="4819650" y="2693988"/>
            <a:chExt cx="768350" cy="736600"/>
          </a:xfrm>
          <a:solidFill>
            <a:srgbClr val="006301"/>
          </a:solidFill>
        </p:grpSpPr>
        <p:sp>
          <p:nvSpPr>
            <p:cNvPr id="89" name="Freeform 54">
              <a:extLst>
                <a:ext uri="{FF2B5EF4-FFF2-40B4-BE49-F238E27FC236}">
                  <a16:creationId xmlns:a16="http://schemas.microsoft.com/office/drawing/2014/main" id="{68CFF264-7089-49BB-B221-72B36A5037D1}"/>
                </a:ext>
              </a:extLst>
            </p:cNvPr>
            <p:cNvSpPr>
              <a:spLocks noEditPoints="1"/>
            </p:cNvSpPr>
            <p:nvPr/>
          </p:nvSpPr>
          <p:spPr bwMode="auto">
            <a:xfrm>
              <a:off x="5349875" y="3159125"/>
              <a:ext cx="238125" cy="77788"/>
            </a:xfrm>
            <a:custGeom>
              <a:avLst/>
              <a:gdLst/>
              <a:ahLst/>
              <a:cxnLst>
                <a:cxn ang="0">
                  <a:pos x="71" y="25"/>
                </a:cxn>
                <a:cxn ang="0">
                  <a:pos x="31" y="21"/>
                </a:cxn>
                <a:cxn ang="0">
                  <a:pos x="5" y="11"/>
                </a:cxn>
                <a:cxn ang="0">
                  <a:pos x="0" y="21"/>
                </a:cxn>
                <a:cxn ang="0">
                  <a:pos x="0" y="21"/>
                </a:cxn>
                <a:cxn ang="0">
                  <a:pos x="5" y="32"/>
                </a:cxn>
                <a:cxn ang="0">
                  <a:pos x="21" y="42"/>
                </a:cxn>
                <a:cxn ang="0">
                  <a:pos x="45" y="47"/>
                </a:cxn>
                <a:cxn ang="0">
                  <a:pos x="74" y="49"/>
                </a:cxn>
                <a:cxn ang="0">
                  <a:pos x="90" y="49"/>
                </a:cxn>
                <a:cxn ang="0">
                  <a:pos x="115" y="45"/>
                </a:cxn>
                <a:cxn ang="0">
                  <a:pos x="136" y="38"/>
                </a:cxn>
                <a:cxn ang="0">
                  <a:pos x="147" y="28"/>
                </a:cxn>
                <a:cxn ang="0">
                  <a:pos x="148" y="22"/>
                </a:cxn>
                <a:cxn ang="0">
                  <a:pos x="150" y="21"/>
                </a:cxn>
                <a:cxn ang="0">
                  <a:pos x="150" y="3"/>
                </a:cxn>
                <a:cxn ang="0">
                  <a:pos x="148" y="0"/>
                </a:cxn>
                <a:cxn ang="0">
                  <a:pos x="137" y="11"/>
                </a:cxn>
                <a:cxn ang="0">
                  <a:pos x="119" y="19"/>
                </a:cxn>
                <a:cxn ang="0">
                  <a:pos x="97" y="24"/>
                </a:cxn>
                <a:cxn ang="0">
                  <a:pos x="71" y="25"/>
                </a:cxn>
                <a:cxn ang="0">
                  <a:pos x="17" y="35"/>
                </a:cxn>
                <a:cxn ang="0">
                  <a:pos x="7" y="29"/>
                </a:cxn>
                <a:cxn ang="0">
                  <a:pos x="7" y="17"/>
                </a:cxn>
                <a:cxn ang="0">
                  <a:pos x="17" y="22"/>
                </a:cxn>
                <a:cxn ang="0">
                  <a:pos x="38" y="42"/>
                </a:cxn>
                <a:cxn ang="0">
                  <a:pos x="28" y="39"/>
                </a:cxn>
                <a:cxn ang="0">
                  <a:pos x="28" y="24"/>
                </a:cxn>
                <a:cxn ang="0">
                  <a:pos x="38" y="42"/>
                </a:cxn>
                <a:cxn ang="0">
                  <a:pos x="57" y="45"/>
                </a:cxn>
                <a:cxn ang="0">
                  <a:pos x="47" y="29"/>
                </a:cxn>
                <a:cxn ang="0">
                  <a:pos x="57" y="31"/>
                </a:cxn>
                <a:cxn ang="0">
                  <a:pos x="78" y="46"/>
                </a:cxn>
                <a:cxn ang="0">
                  <a:pos x="74" y="46"/>
                </a:cxn>
                <a:cxn ang="0">
                  <a:pos x="69" y="45"/>
                </a:cxn>
                <a:cxn ang="0">
                  <a:pos x="69" y="31"/>
                </a:cxn>
                <a:cxn ang="0">
                  <a:pos x="74" y="31"/>
                </a:cxn>
                <a:cxn ang="0">
                  <a:pos x="78" y="46"/>
                </a:cxn>
                <a:cxn ang="0">
                  <a:pos x="140" y="31"/>
                </a:cxn>
                <a:cxn ang="0">
                  <a:pos x="133" y="19"/>
                </a:cxn>
                <a:cxn ang="0">
                  <a:pos x="140" y="15"/>
                </a:cxn>
              </a:cxnLst>
              <a:rect l="0" t="0" r="r" b="b"/>
              <a:pathLst>
                <a:path w="150" h="49">
                  <a:moveTo>
                    <a:pt x="71" y="25"/>
                  </a:moveTo>
                  <a:lnTo>
                    <a:pt x="71" y="25"/>
                  </a:lnTo>
                  <a:lnTo>
                    <a:pt x="50" y="24"/>
                  </a:lnTo>
                  <a:lnTo>
                    <a:pt x="31" y="21"/>
                  </a:lnTo>
                  <a:lnTo>
                    <a:pt x="12" y="15"/>
                  </a:lnTo>
                  <a:lnTo>
                    <a:pt x="5" y="11"/>
                  </a:lnTo>
                  <a:lnTo>
                    <a:pt x="0" y="7"/>
                  </a:lnTo>
                  <a:lnTo>
                    <a:pt x="0" y="21"/>
                  </a:lnTo>
                  <a:lnTo>
                    <a:pt x="0" y="21"/>
                  </a:lnTo>
                  <a:lnTo>
                    <a:pt x="0" y="21"/>
                  </a:lnTo>
                  <a:lnTo>
                    <a:pt x="1" y="26"/>
                  </a:lnTo>
                  <a:lnTo>
                    <a:pt x="5" y="32"/>
                  </a:lnTo>
                  <a:lnTo>
                    <a:pt x="12" y="38"/>
                  </a:lnTo>
                  <a:lnTo>
                    <a:pt x="21" y="42"/>
                  </a:lnTo>
                  <a:lnTo>
                    <a:pt x="32" y="45"/>
                  </a:lnTo>
                  <a:lnTo>
                    <a:pt x="45" y="47"/>
                  </a:lnTo>
                  <a:lnTo>
                    <a:pt x="59" y="49"/>
                  </a:lnTo>
                  <a:lnTo>
                    <a:pt x="74" y="49"/>
                  </a:lnTo>
                  <a:lnTo>
                    <a:pt x="74" y="49"/>
                  </a:lnTo>
                  <a:lnTo>
                    <a:pt x="90" y="49"/>
                  </a:lnTo>
                  <a:lnTo>
                    <a:pt x="102" y="47"/>
                  </a:lnTo>
                  <a:lnTo>
                    <a:pt x="115" y="45"/>
                  </a:lnTo>
                  <a:lnTo>
                    <a:pt x="126" y="42"/>
                  </a:lnTo>
                  <a:lnTo>
                    <a:pt x="136" y="38"/>
                  </a:lnTo>
                  <a:lnTo>
                    <a:pt x="143" y="33"/>
                  </a:lnTo>
                  <a:lnTo>
                    <a:pt x="147" y="28"/>
                  </a:lnTo>
                  <a:lnTo>
                    <a:pt x="148" y="22"/>
                  </a:lnTo>
                  <a:lnTo>
                    <a:pt x="148" y="22"/>
                  </a:lnTo>
                  <a:lnTo>
                    <a:pt x="148" y="21"/>
                  </a:lnTo>
                  <a:lnTo>
                    <a:pt x="150" y="21"/>
                  </a:lnTo>
                  <a:lnTo>
                    <a:pt x="150" y="3"/>
                  </a:lnTo>
                  <a:lnTo>
                    <a:pt x="150" y="3"/>
                  </a:lnTo>
                  <a:lnTo>
                    <a:pt x="148" y="0"/>
                  </a:lnTo>
                  <a:lnTo>
                    <a:pt x="148" y="0"/>
                  </a:lnTo>
                  <a:lnTo>
                    <a:pt x="144" y="5"/>
                  </a:lnTo>
                  <a:lnTo>
                    <a:pt x="137" y="11"/>
                  </a:lnTo>
                  <a:lnTo>
                    <a:pt x="129" y="15"/>
                  </a:lnTo>
                  <a:lnTo>
                    <a:pt x="119" y="19"/>
                  </a:lnTo>
                  <a:lnTo>
                    <a:pt x="108" y="22"/>
                  </a:lnTo>
                  <a:lnTo>
                    <a:pt x="97" y="24"/>
                  </a:lnTo>
                  <a:lnTo>
                    <a:pt x="71" y="25"/>
                  </a:lnTo>
                  <a:lnTo>
                    <a:pt x="71" y="25"/>
                  </a:lnTo>
                  <a:close/>
                  <a:moveTo>
                    <a:pt x="17" y="35"/>
                  </a:moveTo>
                  <a:lnTo>
                    <a:pt x="17" y="35"/>
                  </a:lnTo>
                  <a:lnTo>
                    <a:pt x="11" y="32"/>
                  </a:lnTo>
                  <a:lnTo>
                    <a:pt x="7" y="29"/>
                  </a:lnTo>
                  <a:lnTo>
                    <a:pt x="7" y="17"/>
                  </a:lnTo>
                  <a:lnTo>
                    <a:pt x="7" y="17"/>
                  </a:lnTo>
                  <a:lnTo>
                    <a:pt x="10" y="19"/>
                  </a:lnTo>
                  <a:lnTo>
                    <a:pt x="17" y="22"/>
                  </a:lnTo>
                  <a:lnTo>
                    <a:pt x="17" y="35"/>
                  </a:lnTo>
                  <a:close/>
                  <a:moveTo>
                    <a:pt x="38" y="42"/>
                  </a:moveTo>
                  <a:lnTo>
                    <a:pt x="38" y="42"/>
                  </a:lnTo>
                  <a:lnTo>
                    <a:pt x="28" y="39"/>
                  </a:lnTo>
                  <a:lnTo>
                    <a:pt x="28" y="24"/>
                  </a:lnTo>
                  <a:lnTo>
                    <a:pt x="28" y="24"/>
                  </a:lnTo>
                  <a:lnTo>
                    <a:pt x="38" y="26"/>
                  </a:lnTo>
                  <a:lnTo>
                    <a:pt x="38" y="42"/>
                  </a:lnTo>
                  <a:close/>
                  <a:moveTo>
                    <a:pt x="57" y="45"/>
                  </a:moveTo>
                  <a:lnTo>
                    <a:pt x="57" y="45"/>
                  </a:lnTo>
                  <a:lnTo>
                    <a:pt x="47" y="43"/>
                  </a:lnTo>
                  <a:lnTo>
                    <a:pt x="47" y="29"/>
                  </a:lnTo>
                  <a:lnTo>
                    <a:pt x="47" y="29"/>
                  </a:lnTo>
                  <a:lnTo>
                    <a:pt x="57" y="31"/>
                  </a:lnTo>
                  <a:lnTo>
                    <a:pt x="57" y="45"/>
                  </a:lnTo>
                  <a:close/>
                  <a:moveTo>
                    <a:pt x="78" y="46"/>
                  </a:moveTo>
                  <a:lnTo>
                    <a:pt x="78" y="46"/>
                  </a:lnTo>
                  <a:lnTo>
                    <a:pt x="74" y="46"/>
                  </a:lnTo>
                  <a:lnTo>
                    <a:pt x="74" y="46"/>
                  </a:lnTo>
                  <a:lnTo>
                    <a:pt x="69" y="45"/>
                  </a:lnTo>
                  <a:lnTo>
                    <a:pt x="69" y="31"/>
                  </a:lnTo>
                  <a:lnTo>
                    <a:pt x="69" y="31"/>
                  </a:lnTo>
                  <a:lnTo>
                    <a:pt x="74" y="31"/>
                  </a:lnTo>
                  <a:lnTo>
                    <a:pt x="74" y="31"/>
                  </a:lnTo>
                  <a:lnTo>
                    <a:pt x="78" y="31"/>
                  </a:lnTo>
                  <a:lnTo>
                    <a:pt x="78" y="46"/>
                  </a:lnTo>
                  <a:close/>
                  <a:moveTo>
                    <a:pt x="140" y="31"/>
                  </a:moveTo>
                  <a:lnTo>
                    <a:pt x="140" y="31"/>
                  </a:lnTo>
                  <a:lnTo>
                    <a:pt x="133" y="35"/>
                  </a:lnTo>
                  <a:lnTo>
                    <a:pt x="133" y="19"/>
                  </a:lnTo>
                  <a:lnTo>
                    <a:pt x="133" y="19"/>
                  </a:lnTo>
                  <a:lnTo>
                    <a:pt x="140" y="15"/>
                  </a:lnTo>
                  <a:lnTo>
                    <a:pt x="140" y="3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0" name="Freeform 55">
              <a:extLst>
                <a:ext uri="{FF2B5EF4-FFF2-40B4-BE49-F238E27FC236}">
                  <a16:creationId xmlns:a16="http://schemas.microsoft.com/office/drawing/2014/main" id="{C247B0AF-5FB5-4DC3-AC96-07A195B4F488}"/>
                </a:ext>
              </a:extLst>
            </p:cNvPr>
            <p:cNvSpPr>
              <a:spLocks noEditPoints="1"/>
            </p:cNvSpPr>
            <p:nvPr/>
          </p:nvSpPr>
          <p:spPr bwMode="auto">
            <a:xfrm>
              <a:off x="5343525" y="3111500"/>
              <a:ext cx="238125" cy="77788"/>
            </a:xfrm>
            <a:custGeom>
              <a:avLst/>
              <a:gdLst/>
              <a:ahLst/>
              <a:cxnLst>
                <a:cxn ang="0">
                  <a:pos x="75" y="49"/>
                </a:cxn>
                <a:cxn ang="0">
                  <a:pos x="103" y="48"/>
                </a:cxn>
                <a:cxn ang="0">
                  <a:pos x="127" y="41"/>
                </a:cxn>
                <a:cxn ang="0">
                  <a:pos x="143" y="33"/>
                </a:cxn>
                <a:cxn ang="0">
                  <a:pos x="150" y="23"/>
                </a:cxn>
                <a:cxn ang="0">
                  <a:pos x="150" y="21"/>
                </a:cxn>
                <a:cxn ang="0">
                  <a:pos x="150" y="7"/>
                </a:cxn>
                <a:cxn ang="0">
                  <a:pos x="144" y="11"/>
                </a:cxn>
                <a:cxn ang="0">
                  <a:pos x="119" y="21"/>
                </a:cxn>
                <a:cxn ang="0">
                  <a:pos x="78" y="26"/>
                </a:cxn>
                <a:cxn ang="0">
                  <a:pos x="53" y="24"/>
                </a:cxn>
                <a:cxn ang="0">
                  <a:pos x="30" y="19"/>
                </a:cxn>
                <a:cxn ang="0">
                  <a:pos x="12" y="11"/>
                </a:cxn>
                <a:cxn ang="0">
                  <a:pos x="0" y="0"/>
                </a:cxn>
                <a:cxn ang="0">
                  <a:pos x="0" y="2"/>
                </a:cxn>
                <a:cxn ang="0">
                  <a:pos x="0" y="3"/>
                </a:cxn>
                <a:cxn ang="0">
                  <a:pos x="0" y="21"/>
                </a:cxn>
                <a:cxn ang="0">
                  <a:pos x="1" y="27"/>
                </a:cxn>
                <a:cxn ang="0">
                  <a:pos x="12" y="37"/>
                </a:cxn>
                <a:cxn ang="0">
                  <a:pos x="33" y="45"/>
                </a:cxn>
                <a:cxn ang="0">
                  <a:pos x="60" y="49"/>
                </a:cxn>
                <a:cxn ang="0">
                  <a:pos x="75" y="49"/>
                </a:cxn>
                <a:cxn ang="0">
                  <a:pos x="133" y="23"/>
                </a:cxn>
                <a:cxn ang="0">
                  <a:pos x="141" y="30"/>
                </a:cxn>
                <a:cxn ang="0">
                  <a:pos x="133" y="35"/>
                </a:cxn>
                <a:cxn ang="0">
                  <a:pos x="68" y="31"/>
                </a:cxn>
                <a:cxn ang="0">
                  <a:pos x="75" y="31"/>
                </a:cxn>
                <a:cxn ang="0">
                  <a:pos x="80" y="31"/>
                </a:cxn>
                <a:cxn ang="0">
                  <a:pos x="80" y="45"/>
                </a:cxn>
                <a:cxn ang="0">
                  <a:pos x="75" y="45"/>
                </a:cxn>
                <a:cxn ang="0">
                  <a:pos x="68" y="31"/>
                </a:cxn>
                <a:cxn ang="0">
                  <a:pos x="49" y="28"/>
                </a:cxn>
                <a:cxn ang="0">
                  <a:pos x="58" y="45"/>
                </a:cxn>
                <a:cxn ang="0">
                  <a:pos x="49" y="44"/>
                </a:cxn>
                <a:cxn ang="0">
                  <a:pos x="28" y="24"/>
                </a:cxn>
                <a:cxn ang="0">
                  <a:pos x="37" y="27"/>
                </a:cxn>
                <a:cxn ang="0">
                  <a:pos x="37" y="42"/>
                </a:cxn>
                <a:cxn ang="0">
                  <a:pos x="28" y="24"/>
                </a:cxn>
                <a:cxn ang="0">
                  <a:pos x="8" y="14"/>
                </a:cxn>
                <a:cxn ang="0">
                  <a:pos x="18" y="20"/>
                </a:cxn>
                <a:cxn ang="0">
                  <a:pos x="18" y="35"/>
                </a:cxn>
                <a:cxn ang="0">
                  <a:pos x="8" y="28"/>
                </a:cxn>
              </a:cxnLst>
              <a:rect l="0" t="0" r="r" b="b"/>
              <a:pathLst>
                <a:path w="150" h="49">
                  <a:moveTo>
                    <a:pt x="75" y="49"/>
                  </a:moveTo>
                  <a:lnTo>
                    <a:pt x="75" y="49"/>
                  </a:lnTo>
                  <a:lnTo>
                    <a:pt x="89" y="49"/>
                  </a:lnTo>
                  <a:lnTo>
                    <a:pt x="103" y="48"/>
                  </a:lnTo>
                  <a:lnTo>
                    <a:pt x="116" y="45"/>
                  </a:lnTo>
                  <a:lnTo>
                    <a:pt x="127" y="41"/>
                  </a:lnTo>
                  <a:lnTo>
                    <a:pt x="136" y="38"/>
                  </a:lnTo>
                  <a:lnTo>
                    <a:pt x="143" y="33"/>
                  </a:lnTo>
                  <a:lnTo>
                    <a:pt x="148" y="28"/>
                  </a:lnTo>
                  <a:lnTo>
                    <a:pt x="150" y="23"/>
                  </a:lnTo>
                  <a:lnTo>
                    <a:pt x="150" y="23"/>
                  </a:lnTo>
                  <a:lnTo>
                    <a:pt x="150" y="21"/>
                  </a:lnTo>
                  <a:lnTo>
                    <a:pt x="150" y="21"/>
                  </a:lnTo>
                  <a:lnTo>
                    <a:pt x="150" y="7"/>
                  </a:lnTo>
                  <a:lnTo>
                    <a:pt x="150" y="7"/>
                  </a:lnTo>
                  <a:lnTo>
                    <a:pt x="144" y="11"/>
                  </a:lnTo>
                  <a:lnTo>
                    <a:pt x="137" y="16"/>
                  </a:lnTo>
                  <a:lnTo>
                    <a:pt x="119" y="21"/>
                  </a:lnTo>
                  <a:lnTo>
                    <a:pt x="99" y="24"/>
                  </a:lnTo>
                  <a:lnTo>
                    <a:pt x="78" y="26"/>
                  </a:lnTo>
                  <a:lnTo>
                    <a:pt x="78" y="26"/>
                  </a:lnTo>
                  <a:lnTo>
                    <a:pt x="53" y="24"/>
                  </a:lnTo>
                  <a:lnTo>
                    <a:pt x="42" y="21"/>
                  </a:lnTo>
                  <a:lnTo>
                    <a:pt x="30" y="19"/>
                  </a:lnTo>
                  <a:lnTo>
                    <a:pt x="21" y="16"/>
                  </a:lnTo>
                  <a:lnTo>
                    <a:pt x="12" y="11"/>
                  </a:lnTo>
                  <a:lnTo>
                    <a:pt x="5" y="6"/>
                  </a:lnTo>
                  <a:lnTo>
                    <a:pt x="0" y="0"/>
                  </a:lnTo>
                  <a:lnTo>
                    <a:pt x="0" y="0"/>
                  </a:lnTo>
                  <a:lnTo>
                    <a:pt x="0" y="2"/>
                  </a:lnTo>
                  <a:lnTo>
                    <a:pt x="0" y="2"/>
                  </a:lnTo>
                  <a:lnTo>
                    <a:pt x="0" y="3"/>
                  </a:lnTo>
                  <a:lnTo>
                    <a:pt x="0" y="21"/>
                  </a:lnTo>
                  <a:lnTo>
                    <a:pt x="0" y="21"/>
                  </a:lnTo>
                  <a:lnTo>
                    <a:pt x="0" y="21"/>
                  </a:lnTo>
                  <a:lnTo>
                    <a:pt x="1" y="27"/>
                  </a:lnTo>
                  <a:lnTo>
                    <a:pt x="7" y="33"/>
                  </a:lnTo>
                  <a:lnTo>
                    <a:pt x="12" y="37"/>
                  </a:lnTo>
                  <a:lnTo>
                    <a:pt x="22" y="41"/>
                  </a:lnTo>
                  <a:lnTo>
                    <a:pt x="33" y="45"/>
                  </a:lnTo>
                  <a:lnTo>
                    <a:pt x="46" y="48"/>
                  </a:lnTo>
                  <a:lnTo>
                    <a:pt x="60" y="49"/>
                  </a:lnTo>
                  <a:lnTo>
                    <a:pt x="75" y="49"/>
                  </a:lnTo>
                  <a:lnTo>
                    <a:pt x="75" y="49"/>
                  </a:lnTo>
                  <a:close/>
                  <a:moveTo>
                    <a:pt x="133" y="23"/>
                  </a:moveTo>
                  <a:lnTo>
                    <a:pt x="133" y="23"/>
                  </a:lnTo>
                  <a:lnTo>
                    <a:pt x="141" y="19"/>
                  </a:lnTo>
                  <a:lnTo>
                    <a:pt x="141" y="30"/>
                  </a:lnTo>
                  <a:lnTo>
                    <a:pt x="141" y="30"/>
                  </a:lnTo>
                  <a:lnTo>
                    <a:pt x="133" y="35"/>
                  </a:lnTo>
                  <a:lnTo>
                    <a:pt x="133" y="23"/>
                  </a:lnTo>
                  <a:close/>
                  <a:moveTo>
                    <a:pt x="68" y="31"/>
                  </a:moveTo>
                  <a:lnTo>
                    <a:pt x="68" y="31"/>
                  </a:lnTo>
                  <a:lnTo>
                    <a:pt x="75" y="31"/>
                  </a:lnTo>
                  <a:lnTo>
                    <a:pt x="75" y="31"/>
                  </a:lnTo>
                  <a:lnTo>
                    <a:pt x="80" y="31"/>
                  </a:lnTo>
                  <a:lnTo>
                    <a:pt x="80" y="45"/>
                  </a:lnTo>
                  <a:lnTo>
                    <a:pt x="80" y="45"/>
                  </a:lnTo>
                  <a:lnTo>
                    <a:pt x="75" y="45"/>
                  </a:lnTo>
                  <a:lnTo>
                    <a:pt x="75" y="45"/>
                  </a:lnTo>
                  <a:lnTo>
                    <a:pt x="68" y="45"/>
                  </a:lnTo>
                  <a:lnTo>
                    <a:pt x="68" y="31"/>
                  </a:lnTo>
                  <a:close/>
                  <a:moveTo>
                    <a:pt x="49" y="28"/>
                  </a:moveTo>
                  <a:lnTo>
                    <a:pt x="49" y="28"/>
                  </a:lnTo>
                  <a:lnTo>
                    <a:pt x="58" y="30"/>
                  </a:lnTo>
                  <a:lnTo>
                    <a:pt x="58" y="45"/>
                  </a:lnTo>
                  <a:lnTo>
                    <a:pt x="58" y="45"/>
                  </a:lnTo>
                  <a:lnTo>
                    <a:pt x="49" y="44"/>
                  </a:lnTo>
                  <a:lnTo>
                    <a:pt x="49" y="28"/>
                  </a:lnTo>
                  <a:close/>
                  <a:moveTo>
                    <a:pt x="28" y="24"/>
                  </a:moveTo>
                  <a:lnTo>
                    <a:pt x="28" y="24"/>
                  </a:lnTo>
                  <a:lnTo>
                    <a:pt x="37" y="27"/>
                  </a:lnTo>
                  <a:lnTo>
                    <a:pt x="37" y="42"/>
                  </a:lnTo>
                  <a:lnTo>
                    <a:pt x="37" y="42"/>
                  </a:lnTo>
                  <a:lnTo>
                    <a:pt x="28" y="40"/>
                  </a:lnTo>
                  <a:lnTo>
                    <a:pt x="28" y="24"/>
                  </a:lnTo>
                  <a:close/>
                  <a:moveTo>
                    <a:pt x="8" y="14"/>
                  </a:moveTo>
                  <a:lnTo>
                    <a:pt x="8" y="14"/>
                  </a:lnTo>
                  <a:lnTo>
                    <a:pt x="12" y="17"/>
                  </a:lnTo>
                  <a:lnTo>
                    <a:pt x="18" y="20"/>
                  </a:lnTo>
                  <a:lnTo>
                    <a:pt x="18" y="35"/>
                  </a:lnTo>
                  <a:lnTo>
                    <a:pt x="18" y="35"/>
                  </a:lnTo>
                  <a:lnTo>
                    <a:pt x="11" y="33"/>
                  </a:lnTo>
                  <a:lnTo>
                    <a:pt x="8" y="28"/>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1" name="Freeform 56">
              <a:extLst>
                <a:ext uri="{FF2B5EF4-FFF2-40B4-BE49-F238E27FC236}">
                  <a16:creationId xmlns:a16="http://schemas.microsoft.com/office/drawing/2014/main" id="{136264AE-7113-4DA5-BFD7-21245EAFDECA}"/>
                </a:ext>
              </a:extLst>
            </p:cNvPr>
            <p:cNvSpPr>
              <a:spLocks noEditPoints="1"/>
            </p:cNvSpPr>
            <p:nvPr/>
          </p:nvSpPr>
          <p:spPr bwMode="auto">
            <a:xfrm>
              <a:off x="5343525" y="3208338"/>
              <a:ext cx="238125" cy="77788"/>
            </a:xfrm>
            <a:custGeom>
              <a:avLst/>
              <a:gdLst/>
              <a:ahLst/>
              <a:cxnLst>
                <a:cxn ang="0">
                  <a:pos x="150" y="7"/>
                </a:cxn>
                <a:cxn ang="0">
                  <a:pos x="137" y="14"/>
                </a:cxn>
                <a:cxn ang="0">
                  <a:pos x="99" y="23"/>
                </a:cxn>
                <a:cxn ang="0">
                  <a:pos x="78" y="23"/>
                </a:cxn>
                <a:cxn ang="0">
                  <a:pos x="42" y="21"/>
                </a:cxn>
                <a:cxn ang="0">
                  <a:pos x="21" y="14"/>
                </a:cxn>
                <a:cxn ang="0">
                  <a:pos x="5" y="5"/>
                </a:cxn>
                <a:cxn ang="0">
                  <a:pos x="0" y="0"/>
                </a:cxn>
                <a:cxn ang="0">
                  <a:pos x="0" y="1"/>
                </a:cxn>
                <a:cxn ang="0">
                  <a:pos x="0" y="21"/>
                </a:cxn>
                <a:cxn ang="0">
                  <a:pos x="0" y="21"/>
                </a:cxn>
                <a:cxn ang="0">
                  <a:pos x="7" y="30"/>
                </a:cxn>
                <a:cxn ang="0">
                  <a:pos x="22" y="40"/>
                </a:cxn>
                <a:cxn ang="0">
                  <a:pos x="46" y="46"/>
                </a:cxn>
                <a:cxn ang="0">
                  <a:pos x="75" y="49"/>
                </a:cxn>
                <a:cxn ang="0">
                  <a:pos x="89" y="47"/>
                </a:cxn>
                <a:cxn ang="0">
                  <a:pos x="116" y="43"/>
                </a:cxn>
                <a:cxn ang="0">
                  <a:pos x="136" y="36"/>
                </a:cxn>
                <a:cxn ang="0">
                  <a:pos x="148" y="26"/>
                </a:cxn>
                <a:cxn ang="0">
                  <a:pos x="150" y="21"/>
                </a:cxn>
                <a:cxn ang="0">
                  <a:pos x="150" y="21"/>
                </a:cxn>
                <a:cxn ang="0">
                  <a:pos x="18" y="35"/>
                </a:cxn>
                <a:cxn ang="0">
                  <a:pos x="11" y="30"/>
                </a:cxn>
                <a:cxn ang="0">
                  <a:pos x="8" y="12"/>
                </a:cxn>
                <a:cxn ang="0">
                  <a:pos x="12" y="16"/>
                </a:cxn>
                <a:cxn ang="0">
                  <a:pos x="18" y="35"/>
                </a:cxn>
                <a:cxn ang="0">
                  <a:pos x="37" y="40"/>
                </a:cxn>
                <a:cxn ang="0">
                  <a:pos x="28" y="23"/>
                </a:cxn>
                <a:cxn ang="0">
                  <a:pos x="37" y="26"/>
                </a:cxn>
                <a:cxn ang="0">
                  <a:pos x="58" y="43"/>
                </a:cxn>
                <a:cxn ang="0">
                  <a:pos x="49" y="43"/>
                </a:cxn>
                <a:cxn ang="0">
                  <a:pos x="49" y="28"/>
                </a:cxn>
                <a:cxn ang="0">
                  <a:pos x="58" y="43"/>
                </a:cxn>
                <a:cxn ang="0">
                  <a:pos x="80" y="44"/>
                </a:cxn>
                <a:cxn ang="0">
                  <a:pos x="75" y="44"/>
                </a:cxn>
                <a:cxn ang="0">
                  <a:pos x="68" y="29"/>
                </a:cxn>
                <a:cxn ang="0">
                  <a:pos x="75" y="29"/>
                </a:cxn>
                <a:cxn ang="0">
                  <a:pos x="80" y="29"/>
                </a:cxn>
                <a:cxn ang="0">
                  <a:pos x="141" y="29"/>
                </a:cxn>
                <a:cxn ang="0">
                  <a:pos x="133" y="33"/>
                </a:cxn>
                <a:cxn ang="0">
                  <a:pos x="133" y="21"/>
                </a:cxn>
                <a:cxn ang="0">
                  <a:pos x="141" y="29"/>
                </a:cxn>
              </a:cxnLst>
              <a:rect l="0" t="0" r="r" b="b"/>
              <a:pathLst>
                <a:path w="150" h="49">
                  <a:moveTo>
                    <a:pt x="150" y="7"/>
                  </a:moveTo>
                  <a:lnTo>
                    <a:pt x="150" y="7"/>
                  </a:lnTo>
                  <a:lnTo>
                    <a:pt x="144" y="11"/>
                  </a:lnTo>
                  <a:lnTo>
                    <a:pt x="137" y="14"/>
                  </a:lnTo>
                  <a:lnTo>
                    <a:pt x="119" y="19"/>
                  </a:lnTo>
                  <a:lnTo>
                    <a:pt x="99" y="23"/>
                  </a:lnTo>
                  <a:lnTo>
                    <a:pt x="78" y="23"/>
                  </a:lnTo>
                  <a:lnTo>
                    <a:pt x="78" y="23"/>
                  </a:lnTo>
                  <a:lnTo>
                    <a:pt x="53" y="22"/>
                  </a:lnTo>
                  <a:lnTo>
                    <a:pt x="42" y="21"/>
                  </a:lnTo>
                  <a:lnTo>
                    <a:pt x="30" y="18"/>
                  </a:lnTo>
                  <a:lnTo>
                    <a:pt x="21" y="14"/>
                  </a:lnTo>
                  <a:lnTo>
                    <a:pt x="12" y="9"/>
                  </a:lnTo>
                  <a:lnTo>
                    <a:pt x="5" y="5"/>
                  </a:lnTo>
                  <a:lnTo>
                    <a:pt x="0" y="0"/>
                  </a:lnTo>
                  <a:lnTo>
                    <a:pt x="0" y="0"/>
                  </a:lnTo>
                  <a:lnTo>
                    <a:pt x="0" y="1"/>
                  </a:lnTo>
                  <a:lnTo>
                    <a:pt x="0" y="1"/>
                  </a:lnTo>
                  <a:lnTo>
                    <a:pt x="0" y="1"/>
                  </a:lnTo>
                  <a:lnTo>
                    <a:pt x="0" y="21"/>
                  </a:lnTo>
                  <a:lnTo>
                    <a:pt x="0" y="21"/>
                  </a:lnTo>
                  <a:lnTo>
                    <a:pt x="0" y="21"/>
                  </a:lnTo>
                  <a:lnTo>
                    <a:pt x="1" y="26"/>
                  </a:lnTo>
                  <a:lnTo>
                    <a:pt x="7" y="30"/>
                  </a:lnTo>
                  <a:lnTo>
                    <a:pt x="12" y="36"/>
                  </a:lnTo>
                  <a:lnTo>
                    <a:pt x="22" y="40"/>
                  </a:lnTo>
                  <a:lnTo>
                    <a:pt x="33" y="43"/>
                  </a:lnTo>
                  <a:lnTo>
                    <a:pt x="46" y="46"/>
                  </a:lnTo>
                  <a:lnTo>
                    <a:pt x="60" y="47"/>
                  </a:lnTo>
                  <a:lnTo>
                    <a:pt x="75" y="49"/>
                  </a:lnTo>
                  <a:lnTo>
                    <a:pt x="75" y="49"/>
                  </a:lnTo>
                  <a:lnTo>
                    <a:pt x="89" y="47"/>
                  </a:lnTo>
                  <a:lnTo>
                    <a:pt x="103" y="46"/>
                  </a:lnTo>
                  <a:lnTo>
                    <a:pt x="116" y="43"/>
                  </a:lnTo>
                  <a:lnTo>
                    <a:pt x="127" y="40"/>
                  </a:lnTo>
                  <a:lnTo>
                    <a:pt x="136" y="36"/>
                  </a:lnTo>
                  <a:lnTo>
                    <a:pt x="143" y="32"/>
                  </a:lnTo>
                  <a:lnTo>
                    <a:pt x="148" y="26"/>
                  </a:lnTo>
                  <a:lnTo>
                    <a:pt x="150" y="21"/>
                  </a:lnTo>
                  <a:lnTo>
                    <a:pt x="150" y="21"/>
                  </a:lnTo>
                  <a:lnTo>
                    <a:pt x="150" y="21"/>
                  </a:lnTo>
                  <a:lnTo>
                    <a:pt x="150" y="21"/>
                  </a:lnTo>
                  <a:lnTo>
                    <a:pt x="150" y="7"/>
                  </a:lnTo>
                  <a:close/>
                  <a:moveTo>
                    <a:pt x="18" y="35"/>
                  </a:moveTo>
                  <a:lnTo>
                    <a:pt x="18" y="35"/>
                  </a:lnTo>
                  <a:lnTo>
                    <a:pt x="11" y="30"/>
                  </a:lnTo>
                  <a:lnTo>
                    <a:pt x="8" y="28"/>
                  </a:lnTo>
                  <a:lnTo>
                    <a:pt x="8" y="12"/>
                  </a:lnTo>
                  <a:lnTo>
                    <a:pt x="8" y="12"/>
                  </a:lnTo>
                  <a:lnTo>
                    <a:pt x="12" y="16"/>
                  </a:lnTo>
                  <a:lnTo>
                    <a:pt x="18" y="19"/>
                  </a:lnTo>
                  <a:lnTo>
                    <a:pt x="18" y="35"/>
                  </a:lnTo>
                  <a:close/>
                  <a:moveTo>
                    <a:pt x="37" y="40"/>
                  </a:moveTo>
                  <a:lnTo>
                    <a:pt x="37" y="40"/>
                  </a:lnTo>
                  <a:lnTo>
                    <a:pt x="28" y="37"/>
                  </a:lnTo>
                  <a:lnTo>
                    <a:pt x="28" y="23"/>
                  </a:lnTo>
                  <a:lnTo>
                    <a:pt x="28" y="23"/>
                  </a:lnTo>
                  <a:lnTo>
                    <a:pt x="37" y="26"/>
                  </a:lnTo>
                  <a:lnTo>
                    <a:pt x="37" y="40"/>
                  </a:lnTo>
                  <a:close/>
                  <a:moveTo>
                    <a:pt x="58" y="43"/>
                  </a:moveTo>
                  <a:lnTo>
                    <a:pt x="58" y="43"/>
                  </a:lnTo>
                  <a:lnTo>
                    <a:pt x="49" y="43"/>
                  </a:lnTo>
                  <a:lnTo>
                    <a:pt x="49" y="28"/>
                  </a:lnTo>
                  <a:lnTo>
                    <a:pt x="49" y="28"/>
                  </a:lnTo>
                  <a:lnTo>
                    <a:pt x="58" y="29"/>
                  </a:lnTo>
                  <a:lnTo>
                    <a:pt x="58" y="43"/>
                  </a:lnTo>
                  <a:close/>
                  <a:moveTo>
                    <a:pt x="80" y="44"/>
                  </a:moveTo>
                  <a:lnTo>
                    <a:pt x="80" y="44"/>
                  </a:lnTo>
                  <a:lnTo>
                    <a:pt x="75" y="44"/>
                  </a:lnTo>
                  <a:lnTo>
                    <a:pt x="75" y="44"/>
                  </a:lnTo>
                  <a:lnTo>
                    <a:pt x="68" y="44"/>
                  </a:lnTo>
                  <a:lnTo>
                    <a:pt x="68" y="29"/>
                  </a:lnTo>
                  <a:lnTo>
                    <a:pt x="68" y="29"/>
                  </a:lnTo>
                  <a:lnTo>
                    <a:pt x="75" y="29"/>
                  </a:lnTo>
                  <a:lnTo>
                    <a:pt x="75" y="29"/>
                  </a:lnTo>
                  <a:lnTo>
                    <a:pt x="80" y="29"/>
                  </a:lnTo>
                  <a:lnTo>
                    <a:pt x="80" y="44"/>
                  </a:lnTo>
                  <a:close/>
                  <a:moveTo>
                    <a:pt x="141" y="29"/>
                  </a:moveTo>
                  <a:lnTo>
                    <a:pt x="141" y="29"/>
                  </a:lnTo>
                  <a:lnTo>
                    <a:pt x="133" y="33"/>
                  </a:lnTo>
                  <a:lnTo>
                    <a:pt x="133" y="21"/>
                  </a:lnTo>
                  <a:lnTo>
                    <a:pt x="133" y="21"/>
                  </a:lnTo>
                  <a:lnTo>
                    <a:pt x="141" y="18"/>
                  </a:lnTo>
                  <a:lnTo>
                    <a:pt x="141" y="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2" name="Freeform 57">
              <a:extLst>
                <a:ext uri="{FF2B5EF4-FFF2-40B4-BE49-F238E27FC236}">
                  <a16:creationId xmlns:a16="http://schemas.microsoft.com/office/drawing/2014/main" id="{3F177127-C310-4F1B-A752-AAAC089A0225}"/>
                </a:ext>
              </a:extLst>
            </p:cNvPr>
            <p:cNvSpPr>
              <a:spLocks noEditPoints="1"/>
            </p:cNvSpPr>
            <p:nvPr/>
          </p:nvSpPr>
          <p:spPr bwMode="auto">
            <a:xfrm>
              <a:off x="5349875" y="3305175"/>
              <a:ext cx="238125" cy="77788"/>
            </a:xfrm>
            <a:custGeom>
              <a:avLst/>
              <a:gdLst/>
              <a:ahLst/>
              <a:cxnLst>
                <a:cxn ang="0">
                  <a:pos x="71" y="25"/>
                </a:cxn>
                <a:cxn ang="0">
                  <a:pos x="31" y="20"/>
                </a:cxn>
                <a:cxn ang="0">
                  <a:pos x="5" y="11"/>
                </a:cxn>
                <a:cxn ang="0">
                  <a:pos x="0" y="21"/>
                </a:cxn>
                <a:cxn ang="0">
                  <a:pos x="0" y="21"/>
                </a:cxn>
                <a:cxn ang="0">
                  <a:pos x="5" y="32"/>
                </a:cxn>
                <a:cxn ang="0">
                  <a:pos x="21" y="41"/>
                </a:cxn>
                <a:cxn ang="0">
                  <a:pos x="45" y="46"/>
                </a:cxn>
                <a:cxn ang="0">
                  <a:pos x="74" y="49"/>
                </a:cxn>
                <a:cxn ang="0">
                  <a:pos x="90" y="48"/>
                </a:cxn>
                <a:cxn ang="0">
                  <a:pos x="115" y="45"/>
                </a:cxn>
                <a:cxn ang="0">
                  <a:pos x="136" y="37"/>
                </a:cxn>
                <a:cxn ang="0">
                  <a:pos x="147" y="27"/>
                </a:cxn>
                <a:cxn ang="0">
                  <a:pos x="148" y="23"/>
                </a:cxn>
                <a:cxn ang="0">
                  <a:pos x="150" y="21"/>
                </a:cxn>
                <a:cxn ang="0">
                  <a:pos x="150" y="2"/>
                </a:cxn>
                <a:cxn ang="0">
                  <a:pos x="148" y="0"/>
                </a:cxn>
                <a:cxn ang="0">
                  <a:pos x="137" y="10"/>
                </a:cxn>
                <a:cxn ang="0">
                  <a:pos x="119" y="18"/>
                </a:cxn>
                <a:cxn ang="0">
                  <a:pos x="97" y="23"/>
                </a:cxn>
                <a:cxn ang="0">
                  <a:pos x="71" y="25"/>
                </a:cxn>
                <a:cxn ang="0">
                  <a:pos x="17" y="35"/>
                </a:cxn>
                <a:cxn ang="0">
                  <a:pos x="7" y="28"/>
                </a:cxn>
                <a:cxn ang="0">
                  <a:pos x="7" y="16"/>
                </a:cxn>
                <a:cxn ang="0">
                  <a:pos x="17" y="21"/>
                </a:cxn>
                <a:cxn ang="0">
                  <a:pos x="38" y="41"/>
                </a:cxn>
                <a:cxn ang="0">
                  <a:pos x="28" y="38"/>
                </a:cxn>
                <a:cxn ang="0">
                  <a:pos x="28" y="24"/>
                </a:cxn>
                <a:cxn ang="0">
                  <a:pos x="38" y="41"/>
                </a:cxn>
                <a:cxn ang="0">
                  <a:pos x="57" y="44"/>
                </a:cxn>
                <a:cxn ang="0">
                  <a:pos x="47" y="28"/>
                </a:cxn>
                <a:cxn ang="0">
                  <a:pos x="57" y="30"/>
                </a:cxn>
                <a:cxn ang="0">
                  <a:pos x="78" y="45"/>
                </a:cxn>
                <a:cxn ang="0">
                  <a:pos x="74" y="45"/>
                </a:cxn>
                <a:cxn ang="0">
                  <a:pos x="69" y="45"/>
                </a:cxn>
                <a:cxn ang="0">
                  <a:pos x="69" y="30"/>
                </a:cxn>
                <a:cxn ang="0">
                  <a:pos x="74" y="31"/>
                </a:cxn>
                <a:cxn ang="0">
                  <a:pos x="78" y="45"/>
                </a:cxn>
                <a:cxn ang="0">
                  <a:pos x="140" y="30"/>
                </a:cxn>
                <a:cxn ang="0">
                  <a:pos x="133" y="20"/>
                </a:cxn>
                <a:cxn ang="0">
                  <a:pos x="140" y="16"/>
                </a:cxn>
              </a:cxnLst>
              <a:rect l="0" t="0" r="r" b="b"/>
              <a:pathLst>
                <a:path w="150" h="49">
                  <a:moveTo>
                    <a:pt x="71" y="25"/>
                  </a:moveTo>
                  <a:lnTo>
                    <a:pt x="71" y="25"/>
                  </a:lnTo>
                  <a:lnTo>
                    <a:pt x="50" y="24"/>
                  </a:lnTo>
                  <a:lnTo>
                    <a:pt x="31" y="20"/>
                  </a:lnTo>
                  <a:lnTo>
                    <a:pt x="12" y="14"/>
                  </a:lnTo>
                  <a:lnTo>
                    <a:pt x="5" y="11"/>
                  </a:lnTo>
                  <a:lnTo>
                    <a:pt x="0" y="7"/>
                  </a:lnTo>
                  <a:lnTo>
                    <a:pt x="0" y="21"/>
                  </a:lnTo>
                  <a:lnTo>
                    <a:pt x="0" y="21"/>
                  </a:lnTo>
                  <a:lnTo>
                    <a:pt x="0" y="21"/>
                  </a:lnTo>
                  <a:lnTo>
                    <a:pt x="1" y="27"/>
                  </a:lnTo>
                  <a:lnTo>
                    <a:pt x="5" y="32"/>
                  </a:lnTo>
                  <a:lnTo>
                    <a:pt x="12" y="37"/>
                  </a:lnTo>
                  <a:lnTo>
                    <a:pt x="21" y="41"/>
                  </a:lnTo>
                  <a:lnTo>
                    <a:pt x="32" y="44"/>
                  </a:lnTo>
                  <a:lnTo>
                    <a:pt x="45" y="46"/>
                  </a:lnTo>
                  <a:lnTo>
                    <a:pt x="59" y="48"/>
                  </a:lnTo>
                  <a:lnTo>
                    <a:pt x="74" y="49"/>
                  </a:lnTo>
                  <a:lnTo>
                    <a:pt x="74" y="49"/>
                  </a:lnTo>
                  <a:lnTo>
                    <a:pt x="90" y="48"/>
                  </a:lnTo>
                  <a:lnTo>
                    <a:pt x="102" y="46"/>
                  </a:lnTo>
                  <a:lnTo>
                    <a:pt x="115" y="45"/>
                  </a:lnTo>
                  <a:lnTo>
                    <a:pt x="126" y="41"/>
                  </a:lnTo>
                  <a:lnTo>
                    <a:pt x="136" y="37"/>
                  </a:lnTo>
                  <a:lnTo>
                    <a:pt x="143" y="32"/>
                  </a:lnTo>
                  <a:lnTo>
                    <a:pt x="147" y="27"/>
                  </a:lnTo>
                  <a:lnTo>
                    <a:pt x="148" y="23"/>
                  </a:lnTo>
                  <a:lnTo>
                    <a:pt x="148" y="23"/>
                  </a:lnTo>
                  <a:lnTo>
                    <a:pt x="148" y="21"/>
                  </a:lnTo>
                  <a:lnTo>
                    <a:pt x="150" y="21"/>
                  </a:lnTo>
                  <a:lnTo>
                    <a:pt x="150" y="2"/>
                  </a:lnTo>
                  <a:lnTo>
                    <a:pt x="150" y="2"/>
                  </a:lnTo>
                  <a:lnTo>
                    <a:pt x="148" y="0"/>
                  </a:lnTo>
                  <a:lnTo>
                    <a:pt x="148" y="0"/>
                  </a:lnTo>
                  <a:lnTo>
                    <a:pt x="144" y="6"/>
                  </a:lnTo>
                  <a:lnTo>
                    <a:pt x="137" y="10"/>
                  </a:lnTo>
                  <a:lnTo>
                    <a:pt x="129" y="14"/>
                  </a:lnTo>
                  <a:lnTo>
                    <a:pt x="119" y="18"/>
                  </a:lnTo>
                  <a:lnTo>
                    <a:pt x="108" y="21"/>
                  </a:lnTo>
                  <a:lnTo>
                    <a:pt x="97" y="23"/>
                  </a:lnTo>
                  <a:lnTo>
                    <a:pt x="71" y="25"/>
                  </a:lnTo>
                  <a:lnTo>
                    <a:pt x="71" y="25"/>
                  </a:lnTo>
                  <a:close/>
                  <a:moveTo>
                    <a:pt x="17" y="35"/>
                  </a:moveTo>
                  <a:lnTo>
                    <a:pt x="17" y="35"/>
                  </a:lnTo>
                  <a:lnTo>
                    <a:pt x="11" y="31"/>
                  </a:lnTo>
                  <a:lnTo>
                    <a:pt x="7" y="28"/>
                  </a:lnTo>
                  <a:lnTo>
                    <a:pt x="7" y="16"/>
                  </a:lnTo>
                  <a:lnTo>
                    <a:pt x="7" y="16"/>
                  </a:lnTo>
                  <a:lnTo>
                    <a:pt x="10" y="18"/>
                  </a:lnTo>
                  <a:lnTo>
                    <a:pt x="17" y="21"/>
                  </a:lnTo>
                  <a:lnTo>
                    <a:pt x="17" y="35"/>
                  </a:lnTo>
                  <a:close/>
                  <a:moveTo>
                    <a:pt x="38" y="41"/>
                  </a:moveTo>
                  <a:lnTo>
                    <a:pt x="38" y="41"/>
                  </a:lnTo>
                  <a:lnTo>
                    <a:pt x="28" y="38"/>
                  </a:lnTo>
                  <a:lnTo>
                    <a:pt x="28" y="24"/>
                  </a:lnTo>
                  <a:lnTo>
                    <a:pt x="28" y="24"/>
                  </a:lnTo>
                  <a:lnTo>
                    <a:pt x="38" y="27"/>
                  </a:lnTo>
                  <a:lnTo>
                    <a:pt x="38" y="41"/>
                  </a:lnTo>
                  <a:close/>
                  <a:moveTo>
                    <a:pt x="57" y="44"/>
                  </a:moveTo>
                  <a:lnTo>
                    <a:pt x="57" y="44"/>
                  </a:lnTo>
                  <a:lnTo>
                    <a:pt x="47" y="44"/>
                  </a:lnTo>
                  <a:lnTo>
                    <a:pt x="47" y="28"/>
                  </a:lnTo>
                  <a:lnTo>
                    <a:pt x="47" y="28"/>
                  </a:lnTo>
                  <a:lnTo>
                    <a:pt x="57" y="30"/>
                  </a:lnTo>
                  <a:lnTo>
                    <a:pt x="57" y="44"/>
                  </a:lnTo>
                  <a:close/>
                  <a:moveTo>
                    <a:pt x="78" y="45"/>
                  </a:moveTo>
                  <a:lnTo>
                    <a:pt x="78" y="45"/>
                  </a:lnTo>
                  <a:lnTo>
                    <a:pt x="74" y="45"/>
                  </a:lnTo>
                  <a:lnTo>
                    <a:pt x="74" y="45"/>
                  </a:lnTo>
                  <a:lnTo>
                    <a:pt x="69" y="45"/>
                  </a:lnTo>
                  <a:lnTo>
                    <a:pt x="69" y="30"/>
                  </a:lnTo>
                  <a:lnTo>
                    <a:pt x="69" y="30"/>
                  </a:lnTo>
                  <a:lnTo>
                    <a:pt x="74" y="31"/>
                  </a:lnTo>
                  <a:lnTo>
                    <a:pt x="74" y="31"/>
                  </a:lnTo>
                  <a:lnTo>
                    <a:pt x="78" y="31"/>
                  </a:lnTo>
                  <a:lnTo>
                    <a:pt x="78" y="45"/>
                  </a:lnTo>
                  <a:close/>
                  <a:moveTo>
                    <a:pt x="140" y="30"/>
                  </a:moveTo>
                  <a:lnTo>
                    <a:pt x="140" y="30"/>
                  </a:lnTo>
                  <a:lnTo>
                    <a:pt x="133" y="35"/>
                  </a:lnTo>
                  <a:lnTo>
                    <a:pt x="133" y="20"/>
                  </a:lnTo>
                  <a:lnTo>
                    <a:pt x="133" y="20"/>
                  </a:lnTo>
                  <a:lnTo>
                    <a:pt x="140" y="16"/>
                  </a:lnTo>
                  <a:lnTo>
                    <a:pt x="140" y="3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3" name="Freeform 58">
              <a:extLst>
                <a:ext uri="{FF2B5EF4-FFF2-40B4-BE49-F238E27FC236}">
                  <a16:creationId xmlns:a16="http://schemas.microsoft.com/office/drawing/2014/main" id="{48EDA252-1C91-4860-A380-B73150703F9C}"/>
                </a:ext>
              </a:extLst>
            </p:cNvPr>
            <p:cNvSpPr>
              <a:spLocks noEditPoints="1"/>
            </p:cNvSpPr>
            <p:nvPr/>
          </p:nvSpPr>
          <p:spPr bwMode="auto">
            <a:xfrm>
              <a:off x="5343525" y="3255963"/>
              <a:ext cx="238125" cy="77788"/>
            </a:xfrm>
            <a:custGeom>
              <a:avLst/>
              <a:gdLst/>
              <a:ahLst/>
              <a:cxnLst>
                <a:cxn ang="0">
                  <a:pos x="0" y="21"/>
                </a:cxn>
                <a:cxn ang="0">
                  <a:pos x="7" y="33"/>
                </a:cxn>
                <a:cxn ang="0">
                  <a:pos x="22" y="42"/>
                </a:cxn>
                <a:cxn ang="0">
                  <a:pos x="46" y="48"/>
                </a:cxn>
                <a:cxn ang="0">
                  <a:pos x="75" y="49"/>
                </a:cxn>
                <a:cxn ang="0">
                  <a:pos x="89" y="49"/>
                </a:cxn>
                <a:cxn ang="0">
                  <a:pos x="116" y="45"/>
                </a:cxn>
                <a:cxn ang="0">
                  <a:pos x="136" y="38"/>
                </a:cxn>
                <a:cxn ang="0">
                  <a:pos x="148" y="28"/>
                </a:cxn>
                <a:cxn ang="0">
                  <a:pos x="150" y="23"/>
                </a:cxn>
                <a:cxn ang="0">
                  <a:pos x="150" y="21"/>
                </a:cxn>
                <a:cxn ang="0">
                  <a:pos x="150" y="9"/>
                </a:cxn>
                <a:cxn ang="0">
                  <a:pos x="137" y="16"/>
                </a:cxn>
                <a:cxn ang="0">
                  <a:pos x="99" y="24"/>
                </a:cxn>
                <a:cxn ang="0">
                  <a:pos x="78" y="26"/>
                </a:cxn>
                <a:cxn ang="0">
                  <a:pos x="42" y="23"/>
                </a:cxn>
                <a:cxn ang="0">
                  <a:pos x="21" y="16"/>
                </a:cxn>
                <a:cxn ang="0">
                  <a:pos x="5" y="6"/>
                </a:cxn>
                <a:cxn ang="0">
                  <a:pos x="0" y="0"/>
                </a:cxn>
                <a:cxn ang="0">
                  <a:pos x="0" y="3"/>
                </a:cxn>
                <a:cxn ang="0">
                  <a:pos x="0" y="21"/>
                </a:cxn>
                <a:cxn ang="0">
                  <a:pos x="133" y="23"/>
                </a:cxn>
                <a:cxn ang="0">
                  <a:pos x="141" y="20"/>
                </a:cxn>
                <a:cxn ang="0">
                  <a:pos x="141" y="31"/>
                </a:cxn>
                <a:cxn ang="0">
                  <a:pos x="133" y="23"/>
                </a:cxn>
                <a:cxn ang="0">
                  <a:pos x="68" y="31"/>
                </a:cxn>
                <a:cxn ang="0">
                  <a:pos x="75" y="31"/>
                </a:cxn>
                <a:cxn ang="0">
                  <a:pos x="80" y="47"/>
                </a:cxn>
                <a:cxn ang="0">
                  <a:pos x="75" y="47"/>
                </a:cxn>
                <a:cxn ang="0">
                  <a:pos x="68" y="47"/>
                </a:cxn>
                <a:cxn ang="0">
                  <a:pos x="49" y="30"/>
                </a:cxn>
                <a:cxn ang="0">
                  <a:pos x="58" y="31"/>
                </a:cxn>
                <a:cxn ang="0">
                  <a:pos x="58" y="45"/>
                </a:cxn>
                <a:cxn ang="0">
                  <a:pos x="49" y="30"/>
                </a:cxn>
                <a:cxn ang="0">
                  <a:pos x="28" y="26"/>
                </a:cxn>
                <a:cxn ang="0">
                  <a:pos x="37" y="42"/>
                </a:cxn>
                <a:cxn ang="0">
                  <a:pos x="28" y="40"/>
                </a:cxn>
                <a:cxn ang="0">
                  <a:pos x="8" y="14"/>
                </a:cxn>
                <a:cxn ang="0">
                  <a:pos x="12" y="17"/>
                </a:cxn>
                <a:cxn ang="0">
                  <a:pos x="18" y="35"/>
                </a:cxn>
                <a:cxn ang="0">
                  <a:pos x="11" y="33"/>
                </a:cxn>
                <a:cxn ang="0">
                  <a:pos x="8" y="14"/>
                </a:cxn>
              </a:cxnLst>
              <a:rect l="0" t="0" r="r" b="b"/>
              <a:pathLst>
                <a:path w="150" h="49">
                  <a:moveTo>
                    <a:pt x="0" y="21"/>
                  </a:moveTo>
                  <a:lnTo>
                    <a:pt x="0" y="21"/>
                  </a:lnTo>
                  <a:lnTo>
                    <a:pt x="1" y="27"/>
                  </a:lnTo>
                  <a:lnTo>
                    <a:pt x="7" y="33"/>
                  </a:lnTo>
                  <a:lnTo>
                    <a:pt x="12" y="38"/>
                  </a:lnTo>
                  <a:lnTo>
                    <a:pt x="22" y="42"/>
                  </a:lnTo>
                  <a:lnTo>
                    <a:pt x="33" y="45"/>
                  </a:lnTo>
                  <a:lnTo>
                    <a:pt x="46" y="48"/>
                  </a:lnTo>
                  <a:lnTo>
                    <a:pt x="60" y="49"/>
                  </a:lnTo>
                  <a:lnTo>
                    <a:pt x="75" y="49"/>
                  </a:lnTo>
                  <a:lnTo>
                    <a:pt x="75" y="49"/>
                  </a:lnTo>
                  <a:lnTo>
                    <a:pt x="89" y="49"/>
                  </a:lnTo>
                  <a:lnTo>
                    <a:pt x="103" y="48"/>
                  </a:lnTo>
                  <a:lnTo>
                    <a:pt x="116" y="45"/>
                  </a:lnTo>
                  <a:lnTo>
                    <a:pt x="127" y="42"/>
                  </a:lnTo>
                  <a:lnTo>
                    <a:pt x="136" y="38"/>
                  </a:lnTo>
                  <a:lnTo>
                    <a:pt x="143" y="34"/>
                  </a:lnTo>
                  <a:lnTo>
                    <a:pt x="148" y="28"/>
                  </a:lnTo>
                  <a:lnTo>
                    <a:pt x="150" y="23"/>
                  </a:lnTo>
                  <a:lnTo>
                    <a:pt x="150" y="23"/>
                  </a:lnTo>
                  <a:lnTo>
                    <a:pt x="150" y="21"/>
                  </a:lnTo>
                  <a:lnTo>
                    <a:pt x="150" y="21"/>
                  </a:lnTo>
                  <a:lnTo>
                    <a:pt x="150" y="9"/>
                  </a:lnTo>
                  <a:lnTo>
                    <a:pt x="150" y="9"/>
                  </a:lnTo>
                  <a:lnTo>
                    <a:pt x="144" y="13"/>
                  </a:lnTo>
                  <a:lnTo>
                    <a:pt x="137" y="16"/>
                  </a:lnTo>
                  <a:lnTo>
                    <a:pt x="119" y="21"/>
                  </a:lnTo>
                  <a:lnTo>
                    <a:pt x="99" y="24"/>
                  </a:lnTo>
                  <a:lnTo>
                    <a:pt x="78" y="26"/>
                  </a:lnTo>
                  <a:lnTo>
                    <a:pt x="78" y="26"/>
                  </a:lnTo>
                  <a:lnTo>
                    <a:pt x="53" y="24"/>
                  </a:lnTo>
                  <a:lnTo>
                    <a:pt x="42" y="23"/>
                  </a:lnTo>
                  <a:lnTo>
                    <a:pt x="30" y="20"/>
                  </a:lnTo>
                  <a:lnTo>
                    <a:pt x="21" y="16"/>
                  </a:lnTo>
                  <a:lnTo>
                    <a:pt x="12" y="12"/>
                  </a:lnTo>
                  <a:lnTo>
                    <a:pt x="5" y="6"/>
                  </a:lnTo>
                  <a:lnTo>
                    <a:pt x="0" y="0"/>
                  </a:lnTo>
                  <a:lnTo>
                    <a:pt x="0" y="0"/>
                  </a:lnTo>
                  <a:lnTo>
                    <a:pt x="0" y="3"/>
                  </a:lnTo>
                  <a:lnTo>
                    <a:pt x="0" y="3"/>
                  </a:lnTo>
                  <a:lnTo>
                    <a:pt x="0" y="3"/>
                  </a:lnTo>
                  <a:lnTo>
                    <a:pt x="0" y="21"/>
                  </a:lnTo>
                  <a:lnTo>
                    <a:pt x="0" y="21"/>
                  </a:lnTo>
                  <a:close/>
                  <a:moveTo>
                    <a:pt x="133" y="23"/>
                  </a:moveTo>
                  <a:lnTo>
                    <a:pt x="133" y="23"/>
                  </a:lnTo>
                  <a:lnTo>
                    <a:pt x="141" y="20"/>
                  </a:lnTo>
                  <a:lnTo>
                    <a:pt x="141" y="31"/>
                  </a:lnTo>
                  <a:lnTo>
                    <a:pt x="141" y="31"/>
                  </a:lnTo>
                  <a:lnTo>
                    <a:pt x="133" y="35"/>
                  </a:lnTo>
                  <a:lnTo>
                    <a:pt x="133" y="23"/>
                  </a:lnTo>
                  <a:close/>
                  <a:moveTo>
                    <a:pt x="68" y="31"/>
                  </a:moveTo>
                  <a:lnTo>
                    <a:pt x="68" y="31"/>
                  </a:lnTo>
                  <a:lnTo>
                    <a:pt x="75" y="31"/>
                  </a:lnTo>
                  <a:lnTo>
                    <a:pt x="75" y="31"/>
                  </a:lnTo>
                  <a:lnTo>
                    <a:pt x="80" y="31"/>
                  </a:lnTo>
                  <a:lnTo>
                    <a:pt x="80" y="47"/>
                  </a:lnTo>
                  <a:lnTo>
                    <a:pt x="80" y="47"/>
                  </a:lnTo>
                  <a:lnTo>
                    <a:pt x="75" y="47"/>
                  </a:lnTo>
                  <a:lnTo>
                    <a:pt x="75" y="47"/>
                  </a:lnTo>
                  <a:lnTo>
                    <a:pt x="68" y="47"/>
                  </a:lnTo>
                  <a:lnTo>
                    <a:pt x="68" y="31"/>
                  </a:lnTo>
                  <a:close/>
                  <a:moveTo>
                    <a:pt x="49" y="30"/>
                  </a:moveTo>
                  <a:lnTo>
                    <a:pt x="49" y="30"/>
                  </a:lnTo>
                  <a:lnTo>
                    <a:pt x="58" y="31"/>
                  </a:lnTo>
                  <a:lnTo>
                    <a:pt x="58" y="45"/>
                  </a:lnTo>
                  <a:lnTo>
                    <a:pt x="58" y="45"/>
                  </a:lnTo>
                  <a:lnTo>
                    <a:pt x="49" y="44"/>
                  </a:lnTo>
                  <a:lnTo>
                    <a:pt x="49" y="30"/>
                  </a:lnTo>
                  <a:close/>
                  <a:moveTo>
                    <a:pt x="28" y="26"/>
                  </a:moveTo>
                  <a:lnTo>
                    <a:pt x="28" y="26"/>
                  </a:lnTo>
                  <a:lnTo>
                    <a:pt x="37" y="27"/>
                  </a:lnTo>
                  <a:lnTo>
                    <a:pt x="37" y="42"/>
                  </a:lnTo>
                  <a:lnTo>
                    <a:pt x="37" y="42"/>
                  </a:lnTo>
                  <a:lnTo>
                    <a:pt x="28" y="40"/>
                  </a:lnTo>
                  <a:lnTo>
                    <a:pt x="28" y="26"/>
                  </a:lnTo>
                  <a:close/>
                  <a:moveTo>
                    <a:pt x="8" y="14"/>
                  </a:moveTo>
                  <a:lnTo>
                    <a:pt x="8" y="14"/>
                  </a:lnTo>
                  <a:lnTo>
                    <a:pt x="12" y="17"/>
                  </a:lnTo>
                  <a:lnTo>
                    <a:pt x="18" y="21"/>
                  </a:lnTo>
                  <a:lnTo>
                    <a:pt x="18" y="35"/>
                  </a:lnTo>
                  <a:lnTo>
                    <a:pt x="18" y="35"/>
                  </a:lnTo>
                  <a:lnTo>
                    <a:pt x="11" y="33"/>
                  </a:lnTo>
                  <a:lnTo>
                    <a:pt x="8" y="30"/>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4" name="Freeform 59">
              <a:extLst>
                <a:ext uri="{FF2B5EF4-FFF2-40B4-BE49-F238E27FC236}">
                  <a16:creationId xmlns:a16="http://schemas.microsoft.com/office/drawing/2014/main" id="{7B1015F1-E20F-4272-B84B-D1884E0F84A9}"/>
                </a:ext>
              </a:extLst>
            </p:cNvPr>
            <p:cNvSpPr>
              <a:spLocks noEditPoints="1"/>
            </p:cNvSpPr>
            <p:nvPr/>
          </p:nvSpPr>
          <p:spPr bwMode="auto">
            <a:xfrm>
              <a:off x="5343525" y="3352800"/>
              <a:ext cx="238125" cy="77788"/>
            </a:xfrm>
            <a:custGeom>
              <a:avLst/>
              <a:gdLst/>
              <a:ahLst/>
              <a:cxnLst>
                <a:cxn ang="0">
                  <a:pos x="0" y="0"/>
                </a:cxn>
                <a:cxn ang="0">
                  <a:pos x="0" y="1"/>
                </a:cxn>
                <a:cxn ang="0">
                  <a:pos x="0" y="21"/>
                </a:cxn>
                <a:cxn ang="0">
                  <a:pos x="0" y="21"/>
                </a:cxn>
                <a:cxn ang="0">
                  <a:pos x="7" y="32"/>
                </a:cxn>
                <a:cxn ang="0">
                  <a:pos x="22" y="40"/>
                </a:cxn>
                <a:cxn ang="0">
                  <a:pos x="46" y="47"/>
                </a:cxn>
                <a:cxn ang="0">
                  <a:pos x="75" y="49"/>
                </a:cxn>
                <a:cxn ang="0">
                  <a:pos x="89" y="49"/>
                </a:cxn>
                <a:cxn ang="0">
                  <a:pos x="116" y="44"/>
                </a:cxn>
                <a:cxn ang="0">
                  <a:pos x="136" y="37"/>
                </a:cxn>
                <a:cxn ang="0">
                  <a:pos x="148" y="28"/>
                </a:cxn>
                <a:cxn ang="0">
                  <a:pos x="150" y="22"/>
                </a:cxn>
                <a:cxn ang="0">
                  <a:pos x="150" y="21"/>
                </a:cxn>
                <a:cxn ang="0">
                  <a:pos x="150" y="7"/>
                </a:cxn>
                <a:cxn ang="0">
                  <a:pos x="137" y="15"/>
                </a:cxn>
                <a:cxn ang="0">
                  <a:pos x="99" y="23"/>
                </a:cxn>
                <a:cxn ang="0">
                  <a:pos x="78" y="25"/>
                </a:cxn>
                <a:cxn ang="0">
                  <a:pos x="42" y="21"/>
                </a:cxn>
                <a:cxn ang="0">
                  <a:pos x="21" y="15"/>
                </a:cxn>
                <a:cxn ang="0">
                  <a:pos x="5" y="5"/>
                </a:cxn>
                <a:cxn ang="0">
                  <a:pos x="0" y="0"/>
                </a:cxn>
                <a:cxn ang="0">
                  <a:pos x="18" y="35"/>
                </a:cxn>
                <a:cxn ang="0">
                  <a:pos x="8" y="28"/>
                </a:cxn>
                <a:cxn ang="0">
                  <a:pos x="8" y="14"/>
                </a:cxn>
                <a:cxn ang="0">
                  <a:pos x="18" y="19"/>
                </a:cxn>
                <a:cxn ang="0">
                  <a:pos x="37" y="42"/>
                </a:cxn>
                <a:cxn ang="0">
                  <a:pos x="28" y="39"/>
                </a:cxn>
                <a:cxn ang="0">
                  <a:pos x="28" y="23"/>
                </a:cxn>
                <a:cxn ang="0">
                  <a:pos x="37" y="42"/>
                </a:cxn>
                <a:cxn ang="0">
                  <a:pos x="58" y="44"/>
                </a:cxn>
                <a:cxn ang="0">
                  <a:pos x="49" y="28"/>
                </a:cxn>
                <a:cxn ang="0">
                  <a:pos x="58" y="29"/>
                </a:cxn>
                <a:cxn ang="0">
                  <a:pos x="133" y="22"/>
                </a:cxn>
                <a:cxn ang="0">
                  <a:pos x="141" y="18"/>
                </a:cxn>
                <a:cxn ang="0">
                  <a:pos x="141" y="29"/>
                </a:cxn>
                <a:cxn ang="0">
                  <a:pos x="133" y="22"/>
                </a:cxn>
                <a:cxn ang="0">
                  <a:pos x="80" y="44"/>
                </a:cxn>
                <a:cxn ang="0">
                  <a:pos x="75" y="44"/>
                </a:cxn>
                <a:cxn ang="0">
                  <a:pos x="68" y="30"/>
                </a:cxn>
                <a:cxn ang="0">
                  <a:pos x="75" y="30"/>
                </a:cxn>
                <a:cxn ang="0">
                  <a:pos x="80" y="30"/>
                </a:cxn>
              </a:cxnLst>
              <a:rect l="0" t="0" r="r" b="b"/>
              <a:pathLst>
                <a:path w="150" h="49">
                  <a:moveTo>
                    <a:pt x="0" y="0"/>
                  </a:moveTo>
                  <a:lnTo>
                    <a:pt x="0" y="0"/>
                  </a:lnTo>
                  <a:lnTo>
                    <a:pt x="0" y="1"/>
                  </a:lnTo>
                  <a:lnTo>
                    <a:pt x="0" y="1"/>
                  </a:lnTo>
                  <a:lnTo>
                    <a:pt x="0" y="2"/>
                  </a:lnTo>
                  <a:lnTo>
                    <a:pt x="0" y="21"/>
                  </a:lnTo>
                  <a:lnTo>
                    <a:pt x="0" y="21"/>
                  </a:lnTo>
                  <a:lnTo>
                    <a:pt x="0" y="21"/>
                  </a:lnTo>
                  <a:lnTo>
                    <a:pt x="1" y="26"/>
                  </a:lnTo>
                  <a:lnTo>
                    <a:pt x="7" y="32"/>
                  </a:lnTo>
                  <a:lnTo>
                    <a:pt x="12" y="36"/>
                  </a:lnTo>
                  <a:lnTo>
                    <a:pt x="22" y="40"/>
                  </a:lnTo>
                  <a:lnTo>
                    <a:pt x="33" y="44"/>
                  </a:lnTo>
                  <a:lnTo>
                    <a:pt x="46" y="47"/>
                  </a:lnTo>
                  <a:lnTo>
                    <a:pt x="60" y="49"/>
                  </a:lnTo>
                  <a:lnTo>
                    <a:pt x="75" y="49"/>
                  </a:lnTo>
                  <a:lnTo>
                    <a:pt x="75" y="49"/>
                  </a:lnTo>
                  <a:lnTo>
                    <a:pt x="89" y="49"/>
                  </a:lnTo>
                  <a:lnTo>
                    <a:pt x="103" y="47"/>
                  </a:lnTo>
                  <a:lnTo>
                    <a:pt x="116" y="44"/>
                  </a:lnTo>
                  <a:lnTo>
                    <a:pt x="127" y="42"/>
                  </a:lnTo>
                  <a:lnTo>
                    <a:pt x="136" y="37"/>
                  </a:lnTo>
                  <a:lnTo>
                    <a:pt x="143" y="32"/>
                  </a:lnTo>
                  <a:lnTo>
                    <a:pt x="148" y="28"/>
                  </a:lnTo>
                  <a:lnTo>
                    <a:pt x="150" y="22"/>
                  </a:lnTo>
                  <a:lnTo>
                    <a:pt x="150" y="22"/>
                  </a:lnTo>
                  <a:lnTo>
                    <a:pt x="150" y="21"/>
                  </a:lnTo>
                  <a:lnTo>
                    <a:pt x="150" y="21"/>
                  </a:lnTo>
                  <a:lnTo>
                    <a:pt x="150" y="7"/>
                  </a:lnTo>
                  <a:lnTo>
                    <a:pt x="150" y="7"/>
                  </a:lnTo>
                  <a:lnTo>
                    <a:pt x="144" y="11"/>
                  </a:lnTo>
                  <a:lnTo>
                    <a:pt x="137" y="15"/>
                  </a:lnTo>
                  <a:lnTo>
                    <a:pt x="119" y="21"/>
                  </a:lnTo>
                  <a:lnTo>
                    <a:pt x="99" y="23"/>
                  </a:lnTo>
                  <a:lnTo>
                    <a:pt x="78" y="25"/>
                  </a:lnTo>
                  <a:lnTo>
                    <a:pt x="78" y="25"/>
                  </a:lnTo>
                  <a:lnTo>
                    <a:pt x="53" y="23"/>
                  </a:lnTo>
                  <a:lnTo>
                    <a:pt x="42" y="21"/>
                  </a:lnTo>
                  <a:lnTo>
                    <a:pt x="30" y="18"/>
                  </a:lnTo>
                  <a:lnTo>
                    <a:pt x="21" y="15"/>
                  </a:lnTo>
                  <a:lnTo>
                    <a:pt x="12" y="11"/>
                  </a:lnTo>
                  <a:lnTo>
                    <a:pt x="5" y="5"/>
                  </a:lnTo>
                  <a:lnTo>
                    <a:pt x="0" y="0"/>
                  </a:lnTo>
                  <a:lnTo>
                    <a:pt x="0" y="0"/>
                  </a:lnTo>
                  <a:close/>
                  <a:moveTo>
                    <a:pt x="18" y="35"/>
                  </a:moveTo>
                  <a:lnTo>
                    <a:pt x="18" y="35"/>
                  </a:lnTo>
                  <a:lnTo>
                    <a:pt x="11" y="32"/>
                  </a:lnTo>
                  <a:lnTo>
                    <a:pt x="8" y="28"/>
                  </a:lnTo>
                  <a:lnTo>
                    <a:pt x="8" y="14"/>
                  </a:lnTo>
                  <a:lnTo>
                    <a:pt x="8" y="14"/>
                  </a:lnTo>
                  <a:lnTo>
                    <a:pt x="12" y="16"/>
                  </a:lnTo>
                  <a:lnTo>
                    <a:pt x="18" y="19"/>
                  </a:lnTo>
                  <a:lnTo>
                    <a:pt x="18" y="35"/>
                  </a:lnTo>
                  <a:close/>
                  <a:moveTo>
                    <a:pt x="37" y="42"/>
                  </a:moveTo>
                  <a:lnTo>
                    <a:pt x="37" y="42"/>
                  </a:lnTo>
                  <a:lnTo>
                    <a:pt x="28" y="39"/>
                  </a:lnTo>
                  <a:lnTo>
                    <a:pt x="28" y="23"/>
                  </a:lnTo>
                  <a:lnTo>
                    <a:pt x="28" y="23"/>
                  </a:lnTo>
                  <a:lnTo>
                    <a:pt x="37" y="26"/>
                  </a:lnTo>
                  <a:lnTo>
                    <a:pt x="37" y="42"/>
                  </a:lnTo>
                  <a:close/>
                  <a:moveTo>
                    <a:pt x="58" y="44"/>
                  </a:moveTo>
                  <a:lnTo>
                    <a:pt x="58" y="44"/>
                  </a:lnTo>
                  <a:lnTo>
                    <a:pt x="49" y="43"/>
                  </a:lnTo>
                  <a:lnTo>
                    <a:pt x="49" y="28"/>
                  </a:lnTo>
                  <a:lnTo>
                    <a:pt x="49" y="28"/>
                  </a:lnTo>
                  <a:lnTo>
                    <a:pt x="58" y="29"/>
                  </a:lnTo>
                  <a:lnTo>
                    <a:pt x="58" y="44"/>
                  </a:lnTo>
                  <a:close/>
                  <a:moveTo>
                    <a:pt x="133" y="22"/>
                  </a:moveTo>
                  <a:lnTo>
                    <a:pt x="133" y="22"/>
                  </a:lnTo>
                  <a:lnTo>
                    <a:pt x="141" y="18"/>
                  </a:lnTo>
                  <a:lnTo>
                    <a:pt x="141" y="29"/>
                  </a:lnTo>
                  <a:lnTo>
                    <a:pt x="141" y="29"/>
                  </a:lnTo>
                  <a:lnTo>
                    <a:pt x="133" y="35"/>
                  </a:lnTo>
                  <a:lnTo>
                    <a:pt x="133" y="22"/>
                  </a:lnTo>
                  <a:close/>
                  <a:moveTo>
                    <a:pt x="80" y="44"/>
                  </a:moveTo>
                  <a:lnTo>
                    <a:pt x="80" y="44"/>
                  </a:lnTo>
                  <a:lnTo>
                    <a:pt x="75" y="44"/>
                  </a:lnTo>
                  <a:lnTo>
                    <a:pt x="75" y="44"/>
                  </a:lnTo>
                  <a:lnTo>
                    <a:pt x="68" y="44"/>
                  </a:lnTo>
                  <a:lnTo>
                    <a:pt x="68" y="30"/>
                  </a:lnTo>
                  <a:lnTo>
                    <a:pt x="68" y="30"/>
                  </a:lnTo>
                  <a:lnTo>
                    <a:pt x="75" y="30"/>
                  </a:lnTo>
                  <a:lnTo>
                    <a:pt x="75" y="30"/>
                  </a:lnTo>
                  <a:lnTo>
                    <a:pt x="80" y="30"/>
                  </a:lnTo>
                  <a:lnTo>
                    <a:pt x="80" y="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5" name="Freeform 60">
              <a:extLst>
                <a:ext uri="{FF2B5EF4-FFF2-40B4-BE49-F238E27FC236}">
                  <a16:creationId xmlns:a16="http://schemas.microsoft.com/office/drawing/2014/main" id="{B2F6996F-08CC-473F-A58D-575855191360}"/>
                </a:ext>
              </a:extLst>
            </p:cNvPr>
            <p:cNvSpPr>
              <a:spLocks/>
            </p:cNvSpPr>
            <p:nvPr/>
          </p:nvSpPr>
          <p:spPr bwMode="auto">
            <a:xfrm>
              <a:off x="5349875" y="3067050"/>
              <a:ext cx="238125" cy="76200"/>
            </a:xfrm>
            <a:custGeom>
              <a:avLst/>
              <a:gdLst/>
              <a:ahLst/>
              <a:cxnLst>
                <a:cxn ang="0">
                  <a:pos x="140" y="28"/>
                </a:cxn>
                <a:cxn ang="0">
                  <a:pos x="133" y="32"/>
                </a:cxn>
                <a:cxn ang="0">
                  <a:pos x="133" y="18"/>
                </a:cxn>
                <a:cxn ang="0">
                  <a:pos x="109" y="25"/>
                </a:cxn>
                <a:cxn ang="0">
                  <a:pos x="78" y="30"/>
                </a:cxn>
                <a:cxn ang="0">
                  <a:pos x="78" y="44"/>
                </a:cxn>
                <a:cxn ang="0">
                  <a:pos x="74" y="44"/>
                </a:cxn>
                <a:cxn ang="0">
                  <a:pos x="69" y="30"/>
                </a:cxn>
                <a:cxn ang="0">
                  <a:pos x="57" y="28"/>
                </a:cxn>
                <a:cxn ang="0">
                  <a:pos x="57" y="42"/>
                </a:cxn>
                <a:cxn ang="0">
                  <a:pos x="47" y="27"/>
                </a:cxn>
                <a:cxn ang="0">
                  <a:pos x="38" y="25"/>
                </a:cxn>
                <a:cxn ang="0">
                  <a:pos x="38" y="39"/>
                </a:cxn>
                <a:cxn ang="0">
                  <a:pos x="28" y="23"/>
                </a:cxn>
                <a:cxn ang="0">
                  <a:pos x="17" y="18"/>
                </a:cxn>
                <a:cxn ang="0">
                  <a:pos x="17" y="34"/>
                </a:cxn>
                <a:cxn ang="0">
                  <a:pos x="7" y="27"/>
                </a:cxn>
                <a:cxn ang="0">
                  <a:pos x="7" y="13"/>
                </a:cxn>
                <a:cxn ang="0">
                  <a:pos x="0" y="3"/>
                </a:cxn>
                <a:cxn ang="0">
                  <a:pos x="0" y="20"/>
                </a:cxn>
                <a:cxn ang="0">
                  <a:pos x="0" y="20"/>
                </a:cxn>
                <a:cxn ang="0">
                  <a:pos x="5" y="30"/>
                </a:cxn>
                <a:cxn ang="0">
                  <a:pos x="21" y="39"/>
                </a:cxn>
                <a:cxn ang="0">
                  <a:pos x="45" y="45"/>
                </a:cxn>
                <a:cxn ang="0">
                  <a:pos x="74" y="48"/>
                </a:cxn>
                <a:cxn ang="0">
                  <a:pos x="90" y="47"/>
                </a:cxn>
                <a:cxn ang="0">
                  <a:pos x="115" y="42"/>
                </a:cxn>
                <a:cxn ang="0">
                  <a:pos x="136" y="35"/>
                </a:cxn>
                <a:cxn ang="0">
                  <a:pos x="147" y="25"/>
                </a:cxn>
                <a:cxn ang="0">
                  <a:pos x="148" y="20"/>
                </a:cxn>
                <a:cxn ang="0">
                  <a:pos x="150" y="20"/>
                </a:cxn>
                <a:cxn ang="0">
                  <a:pos x="150" y="0"/>
                </a:cxn>
                <a:cxn ang="0">
                  <a:pos x="147" y="7"/>
                </a:cxn>
                <a:cxn ang="0">
                  <a:pos x="140" y="14"/>
                </a:cxn>
              </a:cxnLst>
              <a:rect l="0" t="0" r="r" b="b"/>
              <a:pathLst>
                <a:path w="150" h="48">
                  <a:moveTo>
                    <a:pt x="140" y="14"/>
                  </a:moveTo>
                  <a:lnTo>
                    <a:pt x="140" y="28"/>
                  </a:lnTo>
                  <a:lnTo>
                    <a:pt x="140" y="28"/>
                  </a:lnTo>
                  <a:lnTo>
                    <a:pt x="133" y="32"/>
                  </a:lnTo>
                  <a:lnTo>
                    <a:pt x="133" y="18"/>
                  </a:lnTo>
                  <a:lnTo>
                    <a:pt x="133" y="18"/>
                  </a:lnTo>
                  <a:lnTo>
                    <a:pt x="122" y="23"/>
                  </a:lnTo>
                  <a:lnTo>
                    <a:pt x="109" y="25"/>
                  </a:lnTo>
                  <a:lnTo>
                    <a:pt x="94" y="28"/>
                  </a:lnTo>
                  <a:lnTo>
                    <a:pt x="78" y="30"/>
                  </a:lnTo>
                  <a:lnTo>
                    <a:pt x="78" y="44"/>
                  </a:lnTo>
                  <a:lnTo>
                    <a:pt x="78" y="44"/>
                  </a:lnTo>
                  <a:lnTo>
                    <a:pt x="74" y="44"/>
                  </a:lnTo>
                  <a:lnTo>
                    <a:pt x="74" y="44"/>
                  </a:lnTo>
                  <a:lnTo>
                    <a:pt x="69" y="44"/>
                  </a:lnTo>
                  <a:lnTo>
                    <a:pt x="69" y="30"/>
                  </a:lnTo>
                  <a:lnTo>
                    <a:pt x="69" y="30"/>
                  </a:lnTo>
                  <a:lnTo>
                    <a:pt x="57" y="28"/>
                  </a:lnTo>
                  <a:lnTo>
                    <a:pt x="57" y="42"/>
                  </a:lnTo>
                  <a:lnTo>
                    <a:pt x="57" y="42"/>
                  </a:lnTo>
                  <a:lnTo>
                    <a:pt x="47" y="42"/>
                  </a:lnTo>
                  <a:lnTo>
                    <a:pt x="47" y="27"/>
                  </a:lnTo>
                  <a:lnTo>
                    <a:pt x="47" y="27"/>
                  </a:lnTo>
                  <a:lnTo>
                    <a:pt x="38" y="25"/>
                  </a:lnTo>
                  <a:lnTo>
                    <a:pt x="38" y="39"/>
                  </a:lnTo>
                  <a:lnTo>
                    <a:pt x="38" y="39"/>
                  </a:lnTo>
                  <a:lnTo>
                    <a:pt x="28" y="37"/>
                  </a:lnTo>
                  <a:lnTo>
                    <a:pt x="28" y="23"/>
                  </a:lnTo>
                  <a:lnTo>
                    <a:pt x="28" y="23"/>
                  </a:lnTo>
                  <a:lnTo>
                    <a:pt x="17" y="18"/>
                  </a:lnTo>
                  <a:lnTo>
                    <a:pt x="17" y="34"/>
                  </a:lnTo>
                  <a:lnTo>
                    <a:pt x="17" y="34"/>
                  </a:lnTo>
                  <a:lnTo>
                    <a:pt x="11" y="30"/>
                  </a:lnTo>
                  <a:lnTo>
                    <a:pt x="7" y="27"/>
                  </a:lnTo>
                  <a:lnTo>
                    <a:pt x="7" y="13"/>
                  </a:lnTo>
                  <a:lnTo>
                    <a:pt x="7" y="13"/>
                  </a:lnTo>
                  <a:lnTo>
                    <a:pt x="1" y="7"/>
                  </a:lnTo>
                  <a:lnTo>
                    <a:pt x="0" y="3"/>
                  </a:lnTo>
                  <a:lnTo>
                    <a:pt x="0" y="0"/>
                  </a:lnTo>
                  <a:lnTo>
                    <a:pt x="0" y="20"/>
                  </a:lnTo>
                  <a:lnTo>
                    <a:pt x="0" y="20"/>
                  </a:lnTo>
                  <a:lnTo>
                    <a:pt x="0" y="20"/>
                  </a:lnTo>
                  <a:lnTo>
                    <a:pt x="1" y="25"/>
                  </a:lnTo>
                  <a:lnTo>
                    <a:pt x="5" y="30"/>
                  </a:lnTo>
                  <a:lnTo>
                    <a:pt x="12" y="35"/>
                  </a:lnTo>
                  <a:lnTo>
                    <a:pt x="21" y="39"/>
                  </a:lnTo>
                  <a:lnTo>
                    <a:pt x="32" y="42"/>
                  </a:lnTo>
                  <a:lnTo>
                    <a:pt x="45" y="45"/>
                  </a:lnTo>
                  <a:lnTo>
                    <a:pt x="59" y="47"/>
                  </a:lnTo>
                  <a:lnTo>
                    <a:pt x="74" y="48"/>
                  </a:lnTo>
                  <a:lnTo>
                    <a:pt x="74" y="48"/>
                  </a:lnTo>
                  <a:lnTo>
                    <a:pt x="90" y="47"/>
                  </a:lnTo>
                  <a:lnTo>
                    <a:pt x="102" y="45"/>
                  </a:lnTo>
                  <a:lnTo>
                    <a:pt x="115" y="42"/>
                  </a:lnTo>
                  <a:lnTo>
                    <a:pt x="126" y="39"/>
                  </a:lnTo>
                  <a:lnTo>
                    <a:pt x="136" y="35"/>
                  </a:lnTo>
                  <a:lnTo>
                    <a:pt x="143" y="31"/>
                  </a:lnTo>
                  <a:lnTo>
                    <a:pt x="147" y="25"/>
                  </a:lnTo>
                  <a:lnTo>
                    <a:pt x="148" y="20"/>
                  </a:lnTo>
                  <a:lnTo>
                    <a:pt x="148" y="20"/>
                  </a:lnTo>
                  <a:lnTo>
                    <a:pt x="148" y="20"/>
                  </a:lnTo>
                  <a:lnTo>
                    <a:pt x="150" y="20"/>
                  </a:lnTo>
                  <a:lnTo>
                    <a:pt x="150" y="0"/>
                  </a:lnTo>
                  <a:lnTo>
                    <a:pt x="150" y="0"/>
                  </a:lnTo>
                  <a:lnTo>
                    <a:pt x="148" y="4"/>
                  </a:lnTo>
                  <a:lnTo>
                    <a:pt x="147" y="7"/>
                  </a:lnTo>
                  <a:lnTo>
                    <a:pt x="140" y="14"/>
                  </a:lnTo>
                  <a:lnTo>
                    <a:pt x="140"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6" name="Freeform 61">
              <a:extLst>
                <a:ext uri="{FF2B5EF4-FFF2-40B4-BE49-F238E27FC236}">
                  <a16:creationId xmlns:a16="http://schemas.microsoft.com/office/drawing/2014/main" id="{6A2A1A97-4762-481A-B8E4-824790D938B7}"/>
                </a:ext>
              </a:extLst>
            </p:cNvPr>
            <p:cNvSpPr>
              <a:spLocks/>
            </p:cNvSpPr>
            <p:nvPr/>
          </p:nvSpPr>
          <p:spPr bwMode="auto">
            <a:xfrm>
              <a:off x="5349875" y="3062288"/>
              <a:ext cx="1587" cy="4763"/>
            </a:xfrm>
            <a:custGeom>
              <a:avLst/>
              <a:gdLst/>
              <a:ahLst/>
              <a:cxnLst>
                <a:cxn ang="0">
                  <a:pos x="0" y="0"/>
                </a:cxn>
                <a:cxn ang="0">
                  <a:pos x="0" y="0"/>
                </a:cxn>
                <a:cxn ang="0">
                  <a:pos x="0" y="3"/>
                </a:cxn>
                <a:cxn ang="0">
                  <a:pos x="0" y="3"/>
                </a:cxn>
                <a:cxn ang="0">
                  <a:pos x="0" y="3"/>
                </a:cxn>
                <a:cxn ang="0">
                  <a:pos x="0" y="3"/>
                </a:cxn>
                <a:cxn ang="0">
                  <a:pos x="0" y="3"/>
                </a:cxn>
                <a:cxn ang="0">
                  <a:pos x="0" y="0"/>
                </a:cxn>
                <a:cxn ang="0">
                  <a:pos x="0" y="0"/>
                </a:cxn>
              </a:cxnLst>
              <a:rect l="0" t="0" r="r" b="b"/>
              <a:pathLst>
                <a:path h="3">
                  <a:moveTo>
                    <a:pt x="0" y="0"/>
                  </a:moveTo>
                  <a:lnTo>
                    <a:pt x="0" y="0"/>
                  </a:lnTo>
                  <a:lnTo>
                    <a:pt x="0" y="3"/>
                  </a:lnTo>
                  <a:lnTo>
                    <a:pt x="0" y="3"/>
                  </a:lnTo>
                  <a:lnTo>
                    <a:pt x="0" y="3"/>
                  </a:lnTo>
                  <a:lnTo>
                    <a:pt x="0" y="3"/>
                  </a:lnTo>
                  <a:lnTo>
                    <a:pt x="0"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7" name="Freeform 62">
              <a:extLst>
                <a:ext uri="{FF2B5EF4-FFF2-40B4-BE49-F238E27FC236}">
                  <a16:creationId xmlns:a16="http://schemas.microsoft.com/office/drawing/2014/main" id="{A5FDE522-6C60-493E-A7E9-0102FDABF6A7}"/>
                </a:ext>
              </a:extLst>
            </p:cNvPr>
            <p:cNvSpPr>
              <a:spLocks/>
            </p:cNvSpPr>
            <p:nvPr/>
          </p:nvSpPr>
          <p:spPr bwMode="auto">
            <a:xfrm>
              <a:off x="5584825" y="3062288"/>
              <a:ext cx="3175" cy="4763"/>
            </a:xfrm>
            <a:custGeom>
              <a:avLst/>
              <a:gdLst/>
              <a:ahLst/>
              <a:cxnLst>
                <a:cxn ang="0">
                  <a:pos x="0" y="0"/>
                </a:cxn>
                <a:cxn ang="0">
                  <a:pos x="0" y="0"/>
                </a:cxn>
                <a:cxn ang="0">
                  <a:pos x="2" y="3"/>
                </a:cxn>
                <a:cxn ang="0">
                  <a:pos x="2" y="3"/>
                </a:cxn>
                <a:cxn ang="0">
                  <a:pos x="2" y="3"/>
                </a:cxn>
                <a:cxn ang="0">
                  <a:pos x="2" y="3"/>
                </a:cxn>
                <a:cxn ang="0">
                  <a:pos x="2" y="3"/>
                </a:cxn>
                <a:cxn ang="0">
                  <a:pos x="0" y="0"/>
                </a:cxn>
                <a:cxn ang="0">
                  <a:pos x="0" y="0"/>
                </a:cxn>
              </a:cxnLst>
              <a:rect l="0" t="0" r="r" b="b"/>
              <a:pathLst>
                <a:path w="2" h="3">
                  <a:moveTo>
                    <a:pt x="0" y="0"/>
                  </a:moveTo>
                  <a:lnTo>
                    <a:pt x="0" y="0"/>
                  </a:lnTo>
                  <a:lnTo>
                    <a:pt x="2" y="3"/>
                  </a:lnTo>
                  <a:lnTo>
                    <a:pt x="2" y="3"/>
                  </a:lnTo>
                  <a:lnTo>
                    <a:pt x="2" y="3"/>
                  </a:lnTo>
                  <a:lnTo>
                    <a:pt x="2" y="3"/>
                  </a:lnTo>
                  <a:lnTo>
                    <a:pt x="2"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8" name="Freeform 63">
              <a:extLst>
                <a:ext uri="{FF2B5EF4-FFF2-40B4-BE49-F238E27FC236}">
                  <a16:creationId xmlns:a16="http://schemas.microsoft.com/office/drawing/2014/main" id="{1E8AE079-6718-4723-81CD-1447FCB271FA}"/>
                </a:ext>
              </a:extLst>
            </p:cNvPr>
            <p:cNvSpPr>
              <a:spLocks/>
            </p:cNvSpPr>
            <p:nvPr/>
          </p:nvSpPr>
          <p:spPr bwMode="auto">
            <a:xfrm>
              <a:off x="5443538" y="3044825"/>
              <a:ext cx="17462" cy="15875"/>
            </a:xfrm>
            <a:custGeom>
              <a:avLst/>
              <a:gdLst/>
              <a:ahLst/>
              <a:cxnLst>
                <a:cxn ang="0">
                  <a:pos x="1" y="7"/>
                </a:cxn>
                <a:cxn ang="0">
                  <a:pos x="1" y="7"/>
                </a:cxn>
                <a:cxn ang="0">
                  <a:pos x="4" y="9"/>
                </a:cxn>
                <a:cxn ang="0">
                  <a:pos x="8" y="10"/>
                </a:cxn>
                <a:cxn ang="0">
                  <a:pos x="8" y="10"/>
                </a:cxn>
                <a:cxn ang="0">
                  <a:pos x="11" y="10"/>
                </a:cxn>
                <a:cxn ang="0">
                  <a:pos x="11" y="0"/>
                </a:cxn>
                <a:cxn ang="0">
                  <a:pos x="11" y="0"/>
                </a:cxn>
                <a:cxn ang="0">
                  <a:pos x="2" y="2"/>
                </a:cxn>
                <a:cxn ang="0">
                  <a:pos x="2" y="2"/>
                </a:cxn>
                <a:cxn ang="0">
                  <a:pos x="0" y="3"/>
                </a:cxn>
                <a:cxn ang="0">
                  <a:pos x="0" y="4"/>
                </a:cxn>
                <a:cxn ang="0">
                  <a:pos x="0" y="6"/>
                </a:cxn>
                <a:cxn ang="0">
                  <a:pos x="1" y="7"/>
                </a:cxn>
                <a:cxn ang="0">
                  <a:pos x="1" y="7"/>
                </a:cxn>
              </a:cxnLst>
              <a:rect l="0" t="0" r="r" b="b"/>
              <a:pathLst>
                <a:path w="11" h="10">
                  <a:moveTo>
                    <a:pt x="1" y="7"/>
                  </a:moveTo>
                  <a:lnTo>
                    <a:pt x="1" y="7"/>
                  </a:lnTo>
                  <a:lnTo>
                    <a:pt x="4" y="9"/>
                  </a:lnTo>
                  <a:lnTo>
                    <a:pt x="8" y="10"/>
                  </a:lnTo>
                  <a:lnTo>
                    <a:pt x="8" y="10"/>
                  </a:lnTo>
                  <a:lnTo>
                    <a:pt x="11" y="10"/>
                  </a:lnTo>
                  <a:lnTo>
                    <a:pt x="11" y="0"/>
                  </a:lnTo>
                  <a:lnTo>
                    <a:pt x="11" y="0"/>
                  </a:lnTo>
                  <a:lnTo>
                    <a:pt x="2" y="2"/>
                  </a:lnTo>
                  <a:lnTo>
                    <a:pt x="2" y="2"/>
                  </a:lnTo>
                  <a:lnTo>
                    <a:pt x="0" y="3"/>
                  </a:lnTo>
                  <a:lnTo>
                    <a:pt x="0" y="4"/>
                  </a:lnTo>
                  <a:lnTo>
                    <a:pt x="0" y="6"/>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99" name="Freeform 64">
              <a:extLst>
                <a:ext uri="{FF2B5EF4-FFF2-40B4-BE49-F238E27FC236}">
                  <a16:creationId xmlns:a16="http://schemas.microsoft.com/office/drawing/2014/main" id="{52EF1BDF-AA24-4F1F-8B8E-DB0BCAA78784}"/>
                </a:ext>
              </a:extLst>
            </p:cNvPr>
            <p:cNvSpPr>
              <a:spLocks noEditPoints="1"/>
            </p:cNvSpPr>
            <p:nvPr/>
          </p:nvSpPr>
          <p:spPr bwMode="auto">
            <a:xfrm>
              <a:off x="5365750" y="3028950"/>
              <a:ext cx="204787" cy="74613"/>
            </a:xfrm>
            <a:custGeom>
              <a:avLst/>
              <a:gdLst/>
              <a:ahLst/>
              <a:cxnLst>
                <a:cxn ang="0">
                  <a:pos x="0" y="23"/>
                </a:cxn>
                <a:cxn ang="0">
                  <a:pos x="5" y="33"/>
                </a:cxn>
                <a:cxn ang="0">
                  <a:pos x="19" y="40"/>
                </a:cxn>
                <a:cxn ang="0">
                  <a:pos x="39" y="45"/>
                </a:cxn>
                <a:cxn ang="0">
                  <a:pos x="64" y="47"/>
                </a:cxn>
                <a:cxn ang="0">
                  <a:pos x="77" y="47"/>
                </a:cxn>
                <a:cxn ang="0">
                  <a:pos x="101" y="42"/>
                </a:cxn>
                <a:cxn ang="0">
                  <a:pos x="117" y="37"/>
                </a:cxn>
                <a:cxn ang="0">
                  <a:pos x="127" y="28"/>
                </a:cxn>
                <a:cxn ang="0">
                  <a:pos x="129" y="23"/>
                </a:cxn>
                <a:cxn ang="0">
                  <a:pos x="124" y="14"/>
                </a:cxn>
                <a:cxn ang="0">
                  <a:pos x="110" y="7"/>
                </a:cxn>
                <a:cxn ang="0">
                  <a:pos x="89" y="2"/>
                </a:cxn>
                <a:cxn ang="0">
                  <a:pos x="64" y="0"/>
                </a:cxn>
                <a:cxn ang="0">
                  <a:pos x="51" y="0"/>
                </a:cxn>
                <a:cxn ang="0">
                  <a:pos x="28" y="5"/>
                </a:cxn>
                <a:cxn ang="0">
                  <a:pos x="11" y="10"/>
                </a:cxn>
                <a:cxn ang="0">
                  <a:pos x="1" y="19"/>
                </a:cxn>
                <a:cxn ang="0">
                  <a:pos x="0" y="23"/>
                </a:cxn>
                <a:cxn ang="0">
                  <a:pos x="70" y="6"/>
                </a:cxn>
                <a:cxn ang="0">
                  <a:pos x="75" y="7"/>
                </a:cxn>
                <a:cxn ang="0">
                  <a:pos x="84" y="9"/>
                </a:cxn>
                <a:cxn ang="0">
                  <a:pos x="91" y="12"/>
                </a:cxn>
                <a:cxn ang="0">
                  <a:pos x="91" y="13"/>
                </a:cxn>
                <a:cxn ang="0">
                  <a:pos x="85" y="14"/>
                </a:cxn>
                <a:cxn ang="0">
                  <a:pos x="82" y="14"/>
                </a:cxn>
                <a:cxn ang="0">
                  <a:pos x="82" y="13"/>
                </a:cxn>
                <a:cxn ang="0">
                  <a:pos x="81" y="13"/>
                </a:cxn>
                <a:cxn ang="0">
                  <a:pos x="81" y="13"/>
                </a:cxn>
                <a:cxn ang="0">
                  <a:pos x="73" y="10"/>
                </a:cxn>
                <a:cxn ang="0">
                  <a:pos x="70" y="21"/>
                </a:cxn>
                <a:cxn ang="0">
                  <a:pos x="82" y="24"/>
                </a:cxn>
                <a:cxn ang="0">
                  <a:pos x="89" y="28"/>
                </a:cxn>
                <a:cxn ang="0">
                  <a:pos x="91" y="31"/>
                </a:cxn>
                <a:cxn ang="0">
                  <a:pos x="88" y="35"/>
                </a:cxn>
                <a:cxn ang="0">
                  <a:pos x="84" y="38"/>
                </a:cxn>
                <a:cxn ang="0">
                  <a:pos x="70" y="41"/>
                </a:cxn>
                <a:cxn ang="0">
                  <a:pos x="70" y="44"/>
                </a:cxn>
                <a:cxn ang="0">
                  <a:pos x="61" y="44"/>
                </a:cxn>
                <a:cxn ang="0">
                  <a:pos x="60" y="44"/>
                </a:cxn>
                <a:cxn ang="0">
                  <a:pos x="60" y="41"/>
                </a:cxn>
                <a:cxn ang="0">
                  <a:pos x="42" y="38"/>
                </a:cxn>
                <a:cxn ang="0">
                  <a:pos x="37" y="35"/>
                </a:cxn>
                <a:cxn ang="0">
                  <a:pos x="37" y="34"/>
                </a:cxn>
                <a:cxn ang="0">
                  <a:pos x="43" y="33"/>
                </a:cxn>
                <a:cxn ang="0">
                  <a:pos x="46" y="33"/>
                </a:cxn>
                <a:cxn ang="0">
                  <a:pos x="47" y="33"/>
                </a:cxn>
                <a:cxn ang="0">
                  <a:pos x="47" y="34"/>
                </a:cxn>
                <a:cxn ang="0">
                  <a:pos x="47" y="34"/>
                </a:cxn>
                <a:cxn ang="0">
                  <a:pos x="49" y="34"/>
                </a:cxn>
                <a:cxn ang="0">
                  <a:pos x="56" y="35"/>
                </a:cxn>
                <a:cxn ang="0">
                  <a:pos x="60" y="24"/>
                </a:cxn>
                <a:cxn ang="0">
                  <a:pos x="47" y="23"/>
                </a:cxn>
                <a:cxn ang="0">
                  <a:pos x="43" y="21"/>
                </a:cxn>
                <a:cxn ang="0">
                  <a:pos x="40" y="19"/>
                </a:cxn>
                <a:cxn ang="0">
                  <a:pos x="39" y="14"/>
                </a:cxn>
                <a:cxn ang="0">
                  <a:pos x="44" y="9"/>
                </a:cxn>
                <a:cxn ang="0">
                  <a:pos x="51" y="7"/>
                </a:cxn>
                <a:cxn ang="0">
                  <a:pos x="60" y="3"/>
                </a:cxn>
                <a:cxn ang="0">
                  <a:pos x="61" y="3"/>
                </a:cxn>
                <a:cxn ang="0">
                  <a:pos x="68" y="3"/>
                </a:cxn>
                <a:cxn ang="0">
                  <a:pos x="70" y="3"/>
                </a:cxn>
              </a:cxnLst>
              <a:rect l="0" t="0" r="r" b="b"/>
              <a:pathLst>
                <a:path w="129" h="47">
                  <a:moveTo>
                    <a:pt x="0" y="23"/>
                  </a:moveTo>
                  <a:lnTo>
                    <a:pt x="0" y="23"/>
                  </a:lnTo>
                  <a:lnTo>
                    <a:pt x="1" y="28"/>
                  </a:lnTo>
                  <a:lnTo>
                    <a:pt x="5" y="33"/>
                  </a:lnTo>
                  <a:lnTo>
                    <a:pt x="11" y="37"/>
                  </a:lnTo>
                  <a:lnTo>
                    <a:pt x="19" y="40"/>
                  </a:lnTo>
                  <a:lnTo>
                    <a:pt x="28" y="42"/>
                  </a:lnTo>
                  <a:lnTo>
                    <a:pt x="39" y="45"/>
                  </a:lnTo>
                  <a:lnTo>
                    <a:pt x="51" y="47"/>
                  </a:lnTo>
                  <a:lnTo>
                    <a:pt x="64" y="47"/>
                  </a:lnTo>
                  <a:lnTo>
                    <a:pt x="64" y="47"/>
                  </a:lnTo>
                  <a:lnTo>
                    <a:pt x="77" y="47"/>
                  </a:lnTo>
                  <a:lnTo>
                    <a:pt x="89" y="45"/>
                  </a:lnTo>
                  <a:lnTo>
                    <a:pt x="101" y="42"/>
                  </a:lnTo>
                  <a:lnTo>
                    <a:pt x="110" y="40"/>
                  </a:lnTo>
                  <a:lnTo>
                    <a:pt x="117" y="37"/>
                  </a:lnTo>
                  <a:lnTo>
                    <a:pt x="124" y="33"/>
                  </a:lnTo>
                  <a:lnTo>
                    <a:pt x="127" y="28"/>
                  </a:lnTo>
                  <a:lnTo>
                    <a:pt x="129" y="23"/>
                  </a:lnTo>
                  <a:lnTo>
                    <a:pt x="129" y="23"/>
                  </a:lnTo>
                  <a:lnTo>
                    <a:pt x="127" y="19"/>
                  </a:lnTo>
                  <a:lnTo>
                    <a:pt x="124" y="14"/>
                  </a:lnTo>
                  <a:lnTo>
                    <a:pt x="117" y="10"/>
                  </a:lnTo>
                  <a:lnTo>
                    <a:pt x="110" y="7"/>
                  </a:lnTo>
                  <a:lnTo>
                    <a:pt x="101" y="5"/>
                  </a:lnTo>
                  <a:lnTo>
                    <a:pt x="89" y="2"/>
                  </a:lnTo>
                  <a:lnTo>
                    <a:pt x="77" y="0"/>
                  </a:lnTo>
                  <a:lnTo>
                    <a:pt x="64" y="0"/>
                  </a:lnTo>
                  <a:lnTo>
                    <a:pt x="64" y="0"/>
                  </a:lnTo>
                  <a:lnTo>
                    <a:pt x="51" y="0"/>
                  </a:lnTo>
                  <a:lnTo>
                    <a:pt x="39" y="2"/>
                  </a:lnTo>
                  <a:lnTo>
                    <a:pt x="28" y="5"/>
                  </a:lnTo>
                  <a:lnTo>
                    <a:pt x="19" y="7"/>
                  </a:lnTo>
                  <a:lnTo>
                    <a:pt x="11" y="10"/>
                  </a:lnTo>
                  <a:lnTo>
                    <a:pt x="5" y="14"/>
                  </a:lnTo>
                  <a:lnTo>
                    <a:pt x="1" y="19"/>
                  </a:lnTo>
                  <a:lnTo>
                    <a:pt x="0" y="23"/>
                  </a:lnTo>
                  <a:lnTo>
                    <a:pt x="0" y="23"/>
                  </a:lnTo>
                  <a:close/>
                  <a:moveTo>
                    <a:pt x="70" y="3"/>
                  </a:moveTo>
                  <a:lnTo>
                    <a:pt x="70" y="6"/>
                  </a:lnTo>
                  <a:lnTo>
                    <a:pt x="70" y="6"/>
                  </a:lnTo>
                  <a:lnTo>
                    <a:pt x="75" y="7"/>
                  </a:lnTo>
                  <a:lnTo>
                    <a:pt x="75" y="7"/>
                  </a:lnTo>
                  <a:lnTo>
                    <a:pt x="84" y="9"/>
                  </a:lnTo>
                  <a:lnTo>
                    <a:pt x="91" y="12"/>
                  </a:lnTo>
                  <a:lnTo>
                    <a:pt x="91" y="12"/>
                  </a:lnTo>
                  <a:lnTo>
                    <a:pt x="91" y="12"/>
                  </a:lnTo>
                  <a:lnTo>
                    <a:pt x="91" y="13"/>
                  </a:lnTo>
                  <a:lnTo>
                    <a:pt x="88" y="14"/>
                  </a:lnTo>
                  <a:lnTo>
                    <a:pt x="85" y="14"/>
                  </a:lnTo>
                  <a:lnTo>
                    <a:pt x="82" y="14"/>
                  </a:lnTo>
                  <a:lnTo>
                    <a:pt x="82" y="14"/>
                  </a:lnTo>
                  <a:lnTo>
                    <a:pt x="82" y="13"/>
                  </a:lnTo>
                  <a:lnTo>
                    <a:pt x="82" y="13"/>
                  </a:lnTo>
                  <a:lnTo>
                    <a:pt x="81" y="13"/>
                  </a:lnTo>
                  <a:lnTo>
                    <a:pt x="81" y="13"/>
                  </a:lnTo>
                  <a:lnTo>
                    <a:pt x="81" y="13"/>
                  </a:lnTo>
                  <a:lnTo>
                    <a:pt x="81" y="13"/>
                  </a:lnTo>
                  <a:lnTo>
                    <a:pt x="73" y="10"/>
                  </a:lnTo>
                  <a:lnTo>
                    <a:pt x="73" y="10"/>
                  </a:lnTo>
                  <a:lnTo>
                    <a:pt x="70" y="10"/>
                  </a:lnTo>
                  <a:lnTo>
                    <a:pt x="70" y="21"/>
                  </a:lnTo>
                  <a:lnTo>
                    <a:pt x="70" y="21"/>
                  </a:lnTo>
                  <a:lnTo>
                    <a:pt x="82" y="24"/>
                  </a:lnTo>
                  <a:lnTo>
                    <a:pt x="87" y="27"/>
                  </a:lnTo>
                  <a:lnTo>
                    <a:pt x="89" y="28"/>
                  </a:lnTo>
                  <a:lnTo>
                    <a:pt x="89" y="28"/>
                  </a:lnTo>
                  <a:lnTo>
                    <a:pt x="91" y="31"/>
                  </a:lnTo>
                  <a:lnTo>
                    <a:pt x="91" y="34"/>
                  </a:lnTo>
                  <a:lnTo>
                    <a:pt x="88" y="35"/>
                  </a:lnTo>
                  <a:lnTo>
                    <a:pt x="84" y="38"/>
                  </a:lnTo>
                  <a:lnTo>
                    <a:pt x="84" y="38"/>
                  </a:lnTo>
                  <a:lnTo>
                    <a:pt x="78" y="40"/>
                  </a:lnTo>
                  <a:lnTo>
                    <a:pt x="70" y="41"/>
                  </a:lnTo>
                  <a:lnTo>
                    <a:pt x="70" y="44"/>
                  </a:lnTo>
                  <a:lnTo>
                    <a:pt x="70" y="44"/>
                  </a:lnTo>
                  <a:lnTo>
                    <a:pt x="68" y="44"/>
                  </a:lnTo>
                  <a:lnTo>
                    <a:pt x="61" y="44"/>
                  </a:lnTo>
                  <a:lnTo>
                    <a:pt x="61" y="44"/>
                  </a:lnTo>
                  <a:lnTo>
                    <a:pt x="60" y="44"/>
                  </a:lnTo>
                  <a:lnTo>
                    <a:pt x="60" y="41"/>
                  </a:lnTo>
                  <a:lnTo>
                    <a:pt x="60" y="41"/>
                  </a:lnTo>
                  <a:lnTo>
                    <a:pt x="47" y="40"/>
                  </a:lnTo>
                  <a:lnTo>
                    <a:pt x="42" y="38"/>
                  </a:lnTo>
                  <a:lnTo>
                    <a:pt x="37" y="35"/>
                  </a:lnTo>
                  <a:lnTo>
                    <a:pt x="37" y="35"/>
                  </a:lnTo>
                  <a:lnTo>
                    <a:pt x="37" y="35"/>
                  </a:lnTo>
                  <a:lnTo>
                    <a:pt x="37" y="34"/>
                  </a:lnTo>
                  <a:lnTo>
                    <a:pt x="40" y="33"/>
                  </a:lnTo>
                  <a:lnTo>
                    <a:pt x="43" y="33"/>
                  </a:lnTo>
                  <a:lnTo>
                    <a:pt x="46" y="33"/>
                  </a:lnTo>
                  <a:lnTo>
                    <a:pt x="46" y="33"/>
                  </a:lnTo>
                  <a:lnTo>
                    <a:pt x="47" y="33"/>
                  </a:lnTo>
                  <a:lnTo>
                    <a:pt x="47" y="33"/>
                  </a:lnTo>
                  <a:lnTo>
                    <a:pt x="47" y="34"/>
                  </a:lnTo>
                  <a:lnTo>
                    <a:pt x="47" y="34"/>
                  </a:lnTo>
                  <a:lnTo>
                    <a:pt x="47" y="34"/>
                  </a:lnTo>
                  <a:lnTo>
                    <a:pt x="47" y="34"/>
                  </a:lnTo>
                  <a:lnTo>
                    <a:pt x="49" y="34"/>
                  </a:lnTo>
                  <a:lnTo>
                    <a:pt x="49" y="34"/>
                  </a:lnTo>
                  <a:lnTo>
                    <a:pt x="56" y="35"/>
                  </a:lnTo>
                  <a:lnTo>
                    <a:pt x="56" y="35"/>
                  </a:lnTo>
                  <a:lnTo>
                    <a:pt x="60" y="37"/>
                  </a:lnTo>
                  <a:lnTo>
                    <a:pt x="60" y="24"/>
                  </a:lnTo>
                  <a:lnTo>
                    <a:pt x="60" y="24"/>
                  </a:lnTo>
                  <a:lnTo>
                    <a:pt x="47" y="23"/>
                  </a:lnTo>
                  <a:lnTo>
                    <a:pt x="47" y="23"/>
                  </a:lnTo>
                  <a:lnTo>
                    <a:pt x="43" y="21"/>
                  </a:lnTo>
                  <a:lnTo>
                    <a:pt x="40" y="19"/>
                  </a:lnTo>
                  <a:lnTo>
                    <a:pt x="40" y="19"/>
                  </a:lnTo>
                  <a:lnTo>
                    <a:pt x="39" y="16"/>
                  </a:lnTo>
                  <a:lnTo>
                    <a:pt x="39" y="14"/>
                  </a:lnTo>
                  <a:lnTo>
                    <a:pt x="40" y="12"/>
                  </a:lnTo>
                  <a:lnTo>
                    <a:pt x="44" y="9"/>
                  </a:lnTo>
                  <a:lnTo>
                    <a:pt x="44" y="9"/>
                  </a:lnTo>
                  <a:lnTo>
                    <a:pt x="51" y="7"/>
                  </a:lnTo>
                  <a:lnTo>
                    <a:pt x="60" y="6"/>
                  </a:lnTo>
                  <a:lnTo>
                    <a:pt x="60" y="3"/>
                  </a:lnTo>
                  <a:lnTo>
                    <a:pt x="60" y="3"/>
                  </a:lnTo>
                  <a:lnTo>
                    <a:pt x="61" y="3"/>
                  </a:lnTo>
                  <a:lnTo>
                    <a:pt x="68" y="3"/>
                  </a:lnTo>
                  <a:lnTo>
                    <a:pt x="68" y="3"/>
                  </a:lnTo>
                  <a:lnTo>
                    <a:pt x="70" y="3"/>
                  </a:lnTo>
                  <a:lnTo>
                    <a:pt x="7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0" name="Freeform 65">
              <a:extLst>
                <a:ext uri="{FF2B5EF4-FFF2-40B4-BE49-F238E27FC236}">
                  <a16:creationId xmlns:a16="http://schemas.microsoft.com/office/drawing/2014/main" id="{1A9F1061-9B34-4B7C-AAE6-7937263D0ABF}"/>
                </a:ext>
              </a:extLst>
            </p:cNvPr>
            <p:cNvSpPr>
              <a:spLocks/>
            </p:cNvSpPr>
            <p:nvPr/>
          </p:nvSpPr>
          <p:spPr bwMode="auto">
            <a:xfrm>
              <a:off x="5476875" y="3071813"/>
              <a:ext cx="17462" cy="15875"/>
            </a:xfrm>
            <a:custGeom>
              <a:avLst/>
              <a:gdLst/>
              <a:ahLst/>
              <a:cxnLst>
                <a:cxn ang="0">
                  <a:pos x="10" y="3"/>
                </a:cxn>
                <a:cxn ang="0">
                  <a:pos x="10" y="3"/>
                </a:cxn>
                <a:cxn ang="0">
                  <a:pos x="8" y="1"/>
                </a:cxn>
                <a:cxn ang="0">
                  <a:pos x="5" y="1"/>
                </a:cxn>
                <a:cxn ang="0">
                  <a:pos x="5" y="1"/>
                </a:cxn>
                <a:cxn ang="0">
                  <a:pos x="0" y="0"/>
                </a:cxn>
                <a:cxn ang="0">
                  <a:pos x="0" y="10"/>
                </a:cxn>
                <a:cxn ang="0">
                  <a:pos x="0" y="10"/>
                </a:cxn>
                <a:cxn ang="0">
                  <a:pos x="8" y="8"/>
                </a:cxn>
                <a:cxn ang="0">
                  <a:pos x="8" y="8"/>
                </a:cxn>
                <a:cxn ang="0">
                  <a:pos x="11" y="6"/>
                </a:cxn>
                <a:cxn ang="0">
                  <a:pos x="11" y="4"/>
                </a:cxn>
                <a:cxn ang="0">
                  <a:pos x="10" y="3"/>
                </a:cxn>
                <a:cxn ang="0">
                  <a:pos x="10" y="3"/>
                </a:cxn>
              </a:cxnLst>
              <a:rect l="0" t="0" r="r" b="b"/>
              <a:pathLst>
                <a:path w="11" h="10">
                  <a:moveTo>
                    <a:pt x="10" y="3"/>
                  </a:moveTo>
                  <a:lnTo>
                    <a:pt x="10" y="3"/>
                  </a:lnTo>
                  <a:lnTo>
                    <a:pt x="8" y="1"/>
                  </a:lnTo>
                  <a:lnTo>
                    <a:pt x="5" y="1"/>
                  </a:lnTo>
                  <a:lnTo>
                    <a:pt x="5" y="1"/>
                  </a:lnTo>
                  <a:lnTo>
                    <a:pt x="0" y="0"/>
                  </a:lnTo>
                  <a:lnTo>
                    <a:pt x="0" y="10"/>
                  </a:lnTo>
                  <a:lnTo>
                    <a:pt x="0" y="10"/>
                  </a:lnTo>
                  <a:lnTo>
                    <a:pt x="8" y="8"/>
                  </a:lnTo>
                  <a:lnTo>
                    <a:pt x="8" y="8"/>
                  </a:lnTo>
                  <a:lnTo>
                    <a:pt x="11" y="6"/>
                  </a:lnTo>
                  <a:lnTo>
                    <a:pt x="11" y="4"/>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1" name="Freeform 66">
              <a:extLst>
                <a:ext uri="{FF2B5EF4-FFF2-40B4-BE49-F238E27FC236}">
                  <a16:creationId xmlns:a16="http://schemas.microsoft.com/office/drawing/2014/main" id="{A4F148D8-86B9-427A-B441-E74D18A11805}"/>
                </a:ext>
              </a:extLst>
            </p:cNvPr>
            <p:cNvSpPr>
              <a:spLocks noEditPoints="1"/>
            </p:cNvSpPr>
            <p:nvPr/>
          </p:nvSpPr>
          <p:spPr bwMode="auto">
            <a:xfrm>
              <a:off x="5106988" y="3316288"/>
              <a:ext cx="214312" cy="71438"/>
            </a:xfrm>
            <a:custGeom>
              <a:avLst/>
              <a:gdLst/>
              <a:ahLst/>
              <a:cxnLst>
                <a:cxn ang="0">
                  <a:pos x="63" y="23"/>
                </a:cxn>
                <a:cxn ang="0">
                  <a:pos x="27" y="18"/>
                </a:cxn>
                <a:cxn ang="0">
                  <a:pos x="4" y="11"/>
                </a:cxn>
                <a:cxn ang="0">
                  <a:pos x="0" y="20"/>
                </a:cxn>
                <a:cxn ang="0">
                  <a:pos x="0" y="20"/>
                </a:cxn>
                <a:cxn ang="0">
                  <a:pos x="4" y="30"/>
                </a:cxn>
                <a:cxn ang="0">
                  <a:pos x="20" y="38"/>
                </a:cxn>
                <a:cxn ang="0">
                  <a:pos x="41" y="44"/>
                </a:cxn>
                <a:cxn ang="0">
                  <a:pos x="67" y="45"/>
                </a:cxn>
                <a:cxn ang="0">
                  <a:pos x="80" y="45"/>
                </a:cxn>
                <a:cxn ang="0">
                  <a:pos x="104" y="41"/>
                </a:cxn>
                <a:cxn ang="0">
                  <a:pos x="122" y="34"/>
                </a:cxn>
                <a:cxn ang="0">
                  <a:pos x="132" y="25"/>
                </a:cxn>
                <a:cxn ang="0">
                  <a:pos x="135" y="21"/>
                </a:cxn>
                <a:cxn ang="0">
                  <a:pos x="135" y="20"/>
                </a:cxn>
                <a:cxn ang="0">
                  <a:pos x="135" y="3"/>
                </a:cxn>
                <a:cxn ang="0">
                  <a:pos x="135" y="0"/>
                </a:cxn>
                <a:cxn ang="0">
                  <a:pos x="123" y="10"/>
                </a:cxn>
                <a:cxn ang="0">
                  <a:pos x="107" y="17"/>
                </a:cxn>
                <a:cxn ang="0">
                  <a:pos x="87" y="21"/>
                </a:cxn>
                <a:cxn ang="0">
                  <a:pos x="63" y="23"/>
                </a:cxn>
                <a:cxn ang="0">
                  <a:pos x="16" y="32"/>
                </a:cxn>
                <a:cxn ang="0">
                  <a:pos x="6" y="27"/>
                </a:cxn>
                <a:cxn ang="0">
                  <a:pos x="6" y="16"/>
                </a:cxn>
                <a:cxn ang="0">
                  <a:pos x="16" y="20"/>
                </a:cxn>
                <a:cxn ang="0">
                  <a:pos x="34" y="38"/>
                </a:cxn>
                <a:cxn ang="0">
                  <a:pos x="24" y="35"/>
                </a:cxn>
                <a:cxn ang="0">
                  <a:pos x="24" y="23"/>
                </a:cxn>
                <a:cxn ang="0">
                  <a:pos x="34" y="38"/>
                </a:cxn>
                <a:cxn ang="0">
                  <a:pos x="52" y="41"/>
                </a:cxn>
                <a:cxn ang="0">
                  <a:pos x="44" y="27"/>
                </a:cxn>
                <a:cxn ang="0">
                  <a:pos x="52" y="28"/>
                </a:cxn>
                <a:cxn ang="0">
                  <a:pos x="70" y="41"/>
                </a:cxn>
                <a:cxn ang="0">
                  <a:pos x="67" y="41"/>
                </a:cxn>
                <a:cxn ang="0">
                  <a:pos x="62" y="41"/>
                </a:cxn>
                <a:cxn ang="0">
                  <a:pos x="62" y="28"/>
                </a:cxn>
                <a:cxn ang="0">
                  <a:pos x="67" y="28"/>
                </a:cxn>
                <a:cxn ang="0">
                  <a:pos x="70" y="41"/>
                </a:cxn>
                <a:cxn ang="0">
                  <a:pos x="126" y="27"/>
                </a:cxn>
                <a:cxn ang="0">
                  <a:pos x="119" y="18"/>
                </a:cxn>
                <a:cxn ang="0">
                  <a:pos x="126" y="14"/>
                </a:cxn>
              </a:cxnLst>
              <a:rect l="0" t="0" r="r" b="b"/>
              <a:pathLst>
                <a:path w="135" h="45">
                  <a:moveTo>
                    <a:pt x="63" y="23"/>
                  </a:moveTo>
                  <a:lnTo>
                    <a:pt x="63" y="23"/>
                  </a:lnTo>
                  <a:lnTo>
                    <a:pt x="45" y="23"/>
                  </a:lnTo>
                  <a:lnTo>
                    <a:pt x="27" y="18"/>
                  </a:lnTo>
                  <a:lnTo>
                    <a:pt x="11" y="14"/>
                  </a:lnTo>
                  <a:lnTo>
                    <a:pt x="4" y="11"/>
                  </a:lnTo>
                  <a:lnTo>
                    <a:pt x="0" y="7"/>
                  </a:lnTo>
                  <a:lnTo>
                    <a:pt x="0" y="20"/>
                  </a:lnTo>
                  <a:lnTo>
                    <a:pt x="0" y="20"/>
                  </a:lnTo>
                  <a:lnTo>
                    <a:pt x="0" y="20"/>
                  </a:lnTo>
                  <a:lnTo>
                    <a:pt x="2" y="25"/>
                  </a:lnTo>
                  <a:lnTo>
                    <a:pt x="4" y="30"/>
                  </a:lnTo>
                  <a:lnTo>
                    <a:pt x="11" y="34"/>
                  </a:lnTo>
                  <a:lnTo>
                    <a:pt x="20" y="38"/>
                  </a:lnTo>
                  <a:lnTo>
                    <a:pt x="30" y="41"/>
                  </a:lnTo>
                  <a:lnTo>
                    <a:pt x="41" y="44"/>
                  </a:lnTo>
                  <a:lnTo>
                    <a:pt x="53" y="45"/>
                  </a:lnTo>
                  <a:lnTo>
                    <a:pt x="67" y="45"/>
                  </a:lnTo>
                  <a:lnTo>
                    <a:pt x="67" y="45"/>
                  </a:lnTo>
                  <a:lnTo>
                    <a:pt x="80" y="45"/>
                  </a:lnTo>
                  <a:lnTo>
                    <a:pt x="93" y="44"/>
                  </a:lnTo>
                  <a:lnTo>
                    <a:pt x="104" y="41"/>
                  </a:lnTo>
                  <a:lnTo>
                    <a:pt x="114" y="38"/>
                  </a:lnTo>
                  <a:lnTo>
                    <a:pt x="122" y="34"/>
                  </a:lnTo>
                  <a:lnTo>
                    <a:pt x="128" y="30"/>
                  </a:lnTo>
                  <a:lnTo>
                    <a:pt x="132" y="25"/>
                  </a:lnTo>
                  <a:lnTo>
                    <a:pt x="135" y="21"/>
                  </a:lnTo>
                  <a:lnTo>
                    <a:pt x="135" y="21"/>
                  </a:lnTo>
                  <a:lnTo>
                    <a:pt x="135" y="20"/>
                  </a:lnTo>
                  <a:lnTo>
                    <a:pt x="135" y="20"/>
                  </a:lnTo>
                  <a:lnTo>
                    <a:pt x="135" y="3"/>
                  </a:lnTo>
                  <a:lnTo>
                    <a:pt x="135" y="3"/>
                  </a:lnTo>
                  <a:lnTo>
                    <a:pt x="135" y="0"/>
                  </a:lnTo>
                  <a:lnTo>
                    <a:pt x="135" y="0"/>
                  </a:lnTo>
                  <a:lnTo>
                    <a:pt x="130" y="6"/>
                  </a:lnTo>
                  <a:lnTo>
                    <a:pt x="123" y="10"/>
                  </a:lnTo>
                  <a:lnTo>
                    <a:pt x="116" y="14"/>
                  </a:lnTo>
                  <a:lnTo>
                    <a:pt x="107" y="17"/>
                  </a:lnTo>
                  <a:lnTo>
                    <a:pt x="97" y="20"/>
                  </a:lnTo>
                  <a:lnTo>
                    <a:pt x="87" y="21"/>
                  </a:lnTo>
                  <a:lnTo>
                    <a:pt x="63" y="23"/>
                  </a:lnTo>
                  <a:lnTo>
                    <a:pt x="63" y="23"/>
                  </a:lnTo>
                  <a:close/>
                  <a:moveTo>
                    <a:pt x="16" y="32"/>
                  </a:moveTo>
                  <a:lnTo>
                    <a:pt x="16" y="32"/>
                  </a:lnTo>
                  <a:lnTo>
                    <a:pt x="10" y="30"/>
                  </a:lnTo>
                  <a:lnTo>
                    <a:pt x="6" y="27"/>
                  </a:lnTo>
                  <a:lnTo>
                    <a:pt x="6" y="16"/>
                  </a:lnTo>
                  <a:lnTo>
                    <a:pt x="6" y="16"/>
                  </a:lnTo>
                  <a:lnTo>
                    <a:pt x="10" y="17"/>
                  </a:lnTo>
                  <a:lnTo>
                    <a:pt x="16" y="20"/>
                  </a:lnTo>
                  <a:lnTo>
                    <a:pt x="16" y="32"/>
                  </a:lnTo>
                  <a:close/>
                  <a:moveTo>
                    <a:pt x="34" y="38"/>
                  </a:moveTo>
                  <a:lnTo>
                    <a:pt x="34" y="38"/>
                  </a:lnTo>
                  <a:lnTo>
                    <a:pt x="24" y="35"/>
                  </a:lnTo>
                  <a:lnTo>
                    <a:pt x="24" y="23"/>
                  </a:lnTo>
                  <a:lnTo>
                    <a:pt x="24" y="23"/>
                  </a:lnTo>
                  <a:lnTo>
                    <a:pt x="34" y="25"/>
                  </a:lnTo>
                  <a:lnTo>
                    <a:pt x="34" y="38"/>
                  </a:lnTo>
                  <a:close/>
                  <a:moveTo>
                    <a:pt x="52" y="41"/>
                  </a:moveTo>
                  <a:lnTo>
                    <a:pt x="52" y="41"/>
                  </a:lnTo>
                  <a:lnTo>
                    <a:pt x="44" y="39"/>
                  </a:lnTo>
                  <a:lnTo>
                    <a:pt x="44" y="27"/>
                  </a:lnTo>
                  <a:lnTo>
                    <a:pt x="44" y="27"/>
                  </a:lnTo>
                  <a:lnTo>
                    <a:pt x="52" y="28"/>
                  </a:lnTo>
                  <a:lnTo>
                    <a:pt x="52" y="41"/>
                  </a:lnTo>
                  <a:close/>
                  <a:moveTo>
                    <a:pt x="70" y="41"/>
                  </a:moveTo>
                  <a:lnTo>
                    <a:pt x="70" y="41"/>
                  </a:lnTo>
                  <a:lnTo>
                    <a:pt x="67" y="41"/>
                  </a:lnTo>
                  <a:lnTo>
                    <a:pt x="67" y="41"/>
                  </a:lnTo>
                  <a:lnTo>
                    <a:pt x="62" y="41"/>
                  </a:lnTo>
                  <a:lnTo>
                    <a:pt x="62" y="28"/>
                  </a:lnTo>
                  <a:lnTo>
                    <a:pt x="62" y="28"/>
                  </a:lnTo>
                  <a:lnTo>
                    <a:pt x="67" y="28"/>
                  </a:lnTo>
                  <a:lnTo>
                    <a:pt x="67" y="28"/>
                  </a:lnTo>
                  <a:lnTo>
                    <a:pt x="70" y="28"/>
                  </a:lnTo>
                  <a:lnTo>
                    <a:pt x="70" y="41"/>
                  </a:lnTo>
                  <a:close/>
                  <a:moveTo>
                    <a:pt x="126" y="27"/>
                  </a:moveTo>
                  <a:lnTo>
                    <a:pt x="126" y="27"/>
                  </a:lnTo>
                  <a:lnTo>
                    <a:pt x="119" y="32"/>
                  </a:lnTo>
                  <a:lnTo>
                    <a:pt x="119" y="18"/>
                  </a:lnTo>
                  <a:lnTo>
                    <a:pt x="119" y="18"/>
                  </a:lnTo>
                  <a:lnTo>
                    <a:pt x="126" y="14"/>
                  </a:lnTo>
                  <a:lnTo>
                    <a:pt x="126" y="2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2" name="Freeform 67">
              <a:extLst>
                <a:ext uri="{FF2B5EF4-FFF2-40B4-BE49-F238E27FC236}">
                  <a16:creationId xmlns:a16="http://schemas.microsoft.com/office/drawing/2014/main" id="{6B5FE781-0F81-4A45-9503-484C3351337D}"/>
                </a:ext>
              </a:extLst>
            </p:cNvPr>
            <p:cNvSpPr>
              <a:spLocks noEditPoints="1"/>
            </p:cNvSpPr>
            <p:nvPr/>
          </p:nvSpPr>
          <p:spPr bwMode="auto">
            <a:xfrm>
              <a:off x="5100638" y="3275013"/>
              <a:ext cx="215900" cy="69850"/>
            </a:xfrm>
            <a:custGeom>
              <a:avLst/>
              <a:gdLst/>
              <a:ahLst/>
              <a:cxnLst>
                <a:cxn ang="0">
                  <a:pos x="0" y="19"/>
                </a:cxn>
                <a:cxn ang="0">
                  <a:pos x="6" y="29"/>
                </a:cxn>
                <a:cxn ang="0">
                  <a:pos x="21" y="36"/>
                </a:cxn>
                <a:cxn ang="0">
                  <a:pos x="42" y="42"/>
                </a:cxn>
                <a:cxn ang="0">
                  <a:pos x="67" y="44"/>
                </a:cxn>
                <a:cxn ang="0">
                  <a:pos x="81" y="43"/>
                </a:cxn>
                <a:cxn ang="0">
                  <a:pos x="105" y="40"/>
                </a:cxn>
                <a:cxn ang="0">
                  <a:pos x="123" y="33"/>
                </a:cxn>
                <a:cxn ang="0">
                  <a:pos x="133" y="25"/>
                </a:cxn>
                <a:cxn ang="0">
                  <a:pos x="134" y="19"/>
                </a:cxn>
                <a:cxn ang="0">
                  <a:pos x="136" y="19"/>
                </a:cxn>
                <a:cxn ang="0">
                  <a:pos x="136" y="7"/>
                </a:cxn>
                <a:cxn ang="0">
                  <a:pos x="123" y="14"/>
                </a:cxn>
                <a:cxn ang="0">
                  <a:pos x="90" y="21"/>
                </a:cxn>
                <a:cxn ang="0">
                  <a:pos x="71" y="22"/>
                </a:cxn>
                <a:cxn ang="0">
                  <a:pos x="38" y="19"/>
                </a:cxn>
                <a:cxn ang="0">
                  <a:pos x="18" y="14"/>
                </a:cxn>
                <a:cxn ang="0">
                  <a:pos x="6" y="5"/>
                </a:cxn>
                <a:cxn ang="0">
                  <a:pos x="1" y="0"/>
                </a:cxn>
                <a:cxn ang="0">
                  <a:pos x="0" y="1"/>
                </a:cxn>
                <a:cxn ang="0">
                  <a:pos x="0" y="19"/>
                </a:cxn>
                <a:cxn ang="0">
                  <a:pos x="120" y="19"/>
                </a:cxn>
                <a:cxn ang="0">
                  <a:pos x="127" y="16"/>
                </a:cxn>
                <a:cxn ang="0">
                  <a:pos x="127" y="26"/>
                </a:cxn>
                <a:cxn ang="0">
                  <a:pos x="120" y="19"/>
                </a:cxn>
                <a:cxn ang="0">
                  <a:pos x="63" y="28"/>
                </a:cxn>
                <a:cxn ang="0">
                  <a:pos x="67" y="28"/>
                </a:cxn>
                <a:cxn ang="0">
                  <a:pos x="71" y="40"/>
                </a:cxn>
                <a:cxn ang="0">
                  <a:pos x="67" y="40"/>
                </a:cxn>
                <a:cxn ang="0">
                  <a:pos x="63" y="40"/>
                </a:cxn>
                <a:cxn ang="0">
                  <a:pos x="43" y="26"/>
                </a:cxn>
                <a:cxn ang="0">
                  <a:pos x="53" y="26"/>
                </a:cxn>
                <a:cxn ang="0">
                  <a:pos x="53" y="40"/>
                </a:cxn>
                <a:cxn ang="0">
                  <a:pos x="43" y="26"/>
                </a:cxn>
                <a:cxn ang="0">
                  <a:pos x="25" y="22"/>
                </a:cxn>
                <a:cxn ang="0">
                  <a:pos x="35" y="37"/>
                </a:cxn>
                <a:cxn ang="0">
                  <a:pos x="25" y="35"/>
                </a:cxn>
                <a:cxn ang="0">
                  <a:pos x="7" y="12"/>
                </a:cxn>
                <a:cxn ang="0">
                  <a:pos x="17" y="18"/>
                </a:cxn>
                <a:cxn ang="0">
                  <a:pos x="17" y="32"/>
                </a:cxn>
                <a:cxn ang="0">
                  <a:pos x="7" y="25"/>
                </a:cxn>
              </a:cxnLst>
              <a:rect l="0" t="0" r="r" b="b"/>
              <a:pathLst>
                <a:path w="136" h="44">
                  <a:moveTo>
                    <a:pt x="0" y="19"/>
                  </a:moveTo>
                  <a:lnTo>
                    <a:pt x="0" y="19"/>
                  </a:lnTo>
                  <a:lnTo>
                    <a:pt x="1" y="23"/>
                  </a:lnTo>
                  <a:lnTo>
                    <a:pt x="6" y="29"/>
                  </a:lnTo>
                  <a:lnTo>
                    <a:pt x="13" y="33"/>
                  </a:lnTo>
                  <a:lnTo>
                    <a:pt x="21" y="36"/>
                  </a:lnTo>
                  <a:lnTo>
                    <a:pt x="31" y="40"/>
                  </a:lnTo>
                  <a:lnTo>
                    <a:pt x="42" y="42"/>
                  </a:lnTo>
                  <a:lnTo>
                    <a:pt x="55" y="43"/>
                  </a:lnTo>
                  <a:lnTo>
                    <a:pt x="67" y="44"/>
                  </a:lnTo>
                  <a:lnTo>
                    <a:pt x="67" y="44"/>
                  </a:lnTo>
                  <a:lnTo>
                    <a:pt x="81" y="43"/>
                  </a:lnTo>
                  <a:lnTo>
                    <a:pt x="94" y="42"/>
                  </a:lnTo>
                  <a:lnTo>
                    <a:pt x="105" y="40"/>
                  </a:lnTo>
                  <a:lnTo>
                    <a:pt x="115" y="37"/>
                  </a:lnTo>
                  <a:lnTo>
                    <a:pt x="123" y="33"/>
                  </a:lnTo>
                  <a:lnTo>
                    <a:pt x="129" y="29"/>
                  </a:lnTo>
                  <a:lnTo>
                    <a:pt x="133" y="25"/>
                  </a:lnTo>
                  <a:lnTo>
                    <a:pt x="134" y="19"/>
                  </a:lnTo>
                  <a:lnTo>
                    <a:pt x="134" y="19"/>
                  </a:lnTo>
                  <a:lnTo>
                    <a:pt x="136" y="19"/>
                  </a:lnTo>
                  <a:lnTo>
                    <a:pt x="136" y="19"/>
                  </a:lnTo>
                  <a:lnTo>
                    <a:pt x="136" y="7"/>
                  </a:lnTo>
                  <a:lnTo>
                    <a:pt x="136" y="7"/>
                  </a:lnTo>
                  <a:lnTo>
                    <a:pt x="130" y="9"/>
                  </a:lnTo>
                  <a:lnTo>
                    <a:pt x="123" y="14"/>
                  </a:lnTo>
                  <a:lnTo>
                    <a:pt x="108" y="18"/>
                  </a:lnTo>
                  <a:lnTo>
                    <a:pt x="90" y="21"/>
                  </a:lnTo>
                  <a:lnTo>
                    <a:pt x="71" y="22"/>
                  </a:lnTo>
                  <a:lnTo>
                    <a:pt x="71" y="22"/>
                  </a:lnTo>
                  <a:lnTo>
                    <a:pt x="49" y="21"/>
                  </a:lnTo>
                  <a:lnTo>
                    <a:pt x="38" y="19"/>
                  </a:lnTo>
                  <a:lnTo>
                    <a:pt x="28" y="16"/>
                  </a:lnTo>
                  <a:lnTo>
                    <a:pt x="18" y="14"/>
                  </a:lnTo>
                  <a:lnTo>
                    <a:pt x="11" y="9"/>
                  </a:lnTo>
                  <a:lnTo>
                    <a:pt x="6" y="5"/>
                  </a:lnTo>
                  <a:lnTo>
                    <a:pt x="1" y="0"/>
                  </a:lnTo>
                  <a:lnTo>
                    <a:pt x="1" y="0"/>
                  </a:lnTo>
                  <a:lnTo>
                    <a:pt x="0" y="1"/>
                  </a:lnTo>
                  <a:lnTo>
                    <a:pt x="0" y="1"/>
                  </a:lnTo>
                  <a:lnTo>
                    <a:pt x="0" y="2"/>
                  </a:lnTo>
                  <a:lnTo>
                    <a:pt x="0" y="19"/>
                  </a:lnTo>
                  <a:lnTo>
                    <a:pt x="0" y="19"/>
                  </a:lnTo>
                  <a:close/>
                  <a:moveTo>
                    <a:pt x="120" y="19"/>
                  </a:moveTo>
                  <a:lnTo>
                    <a:pt x="120" y="19"/>
                  </a:lnTo>
                  <a:lnTo>
                    <a:pt x="127" y="16"/>
                  </a:lnTo>
                  <a:lnTo>
                    <a:pt x="127" y="26"/>
                  </a:lnTo>
                  <a:lnTo>
                    <a:pt x="127" y="26"/>
                  </a:lnTo>
                  <a:lnTo>
                    <a:pt x="120" y="30"/>
                  </a:lnTo>
                  <a:lnTo>
                    <a:pt x="120" y="19"/>
                  </a:lnTo>
                  <a:close/>
                  <a:moveTo>
                    <a:pt x="63" y="28"/>
                  </a:moveTo>
                  <a:lnTo>
                    <a:pt x="63" y="28"/>
                  </a:lnTo>
                  <a:lnTo>
                    <a:pt x="67" y="28"/>
                  </a:lnTo>
                  <a:lnTo>
                    <a:pt x="67" y="28"/>
                  </a:lnTo>
                  <a:lnTo>
                    <a:pt x="71" y="28"/>
                  </a:lnTo>
                  <a:lnTo>
                    <a:pt x="71" y="40"/>
                  </a:lnTo>
                  <a:lnTo>
                    <a:pt x="71" y="40"/>
                  </a:lnTo>
                  <a:lnTo>
                    <a:pt x="67" y="40"/>
                  </a:lnTo>
                  <a:lnTo>
                    <a:pt x="67" y="40"/>
                  </a:lnTo>
                  <a:lnTo>
                    <a:pt x="63" y="40"/>
                  </a:lnTo>
                  <a:lnTo>
                    <a:pt x="63" y="28"/>
                  </a:lnTo>
                  <a:close/>
                  <a:moveTo>
                    <a:pt x="43" y="26"/>
                  </a:moveTo>
                  <a:lnTo>
                    <a:pt x="43" y="26"/>
                  </a:lnTo>
                  <a:lnTo>
                    <a:pt x="53" y="26"/>
                  </a:lnTo>
                  <a:lnTo>
                    <a:pt x="53" y="40"/>
                  </a:lnTo>
                  <a:lnTo>
                    <a:pt x="53" y="40"/>
                  </a:lnTo>
                  <a:lnTo>
                    <a:pt x="43" y="39"/>
                  </a:lnTo>
                  <a:lnTo>
                    <a:pt x="43" y="26"/>
                  </a:lnTo>
                  <a:close/>
                  <a:moveTo>
                    <a:pt x="25" y="22"/>
                  </a:moveTo>
                  <a:lnTo>
                    <a:pt x="25" y="22"/>
                  </a:lnTo>
                  <a:lnTo>
                    <a:pt x="35" y="23"/>
                  </a:lnTo>
                  <a:lnTo>
                    <a:pt x="35" y="37"/>
                  </a:lnTo>
                  <a:lnTo>
                    <a:pt x="35" y="37"/>
                  </a:lnTo>
                  <a:lnTo>
                    <a:pt x="25" y="35"/>
                  </a:lnTo>
                  <a:lnTo>
                    <a:pt x="25" y="22"/>
                  </a:lnTo>
                  <a:close/>
                  <a:moveTo>
                    <a:pt x="7" y="12"/>
                  </a:moveTo>
                  <a:lnTo>
                    <a:pt x="7" y="12"/>
                  </a:lnTo>
                  <a:lnTo>
                    <a:pt x="17" y="18"/>
                  </a:lnTo>
                  <a:lnTo>
                    <a:pt x="17" y="32"/>
                  </a:lnTo>
                  <a:lnTo>
                    <a:pt x="17" y="32"/>
                  </a:lnTo>
                  <a:lnTo>
                    <a:pt x="11" y="29"/>
                  </a:lnTo>
                  <a:lnTo>
                    <a:pt x="7" y="25"/>
                  </a:lnTo>
                  <a:lnTo>
                    <a:pt x="7" y="1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3" name="Freeform 68">
              <a:extLst>
                <a:ext uri="{FF2B5EF4-FFF2-40B4-BE49-F238E27FC236}">
                  <a16:creationId xmlns:a16="http://schemas.microsoft.com/office/drawing/2014/main" id="{4BC5C718-9B63-4666-9C34-E7EFD941B470}"/>
                </a:ext>
              </a:extLst>
            </p:cNvPr>
            <p:cNvSpPr>
              <a:spLocks noEditPoints="1"/>
            </p:cNvSpPr>
            <p:nvPr/>
          </p:nvSpPr>
          <p:spPr bwMode="auto">
            <a:xfrm>
              <a:off x="5100638" y="3359150"/>
              <a:ext cx="215900" cy="71438"/>
            </a:xfrm>
            <a:custGeom>
              <a:avLst/>
              <a:gdLst/>
              <a:ahLst/>
              <a:cxnLst>
                <a:cxn ang="0">
                  <a:pos x="1" y="0"/>
                </a:cxn>
                <a:cxn ang="0">
                  <a:pos x="0" y="3"/>
                </a:cxn>
                <a:cxn ang="0">
                  <a:pos x="0" y="19"/>
                </a:cxn>
                <a:cxn ang="0">
                  <a:pos x="0" y="19"/>
                </a:cxn>
                <a:cxn ang="0">
                  <a:pos x="6" y="29"/>
                </a:cxn>
                <a:cxn ang="0">
                  <a:pos x="21" y="38"/>
                </a:cxn>
                <a:cxn ang="0">
                  <a:pos x="42" y="43"/>
                </a:cxn>
                <a:cxn ang="0">
                  <a:pos x="67" y="45"/>
                </a:cxn>
                <a:cxn ang="0">
                  <a:pos x="81" y="45"/>
                </a:cxn>
                <a:cxn ang="0">
                  <a:pos x="105" y="40"/>
                </a:cxn>
                <a:cxn ang="0">
                  <a:pos x="123" y="33"/>
                </a:cxn>
                <a:cxn ang="0">
                  <a:pos x="133" y="25"/>
                </a:cxn>
                <a:cxn ang="0">
                  <a:pos x="134" y="21"/>
                </a:cxn>
                <a:cxn ang="0">
                  <a:pos x="136" y="19"/>
                </a:cxn>
                <a:cxn ang="0">
                  <a:pos x="136" y="7"/>
                </a:cxn>
                <a:cxn ang="0">
                  <a:pos x="123" y="14"/>
                </a:cxn>
                <a:cxn ang="0">
                  <a:pos x="90" y="22"/>
                </a:cxn>
                <a:cxn ang="0">
                  <a:pos x="71" y="24"/>
                </a:cxn>
                <a:cxn ang="0">
                  <a:pos x="38" y="19"/>
                </a:cxn>
                <a:cxn ang="0">
                  <a:pos x="18" y="14"/>
                </a:cxn>
                <a:cxn ang="0">
                  <a:pos x="6" y="5"/>
                </a:cxn>
                <a:cxn ang="0">
                  <a:pos x="1" y="0"/>
                </a:cxn>
                <a:cxn ang="0">
                  <a:pos x="17" y="32"/>
                </a:cxn>
                <a:cxn ang="0">
                  <a:pos x="7" y="26"/>
                </a:cxn>
                <a:cxn ang="0">
                  <a:pos x="7" y="12"/>
                </a:cxn>
                <a:cxn ang="0">
                  <a:pos x="17" y="32"/>
                </a:cxn>
                <a:cxn ang="0">
                  <a:pos x="35" y="38"/>
                </a:cxn>
                <a:cxn ang="0">
                  <a:pos x="25" y="22"/>
                </a:cxn>
                <a:cxn ang="0">
                  <a:pos x="35" y="25"/>
                </a:cxn>
                <a:cxn ang="0">
                  <a:pos x="53" y="40"/>
                </a:cxn>
                <a:cxn ang="0">
                  <a:pos x="43" y="39"/>
                </a:cxn>
                <a:cxn ang="0">
                  <a:pos x="43" y="26"/>
                </a:cxn>
                <a:cxn ang="0">
                  <a:pos x="53" y="40"/>
                </a:cxn>
                <a:cxn ang="0">
                  <a:pos x="120" y="21"/>
                </a:cxn>
                <a:cxn ang="0">
                  <a:pos x="127" y="28"/>
                </a:cxn>
                <a:cxn ang="0">
                  <a:pos x="120" y="32"/>
                </a:cxn>
                <a:cxn ang="0">
                  <a:pos x="71" y="40"/>
                </a:cxn>
                <a:cxn ang="0">
                  <a:pos x="67" y="42"/>
                </a:cxn>
                <a:cxn ang="0">
                  <a:pos x="63" y="40"/>
                </a:cxn>
                <a:cxn ang="0">
                  <a:pos x="63" y="28"/>
                </a:cxn>
                <a:cxn ang="0">
                  <a:pos x="67" y="28"/>
                </a:cxn>
                <a:cxn ang="0">
                  <a:pos x="71" y="40"/>
                </a:cxn>
              </a:cxnLst>
              <a:rect l="0" t="0" r="r" b="b"/>
              <a:pathLst>
                <a:path w="136" h="45">
                  <a:moveTo>
                    <a:pt x="1" y="0"/>
                  </a:moveTo>
                  <a:lnTo>
                    <a:pt x="1" y="0"/>
                  </a:lnTo>
                  <a:lnTo>
                    <a:pt x="0" y="3"/>
                  </a:lnTo>
                  <a:lnTo>
                    <a:pt x="0" y="3"/>
                  </a:lnTo>
                  <a:lnTo>
                    <a:pt x="0" y="3"/>
                  </a:lnTo>
                  <a:lnTo>
                    <a:pt x="0" y="19"/>
                  </a:lnTo>
                  <a:lnTo>
                    <a:pt x="0" y="19"/>
                  </a:lnTo>
                  <a:lnTo>
                    <a:pt x="0" y="19"/>
                  </a:lnTo>
                  <a:lnTo>
                    <a:pt x="1" y="25"/>
                  </a:lnTo>
                  <a:lnTo>
                    <a:pt x="6" y="29"/>
                  </a:lnTo>
                  <a:lnTo>
                    <a:pt x="13" y="33"/>
                  </a:lnTo>
                  <a:lnTo>
                    <a:pt x="21" y="38"/>
                  </a:lnTo>
                  <a:lnTo>
                    <a:pt x="31" y="40"/>
                  </a:lnTo>
                  <a:lnTo>
                    <a:pt x="42" y="43"/>
                  </a:lnTo>
                  <a:lnTo>
                    <a:pt x="55" y="45"/>
                  </a:lnTo>
                  <a:lnTo>
                    <a:pt x="67" y="45"/>
                  </a:lnTo>
                  <a:lnTo>
                    <a:pt x="67" y="45"/>
                  </a:lnTo>
                  <a:lnTo>
                    <a:pt x="81" y="45"/>
                  </a:lnTo>
                  <a:lnTo>
                    <a:pt x="94" y="43"/>
                  </a:lnTo>
                  <a:lnTo>
                    <a:pt x="105" y="40"/>
                  </a:lnTo>
                  <a:lnTo>
                    <a:pt x="115" y="38"/>
                  </a:lnTo>
                  <a:lnTo>
                    <a:pt x="123" y="33"/>
                  </a:lnTo>
                  <a:lnTo>
                    <a:pt x="129" y="31"/>
                  </a:lnTo>
                  <a:lnTo>
                    <a:pt x="133" y="25"/>
                  </a:lnTo>
                  <a:lnTo>
                    <a:pt x="134" y="21"/>
                  </a:lnTo>
                  <a:lnTo>
                    <a:pt x="134" y="21"/>
                  </a:lnTo>
                  <a:lnTo>
                    <a:pt x="136" y="19"/>
                  </a:lnTo>
                  <a:lnTo>
                    <a:pt x="136" y="19"/>
                  </a:lnTo>
                  <a:lnTo>
                    <a:pt x="136" y="7"/>
                  </a:lnTo>
                  <a:lnTo>
                    <a:pt x="136" y="7"/>
                  </a:lnTo>
                  <a:lnTo>
                    <a:pt x="130" y="11"/>
                  </a:lnTo>
                  <a:lnTo>
                    <a:pt x="123" y="14"/>
                  </a:lnTo>
                  <a:lnTo>
                    <a:pt x="108" y="19"/>
                  </a:lnTo>
                  <a:lnTo>
                    <a:pt x="90" y="22"/>
                  </a:lnTo>
                  <a:lnTo>
                    <a:pt x="71" y="24"/>
                  </a:lnTo>
                  <a:lnTo>
                    <a:pt x="71" y="24"/>
                  </a:lnTo>
                  <a:lnTo>
                    <a:pt x="49" y="22"/>
                  </a:lnTo>
                  <a:lnTo>
                    <a:pt x="38" y="19"/>
                  </a:lnTo>
                  <a:lnTo>
                    <a:pt x="28" y="17"/>
                  </a:lnTo>
                  <a:lnTo>
                    <a:pt x="18" y="14"/>
                  </a:lnTo>
                  <a:lnTo>
                    <a:pt x="11" y="10"/>
                  </a:lnTo>
                  <a:lnTo>
                    <a:pt x="6" y="5"/>
                  </a:lnTo>
                  <a:lnTo>
                    <a:pt x="1" y="0"/>
                  </a:lnTo>
                  <a:lnTo>
                    <a:pt x="1" y="0"/>
                  </a:lnTo>
                  <a:close/>
                  <a:moveTo>
                    <a:pt x="17" y="32"/>
                  </a:moveTo>
                  <a:lnTo>
                    <a:pt x="17" y="32"/>
                  </a:lnTo>
                  <a:lnTo>
                    <a:pt x="11" y="29"/>
                  </a:lnTo>
                  <a:lnTo>
                    <a:pt x="7" y="26"/>
                  </a:lnTo>
                  <a:lnTo>
                    <a:pt x="7" y="12"/>
                  </a:lnTo>
                  <a:lnTo>
                    <a:pt x="7" y="12"/>
                  </a:lnTo>
                  <a:lnTo>
                    <a:pt x="17" y="18"/>
                  </a:lnTo>
                  <a:lnTo>
                    <a:pt x="17" y="32"/>
                  </a:lnTo>
                  <a:close/>
                  <a:moveTo>
                    <a:pt x="35" y="38"/>
                  </a:moveTo>
                  <a:lnTo>
                    <a:pt x="35" y="38"/>
                  </a:lnTo>
                  <a:lnTo>
                    <a:pt x="25" y="35"/>
                  </a:lnTo>
                  <a:lnTo>
                    <a:pt x="25" y="22"/>
                  </a:lnTo>
                  <a:lnTo>
                    <a:pt x="25" y="22"/>
                  </a:lnTo>
                  <a:lnTo>
                    <a:pt x="35" y="25"/>
                  </a:lnTo>
                  <a:lnTo>
                    <a:pt x="35" y="38"/>
                  </a:lnTo>
                  <a:close/>
                  <a:moveTo>
                    <a:pt x="53" y="40"/>
                  </a:moveTo>
                  <a:lnTo>
                    <a:pt x="53" y="40"/>
                  </a:lnTo>
                  <a:lnTo>
                    <a:pt x="43" y="39"/>
                  </a:lnTo>
                  <a:lnTo>
                    <a:pt x="43" y="26"/>
                  </a:lnTo>
                  <a:lnTo>
                    <a:pt x="43" y="26"/>
                  </a:lnTo>
                  <a:lnTo>
                    <a:pt x="53" y="28"/>
                  </a:lnTo>
                  <a:lnTo>
                    <a:pt x="53" y="40"/>
                  </a:lnTo>
                  <a:close/>
                  <a:moveTo>
                    <a:pt x="120" y="21"/>
                  </a:moveTo>
                  <a:lnTo>
                    <a:pt x="120" y="21"/>
                  </a:lnTo>
                  <a:lnTo>
                    <a:pt x="127" y="17"/>
                  </a:lnTo>
                  <a:lnTo>
                    <a:pt x="127" y="28"/>
                  </a:lnTo>
                  <a:lnTo>
                    <a:pt x="127" y="28"/>
                  </a:lnTo>
                  <a:lnTo>
                    <a:pt x="120" y="32"/>
                  </a:lnTo>
                  <a:lnTo>
                    <a:pt x="120" y="21"/>
                  </a:lnTo>
                  <a:close/>
                  <a:moveTo>
                    <a:pt x="71" y="40"/>
                  </a:moveTo>
                  <a:lnTo>
                    <a:pt x="71" y="40"/>
                  </a:lnTo>
                  <a:lnTo>
                    <a:pt x="67" y="42"/>
                  </a:lnTo>
                  <a:lnTo>
                    <a:pt x="67" y="42"/>
                  </a:lnTo>
                  <a:lnTo>
                    <a:pt x="63" y="40"/>
                  </a:lnTo>
                  <a:lnTo>
                    <a:pt x="63" y="28"/>
                  </a:lnTo>
                  <a:lnTo>
                    <a:pt x="63" y="28"/>
                  </a:lnTo>
                  <a:lnTo>
                    <a:pt x="67" y="28"/>
                  </a:lnTo>
                  <a:lnTo>
                    <a:pt x="67" y="28"/>
                  </a:lnTo>
                  <a:lnTo>
                    <a:pt x="71" y="28"/>
                  </a:lnTo>
                  <a:lnTo>
                    <a:pt x="71"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4" name="Freeform 69">
              <a:extLst>
                <a:ext uri="{FF2B5EF4-FFF2-40B4-BE49-F238E27FC236}">
                  <a16:creationId xmlns:a16="http://schemas.microsoft.com/office/drawing/2014/main" id="{320761C6-A607-447A-9907-C15906DB2DF8}"/>
                </a:ext>
              </a:extLst>
            </p:cNvPr>
            <p:cNvSpPr>
              <a:spLocks/>
            </p:cNvSpPr>
            <p:nvPr/>
          </p:nvSpPr>
          <p:spPr bwMode="auto">
            <a:xfrm>
              <a:off x="5106988" y="3233738"/>
              <a:ext cx="214312" cy="69850"/>
            </a:xfrm>
            <a:custGeom>
              <a:avLst/>
              <a:gdLst/>
              <a:ahLst/>
              <a:cxnLst>
                <a:cxn ang="0">
                  <a:pos x="126" y="26"/>
                </a:cxn>
                <a:cxn ang="0">
                  <a:pos x="119" y="30"/>
                </a:cxn>
                <a:cxn ang="0">
                  <a:pos x="119" y="17"/>
                </a:cxn>
                <a:cxn ang="0">
                  <a:pos x="98" y="24"/>
                </a:cxn>
                <a:cxn ang="0">
                  <a:pos x="70" y="27"/>
                </a:cxn>
                <a:cxn ang="0">
                  <a:pos x="70" y="40"/>
                </a:cxn>
                <a:cxn ang="0">
                  <a:pos x="67" y="40"/>
                </a:cxn>
                <a:cxn ang="0">
                  <a:pos x="62" y="27"/>
                </a:cxn>
                <a:cxn ang="0">
                  <a:pos x="52" y="26"/>
                </a:cxn>
                <a:cxn ang="0">
                  <a:pos x="52" y="38"/>
                </a:cxn>
                <a:cxn ang="0">
                  <a:pos x="44" y="26"/>
                </a:cxn>
                <a:cxn ang="0">
                  <a:pos x="34" y="23"/>
                </a:cxn>
                <a:cxn ang="0">
                  <a:pos x="34" y="37"/>
                </a:cxn>
                <a:cxn ang="0">
                  <a:pos x="24" y="21"/>
                </a:cxn>
                <a:cxn ang="0">
                  <a:pos x="16" y="17"/>
                </a:cxn>
                <a:cxn ang="0">
                  <a:pos x="16" y="30"/>
                </a:cxn>
                <a:cxn ang="0">
                  <a:pos x="6" y="24"/>
                </a:cxn>
                <a:cxn ang="0">
                  <a:pos x="6" y="12"/>
                </a:cxn>
                <a:cxn ang="0">
                  <a:pos x="0" y="0"/>
                </a:cxn>
                <a:cxn ang="0">
                  <a:pos x="0" y="17"/>
                </a:cxn>
                <a:cxn ang="0">
                  <a:pos x="2" y="23"/>
                </a:cxn>
                <a:cxn ang="0">
                  <a:pos x="11" y="33"/>
                </a:cxn>
                <a:cxn ang="0">
                  <a:pos x="30" y="38"/>
                </a:cxn>
                <a:cxn ang="0">
                  <a:pos x="53" y="42"/>
                </a:cxn>
                <a:cxn ang="0">
                  <a:pos x="67" y="44"/>
                </a:cxn>
                <a:cxn ang="0">
                  <a:pos x="93" y="41"/>
                </a:cxn>
                <a:cxn ang="0">
                  <a:pos x="114" y="35"/>
                </a:cxn>
                <a:cxn ang="0">
                  <a:pos x="128" y="28"/>
                </a:cxn>
                <a:cxn ang="0">
                  <a:pos x="135" y="19"/>
                </a:cxn>
                <a:cxn ang="0">
                  <a:pos x="135" y="17"/>
                </a:cxn>
                <a:cxn ang="0">
                  <a:pos x="135" y="0"/>
                </a:cxn>
                <a:cxn ang="0">
                  <a:pos x="133" y="5"/>
                </a:cxn>
                <a:cxn ang="0">
                  <a:pos x="126" y="13"/>
                </a:cxn>
              </a:cxnLst>
              <a:rect l="0" t="0" r="r" b="b"/>
              <a:pathLst>
                <a:path w="135" h="44">
                  <a:moveTo>
                    <a:pt x="126" y="13"/>
                  </a:moveTo>
                  <a:lnTo>
                    <a:pt x="126" y="26"/>
                  </a:lnTo>
                  <a:lnTo>
                    <a:pt x="126" y="26"/>
                  </a:lnTo>
                  <a:lnTo>
                    <a:pt x="119" y="30"/>
                  </a:lnTo>
                  <a:lnTo>
                    <a:pt x="119" y="17"/>
                  </a:lnTo>
                  <a:lnTo>
                    <a:pt x="119" y="17"/>
                  </a:lnTo>
                  <a:lnTo>
                    <a:pt x="109" y="21"/>
                  </a:lnTo>
                  <a:lnTo>
                    <a:pt x="98" y="24"/>
                  </a:lnTo>
                  <a:lnTo>
                    <a:pt x="84" y="26"/>
                  </a:lnTo>
                  <a:lnTo>
                    <a:pt x="70" y="27"/>
                  </a:lnTo>
                  <a:lnTo>
                    <a:pt x="70" y="40"/>
                  </a:lnTo>
                  <a:lnTo>
                    <a:pt x="70" y="40"/>
                  </a:lnTo>
                  <a:lnTo>
                    <a:pt x="67" y="40"/>
                  </a:lnTo>
                  <a:lnTo>
                    <a:pt x="67" y="40"/>
                  </a:lnTo>
                  <a:lnTo>
                    <a:pt x="62" y="40"/>
                  </a:lnTo>
                  <a:lnTo>
                    <a:pt x="62" y="27"/>
                  </a:lnTo>
                  <a:lnTo>
                    <a:pt x="62" y="27"/>
                  </a:lnTo>
                  <a:lnTo>
                    <a:pt x="52" y="26"/>
                  </a:lnTo>
                  <a:lnTo>
                    <a:pt x="52" y="38"/>
                  </a:lnTo>
                  <a:lnTo>
                    <a:pt x="52" y="38"/>
                  </a:lnTo>
                  <a:lnTo>
                    <a:pt x="44" y="38"/>
                  </a:lnTo>
                  <a:lnTo>
                    <a:pt x="44" y="26"/>
                  </a:lnTo>
                  <a:lnTo>
                    <a:pt x="44" y="26"/>
                  </a:lnTo>
                  <a:lnTo>
                    <a:pt x="34" y="23"/>
                  </a:lnTo>
                  <a:lnTo>
                    <a:pt x="34" y="37"/>
                  </a:lnTo>
                  <a:lnTo>
                    <a:pt x="34" y="37"/>
                  </a:lnTo>
                  <a:lnTo>
                    <a:pt x="24" y="34"/>
                  </a:lnTo>
                  <a:lnTo>
                    <a:pt x="24" y="21"/>
                  </a:lnTo>
                  <a:lnTo>
                    <a:pt x="24" y="21"/>
                  </a:lnTo>
                  <a:lnTo>
                    <a:pt x="16" y="17"/>
                  </a:lnTo>
                  <a:lnTo>
                    <a:pt x="16" y="30"/>
                  </a:lnTo>
                  <a:lnTo>
                    <a:pt x="16" y="30"/>
                  </a:lnTo>
                  <a:lnTo>
                    <a:pt x="10" y="27"/>
                  </a:lnTo>
                  <a:lnTo>
                    <a:pt x="6" y="24"/>
                  </a:lnTo>
                  <a:lnTo>
                    <a:pt x="6" y="12"/>
                  </a:lnTo>
                  <a:lnTo>
                    <a:pt x="6" y="12"/>
                  </a:lnTo>
                  <a:lnTo>
                    <a:pt x="2" y="6"/>
                  </a:lnTo>
                  <a:lnTo>
                    <a:pt x="0" y="0"/>
                  </a:lnTo>
                  <a:lnTo>
                    <a:pt x="0" y="17"/>
                  </a:lnTo>
                  <a:lnTo>
                    <a:pt x="0" y="17"/>
                  </a:lnTo>
                  <a:lnTo>
                    <a:pt x="0" y="17"/>
                  </a:lnTo>
                  <a:lnTo>
                    <a:pt x="2" y="23"/>
                  </a:lnTo>
                  <a:lnTo>
                    <a:pt x="4" y="27"/>
                  </a:lnTo>
                  <a:lnTo>
                    <a:pt x="11" y="33"/>
                  </a:lnTo>
                  <a:lnTo>
                    <a:pt x="20" y="35"/>
                  </a:lnTo>
                  <a:lnTo>
                    <a:pt x="30" y="38"/>
                  </a:lnTo>
                  <a:lnTo>
                    <a:pt x="41" y="41"/>
                  </a:lnTo>
                  <a:lnTo>
                    <a:pt x="53" y="42"/>
                  </a:lnTo>
                  <a:lnTo>
                    <a:pt x="67" y="44"/>
                  </a:lnTo>
                  <a:lnTo>
                    <a:pt x="67" y="44"/>
                  </a:lnTo>
                  <a:lnTo>
                    <a:pt x="80" y="42"/>
                  </a:lnTo>
                  <a:lnTo>
                    <a:pt x="93" y="41"/>
                  </a:lnTo>
                  <a:lnTo>
                    <a:pt x="104" y="40"/>
                  </a:lnTo>
                  <a:lnTo>
                    <a:pt x="114" y="35"/>
                  </a:lnTo>
                  <a:lnTo>
                    <a:pt x="122" y="33"/>
                  </a:lnTo>
                  <a:lnTo>
                    <a:pt x="128" y="28"/>
                  </a:lnTo>
                  <a:lnTo>
                    <a:pt x="132" y="24"/>
                  </a:lnTo>
                  <a:lnTo>
                    <a:pt x="135" y="19"/>
                  </a:lnTo>
                  <a:lnTo>
                    <a:pt x="135" y="19"/>
                  </a:lnTo>
                  <a:lnTo>
                    <a:pt x="135" y="17"/>
                  </a:lnTo>
                  <a:lnTo>
                    <a:pt x="135" y="17"/>
                  </a:lnTo>
                  <a:lnTo>
                    <a:pt x="135" y="0"/>
                  </a:lnTo>
                  <a:lnTo>
                    <a:pt x="135" y="0"/>
                  </a:lnTo>
                  <a:lnTo>
                    <a:pt x="133" y="5"/>
                  </a:lnTo>
                  <a:lnTo>
                    <a:pt x="132" y="7"/>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5" name="Freeform 70">
              <a:extLst>
                <a:ext uri="{FF2B5EF4-FFF2-40B4-BE49-F238E27FC236}">
                  <a16:creationId xmlns:a16="http://schemas.microsoft.com/office/drawing/2014/main" id="{0D3BB047-E0FD-4FBA-95E2-FADB13A53EF8}"/>
                </a:ext>
              </a:extLst>
            </p:cNvPr>
            <p:cNvSpPr>
              <a:spLocks/>
            </p:cNvSpPr>
            <p:nvPr/>
          </p:nvSpPr>
          <p:spPr bwMode="auto">
            <a:xfrm>
              <a:off x="5318125" y="3230563"/>
              <a:ext cx="3175" cy="3175"/>
            </a:xfrm>
            <a:custGeom>
              <a:avLst/>
              <a:gdLst/>
              <a:ahLst/>
              <a:cxnLst>
                <a:cxn ang="0">
                  <a:pos x="2" y="2"/>
                </a:cxn>
                <a:cxn ang="0">
                  <a:pos x="2" y="2"/>
                </a:cxn>
                <a:cxn ang="0">
                  <a:pos x="2" y="2"/>
                </a:cxn>
                <a:cxn ang="0">
                  <a:pos x="2" y="2"/>
                </a:cxn>
                <a:cxn ang="0">
                  <a:pos x="2" y="2"/>
                </a:cxn>
                <a:cxn ang="0">
                  <a:pos x="0" y="0"/>
                </a:cxn>
                <a:cxn ang="0">
                  <a:pos x="0" y="0"/>
                </a:cxn>
                <a:cxn ang="0">
                  <a:pos x="2" y="2"/>
                </a:cxn>
                <a:cxn ang="0">
                  <a:pos x="2" y="2"/>
                </a:cxn>
              </a:cxnLst>
              <a:rect l="0" t="0" r="r" b="b"/>
              <a:pathLst>
                <a:path w="2" h="2">
                  <a:moveTo>
                    <a:pt x="2" y="2"/>
                  </a:moveTo>
                  <a:lnTo>
                    <a:pt x="2" y="2"/>
                  </a:lnTo>
                  <a:lnTo>
                    <a:pt x="2" y="2"/>
                  </a:lnTo>
                  <a:lnTo>
                    <a:pt x="2" y="2"/>
                  </a:lnTo>
                  <a:lnTo>
                    <a:pt x="2" y="2"/>
                  </a:lnTo>
                  <a:lnTo>
                    <a:pt x="0" y="0"/>
                  </a:lnTo>
                  <a:lnTo>
                    <a:pt x="0" y="0"/>
                  </a:lnTo>
                  <a:lnTo>
                    <a:pt x="2" y="2"/>
                  </a:lnTo>
                  <a:lnTo>
                    <a:pt x="2"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6" name="Freeform 71">
              <a:extLst>
                <a:ext uri="{FF2B5EF4-FFF2-40B4-BE49-F238E27FC236}">
                  <a16:creationId xmlns:a16="http://schemas.microsoft.com/office/drawing/2014/main" id="{E51498B3-FC44-42F4-9A2A-23B1AA858B5F}"/>
                </a:ext>
              </a:extLst>
            </p:cNvPr>
            <p:cNvSpPr>
              <a:spLocks/>
            </p:cNvSpPr>
            <p:nvPr/>
          </p:nvSpPr>
          <p:spPr bwMode="auto">
            <a:xfrm>
              <a:off x="5106988" y="3230563"/>
              <a:ext cx="1587" cy="3175"/>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7" name="Freeform 72">
              <a:extLst>
                <a:ext uri="{FF2B5EF4-FFF2-40B4-BE49-F238E27FC236}">
                  <a16:creationId xmlns:a16="http://schemas.microsoft.com/office/drawing/2014/main" id="{BE8D6BCD-3C83-408E-9DAE-B0163141A1C7}"/>
                </a:ext>
              </a:extLst>
            </p:cNvPr>
            <p:cNvSpPr>
              <a:spLocks/>
            </p:cNvSpPr>
            <p:nvPr/>
          </p:nvSpPr>
          <p:spPr bwMode="auto">
            <a:xfrm>
              <a:off x="5221288" y="3238500"/>
              <a:ext cx="14287" cy="14288"/>
            </a:xfrm>
            <a:custGeom>
              <a:avLst/>
              <a:gdLst/>
              <a:ahLst/>
              <a:cxnLst>
                <a:cxn ang="0">
                  <a:pos x="9" y="3"/>
                </a:cxn>
                <a:cxn ang="0">
                  <a:pos x="9" y="3"/>
                </a:cxn>
                <a:cxn ang="0">
                  <a:pos x="4" y="2"/>
                </a:cxn>
                <a:cxn ang="0">
                  <a:pos x="4" y="2"/>
                </a:cxn>
                <a:cxn ang="0">
                  <a:pos x="0" y="0"/>
                </a:cxn>
                <a:cxn ang="0">
                  <a:pos x="0" y="9"/>
                </a:cxn>
                <a:cxn ang="0">
                  <a:pos x="0" y="9"/>
                </a:cxn>
                <a:cxn ang="0">
                  <a:pos x="7" y="7"/>
                </a:cxn>
                <a:cxn ang="0">
                  <a:pos x="7" y="7"/>
                </a:cxn>
                <a:cxn ang="0">
                  <a:pos x="9" y="6"/>
                </a:cxn>
                <a:cxn ang="0">
                  <a:pos x="9" y="4"/>
                </a:cxn>
                <a:cxn ang="0">
                  <a:pos x="9" y="3"/>
                </a:cxn>
                <a:cxn ang="0">
                  <a:pos x="9" y="3"/>
                </a:cxn>
              </a:cxnLst>
              <a:rect l="0" t="0" r="r" b="b"/>
              <a:pathLst>
                <a:path w="9" h="9">
                  <a:moveTo>
                    <a:pt x="9" y="3"/>
                  </a:moveTo>
                  <a:lnTo>
                    <a:pt x="9" y="3"/>
                  </a:lnTo>
                  <a:lnTo>
                    <a:pt x="4" y="2"/>
                  </a:lnTo>
                  <a:lnTo>
                    <a:pt x="4" y="2"/>
                  </a:lnTo>
                  <a:lnTo>
                    <a:pt x="0" y="0"/>
                  </a:lnTo>
                  <a:lnTo>
                    <a:pt x="0" y="9"/>
                  </a:lnTo>
                  <a:lnTo>
                    <a:pt x="0" y="9"/>
                  </a:lnTo>
                  <a:lnTo>
                    <a:pt x="7" y="7"/>
                  </a:lnTo>
                  <a:lnTo>
                    <a:pt x="7" y="7"/>
                  </a:lnTo>
                  <a:lnTo>
                    <a:pt x="9" y="6"/>
                  </a:lnTo>
                  <a:lnTo>
                    <a:pt x="9" y="4"/>
                  </a:lnTo>
                  <a:lnTo>
                    <a:pt x="9" y="3"/>
                  </a:lnTo>
                  <a:lnTo>
                    <a:pt x="9"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8" name="Freeform 73">
              <a:extLst>
                <a:ext uri="{FF2B5EF4-FFF2-40B4-BE49-F238E27FC236}">
                  <a16:creationId xmlns:a16="http://schemas.microsoft.com/office/drawing/2014/main" id="{8F67DAF6-4F11-4EEC-BEBE-DB7CDB439BA2}"/>
                </a:ext>
              </a:extLst>
            </p:cNvPr>
            <p:cNvSpPr>
              <a:spLocks/>
            </p:cNvSpPr>
            <p:nvPr/>
          </p:nvSpPr>
          <p:spPr bwMode="auto">
            <a:xfrm>
              <a:off x="5189538" y="3214688"/>
              <a:ext cx="17462" cy="12700"/>
            </a:xfrm>
            <a:custGeom>
              <a:avLst/>
              <a:gdLst/>
              <a:ahLst/>
              <a:cxnLst>
                <a:cxn ang="0">
                  <a:pos x="1" y="7"/>
                </a:cxn>
                <a:cxn ang="0">
                  <a:pos x="1" y="7"/>
                </a:cxn>
                <a:cxn ang="0">
                  <a:pos x="4" y="8"/>
                </a:cxn>
                <a:cxn ang="0">
                  <a:pos x="8" y="8"/>
                </a:cxn>
                <a:cxn ang="0">
                  <a:pos x="8" y="8"/>
                </a:cxn>
                <a:cxn ang="0">
                  <a:pos x="11" y="8"/>
                </a:cxn>
                <a:cxn ang="0">
                  <a:pos x="11" y="0"/>
                </a:cxn>
                <a:cxn ang="0">
                  <a:pos x="11" y="0"/>
                </a:cxn>
                <a:cxn ang="0">
                  <a:pos x="3" y="1"/>
                </a:cxn>
                <a:cxn ang="0">
                  <a:pos x="3" y="1"/>
                </a:cxn>
                <a:cxn ang="0">
                  <a:pos x="0" y="4"/>
                </a:cxn>
                <a:cxn ang="0">
                  <a:pos x="0" y="5"/>
                </a:cxn>
                <a:cxn ang="0">
                  <a:pos x="1" y="7"/>
                </a:cxn>
                <a:cxn ang="0">
                  <a:pos x="1" y="7"/>
                </a:cxn>
              </a:cxnLst>
              <a:rect l="0" t="0" r="r" b="b"/>
              <a:pathLst>
                <a:path w="11" h="8">
                  <a:moveTo>
                    <a:pt x="1" y="7"/>
                  </a:moveTo>
                  <a:lnTo>
                    <a:pt x="1" y="7"/>
                  </a:lnTo>
                  <a:lnTo>
                    <a:pt x="4" y="8"/>
                  </a:lnTo>
                  <a:lnTo>
                    <a:pt x="8" y="8"/>
                  </a:lnTo>
                  <a:lnTo>
                    <a:pt x="8" y="8"/>
                  </a:lnTo>
                  <a:lnTo>
                    <a:pt x="11" y="8"/>
                  </a:lnTo>
                  <a:lnTo>
                    <a:pt x="11" y="0"/>
                  </a:lnTo>
                  <a:lnTo>
                    <a:pt x="11" y="0"/>
                  </a:lnTo>
                  <a:lnTo>
                    <a:pt x="3" y="1"/>
                  </a:lnTo>
                  <a:lnTo>
                    <a:pt x="3" y="1"/>
                  </a:lnTo>
                  <a:lnTo>
                    <a:pt x="0" y="4"/>
                  </a:lnTo>
                  <a:lnTo>
                    <a:pt x="0" y="5"/>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09" name="Freeform 74">
              <a:extLst>
                <a:ext uri="{FF2B5EF4-FFF2-40B4-BE49-F238E27FC236}">
                  <a16:creationId xmlns:a16="http://schemas.microsoft.com/office/drawing/2014/main" id="{04A2FFE7-4C0E-493C-8F11-DB96E9E87AB0}"/>
                </a:ext>
              </a:extLst>
            </p:cNvPr>
            <p:cNvSpPr>
              <a:spLocks noEditPoints="1"/>
            </p:cNvSpPr>
            <p:nvPr/>
          </p:nvSpPr>
          <p:spPr bwMode="auto">
            <a:xfrm>
              <a:off x="5121275" y="3200400"/>
              <a:ext cx="184150" cy="66675"/>
            </a:xfrm>
            <a:custGeom>
              <a:avLst/>
              <a:gdLst/>
              <a:ahLst/>
              <a:cxnLst>
                <a:cxn ang="0">
                  <a:pos x="0" y="21"/>
                </a:cxn>
                <a:cxn ang="0">
                  <a:pos x="4" y="28"/>
                </a:cxn>
                <a:cxn ang="0">
                  <a:pos x="16" y="35"/>
                </a:cxn>
                <a:cxn ang="0">
                  <a:pos x="35" y="40"/>
                </a:cxn>
                <a:cxn ang="0">
                  <a:pos x="58" y="42"/>
                </a:cxn>
                <a:cxn ang="0">
                  <a:pos x="70" y="41"/>
                </a:cxn>
                <a:cxn ang="0">
                  <a:pos x="91" y="38"/>
                </a:cxn>
                <a:cxn ang="0">
                  <a:pos x="106" y="33"/>
                </a:cxn>
                <a:cxn ang="0">
                  <a:pos x="114" y="26"/>
                </a:cxn>
                <a:cxn ang="0">
                  <a:pos x="116" y="21"/>
                </a:cxn>
                <a:cxn ang="0">
                  <a:pos x="112" y="13"/>
                </a:cxn>
                <a:cxn ang="0">
                  <a:pos x="99" y="6"/>
                </a:cxn>
                <a:cxn ang="0">
                  <a:pos x="81" y="2"/>
                </a:cxn>
                <a:cxn ang="0">
                  <a:pos x="58" y="0"/>
                </a:cxn>
                <a:cxn ang="0">
                  <a:pos x="46" y="0"/>
                </a:cxn>
                <a:cxn ang="0">
                  <a:pos x="25" y="3"/>
                </a:cxn>
                <a:cxn ang="0">
                  <a:pos x="9" y="9"/>
                </a:cxn>
                <a:cxn ang="0">
                  <a:pos x="1" y="17"/>
                </a:cxn>
                <a:cxn ang="0">
                  <a:pos x="0" y="21"/>
                </a:cxn>
                <a:cxn ang="0">
                  <a:pos x="63" y="6"/>
                </a:cxn>
                <a:cxn ang="0">
                  <a:pos x="68" y="6"/>
                </a:cxn>
                <a:cxn ang="0">
                  <a:pos x="75" y="7"/>
                </a:cxn>
                <a:cxn ang="0">
                  <a:pos x="81" y="10"/>
                </a:cxn>
                <a:cxn ang="0">
                  <a:pos x="79" y="13"/>
                </a:cxn>
                <a:cxn ang="0">
                  <a:pos x="74" y="13"/>
                </a:cxn>
                <a:cxn ang="0">
                  <a:pos x="74" y="12"/>
                </a:cxn>
                <a:cxn ang="0">
                  <a:pos x="74" y="12"/>
                </a:cxn>
                <a:cxn ang="0">
                  <a:pos x="74" y="12"/>
                </a:cxn>
                <a:cxn ang="0">
                  <a:pos x="72" y="12"/>
                </a:cxn>
                <a:cxn ang="0">
                  <a:pos x="65" y="10"/>
                </a:cxn>
                <a:cxn ang="0">
                  <a:pos x="63" y="9"/>
                </a:cxn>
                <a:cxn ang="0">
                  <a:pos x="63" y="20"/>
                </a:cxn>
                <a:cxn ang="0">
                  <a:pos x="78" y="24"/>
                </a:cxn>
                <a:cxn ang="0">
                  <a:pos x="81" y="26"/>
                </a:cxn>
                <a:cxn ang="0">
                  <a:pos x="81" y="30"/>
                </a:cxn>
                <a:cxn ang="0">
                  <a:pos x="75" y="34"/>
                </a:cxn>
                <a:cxn ang="0">
                  <a:pos x="70" y="35"/>
                </a:cxn>
                <a:cxn ang="0">
                  <a:pos x="63" y="38"/>
                </a:cxn>
                <a:cxn ang="0">
                  <a:pos x="61" y="40"/>
                </a:cxn>
                <a:cxn ang="0">
                  <a:pos x="56" y="40"/>
                </a:cxn>
                <a:cxn ang="0">
                  <a:pos x="54" y="37"/>
                </a:cxn>
                <a:cxn ang="0">
                  <a:pos x="42" y="35"/>
                </a:cxn>
                <a:cxn ang="0">
                  <a:pos x="35" y="33"/>
                </a:cxn>
                <a:cxn ang="0">
                  <a:pos x="36" y="30"/>
                </a:cxn>
                <a:cxn ang="0">
                  <a:pos x="42" y="30"/>
                </a:cxn>
                <a:cxn ang="0">
                  <a:pos x="42" y="30"/>
                </a:cxn>
                <a:cxn ang="0">
                  <a:pos x="42" y="30"/>
                </a:cxn>
                <a:cxn ang="0">
                  <a:pos x="43" y="30"/>
                </a:cxn>
                <a:cxn ang="0">
                  <a:pos x="43" y="30"/>
                </a:cxn>
                <a:cxn ang="0">
                  <a:pos x="50" y="33"/>
                </a:cxn>
                <a:cxn ang="0">
                  <a:pos x="54" y="33"/>
                </a:cxn>
                <a:cxn ang="0">
                  <a:pos x="54" y="23"/>
                </a:cxn>
                <a:cxn ang="0">
                  <a:pos x="43" y="20"/>
                </a:cxn>
                <a:cxn ang="0">
                  <a:pos x="36" y="17"/>
                </a:cxn>
                <a:cxn ang="0">
                  <a:pos x="35" y="14"/>
                </a:cxn>
                <a:cxn ang="0">
                  <a:pos x="37" y="10"/>
                </a:cxn>
                <a:cxn ang="0">
                  <a:pos x="40" y="9"/>
                </a:cxn>
                <a:cxn ang="0">
                  <a:pos x="54" y="6"/>
                </a:cxn>
                <a:cxn ang="0">
                  <a:pos x="54" y="3"/>
                </a:cxn>
                <a:cxn ang="0">
                  <a:pos x="61" y="3"/>
                </a:cxn>
                <a:cxn ang="0">
                  <a:pos x="63" y="3"/>
                </a:cxn>
              </a:cxnLst>
              <a:rect l="0" t="0" r="r" b="b"/>
              <a:pathLst>
                <a:path w="116" h="42">
                  <a:moveTo>
                    <a:pt x="0" y="21"/>
                  </a:moveTo>
                  <a:lnTo>
                    <a:pt x="0" y="21"/>
                  </a:lnTo>
                  <a:lnTo>
                    <a:pt x="1" y="26"/>
                  </a:lnTo>
                  <a:lnTo>
                    <a:pt x="4" y="28"/>
                  </a:lnTo>
                  <a:lnTo>
                    <a:pt x="9" y="33"/>
                  </a:lnTo>
                  <a:lnTo>
                    <a:pt x="16" y="35"/>
                  </a:lnTo>
                  <a:lnTo>
                    <a:pt x="25" y="38"/>
                  </a:lnTo>
                  <a:lnTo>
                    <a:pt x="35" y="40"/>
                  </a:lnTo>
                  <a:lnTo>
                    <a:pt x="46" y="41"/>
                  </a:lnTo>
                  <a:lnTo>
                    <a:pt x="58" y="42"/>
                  </a:lnTo>
                  <a:lnTo>
                    <a:pt x="58" y="42"/>
                  </a:lnTo>
                  <a:lnTo>
                    <a:pt x="70" y="41"/>
                  </a:lnTo>
                  <a:lnTo>
                    <a:pt x="81" y="40"/>
                  </a:lnTo>
                  <a:lnTo>
                    <a:pt x="91" y="38"/>
                  </a:lnTo>
                  <a:lnTo>
                    <a:pt x="99" y="35"/>
                  </a:lnTo>
                  <a:lnTo>
                    <a:pt x="106" y="33"/>
                  </a:lnTo>
                  <a:lnTo>
                    <a:pt x="112" y="28"/>
                  </a:lnTo>
                  <a:lnTo>
                    <a:pt x="114" y="26"/>
                  </a:lnTo>
                  <a:lnTo>
                    <a:pt x="116" y="21"/>
                  </a:lnTo>
                  <a:lnTo>
                    <a:pt x="116" y="21"/>
                  </a:lnTo>
                  <a:lnTo>
                    <a:pt x="114" y="17"/>
                  </a:lnTo>
                  <a:lnTo>
                    <a:pt x="112" y="13"/>
                  </a:lnTo>
                  <a:lnTo>
                    <a:pt x="106" y="9"/>
                  </a:lnTo>
                  <a:lnTo>
                    <a:pt x="99" y="6"/>
                  </a:lnTo>
                  <a:lnTo>
                    <a:pt x="91" y="3"/>
                  </a:lnTo>
                  <a:lnTo>
                    <a:pt x="81" y="2"/>
                  </a:lnTo>
                  <a:lnTo>
                    <a:pt x="70" y="0"/>
                  </a:lnTo>
                  <a:lnTo>
                    <a:pt x="58" y="0"/>
                  </a:lnTo>
                  <a:lnTo>
                    <a:pt x="58" y="0"/>
                  </a:lnTo>
                  <a:lnTo>
                    <a:pt x="46" y="0"/>
                  </a:lnTo>
                  <a:lnTo>
                    <a:pt x="35" y="2"/>
                  </a:lnTo>
                  <a:lnTo>
                    <a:pt x="25" y="3"/>
                  </a:lnTo>
                  <a:lnTo>
                    <a:pt x="16" y="6"/>
                  </a:lnTo>
                  <a:lnTo>
                    <a:pt x="9" y="9"/>
                  </a:lnTo>
                  <a:lnTo>
                    <a:pt x="4" y="13"/>
                  </a:lnTo>
                  <a:lnTo>
                    <a:pt x="1" y="17"/>
                  </a:lnTo>
                  <a:lnTo>
                    <a:pt x="0" y="21"/>
                  </a:lnTo>
                  <a:lnTo>
                    <a:pt x="0" y="21"/>
                  </a:lnTo>
                  <a:close/>
                  <a:moveTo>
                    <a:pt x="63" y="3"/>
                  </a:moveTo>
                  <a:lnTo>
                    <a:pt x="63" y="6"/>
                  </a:lnTo>
                  <a:lnTo>
                    <a:pt x="63" y="6"/>
                  </a:lnTo>
                  <a:lnTo>
                    <a:pt x="68" y="6"/>
                  </a:lnTo>
                  <a:lnTo>
                    <a:pt x="68" y="6"/>
                  </a:lnTo>
                  <a:lnTo>
                    <a:pt x="75" y="7"/>
                  </a:lnTo>
                  <a:lnTo>
                    <a:pt x="81" y="10"/>
                  </a:lnTo>
                  <a:lnTo>
                    <a:pt x="81" y="10"/>
                  </a:lnTo>
                  <a:lnTo>
                    <a:pt x="82" y="12"/>
                  </a:lnTo>
                  <a:lnTo>
                    <a:pt x="79" y="13"/>
                  </a:lnTo>
                  <a:lnTo>
                    <a:pt x="77" y="13"/>
                  </a:lnTo>
                  <a:lnTo>
                    <a:pt x="74" y="13"/>
                  </a:lnTo>
                  <a:lnTo>
                    <a:pt x="74" y="13"/>
                  </a:lnTo>
                  <a:lnTo>
                    <a:pt x="74" y="12"/>
                  </a:lnTo>
                  <a:lnTo>
                    <a:pt x="74" y="12"/>
                  </a:lnTo>
                  <a:lnTo>
                    <a:pt x="74" y="12"/>
                  </a:lnTo>
                  <a:lnTo>
                    <a:pt x="74" y="12"/>
                  </a:lnTo>
                  <a:lnTo>
                    <a:pt x="74" y="12"/>
                  </a:lnTo>
                  <a:lnTo>
                    <a:pt x="74" y="12"/>
                  </a:lnTo>
                  <a:lnTo>
                    <a:pt x="72" y="12"/>
                  </a:lnTo>
                  <a:lnTo>
                    <a:pt x="72" y="12"/>
                  </a:lnTo>
                  <a:lnTo>
                    <a:pt x="65" y="10"/>
                  </a:lnTo>
                  <a:lnTo>
                    <a:pt x="65" y="10"/>
                  </a:lnTo>
                  <a:lnTo>
                    <a:pt x="63" y="9"/>
                  </a:lnTo>
                  <a:lnTo>
                    <a:pt x="63" y="20"/>
                  </a:lnTo>
                  <a:lnTo>
                    <a:pt x="63" y="20"/>
                  </a:lnTo>
                  <a:lnTo>
                    <a:pt x="74" y="21"/>
                  </a:lnTo>
                  <a:lnTo>
                    <a:pt x="78" y="24"/>
                  </a:lnTo>
                  <a:lnTo>
                    <a:pt x="81" y="26"/>
                  </a:lnTo>
                  <a:lnTo>
                    <a:pt x="81" y="26"/>
                  </a:lnTo>
                  <a:lnTo>
                    <a:pt x="82" y="28"/>
                  </a:lnTo>
                  <a:lnTo>
                    <a:pt x="81" y="30"/>
                  </a:lnTo>
                  <a:lnTo>
                    <a:pt x="79" y="33"/>
                  </a:lnTo>
                  <a:lnTo>
                    <a:pt x="75" y="34"/>
                  </a:lnTo>
                  <a:lnTo>
                    <a:pt x="75" y="34"/>
                  </a:lnTo>
                  <a:lnTo>
                    <a:pt x="70" y="35"/>
                  </a:lnTo>
                  <a:lnTo>
                    <a:pt x="63" y="37"/>
                  </a:lnTo>
                  <a:lnTo>
                    <a:pt x="63" y="38"/>
                  </a:lnTo>
                  <a:lnTo>
                    <a:pt x="63" y="38"/>
                  </a:lnTo>
                  <a:lnTo>
                    <a:pt x="61" y="40"/>
                  </a:lnTo>
                  <a:lnTo>
                    <a:pt x="56" y="40"/>
                  </a:lnTo>
                  <a:lnTo>
                    <a:pt x="56" y="40"/>
                  </a:lnTo>
                  <a:lnTo>
                    <a:pt x="54" y="38"/>
                  </a:lnTo>
                  <a:lnTo>
                    <a:pt x="54" y="37"/>
                  </a:lnTo>
                  <a:lnTo>
                    <a:pt x="54" y="37"/>
                  </a:lnTo>
                  <a:lnTo>
                    <a:pt x="42" y="35"/>
                  </a:lnTo>
                  <a:lnTo>
                    <a:pt x="35" y="33"/>
                  </a:lnTo>
                  <a:lnTo>
                    <a:pt x="35" y="33"/>
                  </a:lnTo>
                  <a:lnTo>
                    <a:pt x="35" y="31"/>
                  </a:lnTo>
                  <a:lnTo>
                    <a:pt x="36" y="30"/>
                  </a:lnTo>
                  <a:lnTo>
                    <a:pt x="39" y="28"/>
                  </a:lnTo>
                  <a:lnTo>
                    <a:pt x="42" y="30"/>
                  </a:lnTo>
                  <a:lnTo>
                    <a:pt x="42" y="30"/>
                  </a:lnTo>
                  <a:lnTo>
                    <a:pt x="42" y="30"/>
                  </a:lnTo>
                  <a:lnTo>
                    <a:pt x="42" y="30"/>
                  </a:lnTo>
                  <a:lnTo>
                    <a:pt x="42" y="30"/>
                  </a:lnTo>
                  <a:lnTo>
                    <a:pt x="42" y="30"/>
                  </a:lnTo>
                  <a:lnTo>
                    <a:pt x="43" y="30"/>
                  </a:lnTo>
                  <a:lnTo>
                    <a:pt x="43" y="30"/>
                  </a:lnTo>
                  <a:lnTo>
                    <a:pt x="43" y="30"/>
                  </a:lnTo>
                  <a:lnTo>
                    <a:pt x="43" y="30"/>
                  </a:lnTo>
                  <a:lnTo>
                    <a:pt x="50" y="33"/>
                  </a:lnTo>
                  <a:lnTo>
                    <a:pt x="50" y="33"/>
                  </a:lnTo>
                  <a:lnTo>
                    <a:pt x="54" y="33"/>
                  </a:lnTo>
                  <a:lnTo>
                    <a:pt x="54" y="23"/>
                  </a:lnTo>
                  <a:lnTo>
                    <a:pt x="54" y="23"/>
                  </a:lnTo>
                  <a:lnTo>
                    <a:pt x="43" y="20"/>
                  </a:lnTo>
                  <a:lnTo>
                    <a:pt x="43" y="20"/>
                  </a:lnTo>
                  <a:lnTo>
                    <a:pt x="39" y="19"/>
                  </a:lnTo>
                  <a:lnTo>
                    <a:pt x="36" y="17"/>
                  </a:lnTo>
                  <a:lnTo>
                    <a:pt x="36" y="17"/>
                  </a:lnTo>
                  <a:lnTo>
                    <a:pt x="35" y="14"/>
                  </a:lnTo>
                  <a:lnTo>
                    <a:pt x="35" y="13"/>
                  </a:lnTo>
                  <a:lnTo>
                    <a:pt x="37" y="10"/>
                  </a:lnTo>
                  <a:lnTo>
                    <a:pt x="40" y="9"/>
                  </a:lnTo>
                  <a:lnTo>
                    <a:pt x="40" y="9"/>
                  </a:lnTo>
                  <a:lnTo>
                    <a:pt x="46" y="6"/>
                  </a:lnTo>
                  <a:lnTo>
                    <a:pt x="54" y="6"/>
                  </a:lnTo>
                  <a:lnTo>
                    <a:pt x="54" y="3"/>
                  </a:lnTo>
                  <a:lnTo>
                    <a:pt x="54" y="3"/>
                  </a:lnTo>
                  <a:lnTo>
                    <a:pt x="56" y="3"/>
                  </a:lnTo>
                  <a:lnTo>
                    <a:pt x="61" y="3"/>
                  </a:lnTo>
                  <a:lnTo>
                    <a:pt x="61" y="3"/>
                  </a:lnTo>
                  <a:lnTo>
                    <a:pt x="63" y="3"/>
                  </a:lnTo>
                  <a:lnTo>
                    <a:pt x="63"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0" name="Freeform 75">
              <a:extLst>
                <a:ext uri="{FF2B5EF4-FFF2-40B4-BE49-F238E27FC236}">
                  <a16:creationId xmlns:a16="http://schemas.microsoft.com/office/drawing/2014/main" id="{CFE9FF6A-ADB7-4F99-8A94-0FF4E1E84F13}"/>
                </a:ext>
              </a:extLst>
            </p:cNvPr>
            <p:cNvSpPr>
              <a:spLocks noEditPoints="1"/>
            </p:cNvSpPr>
            <p:nvPr/>
          </p:nvSpPr>
          <p:spPr bwMode="auto">
            <a:xfrm>
              <a:off x="4852988" y="3359150"/>
              <a:ext cx="215900" cy="71438"/>
            </a:xfrm>
            <a:custGeom>
              <a:avLst/>
              <a:gdLst/>
              <a:ahLst/>
              <a:cxnLst>
                <a:cxn ang="0">
                  <a:pos x="2" y="0"/>
                </a:cxn>
                <a:cxn ang="0">
                  <a:pos x="0" y="3"/>
                </a:cxn>
                <a:cxn ang="0">
                  <a:pos x="0" y="19"/>
                </a:cxn>
                <a:cxn ang="0">
                  <a:pos x="0" y="19"/>
                </a:cxn>
                <a:cxn ang="0">
                  <a:pos x="6" y="29"/>
                </a:cxn>
                <a:cxn ang="0">
                  <a:pos x="21" y="38"/>
                </a:cxn>
                <a:cxn ang="0">
                  <a:pos x="42" y="43"/>
                </a:cxn>
                <a:cxn ang="0">
                  <a:pos x="69" y="45"/>
                </a:cxn>
                <a:cxn ang="0">
                  <a:pos x="82" y="45"/>
                </a:cxn>
                <a:cxn ang="0">
                  <a:pos x="105" y="40"/>
                </a:cxn>
                <a:cxn ang="0">
                  <a:pos x="124" y="33"/>
                </a:cxn>
                <a:cxn ang="0">
                  <a:pos x="133" y="25"/>
                </a:cxn>
                <a:cxn ang="0">
                  <a:pos x="135" y="21"/>
                </a:cxn>
                <a:cxn ang="0">
                  <a:pos x="136" y="19"/>
                </a:cxn>
                <a:cxn ang="0">
                  <a:pos x="136" y="7"/>
                </a:cxn>
                <a:cxn ang="0">
                  <a:pos x="124" y="14"/>
                </a:cxn>
                <a:cxn ang="0">
                  <a:pos x="90" y="22"/>
                </a:cxn>
                <a:cxn ang="0">
                  <a:pos x="72" y="24"/>
                </a:cxn>
                <a:cxn ang="0">
                  <a:pos x="38" y="19"/>
                </a:cxn>
                <a:cxn ang="0">
                  <a:pos x="19" y="14"/>
                </a:cxn>
                <a:cxn ang="0">
                  <a:pos x="6" y="5"/>
                </a:cxn>
                <a:cxn ang="0">
                  <a:pos x="2" y="0"/>
                </a:cxn>
                <a:cxn ang="0">
                  <a:pos x="17" y="32"/>
                </a:cxn>
                <a:cxn ang="0">
                  <a:pos x="7" y="26"/>
                </a:cxn>
                <a:cxn ang="0">
                  <a:pos x="7" y="12"/>
                </a:cxn>
                <a:cxn ang="0">
                  <a:pos x="17" y="32"/>
                </a:cxn>
                <a:cxn ang="0">
                  <a:pos x="35" y="38"/>
                </a:cxn>
                <a:cxn ang="0">
                  <a:pos x="26" y="22"/>
                </a:cxn>
                <a:cxn ang="0">
                  <a:pos x="35" y="25"/>
                </a:cxn>
                <a:cxn ang="0">
                  <a:pos x="54" y="40"/>
                </a:cxn>
                <a:cxn ang="0">
                  <a:pos x="44" y="39"/>
                </a:cxn>
                <a:cxn ang="0">
                  <a:pos x="44" y="26"/>
                </a:cxn>
                <a:cxn ang="0">
                  <a:pos x="54" y="40"/>
                </a:cxn>
                <a:cxn ang="0">
                  <a:pos x="121" y="21"/>
                </a:cxn>
                <a:cxn ang="0">
                  <a:pos x="128" y="28"/>
                </a:cxn>
                <a:cxn ang="0">
                  <a:pos x="121" y="32"/>
                </a:cxn>
                <a:cxn ang="0">
                  <a:pos x="72" y="40"/>
                </a:cxn>
                <a:cxn ang="0">
                  <a:pos x="69" y="42"/>
                </a:cxn>
                <a:cxn ang="0">
                  <a:pos x="63" y="40"/>
                </a:cxn>
                <a:cxn ang="0">
                  <a:pos x="63" y="28"/>
                </a:cxn>
                <a:cxn ang="0">
                  <a:pos x="68" y="28"/>
                </a:cxn>
                <a:cxn ang="0">
                  <a:pos x="72" y="40"/>
                </a:cxn>
              </a:cxnLst>
              <a:rect l="0" t="0" r="r" b="b"/>
              <a:pathLst>
                <a:path w="136" h="45">
                  <a:moveTo>
                    <a:pt x="2" y="0"/>
                  </a:moveTo>
                  <a:lnTo>
                    <a:pt x="2" y="0"/>
                  </a:lnTo>
                  <a:lnTo>
                    <a:pt x="0" y="3"/>
                  </a:lnTo>
                  <a:lnTo>
                    <a:pt x="0" y="3"/>
                  </a:lnTo>
                  <a:lnTo>
                    <a:pt x="0" y="3"/>
                  </a:lnTo>
                  <a:lnTo>
                    <a:pt x="0" y="19"/>
                  </a:lnTo>
                  <a:lnTo>
                    <a:pt x="0" y="19"/>
                  </a:lnTo>
                  <a:lnTo>
                    <a:pt x="0" y="19"/>
                  </a:lnTo>
                  <a:lnTo>
                    <a:pt x="2" y="25"/>
                  </a:lnTo>
                  <a:lnTo>
                    <a:pt x="6" y="29"/>
                  </a:lnTo>
                  <a:lnTo>
                    <a:pt x="13" y="33"/>
                  </a:lnTo>
                  <a:lnTo>
                    <a:pt x="21" y="38"/>
                  </a:lnTo>
                  <a:lnTo>
                    <a:pt x="31" y="40"/>
                  </a:lnTo>
                  <a:lnTo>
                    <a:pt x="42" y="43"/>
                  </a:lnTo>
                  <a:lnTo>
                    <a:pt x="55" y="45"/>
                  </a:lnTo>
                  <a:lnTo>
                    <a:pt x="69" y="45"/>
                  </a:lnTo>
                  <a:lnTo>
                    <a:pt x="69" y="45"/>
                  </a:lnTo>
                  <a:lnTo>
                    <a:pt x="82" y="45"/>
                  </a:lnTo>
                  <a:lnTo>
                    <a:pt x="94" y="43"/>
                  </a:lnTo>
                  <a:lnTo>
                    <a:pt x="105" y="40"/>
                  </a:lnTo>
                  <a:lnTo>
                    <a:pt x="115" y="38"/>
                  </a:lnTo>
                  <a:lnTo>
                    <a:pt x="124" y="33"/>
                  </a:lnTo>
                  <a:lnTo>
                    <a:pt x="129" y="31"/>
                  </a:lnTo>
                  <a:lnTo>
                    <a:pt x="133" y="25"/>
                  </a:lnTo>
                  <a:lnTo>
                    <a:pt x="135" y="21"/>
                  </a:lnTo>
                  <a:lnTo>
                    <a:pt x="135" y="21"/>
                  </a:lnTo>
                  <a:lnTo>
                    <a:pt x="136" y="19"/>
                  </a:lnTo>
                  <a:lnTo>
                    <a:pt x="136" y="19"/>
                  </a:lnTo>
                  <a:lnTo>
                    <a:pt x="136" y="7"/>
                  </a:lnTo>
                  <a:lnTo>
                    <a:pt x="136" y="7"/>
                  </a:lnTo>
                  <a:lnTo>
                    <a:pt x="131" y="11"/>
                  </a:lnTo>
                  <a:lnTo>
                    <a:pt x="124" y="14"/>
                  </a:lnTo>
                  <a:lnTo>
                    <a:pt x="108" y="19"/>
                  </a:lnTo>
                  <a:lnTo>
                    <a:pt x="90" y="22"/>
                  </a:lnTo>
                  <a:lnTo>
                    <a:pt x="72" y="24"/>
                  </a:lnTo>
                  <a:lnTo>
                    <a:pt x="72" y="24"/>
                  </a:lnTo>
                  <a:lnTo>
                    <a:pt x="49" y="22"/>
                  </a:lnTo>
                  <a:lnTo>
                    <a:pt x="38" y="19"/>
                  </a:lnTo>
                  <a:lnTo>
                    <a:pt x="28" y="17"/>
                  </a:lnTo>
                  <a:lnTo>
                    <a:pt x="19" y="14"/>
                  </a:lnTo>
                  <a:lnTo>
                    <a:pt x="12" y="10"/>
                  </a:lnTo>
                  <a:lnTo>
                    <a:pt x="6" y="5"/>
                  </a:lnTo>
                  <a:lnTo>
                    <a:pt x="2" y="0"/>
                  </a:lnTo>
                  <a:lnTo>
                    <a:pt x="2" y="0"/>
                  </a:lnTo>
                  <a:close/>
                  <a:moveTo>
                    <a:pt x="17" y="32"/>
                  </a:moveTo>
                  <a:lnTo>
                    <a:pt x="17" y="32"/>
                  </a:lnTo>
                  <a:lnTo>
                    <a:pt x="12" y="29"/>
                  </a:lnTo>
                  <a:lnTo>
                    <a:pt x="7" y="26"/>
                  </a:lnTo>
                  <a:lnTo>
                    <a:pt x="7" y="12"/>
                  </a:lnTo>
                  <a:lnTo>
                    <a:pt x="7" y="12"/>
                  </a:lnTo>
                  <a:lnTo>
                    <a:pt x="17" y="18"/>
                  </a:lnTo>
                  <a:lnTo>
                    <a:pt x="17" y="32"/>
                  </a:lnTo>
                  <a:close/>
                  <a:moveTo>
                    <a:pt x="35" y="38"/>
                  </a:moveTo>
                  <a:lnTo>
                    <a:pt x="35" y="38"/>
                  </a:lnTo>
                  <a:lnTo>
                    <a:pt x="26" y="36"/>
                  </a:lnTo>
                  <a:lnTo>
                    <a:pt x="26" y="22"/>
                  </a:lnTo>
                  <a:lnTo>
                    <a:pt x="26" y="22"/>
                  </a:lnTo>
                  <a:lnTo>
                    <a:pt x="35" y="25"/>
                  </a:lnTo>
                  <a:lnTo>
                    <a:pt x="35" y="38"/>
                  </a:lnTo>
                  <a:close/>
                  <a:moveTo>
                    <a:pt x="54" y="40"/>
                  </a:moveTo>
                  <a:lnTo>
                    <a:pt x="54" y="40"/>
                  </a:lnTo>
                  <a:lnTo>
                    <a:pt x="44" y="39"/>
                  </a:lnTo>
                  <a:lnTo>
                    <a:pt x="44" y="26"/>
                  </a:lnTo>
                  <a:lnTo>
                    <a:pt x="44" y="26"/>
                  </a:lnTo>
                  <a:lnTo>
                    <a:pt x="54" y="28"/>
                  </a:lnTo>
                  <a:lnTo>
                    <a:pt x="54" y="40"/>
                  </a:lnTo>
                  <a:close/>
                  <a:moveTo>
                    <a:pt x="121" y="21"/>
                  </a:moveTo>
                  <a:lnTo>
                    <a:pt x="121" y="21"/>
                  </a:lnTo>
                  <a:lnTo>
                    <a:pt x="128" y="17"/>
                  </a:lnTo>
                  <a:lnTo>
                    <a:pt x="128" y="28"/>
                  </a:lnTo>
                  <a:lnTo>
                    <a:pt x="128" y="28"/>
                  </a:lnTo>
                  <a:lnTo>
                    <a:pt x="121" y="32"/>
                  </a:lnTo>
                  <a:lnTo>
                    <a:pt x="121" y="21"/>
                  </a:lnTo>
                  <a:close/>
                  <a:moveTo>
                    <a:pt x="72" y="40"/>
                  </a:moveTo>
                  <a:lnTo>
                    <a:pt x="72" y="40"/>
                  </a:lnTo>
                  <a:lnTo>
                    <a:pt x="69" y="42"/>
                  </a:lnTo>
                  <a:lnTo>
                    <a:pt x="69" y="42"/>
                  </a:lnTo>
                  <a:lnTo>
                    <a:pt x="63" y="40"/>
                  </a:lnTo>
                  <a:lnTo>
                    <a:pt x="63" y="28"/>
                  </a:lnTo>
                  <a:lnTo>
                    <a:pt x="63" y="28"/>
                  </a:lnTo>
                  <a:lnTo>
                    <a:pt x="68" y="28"/>
                  </a:lnTo>
                  <a:lnTo>
                    <a:pt x="68" y="28"/>
                  </a:lnTo>
                  <a:lnTo>
                    <a:pt x="72" y="28"/>
                  </a:lnTo>
                  <a:lnTo>
                    <a:pt x="72"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1" name="Freeform 76">
              <a:extLst>
                <a:ext uri="{FF2B5EF4-FFF2-40B4-BE49-F238E27FC236}">
                  <a16:creationId xmlns:a16="http://schemas.microsoft.com/office/drawing/2014/main" id="{C877E90B-B65E-4F72-9221-BCE6E863D915}"/>
                </a:ext>
              </a:extLst>
            </p:cNvPr>
            <p:cNvSpPr>
              <a:spLocks/>
            </p:cNvSpPr>
            <p:nvPr/>
          </p:nvSpPr>
          <p:spPr bwMode="auto">
            <a:xfrm>
              <a:off x="4860925" y="3321050"/>
              <a:ext cx="212725" cy="66675"/>
            </a:xfrm>
            <a:custGeom>
              <a:avLst/>
              <a:gdLst/>
              <a:ahLst/>
              <a:cxnLst>
                <a:cxn ang="0">
                  <a:pos x="126" y="24"/>
                </a:cxn>
                <a:cxn ang="0">
                  <a:pos x="119" y="29"/>
                </a:cxn>
                <a:cxn ang="0">
                  <a:pos x="119" y="15"/>
                </a:cxn>
                <a:cxn ang="0">
                  <a:pos x="98" y="22"/>
                </a:cxn>
                <a:cxn ang="0">
                  <a:pos x="70" y="25"/>
                </a:cxn>
                <a:cxn ang="0">
                  <a:pos x="70" y="38"/>
                </a:cxn>
                <a:cxn ang="0">
                  <a:pos x="67" y="38"/>
                </a:cxn>
                <a:cxn ang="0">
                  <a:pos x="61" y="25"/>
                </a:cxn>
                <a:cxn ang="0">
                  <a:pos x="51" y="25"/>
                </a:cxn>
                <a:cxn ang="0">
                  <a:pos x="51" y="38"/>
                </a:cxn>
                <a:cxn ang="0">
                  <a:pos x="43" y="24"/>
                </a:cxn>
                <a:cxn ang="0">
                  <a:pos x="33" y="22"/>
                </a:cxn>
                <a:cxn ang="0">
                  <a:pos x="33" y="35"/>
                </a:cxn>
                <a:cxn ang="0">
                  <a:pos x="23" y="20"/>
                </a:cxn>
                <a:cxn ang="0">
                  <a:pos x="15" y="17"/>
                </a:cxn>
                <a:cxn ang="0">
                  <a:pos x="15" y="29"/>
                </a:cxn>
                <a:cxn ang="0">
                  <a:pos x="5" y="24"/>
                </a:cxn>
                <a:cxn ang="0">
                  <a:pos x="5" y="11"/>
                </a:cxn>
                <a:cxn ang="0">
                  <a:pos x="0" y="0"/>
                </a:cxn>
                <a:cxn ang="0">
                  <a:pos x="0" y="17"/>
                </a:cxn>
                <a:cxn ang="0">
                  <a:pos x="1" y="21"/>
                </a:cxn>
                <a:cxn ang="0">
                  <a:pos x="11" y="31"/>
                </a:cxn>
                <a:cxn ang="0">
                  <a:pos x="29" y="38"/>
                </a:cxn>
                <a:cxn ang="0">
                  <a:pos x="53" y="42"/>
                </a:cxn>
                <a:cxn ang="0">
                  <a:pos x="67" y="42"/>
                </a:cxn>
                <a:cxn ang="0">
                  <a:pos x="92" y="41"/>
                </a:cxn>
                <a:cxn ang="0">
                  <a:pos x="113" y="35"/>
                </a:cxn>
                <a:cxn ang="0">
                  <a:pos x="127" y="27"/>
                </a:cxn>
                <a:cxn ang="0">
                  <a:pos x="134" y="18"/>
                </a:cxn>
                <a:cxn ang="0">
                  <a:pos x="134" y="17"/>
                </a:cxn>
                <a:cxn ang="0">
                  <a:pos x="134" y="0"/>
                </a:cxn>
                <a:cxn ang="0">
                  <a:pos x="133" y="3"/>
                </a:cxn>
                <a:cxn ang="0">
                  <a:pos x="126" y="13"/>
                </a:cxn>
              </a:cxnLst>
              <a:rect l="0" t="0" r="r" b="b"/>
              <a:pathLst>
                <a:path w="134" h="42">
                  <a:moveTo>
                    <a:pt x="126" y="13"/>
                  </a:moveTo>
                  <a:lnTo>
                    <a:pt x="126" y="24"/>
                  </a:lnTo>
                  <a:lnTo>
                    <a:pt x="126" y="24"/>
                  </a:lnTo>
                  <a:lnTo>
                    <a:pt x="119" y="29"/>
                  </a:lnTo>
                  <a:lnTo>
                    <a:pt x="119" y="15"/>
                  </a:lnTo>
                  <a:lnTo>
                    <a:pt x="119" y="15"/>
                  </a:lnTo>
                  <a:lnTo>
                    <a:pt x="109" y="20"/>
                  </a:lnTo>
                  <a:lnTo>
                    <a:pt x="98" y="22"/>
                  </a:lnTo>
                  <a:lnTo>
                    <a:pt x="84" y="25"/>
                  </a:lnTo>
                  <a:lnTo>
                    <a:pt x="70" y="25"/>
                  </a:lnTo>
                  <a:lnTo>
                    <a:pt x="70" y="38"/>
                  </a:lnTo>
                  <a:lnTo>
                    <a:pt x="70" y="38"/>
                  </a:lnTo>
                  <a:lnTo>
                    <a:pt x="67" y="38"/>
                  </a:lnTo>
                  <a:lnTo>
                    <a:pt x="67" y="38"/>
                  </a:lnTo>
                  <a:lnTo>
                    <a:pt x="61" y="38"/>
                  </a:lnTo>
                  <a:lnTo>
                    <a:pt x="61" y="25"/>
                  </a:lnTo>
                  <a:lnTo>
                    <a:pt x="61" y="25"/>
                  </a:lnTo>
                  <a:lnTo>
                    <a:pt x="51" y="25"/>
                  </a:lnTo>
                  <a:lnTo>
                    <a:pt x="51" y="38"/>
                  </a:lnTo>
                  <a:lnTo>
                    <a:pt x="51" y="38"/>
                  </a:lnTo>
                  <a:lnTo>
                    <a:pt x="43" y="36"/>
                  </a:lnTo>
                  <a:lnTo>
                    <a:pt x="43" y="24"/>
                  </a:lnTo>
                  <a:lnTo>
                    <a:pt x="43" y="24"/>
                  </a:lnTo>
                  <a:lnTo>
                    <a:pt x="33" y="22"/>
                  </a:lnTo>
                  <a:lnTo>
                    <a:pt x="33" y="35"/>
                  </a:lnTo>
                  <a:lnTo>
                    <a:pt x="33" y="35"/>
                  </a:lnTo>
                  <a:lnTo>
                    <a:pt x="23" y="32"/>
                  </a:lnTo>
                  <a:lnTo>
                    <a:pt x="23" y="20"/>
                  </a:lnTo>
                  <a:lnTo>
                    <a:pt x="23" y="20"/>
                  </a:lnTo>
                  <a:lnTo>
                    <a:pt x="15" y="17"/>
                  </a:lnTo>
                  <a:lnTo>
                    <a:pt x="15" y="29"/>
                  </a:lnTo>
                  <a:lnTo>
                    <a:pt x="15" y="29"/>
                  </a:lnTo>
                  <a:lnTo>
                    <a:pt x="9" y="27"/>
                  </a:lnTo>
                  <a:lnTo>
                    <a:pt x="5" y="24"/>
                  </a:lnTo>
                  <a:lnTo>
                    <a:pt x="5" y="11"/>
                  </a:lnTo>
                  <a:lnTo>
                    <a:pt x="5" y="11"/>
                  </a:lnTo>
                  <a:lnTo>
                    <a:pt x="1" y="6"/>
                  </a:lnTo>
                  <a:lnTo>
                    <a:pt x="0" y="0"/>
                  </a:lnTo>
                  <a:lnTo>
                    <a:pt x="0" y="17"/>
                  </a:lnTo>
                  <a:lnTo>
                    <a:pt x="0" y="17"/>
                  </a:lnTo>
                  <a:lnTo>
                    <a:pt x="0" y="17"/>
                  </a:lnTo>
                  <a:lnTo>
                    <a:pt x="1" y="21"/>
                  </a:lnTo>
                  <a:lnTo>
                    <a:pt x="4" y="27"/>
                  </a:lnTo>
                  <a:lnTo>
                    <a:pt x="11" y="31"/>
                  </a:lnTo>
                  <a:lnTo>
                    <a:pt x="19" y="35"/>
                  </a:lnTo>
                  <a:lnTo>
                    <a:pt x="29" y="38"/>
                  </a:lnTo>
                  <a:lnTo>
                    <a:pt x="40" y="41"/>
                  </a:lnTo>
                  <a:lnTo>
                    <a:pt x="53" y="42"/>
                  </a:lnTo>
                  <a:lnTo>
                    <a:pt x="67" y="42"/>
                  </a:lnTo>
                  <a:lnTo>
                    <a:pt x="67" y="42"/>
                  </a:lnTo>
                  <a:lnTo>
                    <a:pt x="79" y="42"/>
                  </a:lnTo>
                  <a:lnTo>
                    <a:pt x="92" y="41"/>
                  </a:lnTo>
                  <a:lnTo>
                    <a:pt x="103" y="38"/>
                  </a:lnTo>
                  <a:lnTo>
                    <a:pt x="113" y="35"/>
                  </a:lnTo>
                  <a:lnTo>
                    <a:pt x="121" y="31"/>
                  </a:lnTo>
                  <a:lnTo>
                    <a:pt x="127" y="27"/>
                  </a:lnTo>
                  <a:lnTo>
                    <a:pt x="131" y="22"/>
                  </a:lnTo>
                  <a:lnTo>
                    <a:pt x="134" y="18"/>
                  </a:lnTo>
                  <a:lnTo>
                    <a:pt x="134" y="18"/>
                  </a:lnTo>
                  <a:lnTo>
                    <a:pt x="134" y="17"/>
                  </a:lnTo>
                  <a:lnTo>
                    <a:pt x="134" y="17"/>
                  </a:lnTo>
                  <a:lnTo>
                    <a:pt x="134" y="0"/>
                  </a:lnTo>
                  <a:lnTo>
                    <a:pt x="134" y="0"/>
                  </a:lnTo>
                  <a:lnTo>
                    <a:pt x="133" y="3"/>
                  </a:lnTo>
                  <a:lnTo>
                    <a:pt x="131" y="6"/>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2" name="Freeform 77">
              <a:extLst>
                <a:ext uri="{FF2B5EF4-FFF2-40B4-BE49-F238E27FC236}">
                  <a16:creationId xmlns:a16="http://schemas.microsoft.com/office/drawing/2014/main" id="{25AC9377-7359-4BAD-ABAD-B89FBDE6B092}"/>
                </a:ext>
              </a:extLst>
            </p:cNvPr>
            <p:cNvSpPr>
              <a:spLocks/>
            </p:cNvSpPr>
            <p:nvPr/>
          </p:nvSpPr>
          <p:spPr bwMode="auto">
            <a:xfrm>
              <a:off x="5072063" y="3316288"/>
              <a:ext cx="1587" cy="4763"/>
            </a:xfrm>
            <a:custGeom>
              <a:avLst/>
              <a:gdLst/>
              <a:ahLst/>
              <a:cxnLst>
                <a:cxn ang="0">
                  <a:pos x="1" y="2"/>
                </a:cxn>
                <a:cxn ang="0">
                  <a:pos x="1" y="3"/>
                </a:cxn>
                <a:cxn ang="0">
                  <a:pos x="1" y="3"/>
                </a:cxn>
                <a:cxn ang="0">
                  <a:pos x="1" y="3"/>
                </a:cxn>
                <a:cxn ang="0">
                  <a:pos x="1" y="3"/>
                </a:cxn>
                <a:cxn ang="0">
                  <a:pos x="0" y="0"/>
                </a:cxn>
                <a:cxn ang="0">
                  <a:pos x="0" y="0"/>
                </a:cxn>
                <a:cxn ang="0">
                  <a:pos x="1" y="2"/>
                </a:cxn>
                <a:cxn ang="0">
                  <a:pos x="1" y="2"/>
                </a:cxn>
              </a:cxnLst>
              <a:rect l="0" t="0" r="r" b="b"/>
              <a:pathLst>
                <a:path w="1" h="3">
                  <a:moveTo>
                    <a:pt x="1" y="2"/>
                  </a:moveTo>
                  <a:lnTo>
                    <a:pt x="1" y="3"/>
                  </a:lnTo>
                  <a:lnTo>
                    <a:pt x="1" y="3"/>
                  </a:lnTo>
                  <a:lnTo>
                    <a:pt x="1" y="3"/>
                  </a:lnTo>
                  <a:lnTo>
                    <a:pt x="1" y="3"/>
                  </a:lnTo>
                  <a:lnTo>
                    <a:pt x="0" y="0"/>
                  </a:lnTo>
                  <a:lnTo>
                    <a:pt x="0" y="0"/>
                  </a:lnTo>
                  <a:lnTo>
                    <a:pt x="1" y="2"/>
                  </a:lnTo>
                  <a:lnTo>
                    <a:pt x="1"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3" name="Freeform 78">
              <a:extLst>
                <a:ext uri="{FF2B5EF4-FFF2-40B4-BE49-F238E27FC236}">
                  <a16:creationId xmlns:a16="http://schemas.microsoft.com/office/drawing/2014/main" id="{403437F3-A26D-4C2E-A53E-B7E025AA62C2}"/>
                </a:ext>
              </a:extLst>
            </p:cNvPr>
            <p:cNvSpPr>
              <a:spLocks/>
            </p:cNvSpPr>
            <p:nvPr/>
          </p:nvSpPr>
          <p:spPr bwMode="auto">
            <a:xfrm>
              <a:off x="4860925" y="3316288"/>
              <a:ext cx="1587" cy="4763"/>
            </a:xfrm>
            <a:custGeom>
              <a:avLst/>
              <a:gdLst/>
              <a:ahLst/>
              <a:cxnLst>
                <a:cxn ang="0">
                  <a:pos x="0" y="0"/>
                </a:cxn>
                <a:cxn ang="0">
                  <a:pos x="0" y="0"/>
                </a:cxn>
                <a:cxn ang="0">
                  <a:pos x="0" y="3"/>
                </a:cxn>
                <a:cxn ang="0">
                  <a:pos x="0" y="3"/>
                </a:cxn>
                <a:cxn ang="0">
                  <a:pos x="0" y="3"/>
                </a:cxn>
                <a:cxn ang="0">
                  <a:pos x="0" y="2"/>
                </a:cxn>
                <a:cxn ang="0">
                  <a:pos x="0" y="2"/>
                </a:cxn>
                <a:cxn ang="0">
                  <a:pos x="0" y="0"/>
                </a:cxn>
                <a:cxn ang="0">
                  <a:pos x="0" y="0"/>
                </a:cxn>
              </a:cxnLst>
              <a:rect l="0" t="0" r="r" b="b"/>
              <a:pathLst>
                <a:path h="3">
                  <a:moveTo>
                    <a:pt x="0" y="0"/>
                  </a:moveTo>
                  <a:lnTo>
                    <a:pt x="0" y="0"/>
                  </a:lnTo>
                  <a:lnTo>
                    <a:pt x="0" y="3"/>
                  </a:lnTo>
                  <a:lnTo>
                    <a:pt x="0" y="3"/>
                  </a:lnTo>
                  <a:lnTo>
                    <a:pt x="0" y="3"/>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4" name="Freeform 79">
              <a:extLst>
                <a:ext uri="{FF2B5EF4-FFF2-40B4-BE49-F238E27FC236}">
                  <a16:creationId xmlns:a16="http://schemas.microsoft.com/office/drawing/2014/main" id="{87B4239A-64A6-4D30-9C7C-2E865ADB08FA}"/>
                </a:ext>
              </a:extLst>
            </p:cNvPr>
            <p:cNvSpPr>
              <a:spLocks/>
            </p:cNvSpPr>
            <p:nvPr/>
          </p:nvSpPr>
          <p:spPr bwMode="auto">
            <a:xfrm>
              <a:off x="4941888" y="3300413"/>
              <a:ext cx="19050" cy="14288"/>
            </a:xfrm>
            <a:custGeom>
              <a:avLst/>
              <a:gdLst/>
              <a:ahLst/>
              <a:cxnLst>
                <a:cxn ang="0">
                  <a:pos x="2" y="6"/>
                </a:cxn>
                <a:cxn ang="0">
                  <a:pos x="2" y="6"/>
                </a:cxn>
                <a:cxn ang="0">
                  <a:pos x="5" y="7"/>
                </a:cxn>
                <a:cxn ang="0">
                  <a:pos x="9" y="9"/>
                </a:cxn>
                <a:cxn ang="0">
                  <a:pos x="9" y="9"/>
                </a:cxn>
                <a:cxn ang="0">
                  <a:pos x="12" y="9"/>
                </a:cxn>
                <a:cxn ang="0">
                  <a:pos x="12" y="0"/>
                </a:cxn>
                <a:cxn ang="0">
                  <a:pos x="12" y="0"/>
                </a:cxn>
                <a:cxn ang="0">
                  <a:pos x="3" y="2"/>
                </a:cxn>
                <a:cxn ang="0">
                  <a:pos x="3" y="2"/>
                </a:cxn>
                <a:cxn ang="0">
                  <a:pos x="0" y="3"/>
                </a:cxn>
                <a:cxn ang="0">
                  <a:pos x="2" y="5"/>
                </a:cxn>
                <a:cxn ang="0">
                  <a:pos x="2" y="6"/>
                </a:cxn>
                <a:cxn ang="0">
                  <a:pos x="2" y="6"/>
                </a:cxn>
              </a:cxnLst>
              <a:rect l="0" t="0" r="r" b="b"/>
              <a:pathLst>
                <a:path w="12" h="9">
                  <a:moveTo>
                    <a:pt x="2" y="6"/>
                  </a:moveTo>
                  <a:lnTo>
                    <a:pt x="2" y="6"/>
                  </a:lnTo>
                  <a:lnTo>
                    <a:pt x="5" y="7"/>
                  </a:lnTo>
                  <a:lnTo>
                    <a:pt x="9" y="9"/>
                  </a:lnTo>
                  <a:lnTo>
                    <a:pt x="9" y="9"/>
                  </a:lnTo>
                  <a:lnTo>
                    <a:pt x="12" y="9"/>
                  </a:lnTo>
                  <a:lnTo>
                    <a:pt x="12" y="0"/>
                  </a:lnTo>
                  <a:lnTo>
                    <a:pt x="12" y="0"/>
                  </a:lnTo>
                  <a:lnTo>
                    <a:pt x="3" y="2"/>
                  </a:lnTo>
                  <a:lnTo>
                    <a:pt x="3" y="2"/>
                  </a:lnTo>
                  <a:lnTo>
                    <a:pt x="0" y="3"/>
                  </a:lnTo>
                  <a:lnTo>
                    <a:pt x="2" y="5"/>
                  </a:lnTo>
                  <a:lnTo>
                    <a:pt x="2" y="6"/>
                  </a:lnTo>
                  <a:lnTo>
                    <a:pt x="2"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5" name="Freeform 80">
              <a:extLst>
                <a:ext uri="{FF2B5EF4-FFF2-40B4-BE49-F238E27FC236}">
                  <a16:creationId xmlns:a16="http://schemas.microsoft.com/office/drawing/2014/main" id="{6CDB1070-06AA-4641-A314-B2824327EB85}"/>
                </a:ext>
              </a:extLst>
            </p:cNvPr>
            <p:cNvSpPr>
              <a:spLocks/>
            </p:cNvSpPr>
            <p:nvPr/>
          </p:nvSpPr>
          <p:spPr bwMode="auto">
            <a:xfrm>
              <a:off x="4973638" y="3322638"/>
              <a:ext cx="15875" cy="15875"/>
            </a:xfrm>
            <a:custGeom>
              <a:avLst/>
              <a:gdLst/>
              <a:ahLst/>
              <a:cxnLst>
                <a:cxn ang="0">
                  <a:pos x="10" y="3"/>
                </a:cxn>
                <a:cxn ang="0">
                  <a:pos x="10" y="3"/>
                </a:cxn>
                <a:cxn ang="0">
                  <a:pos x="4" y="2"/>
                </a:cxn>
                <a:cxn ang="0">
                  <a:pos x="4" y="2"/>
                </a:cxn>
                <a:cxn ang="0">
                  <a:pos x="0" y="0"/>
                </a:cxn>
                <a:cxn ang="0">
                  <a:pos x="0" y="10"/>
                </a:cxn>
                <a:cxn ang="0">
                  <a:pos x="0" y="10"/>
                </a:cxn>
                <a:cxn ang="0">
                  <a:pos x="7" y="9"/>
                </a:cxn>
                <a:cxn ang="0">
                  <a:pos x="7" y="9"/>
                </a:cxn>
                <a:cxn ang="0">
                  <a:pos x="10" y="6"/>
                </a:cxn>
                <a:cxn ang="0">
                  <a:pos x="10" y="5"/>
                </a:cxn>
                <a:cxn ang="0">
                  <a:pos x="10" y="3"/>
                </a:cxn>
                <a:cxn ang="0">
                  <a:pos x="10" y="3"/>
                </a:cxn>
              </a:cxnLst>
              <a:rect l="0" t="0" r="r" b="b"/>
              <a:pathLst>
                <a:path w="10" h="10">
                  <a:moveTo>
                    <a:pt x="10" y="3"/>
                  </a:moveTo>
                  <a:lnTo>
                    <a:pt x="10" y="3"/>
                  </a:lnTo>
                  <a:lnTo>
                    <a:pt x="4" y="2"/>
                  </a:lnTo>
                  <a:lnTo>
                    <a:pt x="4" y="2"/>
                  </a:lnTo>
                  <a:lnTo>
                    <a:pt x="0" y="0"/>
                  </a:lnTo>
                  <a:lnTo>
                    <a:pt x="0" y="10"/>
                  </a:lnTo>
                  <a:lnTo>
                    <a:pt x="0" y="10"/>
                  </a:lnTo>
                  <a:lnTo>
                    <a:pt x="7" y="9"/>
                  </a:lnTo>
                  <a:lnTo>
                    <a:pt x="7" y="9"/>
                  </a:lnTo>
                  <a:lnTo>
                    <a:pt x="10" y="6"/>
                  </a:lnTo>
                  <a:lnTo>
                    <a:pt x="10" y="5"/>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6" name="Freeform 81">
              <a:extLst>
                <a:ext uri="{FF2B5EF4-FFF2-40B4-BE49-F238E27FC236}">
                  <a16:creationId xmlns:a16="http://schemas.microsoft.com/office/drawing/2014/main" id="{CD30B082-AC67-4BE4-AC11-6634C73243D7}"/>
                </a:ext>
              </a:extLst>
            </p:cNvPr>
            <p:cNvSpPr>
              <a:spLocks noEditPoints="1"/>
            </p:cNvSpPr>
            <p:nvPr/>
          </p:nvSpPr>
          <p:spPr bwMode="auto">
            <a:xfrm>
              <a:off x="4873625" y="3286125"/>
              <a:ext cx="184150" cy="66675"/>
            </a:xfrm>
            <a:custGeom>
              <a:avLst/>
              <a:gdLst/>
              <a:ahLst/>
              <a:cxnLst>
                <a:cxn ang="0">
                  <a:pos x="0" y="21"/>
                </a:cxn>
                <a:cxn ang="0">
                  <a:pos x="4" y="29"/>
                </a:cxn>
                <a:cxn ang="0">
                  <a:pos x="17" y="36"/>
                </a:cxn>
                <a:cxn ang="0">
                  <a:pos x="35" y="40"/>
                </a:cxn>
                <a:cxn ang="0">
                  <a:pos x="59" y="42"/>
                </a:cxn>
                <a:cxn ang="0">
                  <a:pos x="70" y="42"/>
                </a:cxn>
                <a:cxn ang="0">
                  <a:pos x="91" y="37"/>
                </a:cxn>
                <a:cxn ang="0">
                  <a:pos x="106" y="32"/>
                </a:cxn>
                <a:cxn ang="0">
                  <a:pos x="115" y="25"/>
                </a:cxn>
                <a:cxn ang="0">
                  <a:pos x="116" y="21"/>
                </a:cxn>
                <a:cxn ang="0">
                  <a:pos x="112" y="12"/>
                </a:cxn>
                <a:cxn ang="0">
                  <a:pos x="99" y="7"/>
                </a:cxn>
                <a:cxn ang="0">
                  <a:pos x="81" y="1"/>
                </a:cxn>
                <a:cxn ang="0">
                  <a:pos x="59" y="0"/>
                </a:cxn>
                <a:cxn ang="0">
                  <a:pos x="46" y="1"/>
                </a:cxn>
                <a:cxn ang="0">
                  <a:pos x="25" y="4"/>
                </a:cxn>
                <a:cxn ang="0">
                  <a:pos x="10" y="9"/>
                </a:cxn>
                <a:cxn ang="0">
                  <a:pos x="1" y="16"/>
                </a:cxn>
                <a:cxn ang="0">
                  <a:pos x="0" y="21"/>
                </a:cxn>
                <a:cxn ang="0">
                  <a:pos x="63" y="5"/>
                </a:cxn>
                <a:cxn ang="0">
                  <a:pos x="69" y="5"/>
                </a:cxn>
                <a:cxn ang="0">
                  <a:pos x="76" y="7"/>
                </a:cxn>
                <a:cxn ang="0">
                  <a:pos x="81" y="9"/>
                </a:cxn>
                <a:cxn ang="0">
                  <a:pos x="80" y="12"/>
                </a:cxn>
                <a:cxn ang="0">
                  <a:pos x="74" y="12"/>
                </a:cxn>
                <a:cxn ang="0">
                  <a:pos x="74" y="12"/>
                </a:cxn>
                <a:cxn ang="0">
                  <a:pos x="74" y="12"/>
                </a:cxn>
                <a:cxn ang="0">
                  <a:pos x="74" y="12"/>
                </a:cxn>
                <a:cxn ang="0">
                  <a:pos x="73" y="11"/>
                </a:cxn>
                <a:cxn ang="0">
                  <a:pos x="66" y="9"/>
                </a:cxn>
                <a:cxn ang="0">
                  <a:pos x="63" y="9"/>
                </a:cxn>
                <a:cxn ang="0">
                  <a:pos x="63" y="19"/>
                </a:cxn>
                <a:cxn ang="0">
                  <a:pos x="78" y="23"/>
                </a:cxn>
                <a:cxn ang="0">
                  <a:pos x="81" y="25"/>
                </a:cxn>
                <a:cxn ang="0">
                  <a:pos x="81" y="30"/>
                </a:cxn>
                <a:cxn ang="0">
                  <a:pos x="76" y="33"/>
                </a:cxn>
                <a:cxn ang="0">
                  <a:pos x="70" y="35"/>
                </a:cxn>
                <a:cxn ang="0">
                  <a:pos x="63" y="39"/>
                </a:cxn>
                <a:cxn ang="0">
                  <a:pos x="62" y="39"/>
                </a:cxn>
                <a:cxn ang="0">
                  <a:pos x="56" y="39"/>
                </a:cxn>
                <a:cxn ang="0">
                  <a:pos x="55" y="36"/>
                </a:cxn>
                <a:cxn ang="0">
                  <a:pos x="42" y="35"/>
                </a:cxn>
                <a:cxn ang="0">
                  <a:pos x="35" y="32"/>
                </a:cxn>
                <a:cxn ang="0">
                  <a:pos x="36" y="29"/>
                </a:cxn>
                <a:cxn ang="0">
                  <a:pos x="42" y="29"/>
                </a:cxn>
                <a:cxn ang="0">
                  <a:pos x="42" y="29"/>
                </a:cxn>
                <a:cxn ang="0">
                  <a:pos x="43" y="30"/>
                </a:cxn>
                <a:cxn ang="0">
                  <a:pos x="43" y="30"/>
                </a:cxn>
                <a:cxn ang="0">
                  <a:pos x="50" y="32"/>
                </a:cxn>
                <a:cxn ang="0">
                  <a:pos x="55" y="32"/>
                </a:cxn>
                <a:cxn ang="0">
                  <a:pos x="55" y="22"/>
                </a:cxn>
                <a:cxn ang="0">
                  <a:pos x="43" y="19"/>
                </a:cxn>
                <a:cxn ang="0">
                  <a:pos x="36" y="16"/>
                </a:cxn>
                <a:cxn ang="0">
                  <a:pos x="35" y="15"/>
                </a:cxn>
                <a:cxn ang="0">
                  <a:pos x="38" y="9"/>
                </a:cxn>
                <a:cxn ang="0">
                  <a:pos x="41" y="8"/>
                </a:cxn>
                <a:cxn ang="0">
                  <a:pos x="55" y="5"/>
                </a:cxn>
                <a:cxn ang="0">
                  <a:pos x="55" y="2"/>
                </a:cxn>
                <a:cxn ang="0">
                  <a:pos x="62" y="2"/>
                </a:cxn>
                <a:cxn ang="0">
                  <a:pos x="63" y="2"/>
                </a:cxn>
              </a:cxnLst>
              <a:rect l="0" t="0" r="r" b="b"/>
              <a:pathLst>
                <a:path w="116" h="42">
                  <a:moveTo>
                    <a:pt x="0" y="21"/>
                  </a:moveTo>
                  <a:lnTo>
                    <a:pt x="0" y="21"/>
                  </a:lnTo>
                  <a:lnTo>
                    <a:pt x="1" y="25"/>
                  </a:lnTo>
                  <a:lnTo>
                    <a:pt x="4" y="29"/>
                  </a:lnTo>
                  <a:lnTo>
                    <a:pt x="10" y="32"/>
                  </a:lnTo>
                  <a:lnTo>
                    <a:pt x="17" y="36"/>
                  </a:lnTo>
                  <a:lnTo>
                    <a:pt x="25" y="37"/>
                  </a:lnTo>
                  <a:lnTo>
                    <a:pt x="35" y="40"/>
                  </a:lnTo>
                  <a:lnTo>
                    <a:pt x="46" y="42"/>
                  </a:lnTo>
                  <a:lnTo>
                    <a:pt x="59" y="42"/>
                  </a:lnTo>
                  <a:lnTo>
                    <a:pt x="59" y="42"/>
                  </a:lnTo>
                  <a:lnTo>
                    <a:pt x="70" y="42"/>
                  </a:lnTo>
                  <a:lnTo>
                    <a:pt x="81" y="40"/>
                  </a:lnTo>
                  <a:lnTo>
                    <a:pt x="91" y="37"/>
                  </a:lnTo>
                  <a:lnTo>
                    <a:pt x="99" y="36"/>
                  </a:lnTo>
                  <a:lnTo>
                    <a:pt x="106" y="32"/>
                  </a:lnTo>
                  <a:lnTo>
                    <a:pt x="112" y="29"/>
                  </a:lnTo>
                  <a:lnTo>
                    <a:pt x="115" y="25"/>
                  </a:lnTo>
                  <a:lnTo>
                    <a:pt x="116" y="21"/>
                  </a:lnTo>
                  <a:lnTo>
                    <a:pt x="116" y="21"/>
                  </a:lnTo>
                  <a:lnTo>
                    <a:pt x="115" y="16"/>
                  </a:lnTo>
                  <a:lnTo>
                    <a:pt x="112" y="12"/>
                  </a:lnTo>
                  <a:lnTo>
                    <a:pt x="106" y="9"/>
                  </a:lnTo>
                  <a:lnTo>
                    <a:pt x="99" y="7"/>
                  </a:lnTo>
                  <a:lnTo>
                    <a:pt x="91" y="4"/>
                  </a:lnTo>
                  <a:lnTo>
                    <a:pt x="81" y="1"/>
                  </a:lnTo>
                  <a:lnTo>
                    <a:pt x="70" y="1"/>
                  </a:lnTo>
                  <a:lnTo>
                    <a:pt x="59" y="0"/>
                  </a:lnTo>
                  <a:lnTo>
                    <a:pt x="59" y="0"/>
                  </a:lnTo>
                  <a:lnTo>
                    <a:pt x="46" y="1"/>
                  </a:lnTo>
                  <a:lnTo>
                    <a:pt x="35" y="1"/>
                  </a:lnTo>
                  <a:lnTo>
                    <a:pt x="25" y="4"/>
                  </a:lnTo>
                  <a:lnTo>
                    <a:pt x="17" y="7"/>
                  </a:lnTo>
                  <a:lnTo>
                    <a:pt x="10" y="9"/>
                  </a:lnTo>
                  <a:lnTo>
                    <a:pt x="4" y="12"/>
                  </a:lnTo>
                  <a:lnTo>
                    <a:pt x="1" y="16"/>
                  </a:lnTo>
                  <a:lnTo>
                    <a:pt x="0" y="21"/>
                  </a:lnTo>
                  <a:lnTo>
                    <a:pt x="0" y="21"/>
                  </a:lnTo>
                  <a:close/>
                  <a:moveTo>
                    <a:pt x="63" y="2"/>
                  </a:moveTo>
                  <a:lnTo>
                    <a:pt x="63" y="5"/>
                  </a:lnTo>
                  <a:lnTo>
                    <a:pt x="63" y="5"/>
                  </a:lnTo>
                  <a:lnTo>
                    <a:pt x="69" y="5"/>
                  </a:lnTo>
                  <a:lnTo>
                    <a:pt x="69" y="5"/>
                  </a:lnTo>
                  <a:lnTo>
                    <a:pt x="76" y="7"/>
                  </a:lnTo>
                  <a:lnTo>
                    <a:pt x="81" y="9"/>
                  </a:lnTo>
                  <a:lnTo>
                    <a:pt x="81" y="9"/>
                  </a:lnTo>
                  <a:lnTo>
                    <a:pt x="83" y="11"/>
                  </a:lnTo>
                  <a:lnTo>
                    <a:pt x="80" y="12"/>
                  </a:lnTo>
                  <a:lnTo>
                    <a:pt x="77" y="12"/>
                  </a:lnTo>
                  <a:lnTo>
                    <a:pt x="74" y="12"/>
                  </a:lnTo>
                  <a:lnTo>
                    <a:pt x="74" y="12"/>
                  </a:lnTo>
                  <a:lnTo>
                    <a:pt x="74" y="12"/>
                  </a:lnTo>
                  <a:lnTo>
                    <a:pt x="74" y="12"/>
                  </a:lnTo>
                  <a:lnTo>
                    <a:pt x="74" y="12"/>
                  </a:lnTo>
                  <a:lnTo>
                    <a:pt x="74" y="12"/>
                  </a:lnTo>
                  <a:lnTo>
                    <a:pt x="74" y="12"/>
                  </a:lnTo>
                  <a:lnTo>
                    <a:pt x="74" y="12"/>
                  </a:lnTo>
                  <a:lnTo>
                    <a:pt x="73" y="11"/>
                  </a:lnTo>
                  <a:lnTo>
                    <a:pt x="73" y="11"/>
                  </a:lnTo>
                  <a:lnTo>
                    <a:pt x="66" y="9"/>
                  </a:lnTo>
                  <a:lnTo>
                    <a:pt x="66" y="9"/>
                  </a:lnTo>
                  <a:lnTo>
                    <a:pt x="63" y="9"/>
                  </a:lnTo>
                  <a:lnTo>
                    <a:pt x="63" y="19"/>
                  </a:lnTo>
                  <a:lnTo>
                    <a:pt x="63" y="19"/>
                  </a:lnTo>
                  <a:lnTo>
                    <a:pt x="74" y="22"/>
                  </a:lnTo>
                  <a:lnTo>
                    <a:pt x="78" y="23"/>
                  </a:lnTo>
                  <a:lnTo>
                    <a:pt x="81" y="25"/>
                  </a:lnTo>
                  <a:lnTo>
                    <a:pt x="81" y="25"/>
                  </a:lnTo>
                  <a:lnTo>
                    <a:pt x="83" y="28"/>
                  </a:lnTo>
                  <a:lnTo>
                    <a:pt x="81" y="30"/>
                  </a:lnTo>
                  <a:lnTo>
                    <a:pt x="80" y="32"/>
                  </a:lnTo>
                  <a:lnTo>
                    <a:pt x="76" y="33"/>
                  </a:lnTo>
                  <a:lnTo>
                    <a:pt x="76" y="33"/>
                  </a:lnTo>
                  <a:lnTo>
                    <a:pt x="70" y="35"/>
                  </a:lnTo>
                  <a:lnTo>
                    <a:pt x="63" y="36"/>
                  </a:lnTo>
                  <a:lnTo>
                    <a:pt x="63" y="39"/>
                  </a:lnTo>
                  <a:lnTo>
                    <a:pt x="63" y="39"/>
                  </a:lnTo>
                  <a:lnTo>
                    <a:pt x="62" y="39"/>
                  </a:lnTo>
                  <a:lnTo>
                    <a:pt x="56" y="39"/>
                  </a:lnTo>
                  <a:lnTo>
                    <a:pt x="56" y="39"/>
                  </a:lnTo>
                  <a:lnTo>
                    <a:pt x="55" y="39"/>
                  </a:lnTo>
                  <a:lnTo>
                    <a:pt x="55" y="36"/>
                  </a:lnTo>
                  <a:lnTo>
                    <a:pt x="55" y="36"/>
                  </a:lnTo>
                  <a:lnTo>
                    <a:pt x="42" y="35"/>
                  </a:lnTo>
                  <a:lnTo>
                    <a:pt x="35" y="32"/>
                  </a:lnTo>
                  <a:lnTo>
                    <a:pt x="35" y="32"/>
                  </a:lnTo>
                  <a:lnTo>
                    <a:pt x="35" y="30"/>
                  </a:lnTo>
                  <a:lnTo>
                    <a:pt x="36" y="29"/>
                  </a:lnTo>
                  <a:lnTo>
                    <a:pt x="39" y="29"/>
                  </a:lnTo>
                  <a:lnTo>
                    <a:pt x="42" y="29"/>
                  </a:lnTo>
                  <a:lnTo>
                    <a:pt x="42" y="29"/>
                  </a:lnTo>
                  <a:lnTo>
                    <a:pt x="42" y="29"/>
                  </a:lnTo>
                  <a:lnTo>
                    <a:pt x="42" y="29"/>
                  </a:lnTo>
                  <a:lnTo>
                    <a:pt x="43" y="30"/>
                  </a:lnTo>
                  <a:lnTo>
                    <a:pt x="43" y="30"/>
                  </a:lnTo>
                  <a:lnTo>
                    <a:pt x="43" y="30"/>
                  </a:lnTo>
                  <a:lnTo>
                    <a:pt x="43" y="30"/>
                  </a:lnTo>
                  <a:lnTo>
                    <a:pt x="50" y="32"/>
                  </a:lnTo>
                  <a:lnTo>
                    <a:pt x="50" y="32"/>
                  </a:lnTo>
                  <a:lnTo>
                    <a:pt x="55" y="32"/>
                  </a:lnTo>
                  <a:lnTo>
                    <a:pt x="55" y="22"/>
                  </a:lnTo>
                  <a:lnTo>
                    <a:pt x="55" y="22"/>
                  </a:lnTo>
                  <a:lnTo>
                    <a:pt x="43" y="19"/>
                  </a:lnTo>
                  <a:lnTo>
                    <a:pt x="43" y="19"/>
                  </a:lnTo>
                  <a:lnTo>
                    <a:pt x="39" y="18"/>
                  </a:lnTo>
                  <a:lnTo>
                    <a:pt x="36" y="16"/>
                  </a:lnTo>
                  <a:lnTo>
                    <a:pt x="36" y="16"/>
                  </a:lnTo>
                  <a:lnTo>
                    <a:pt x="35" y="15"/>
                  </a:lnTo>
                  <a:lnTo>
                    <a:pt x="35" y="12"/>
                  </a:lnTo>
                  <a:lnTo>
                    <a:pt x="38" y="9"/>
                  </a:lnTo>
                  <a:lnTo>
                    <a:pt x="41" y="8"/>
                  </a:lnTo>
                  <a:lnTo>
                    <a:pt x="41" y="8"/>
                  </a:lnTo>
                  <a:lnTo>
                    <a:pt x="46" y="7"/>
                  </a:lnTo>
                  <a:lnTo>
                    <a:pt x="55" y="5"/>
                  </a:lnTo>
                  <a:lnTo>
                    <a:pt x="55" y="2"/>
                  </a:lnTo>
                  <a:lnTo>
                    <a:pt x="55" y="2"/>
                  </a:lnTo>
                  <a:lnTo>
                    <a:pt x="56" y="2"/>
                  </a:lnTo>
                  <a:lnTo>
                    <a:pt x="62" y="2"/>
                  </a:lnTo>
                  <a:lnTo>
                    <a:pt x="62" y="2"/>
                  </a:lnTo>
                  <a:lnTo>
                    <a:pt x="63" y="2"/>
                  </a:lnTo>
                  <a:lnTo>
                    <a:pt x="63"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17" name="Freeform 82">
              <a:extLst>
                <a:ext uri="{FF2B5EF4-FFF2-40B4-BE49-F238E27FC236}">
                  <a16:creationId xmlns:a16="http://schemas.microsoft.com/office/drawing/2014/main" id="{B91DCE2E-DEA1-4135-AC54-C8563A11C824}"/>
                </a:ext>
              </a:extLst>
            </p:cNvPr>
            <p:cNvSpPr>
              <a:spLocks/>
            </p:cNvSpPr>
            <p:nvPr/>
          </p:nvSpPr>
          <p:spPr bwMode="auto">
            <a:xfrm>
              <a:off x="4819650" y="2693988"/>
              <a:ext cx="719137" cy="566738"/>
            </a:xfrm>
            <a:custGeom>
              <a:avLst/>
              <a:gdLst/>
              <a:ahLst/>
              <a:cxnLst>
                <a:cxn ang="0">
                  <a:pos x="156" y="218"/>
                </a:cxn>
                <a:cxn ang="0">
                  <a:pos x="234" y="277"/>
                </a:cxn>
                <a:cxn ang="0">
                  <a:pos x="234" y="277"/>
                </a:cxn>
                <a:cxn ang="0">
                  <a:pos x="240" y="280"/>
                </a:cxn>
                <a:cxn ang="0">
                  <a:pos x="248" y="280"/>
                </a:cxn>
                <a:cxn ang="0">
                  <a:pos x="254" y="279"/>
                </a:cxn>
                <a:cxn ang="0">
                  <a:pos x="261" y="273"/>
                </a:cxn>
                <a:cxn ang="0">
                  <a:pos x="418" y="71"/>
                </a:cxn>
                <a:cxn ang="0">
                  <a:pos x="418" y="73"/>
                </a:cxn>
                <a:cxn ang="0">
                  <a:pos x="415" y="126"/>
                </a:cxn>
                <a:cxn ang="0">
                  <a:pos x="415" y="126"/>
                </a:cxn>
                <a:cxn ang="0">
                  <a:pos x="417" y="132"/>
                </a:cxn>
                <a:cxn ang="0">
                  <a:pos x="419" y="137"/>
                </a:cxn>
                <a:cxn ang="0">
                  <a:pos x="424" y="141"/>
                </a:cxn>
                <a:cxn ang="0">
                  <a:pos x="431" y="143"/>
                </a:cxn>
                <a:cxn ang="0">
                  <a:pos x="431" y="143"/>
                </a:cxn>
                <a:cxn ang="0">
                  <a:pos x="436" y="143"/>
                </a:cxn>
                <a:cxn ang="0">
                  <a:pos x="442" y="139"/>
                </a:cxn>
                <a:cxn ang="0">
                  <a:pos x="446" y="134"/>
                </a:cxn>
                <a:cxn ang="0">
                  <a:pos x="447" y="127"/>
                </a:cxn>
                <a:cxn ang="0">
                  <a:pos x="453" y="17"/>
                </a:cxn>
                <a:cxn ang="0">
                  <a:pos x="453" y="17"/>
                </a:cxn>
                <a:cxn ang="0">
                  <a:pos x="453" y="13"/>
                </a:cxn>
                <a:cxn ang="0">
                  <a:pos x="452" y="10"/>
                </a:cxn>
                <a:cxn ang="0">
                  <a:pos x="450" y="6"/>
                </a:cxn>
                <a:cxn ang="0">
                  <a:pos x="447" y="3"/>
                </a:cxn>
                <a:cxn ang="0">
                  <a:pos x="447" y="3"/>
                </a:cxn>
                <a:cxn ang="0">
                  <a:pos x="445" y="1"/>
                </a:cxn>
                <a:cxn ang="0">
                  <a:pos x="440" y="0"/>
                </a:cxn>
                <a:cxn ang="0">
                  <a:pos x="438" y="0"/>
                </a:cxn>
                <a:cxn ang="0">
                  <a:pos x="433" y="0"/>
                </a:cxn>
                <a:cxn ang="0">
                  <a:pos x="328" y="28"/>
                </a:cxn>
                <a:cxn ang="0">
                  <a:pos x="328" y="28"/>
                </a:cxn>
                <a:cxn ang="0">
                  <a:pos x="323" y="31"/>
                </a:cxn>
                <a:cxn ang="0">
                  <a:pos x="318" y="35"/>
                </a:cxn>
                <a:cxn ang="0">
                  <a:pos x="317" y="41"/>
                </a:cxn>
                <a:cxn ang="0">
                  <a:pos x="317" y="48"/>
                </a:cxn>
                <a:cxn ang="0">
                  <a:pos x="317" y="48"/>
                </a:cxn>
                <a:cxn ang="0">
                  <a:pos x="320" y="53"/>
                </a:cxn>
                <a:cxn ang="0">
                  <a:pos x="325" y="57"/>
                </a:cxn>
                <a:cxn ang="0">
                  <a:pos x="331" y="59"/>
                </a:cxn>
                <a:cxn ang="0">
                  <a:pos x="337" y="59"/>
                </a:cxn>
                <a:cxn ang="0">
                  <a:pos x="383" y="48"/>
                </a:cxn>
                <a:cxn ang="0">
                  <a:pos x="386" y="49"/>
                </a:cxn>
                <a:cxn ang="0">
                  <a:pos x="241" y="234"/>
                </a:cxn>
                <a:cxn ang="0">
                  <a:pos x="163" y="175"/>
                </a:cxn>
                <a:cxn ang="0">
                  <a:pos x="163" y="175"/>
                </a:cxn>
                <a:cxn ang="0">
                  <a:pos x="157" y="172"/>
                </a:cxn>
                <a:cxn ang="0">
                  <a:pos x="150" y="172"/>
                </a:cxn>
                <a:cxn ang="0">
                  <a:pos x="143" y="174"/>
                </a:cxn>
                <a:cxn ang="0">
                  <a:pos x="138" y="179"/>
                </a:cxn>
                <a:cxn ang="0">
                  <a:pos x="5" y="325"/>
                </a:cxn>
                <a:cxn ang="0">
                  <a:pos x="5" y="325"/>
                </a:cxn>
                <a:cxn ang="0">
                  <a:pos x="0" y="331"/>
                </a:cxn>
                <a:cxn ang="0">
                  <a:pos x="0" y="339"/>
                </a:cxn>
                <a:cxn ang="0">
                  <a:pos x="2" y="346"/>
                </a:cxn>
                <a:cxn ang="0">
                  <a:pos x="6" y="353"/>
                </a:cxn>
                <a:cxn ang="0">
                  <a:pos x="6" y="353"/>
                </a:cxn>
                <a:cxn ang="0">
                  <a:pos x="13" y="356"/>
                </a:cxn>
                <a:cxn ang="0">
                  <a:pos x="21" y="357"/>
                </a:cxn>
                <a:cxn ang="0">
                  <a:pos x="28" y="356"/>
                </a:cxn>
                <a:cxn ang="0">
                  <a:pos x="34" y="350"/>
                </a:cxn>
                <a:cxn ang="0">
                  <a:pos x="156" y="218"/>
                </a:cxn>
              </a:cxnLst>
              <a:rect l="0" t="0" r="r" b="b"/>
              <a:pathLst>
                <a:path w="453" h="357">
                  <a:moveTo>
                    <a:pt x="156" y="218"/>
                  </a:moveTo>
                  <a:lnTo>
                    <a:pt x="234" y="277"/>
                  </a:lnTo>
                  <a:lnTo>
                    <a:pt x="234" y="277"/>
                  </a:lnTo>
                  <a:lnTo>
                    <a:pt x="240" y="280"/>
                  </a:lnTo>
                  <a:lnTo>
                    <a:pt x="248" y="280"/>
                  </a:lnTo>
                  <a:lnTo>
                    <a:pt x="254" y="279"/>
                  </a:lnTo>
                  <a:lnTo>
                    <a:pt x="261" y="273"/>
                  </a:lnTo>
                  <a:lnTo>
                    <a:pt x="418" y="71"/>
                  </a:lnTo>
                  <a:lnTo>
                    <a:pt x="418" y="73"/>
                  </a:lnTo>
                  <a:lnTo>
                    <a:pt x="415" y="126"/>
                  </a:lnTo>
                  <a:lnTo>
                    <a:pt x="415" y="126"/>
                  </a:lnTo>
                  <a:lnTo>
                    <a:pt x="417" y="132"/>
                  </a:lnTo>
                  <a:lnTo>
                    <a:pt x="419" y="137"/>
                  </a:lnTo>
                  <a:lnTo>
                    <a:pt x="424" y="141"/>
                  </a:lnTo>
                  <a:lnTo>
                    <a:pt x="431" y="143"/>
                  </a:lnTo>
                  <a:lnTo>
                    <a:pt x="431" y="143"/>
                  </a:lnTo>
                  <a:lnTo>
                    <a:pt x="436" y="143"/>
                  </a:lnTo>
                  <a:lnTo>
                    <a:pt x="442" y="139"/>
                  </a:lnTo>
                  <a:lnTo>
                    <a:pt x="446" y="134"/>
                  </a:lnTo>
                  <a:lnTo>
                    <a:pt x="447" y="127"/>
                  </a:lnTo>
                  <a:lnTo>
                    <a:pt x="453" y="17"/>
                  </a:lnTo>
                  <a:lnTo>
                    <a:pt x="453" y="17"/>
                  </a:lnTo>
                  <a:lnTo>
                    <a:pt x="453" y="13"/>
                  </a:lnTo>
                  <a:lnTo>
                    <a:pt x="452" y="10"/>
                  </a:lnTo>
                  <a:lnTo>
                    <a:pt x="450" y="6"/>
                  </a:lnTo>
                  <a:lnTo>
                    <a:pt x="447" y="3"/>
                  </a:lnTo>
                  <a:lnTo>
                    <a:pt x="447" y="3"/>
                  </a:lnTo>
                  <a:lnTo>
                    <a:pt x="445" y="1"/>
                  </a:lnTo>
                  <a:lnTo>
                    <a:pt x="440" y="0"/>
                  </a:lnTo>
                  <a:lnTo>
                    <a:pt x="438" y="0"/>
                  </a:lnTo>
                  <a:lnTo>
                    <a:pt x="433" y="0"/>
                  </a:lnTo>
                  <a:lnTo>
                    <a:pt x="328" y="28"/>
                  </a:lnTo>
                  <a:lnTo>
                    <a:pt x="328" y="28"/>
                  </a:lnTo>
                  <a:lnTo>
                    <a:pt x="323" y="31"/>
                  </a:lnTo>
                  <a:lnTo>
                    <a:pt x="318" y="35"/>
                  </a:lnTo>
                  <a:lnTo>
                    <a:pt x="317" y="41"/>
                  </a:lnTo>
                  <a:lnTo>
                    <a:pt x="317" y="48"/>
                  </a:lnTo>
                  <a:lnTo>
                    <a:pt x="317" y="48"/>
                  </a:lnTo>
                  <a:lnTo>
                    <a:pt x="320" y="53"/>
                  </a:lnTo>
                  <a:lnTo>
                    <a:pt x="325" y="57"/>
                  </a:lnTo>
                  <a:lnTo>
                    <a:pt x="331" y="59"/>
                  </a:lnTo>
                  <a:lnTo>
                    <a:pt x="337" y="59"/>
                  </a:lnTo>
                  <a:lnTo>
                    <a:pt x="383" y="48"/>
                  </a:lnTo>
                  <a:lnTo>
                    <a:pt x="386" y="49"/>
                  </a:lnTo>
                  <a:lnTo>
                    <a:pt x="241" y="234"/>
                  </a:lnTo>
                  <a:lnTo>
                    <a:pt x="163" y="175"/>
                  </a:lnTo>
                  <a:lnTo>
                    <a:pt x="163" y="175"/>
                  </a:lnTo>
                  <a:lnTo>
                    <a:pt x="157" y="172"/>
                  </a:lnTo>
                  <a:lnTo>
                    <a:pt x="150" y="172"/>
                  </a:lnTo>
                  <a:lnTo>
                    <a:pt x="143" y="174"/>
                  </a:lnTo>
                  <a:lnTo>
                    <a:pt x="138" y="179"/>
                  </a:lnTo>
                  <a:lnTo>
                    <a:pt x="5" y="325"/>
                  </a:lnTo>
                  <a:lnTo>
                    <a:pt x="5" y="325"/>
                  </a:lnTo>
                  <a:lnTo>
                    <a:pt x="0" y="331"/>
                  </a:lnTo>
                  <a:lnTo>
                    <a:pt x="0" y="339"/>
                  </a:lnTo>
                  <a:lnTo>
                    <a:pt x="2" y="346"/>
                  </a:lnTo>
                  <a:lnTo>
                    <a:pt x="6" y="353"/>
                  </a:lnTo>
                  <a:lnTo>
                    <a:pt x="6" y="353"/>
                  </a:lnTo>
                  <a:lnTo>
                    <a:pt x="13" y="356"/>
                  </a:lnTo>
                  <a:lnTo>
                    <a:pt x="21" y="357"/>
                  </a:lnTo>
                  <a:lnTo>
                    <a:pt x="28" y="356"/>
                  </a:lnTo>
                  <a:lnTo>
                    <a:pt x="34" y="350"/>
                  </a:lnTo>
                  <a:lnTo>
                    <a:pt x="156" y="2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grpSp>
        <p:nvGrpSpPr>
          <p:cNvPr id="118" name="Groupe 471">
            <a:extLst>
              <a:ext uri="{FF2B5EF4-FFF2-40B4-BE49-F238E27FC236}">
                <a16:creationId xmlns:a16="http://schemas.microsoft.com/office/drawing/2014/main" id="{A8B7695C-99DC-41F4-AA82-5CCD8ABBE685}"/>
              </a:ext>
            </a:extLst>
          </p:cNvPr>
          <p:cNvGrpSpPr/>
          <p:nvPr/>
        </p:nvGrpSpPr>
        <p:grpSpPr>
          <a:xfrm>
            <a:off x="8691331" y="2613111"/>
            <a:ext cx="993735" cy="574267"/>
            <a:chOff x="1763713" y="2414588"/>
            <a:chExt cx="446088" cy="382587"/>
          </a:xfrm>
          <a:solidFill>
            <a:srgbClr val="006301"/>
          </a:solidFill>
        </p:grpSpPr>
        <p:sp>
          <p:nvSpPr>
            <p:cNvPr id="119" name="Freeform 410">
              <a:extLst>
                <a:ext uri="{FF2B5EF4-FFF2-40B4-BE49-F238E27FC236}">
                  <a16:creationId xmlns:a16="http://schemas.microsoft.com/office/drawing/2014/main" id="{E9FA9FF0-EC4F-4FE2-B608-4123BB6844BC}"/>
                </a:ext>
              </a:extLst>
            </p:cNvPr>
            <p:cNvSpPr>
              <a:spLocks noEditPoints="1"/>
            </p:cNvSpPr>
            <p:nvPr/>
          </p:nvSpPr>
          <p:spPr bwMode="auto">
            <a:xfrm>
              <a:off x="1784351" y="2573338"/>
              <a:ext cx="404813" cy="223837"/>
            </a:xfrm>
            <a:custGeom>
              <a:avLst/>
              <a:gdLst/>
              <a:ahLst/>
              <a:cxnLst>
                <a:cxn ang="0">
                  <a:pos x="485" y="0"/>
                </a:cxn>
                <a:cxn ang="0">
                  <a:pos x="483" y="10"/>
                </a:cxn>
                <a:cxn ang="0">
                  <a:pos x="478" y="18"/>
                </a:cxn>
                <a:cxn ang="0">
                  <a:pos x="469" y="24"/>
                </a:cxn>
                <a:cxn ang="0">
                  <a:pos x="460" y="25"/>
                </a:cxn>
                <a:cxn ang="0">
                  <a:pos x="454" y="25"/>
                </a:cxn>
                <a:cxn ang="0">
                  <a:pos x="446" y="21"/>
                </a:cxn>
                <a:cxn ang="0">
                  <a:pos x="439" y="14"/>
                </a:cxn>
                <a:cxn ang="0">
                  <a:pos x="434" y="4"/>
                </a:cxn>
                <a:cxn ang="0">
                  <a:pos x="382" y="0"/>
                </a:cxn>
                <a:cxn ang="0">
                  <a:pos x="382" y="4"/>
                </a:cxn>
                <a:cxn ang="0">
                  <a:pos x="378" y="14"/>
                </a:cxn>
                <a:cxn ang="0">
                  <a:pos x="371" y="21"/>
                </a:cxn>
                <a:cxn ang="0">
                  <a:pos x="363" y="25"/>
                </a:cxn>
                <a:cxn ang="0">
                  <a:pos x="357" y="25"/>
                </a:cxn>
                <a:cxn ang="0">
                  <a:pos x="347" y="24"/>
                </a:cxn>
                <a:cxn ang="0">
                  <a:pos x="339" y="18"/>
                </a:cxn>
                <a:cxn ang="0">
                  <a:pos x="333" y="10"/>
                </a:cxn>
                <a:cxn ang="0">
                  <a:pos x="332" y="0"/>
                </a:cxn>
                <a:cxn ang="0">
                  <a:pos x="281" y="0"/>
                </a:cxn>
                <a:cxn ang="0">
                  <a:pos x="278" y="10"/>
                </a:cxn>
                <a:cxn ang="0">
                  <a:pos x="273" y="18"/>
                </a:cxn>
                <a:cxn ang="0">
                  <a:pos x="266" y="24"/>
                </a:cxn>
                <a:cxn ang="0">
                  <a:pos x="255" y="25"/>
                </a:cxn>
                <a:cxn ang="0">
                  <a:pos x="250" y="25"/>
                </a:cxn>
                <a:cxn ang="0">
                  <a:pos x="241" y="21"/>
                </a:cxn>
                <a:cxn ang="0">
                  <a:pos x="234" y="14"/>
                </a:cxn>
                <a:cxn ang="0">
                  <a:pos x="231" y="4"/>
                </a:cxn>
                <a:cxn ang="0">
                  <a:pos x="179" y="0"/>
                </a:cxn>
                <a:cxn ang="0">
                  <a:pos x="179" y="4"/>
                </a:cxn>
                <a:cxn ang="0">
                  <a:pos x="175" y="14"/>
                </a:cxn>
                <a:cxn ang="0">
                  <a:pos x="168" y="21"/>
                </a:cxn>
                <a:cxn ang="0">
                  <a:pos x="158" y="25"/>
                </a:cxn>
                <a:cxn ang="0">
                  <a:pos x="153" y="25"/>
                </a:cxn>
                <a:cxn ang="0">
                  <a:pos x="144" y="24"/>
                </a:cxn>
                <a:cxn ang="0">
                  <a:pos x="135" y="18"/>
                </a:cxn>
                <a:cxn ang="0">
                  <a:pos x="130" y="10"/>
                </a:cxn>
                <a:cxn ang="0">
                  <a:pos x="128" y="0"/>
                </a:cxn>
                <a:cxn ang="0">
                  <a:pos x="76" y="0"/>
                </a:cxn>
                <a:cxn ang="0">
                  <a:pos x="75" y="10"/>
                </a:cxn>
                <a:cxn ang="0">
                  <a:pos x="69" y="18"/>
                </a:cxn>
                <a:cxn ang="0">
                  <a:pos x="61" y="24"/>
                </a:cxn>
                <a:cxn ang="0">
                  <a:pos x="51" y="25"/>
                </a:cxn>
                <a:cxn ang="0">
                  <a:pos x="45" y="25"/>
                </a:cxn>
                <a:cxn ang="0">
                  <a:pos x="37" y="21"/>
                </a:cxn>
                <a:cxn ang="0">
                  <a:pos x="30" y="14"/>
                </a:cxn>
                <a:cxn ang="0">
                  <a:pos x="26" y="4"/>
                </a:cxn>
                <a:cxn ang="0">
                  <a:pos x="0" y="0"/>
                </a:cxn>
                <a:cxn ang="0">
                  <a:pos x="51" y="281"/>
                </a:cxn>
                <a:cxn ang="0">
                  <a:pos x="153" y="69"/>
                </a:cxn>
                <a:cxn ang="0">
                  <a:pos x="510" y="281"/>
                </a:cxn>
                <a:cxn ang="0">
                  <a:pos x="485" y="0"/>
                </a:cxn>
                <a:cxn ang="0">
                  <a:pos x="210" y="222"/>
                </a:cxn>
                <a:cxn ang="0">
                  <a:pos x="460" y="69"/>
                </a:cxn>
              </a:cxnLst>
              <a:rect l="0" t="0" r="r" b="b"/>
              <a:pathLst>
                <a:path w="510" h="281">
                  <a:moveTo>
                    <a:pt x="485" y="0"/>
                  </a:moveTo>
                  <a:lnTo>
                    <a:pt x="485" y="0"/>
                  </a:lnTo>
                  <a:lnTo>
                    <a:pt x="485" y="4"/>
                  </a:lnTo>
                  <a:lnTo>
                    <a:pt x="483" y="10"/>
                  </a:lnTo>
                  <a:lnTo>
                    <a:pt x="481" y="14"/>
                  </a:lnTo>
                  <a:lnTo>
                    <a:pt x="478" y="18"/>
                  </a:lnTo>
                  <a:lnTo>
                    <a:pt x="474" y="21"/>
                  </a:lnTo>
                  <a:lnTo>
                    <a:pt x="469" y="24"/>
                  </a:lnTo>
                  <a:lnTo>
                    <a:pt x="465" y="25"/>
                  </a:lnTo>
                  <a:lnTo>
                    <a:pt x="460" y="25"/>
                  </a:lnTo>
                  <a:lnTo>
                    <a:pt x="460" y="25"/>
                  </a:lnTo>
                  <a:lnTo>
                    <a:pt x="454" y="25"/>
                  </a:lnTo>
                  <a:lnTo>
                    <a:pt x="450" y="24"/>
                  </a:lnTo>
                  <a:lnTo>
                    <a:pt x="446" y="21"/>
                  </a:lnTo>
                  <a:lnTo>
                    <a:pt x="441" y="18"/>
                  </a:lnTo>
                  <a:lnTo>
                    <a:pt x="439" y="14"/>
                  </a:lnTo>
                  <a:lnTo>
                    <a:pt x="436" y="10"/>
                  </a:lnTo>
                  <a:lnTo>
                    <a:pt x="434" y="4"/>
                  </a:lnTo>
                  <a:lnTo>
                    <a:pt x="434" y="0"/>
                  </a:lnTo>
                  <a:lnTo>
                    <a:pt x="382" y="0"/>
                  </a:lnTo>
                  <a:lnTo>
                    <a:pt x="382" y="0"/>
                  </a:lnTo>
                  <a:lnTo>
                    <a:pt x="382" y="4"/>
                  </a:lnTo>
                  <a:lnTo>
                    <a:pt x="381" y="10"/>
                  </a:lnTo>
                  <a:lnTo>
                    <a:pt x="378" y="14"/>
                  </a:lnTo>
                  <a:lnTo>
                    <a:pt x="375" y="18"/>
                  </a:lnTo>
                  <a:lnTo>
                    <a:pt x="371" y="21"/>
                  </a:lnTo>
                  <a:lnTo>
                    <a:pt x="367" y="24"/>
                  </a:lnTo>
                  <a:lnTo>
                    <a:pt x="363" y="25"/>
                  </a:lnTo>
                  <a:lnTo>
                    <a:pt x="357" y="25"/>
                  </a:lnTo>
                  <a:lnTo>
                    <a:pt x="357" y="25"/>
                  </a:lnTo>
                  <a:lnTo>
                    <a:pt x="353" y="25"/>
                  </a:lnTo>
                  <a:lnTo>
                    <a:pt x="347" y="24"/>
                  </a:lnTo>
                  <a:lnTo>
                    <a:pt x="343" y="21"/>
                  </a:lnTo>
                  <a:lnTo>
                    <a:pt x="339" y="18"/>
                  </a:lnTo>
                  <a:lnTo>
                    <a:pt x="336" y="14"/>
                  </a:lnTo>
                  <a:lnTo>
                    <a:pt x="333" y="10"/>
                  </a:lnTo>
                  <a:lnTo>
                    <a:pt x="332" y="4"/>
                  </a:lnTo>
                  <a:lnTo>
                    <a:pt x="332" y="0"/>
                  </a:lnTo>
                  <a:lnTo>
                    <a:pt x="281" y="0"/>
                  </a:lnTo>
                  <a:lnTo>
                    <a:pt x="281" y="0"/>
                  </a:lnTo>
                  <a:lnTo>
                    <a:pt x="280" y="4"/>
                  </a:lnTo>
                  <a:lnTo>
                    <a:pt x="278" y="10"/>
                  </a:lnTo>
                  <a:lnTo>
                    <a:pt x="277" y="14"/>
                  </a:lnTo>
                  <a:lnTo>
                    <a:pt x="273" y="18"/>
                  </a:lnTo>
                  <a:lnTo>
                    <a:pt x="270" y="21"/>
                  </a:lnTo>
                  <a:lnTo>
                    <a:pt x="266" y="24"/>
                  </a:lnTo>
                  <a:lnTo>
                    <a:pt x="260" y="25"/>
                  </a:lnTo>
                  <a:lnTo>
                    <a:pt x="255" y="25"/>
                  </a:lnTo>
                  <a:lnTo>
                    <a:pt x="255" y="25"/>
                  </a:lnTo>
                  <a:lnTo>
                    <a:pt x="250" y="25"/>
                  </a:lnTo>
                  <a:lnTo>
                    <a:pt x="245" y="24"/>
                  </a:lnTo>
                  <a:lnTo>
                    <a:pt x="241" y="21"/>
                  </a:lnTo>
                  <a:lnTo>
                    <a:pt x="238" y="18"/>
                  </a:lnTo>
                  <a:lnTo>
                    <a:pt x="234" y="14"/>
                  </a:lnTo>
                  <a:lnTo>
                    <a:pt x="232" y="10"/>
                  </a:lnTo>
                  <a:lnTo>
                    <a:pt x="231" y="4"/>
                  </a:lnTo>
                  <a:lnTo>
                    <a:pt x="229" y="0"/>
                  </a:lnTo>
                  <a:lnTo>
                    <a:pt x="179" y="0"/>
                  </a:lnTo>
                  <a:lnTo>
                    <a:pt x="179" y="0"/>
                  </a:lnTo>
                  <a:lnTo>
                    <a:pt x="179" y="4"/>
                  </a:lnTo>
                  <a:lnTo>
                    <a:pt x="177" y="10"/>
                  </a:lnTo>
                  <a:lnTo>
                    <a:pt x="175" y="14"/>
                  </a:lnTo>
                  <a:lnTo>
                    <a:pt x="172" y="18"/>
                  </a:lnTo>
                  <a:lnTo>
                    <a:pt x="168" y="21"/>
                  </a:lnTo>
                  <a:lnTo>
                    <a:pt x="163" y="24"/>
                  </a:lnTo>
                  <a:lnTo>
                    <a:pt x="158" y="25"/>
                  </a:lnTo>
                  <a:lnTo>
                    <a:pt x="153" y="25"/>
                  </a:lnTo>
                  <a:lnTo>
                    <a:pt x="153" y="25"/>
                  </a:lnTo>
                  <a:lnTo>
                    <a:pt x="148" y="25"/>
                  </a:lnTo>
                  <a:lnTo>
                    <a:pt x="144" y="24"/>
                  </a:lnTo>
                  <a:lnTo>
                    <a:pt x="139" y="21"/>
                  </a:lnTo>
                  <a:lnTo>
                    <a:pt x="135" y="18"/>
                  </a:lnTo>
                  <a:lnTo>
                    <a:pt x="132" y="14"/>
                  </a:lnTo>
                  <a:lnTo>
                    <a:pt x="130" y="10"/>
                  </a:lnTo>
                  <a:lnTo>
                    <a:pt x="128" y="4"/>
                  </a:lnTo>
                  <a:lnTo>
                    <a:pt x="128" y="0"/>
                  </a:lnTo>
                  <a:lnTo>
                    <a:pt x="76" y="0"/>
                  </a:lnTo>
                  <a:lnTo>
                    <a:pt x="76" y="0"/>
                  </a:lnTo>
                  <a:lnTo>
                    <a:pt x="76" y="4"/>
                  </a:lnTo>
                  <a:lnTo>
                    <a:pt x="75" y="10"/>
                  </a:lnTo>
                  <a:lnTo>
                    <a:pt x="72" y="14"/>
                  </a:lnTo>
                  <a:lnTo>
                    <a:pt x="69" y="18"/>
                  </a:lnTo>
                  <a:lnTo>
                    <a:pt x="65" y="21"/>
                  </a:lnTo>
                  <a:lnTo>
                    <a:pt x="61" y="24"/>
                  </a:lnTo>
                  <a:lnTo>
                    <a:pt x="57" y="25"/>
                  </a:lnTo>
                  <a:lnTo>
                    <a:pt x="51" y="25"/>
                  </a:lnTo>
                  <a:lnTo>
                    <a:pt x="51" y="25"/>
                  </a:lnTo>
                  <a:lnTo>
                    <a:pt x="45" y="25"/>
                  </a:lnTo>
                  <a:lnTo>
                    <a:pt x="41" y="24"/>
                  </a:lnTo>
                  <a:lnTo>
                    <a:pt x="37" y="21"/>
                  </a:lnTo>
                  <a:lnTo>
                    <a:pt x="33" y="18"/>
                  </a:lnTo>
                  <a:lnTo>
                    <a:pt x="30" y="14"/>
                  </a:lnTo>
                  <a:lnTo>
                    <a:pt x="27" y="10"/>
                  </a:lnTo>
                  <a:lnTo>
                    <a:pt x="26" y="4"/>
                  </a:lnTo>
                  <a:lnTo>
                    <a:pt x="26" y="0"/>
                  </a:lnTo>
                  <a:lnTo>
                    <a:pt x="0" y="0"/>
                  </a:lnTo>
                  <a:lnTo>
                    <a:pt x="0" y="281"/>
                  </a:lnTo>
                  <a:lnTo>
                    <a:pt x="51" y="281"/>
                  </a:lnTo>
                  <a:lnTo>
                    <a:pt x="51" y="69"/>
                  </a:lnTo>
                  <a:lnTo>
                    <a:pt x="153" y="69"/>
                  </a:lnTo>
                  <a:lnTo>
                    <a:pt x="153" y="281"/>
                  </a:lnTo>
                  <a:lnTo>
                    <a:pt x="510" y="281"/>
                  </a:lnTo>
                  <a:lnTo>
                    <a:pt x="510" y="0"/>
                  </a:lnTo>
                  <a:lnTo>
                    <a:pt x="485" y="0"/>
                  </a:lnTo>
                  <a:close/>
                  <a:moveTo>
                    <a:pt x="460" y="222"/>
                  </a:moveTo>
                  <a:lnTo>
                    <a:pt x="210" y="222"/>
                  </a:lnTo>
                  <a:lnTo>
                    <a:pt x="210" y="69"/>
                  </a:lnTo>
                  <a:lnTo>
                    <a:pt x="460" y="69"/>
                  </a:lnTo>
                  <a:lnTo>
                    <a:pt x="460" y="22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0" name="Freeform 411">
              <a:extLst>
                <a:ext uri="{FF2B5EF4-FFF2-40B4-BE49-F238E27FC236}">
                  <a16:creationId xmlns:a16="http://schemas.microsoft.com/office/drawing/2014/main" id="{895DB2A5-30F6-4DC4-BE14-1C990FFB0757}"/>
                </a:ext>
              </a:extLst>
            </p:cNvPr>
            <p:cNvSpPr>
              <a:spLocks/>
            </p:cNvSpPr>
            <p:nvPr/>
          </p:nvSpPr>
          <p:spPr bwMode="auto">
            <a:xfrm>
              <a:off x="1763713" y="2414588"/>
              <a:ext cx="109538" cy="179387"/>
            </a:xfrm>
            <a:custGeom>
              <a:avLst/>
              <a:gdLst/>
              <a:ahLst/>
              <a:cxnLst>
                <a:cxn ang="0">
                  <a:pos x="108" y="0"/>
                </a:cxn>
                <a:cxn ang="0">
                  <a:pos x="0" y="141"/>
                </a:cxn>
                <a:cxn ang="0">
                  <a:pos x="0" y="201"/>
                </a:cxn>
                <a:cxn ang="0">
                  <a:pos x="0" y="201"/>
                </a:cxn>
                <a:cxn ang="0">
                  <a:pos x="1" y="205"/>
                </a:cxn>
                <a:cxn ang="0">
                  <a:pos x="3" y="211"/>
                </a:cxn>
                <a:cxn ang="0">
                  <a:pos x="5" y="215"/>
                </a:cxn>
                <a:cxn ang="0">
                  <a:pos x="8" y="219"/>
                </a:cxn>
                <a:cxn ang="0">
                  <a:pos x="11" y="222"/>
                </a:cxn>
                <a:cxn ang="0">
                  <a:pos x="17" y="225"/>
                </a:cxn>
                <a:cxn ang="0">
                  <a:pos x="21" y="226"/>
                </a:cxn>
                <a:cxn ang="0">
                  <a:pos x="26" y="226"/>
                </a:cxn>
                <a:cxn ang="0">
                  <a:pos x="26" y="226"/>
                </a:cxn>
                <a:cxn ang="0">
                  <a:pos x="31" y="226"/>
                </a:cxn>
                <a:cxn ang="0">
                  <a:pos x="36" y="225"/>
                </a:cxn>
                <a:cxn ang="0">
                  <a:pos x="40" y="222"/>
                </a:cxn>
                <a:cxn ang="0">
                  <a:pos x="45" y="219"/>
                </a:cxn>
                <a:cxn ang="0">
                  <a:pos x="48" y="215"/>
                </a:cxn>
                <a:cxn ang="0">
                  <a:pos x="49" y="211"/>
                </a:cxn>
                <a:cxn ang="0">
                  <a:pos x="50" y="205"/>
                </a:cxn>
                <a:cxn ang="0">
                  <a:pos x="52" y="201"/>
                </a:cxn>
                <a:cxn ang="0">
                  <a:pos x="52" y="141"/>
                </a:cxn>
                <a:cxn ang="0">
                  <a:pos x="139" y="0"/>
                </a:cxn>
                <a:cxn ang="0">
                  <a:pos x="108" y="0"/>
                </a:cxn>
              </a:cxnLst>
              <a:rect l="0" t="0" r="r" b="b"/>
              <a:pathLst>
                <a:path w="139" h="226">
                  <a:moveTo>
                    <a:pt x="108" y="0"/>
                  </a:moveTo>
                  <a:lnTo>
                    <a:pt x="0" y="141"/>
                  </a:lnTo>
                  <a:lnTo>
                    <a:pt x="0" y="201"/>
                  </a:lnTo>
                  <a:lnTo>
                    <a:pt x="0" y="201"/>
                  </a:lnTo>
                  <a:lnTo>
                    <a:pt x="1" y="205"/>
                  </a:lnTo>
                  <a:lnTo>
                    <a:pt x="3" y="211"/>
                  </a:lnTo>
                  <a:lnTo>
                    <a:pt x="5" y="215"/>
                  </a:lnTo>
                  <a:lnTo>
                    <a:pt x="8" y="219"/>
                  </a:lnTo>
                  <a:lnTo>
                    <a:pt x="11" y="222"/>
                  </a:lnTo>
                  <a:lnTo>
                    <a:pt x="17" y="225"/>
                  </a:lnTo>
                  <a:lnTo>
                    <a:pt x="21" y="226"/>
                  </a:lnTo>
                  <a:lnTo>
                    <a:pt x="26" y="226"/>
                  </a:lnTo>
                  <a:lnTo>
                    <a:pt x="26" y="226"/>
                  </a:lnTo>
                  <a:lnTo>
                    <a:pt x="31" y="226"/>
                  </a:lnTo>
                  <a:lnTo>
                    <a:pt x="36" y="225"/>
                  </a:lnTo>
                  <a:lnTo>
                    <a:pt x="40" y="222"/>
                  </a:lnTo>
                  <a:lnTo>
                    <a:pt x="45" y="219"/>
                  </a:lnTo>
                  <a:lnTo>
                    <a:pt x="48" y="215"/>
                  </a:lnTo>
                  <a:lnTo>
                    <a:pt x="49" y="211"/>
                  </a:lnTo>
                  <a:lnTo>
                    <a:pt x="50" y="205"/>
                  </a:lnTo>
                  <a:lnTo>
                    <a:pt x="52" y="201"/>
                  </a:lnTo>
                  <a:lnTo>
                    <a:pt x="52" y="141"/>
                  </a:lnTo>
                  <a:lnTo>
                    <a:pt x="139" y="0"/>
                  </a:lnTo>
                  <a:lnTo>
                    <a:pt x="108"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1" name="Freeform 412">
              <a:extLst>
                <a:ext uri="{FF2B5EF4-FFF2-40B4-BE49-F238E27FC236}">
                  <a16:creationId xmlns:a16="http://schemas.microsoft.com/office/drawing/2014/main" id="{22CBE2BE-2236-4EBF-A724-94DBA5447B0B}"/>
                </a:ext>
              </a:extLst>
            </p:cNvPr>
            <p:cNvSpPr>
              <a:spLocks/>
            </p:cNvSpPr>
            <p:nvPr/>
          </p:nvSpPr>
          <p:spPr bwMode="auto">
            <a:xfrm>
              <a:off x="1844676" y="2414588"/>
              <a:ext cx="79375" cy="179387"/>
            </a:xfrm>
            <a:custGeom>
              <a:avLst/>
              <a:gdLst/>
              <a:ahLst/>
              <a:cxnLst>
                <a:cxn ang="0">
                  <a:pos x="0" y="141"/>
                </a:cxn>
                <a:cxn ang="0">
                  <a:pos x="0" y="201"/>
                </a:cxn>
                <a:cxn ang="0">
                  <a:pos x="0" y="201"/>
                </a:cxn>
                <a:cxn ang="0">
                  <a:pos x="2" y="205"/>
                </a:cxn>
                <a:cxn ang="0">
                  <a:pos x="3" y="211"/>
                </a:cxn>
                <a:cxn ang="0">
                  <a:pos x="4" y="215"/>
                </a:cxn>
                <a:cxn ang="0">
                  <a:pos x="9" y="219"/>
                </a:cxn>
                <a:cxn ang="0">
                  <a:pos x="12" y="222"/>
                </a:cxn>
                <a:cxn ang="0">
                  <a:pos x="16" y="225"/>
                </a:cxn>
                <a:cxn ang="0">
                  <a:pos x="21" y="226"/>
                </a:cxn>
                <a:cxn ang="0">
                  <a:pos x="26" y="226"/>
                </a:cxn>
                <a:cxn ang="0">
                  <a:pos x="26" y="226"/>
                </a:cxn>
                <a:cxn ang="0">
                  <a:pos x="31" y="226"/>
                </a:cxn>
                <a:cxn ang="0">
                  <a:pos x="35" y="225"/>
                </a:cxn>
                <a:cxn ang="0">
                  <a:pos x="41" y="222"/>
                </a:cxn>
                <a:cxn ang="0">
                  <a:pos x="44" y="219"/>
                </a:cxn>
                <a:cxn ang="0">
                  <a:pos x="47" y="215"/>
                </a:cxn>
                <a:cxn ang="0">
                  <a:pos x="49" y="211"/>
                </a:cxn>
                <a:cxn ang="0">
                  <a:pos x="51" y="205"/>
                </a:cxn>
                <a:cxn ang="0">
                  <a:pos x="52" y="201"/>
                </a:cxn>
                <a:cxn ang="0">
                  <a:pos x="52" y="141"/>
                </a:cxn>
                <a:cxn ang="0">
                  <a:pos x="100" y="0"/>
                </a:cxn>
                <a:cxn ang="0">
                  <a:pos x="69" y="0"/>
                </a:cxn>
                <a:cxn ang="0">
                  <a:pos x="0" y="141"/>
                </a:cxn>
              </a:cxnLst>
              <a:rect l="0" t="0" r="r" b="b"/>
              <a:pathLst>
                <a:path w="100" h="226">
                  <a:moveTo>
                    <a:pt x="0" y="141"/>
                  </a:moveTo>
                  <a:lnTo>
                    <a:pt x="0" y="201"/>
                  </a:lnTo>
                  <a:lnTo>
                    <a:pt x="0" y="201"/>
                  </a:lnTo>
                  <a:lnTo>
                    <a:pt x="2" y="205"/>
                  </a:lnTo>
                  <a:lnTo>
                    <a:pt x="3" y="211"/>
                  </a:lnTo>
                  <a:lnTo>
                    <a:pt x="4" y="215"/>
                  </a:lnTo>
                  <a:lnTo>
                    <a:pt x="9" y="219"/>
                  </a:lnTo>
                  <a:lnTo>
                    <a:pt x="12" y="222"/>
                  </a:lnTo>
                  <a:lnTo>
                    <a:pt x="16" y="225"/>
                  </a:lnTo>
                  <a:lnTo>
                    <a:pt x="21" y="226"/>
                  </a:lnTo>
                  <a:lnTo>
                    <a:pt x="26" y="226"/>
                  </a:lnTo>
                  <a:lnTo>
                    <a:pt x="26" y="226"/>
                  </a:lnTo>
                  <a:lnTo>
                    <a:pt x="31" y="226"/>
                  </a:lnTo>
                  <a:lnTo>
                    <a:pt x="35" y="225"/>
                  </a:lnTo>
                  <a:lnTo>
                    <a:pt x="41" y="222"/>
                  </a:lnTo>
                  <a:lnTo>
                    <a:pt x="44" y="219"/>
                  </a:lnTo>
                  <a:lnTo>
                    <a:pt x="47" y="215"/>
                  </a:lnTo>
                  <a:lnTo>
                    <a:pt x="49" y="211"/>
                  </a:lnTo>
                  <a:lnTo>
                    <a:pt x="51" y="205"/>
                  </a:lnTo>
                  <a:lnTo>
                    <a:pt x="52" y="201"/>
                  </a:lnTo>
                  <a:lnTo>
                    <a:pt x="52" y="141"/>
                  </a:lnTo>
                  <a:lnTo>
                    <a:pt x="100" y="0"/>
                  </a:lnTo>
                  <a:lnTo>
                    <a:pt x="69" y="0"/>
                  </a:lnTo>
                  <a:lnTo>
                    <a:pt x="0" y="14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2" name="Freeform 413">
              <a:extLst>
                <a:ext uri="{FF2B5EF4-FFF2-40B4-BE49-F238E27FC236}">
                  <a16:creationId xmlns:a16="http://schemas.microsoft.com/office/drawing/2014/main" id="{AB3239A6-34A9-4BBE-8637-6A1E515ED486}"/>
                </a:ext>
              </a:extLst>
            </p:cNvPr>
            <p:cNvSpPr>
              <a:spLocks/>
            </p:cNvSpPr>
            <p:nvPr/>
          </p:nvSpPr>
          <p:spPr bwMode="auto">
            <a:xfrm>
              <a:off x="1925638" y="2414588"/>
              <a:ext cx="49213" cy="179387"/>
            </a:xfrm>
            <a:custGeom>
              <a:avLst/>
              <a:gdLst/>
              <a:ahLst/>
              <a:cxnLst>
                <a:cxn ang="0">
                  <a:pos x="0" y="141"/>
                </a:cxn>
                <a:cxn ang="0">
                  <a:pos x="0" y="201"/>
                </a:cxn>
                <a:cxn ang="0">
                  <a:pos x="0" y="201"/>
                </a:cxn>
                <a:cxn ang="0">
                  <a:pos x="0" y="205"/>
                </a:cxn>
                <a:cxn ang="0">
                  <a:pos x="1" y="211"/>
                </a:cxn>
                <a:cxn ang="0">
                  <a:pos x="4" y="215"/>
                </a:cxn>
                <a:cxn ang="0">
                  <a:pos x="7" y="219"/>
                </a:cxn>
                <a:cxn ang="0">
                  <a:pos x="11" y="222"/>
                </a:cxn>
                <a:cxn ang="0">
                  <a:pos x="15" y="225"/>
                </a:cxn>
                <a:cxn ang="0">
                  <a:pos x="19" y="226"/>
                </a:cxn>
                <a:cxn ang="0">
                  <a:pos x="25" y="226"/>
                </a:cxn>
                <a:cxn ang="0">
                  <a:pos x="25" y="226"/>
                </a:cxn>
                <a:cxn ang="0">
                  <a:pos x="31" y="226"/>
                </a:cxn>
                <a:cxn ang="0">
                  <a:pos x="35" y="225"/>
                </a:cxn>
                <a:cxn ang="0">
                  <a:pos x="39" y="222"/>
                </a:cxn>
                <a:cxn ang="0">
                  <a:pos x="43" y="219"/>
                </a:cxn>
                <a:cxn ang="0">
                  <a:pos x="46" y="215"/>
                </a:cxn>
                <a:cxn ang="0">
                  <a:pos x="49" y="211"/>
                </a:cxn>
                <a:cxn ang="0">
                  <a:pos x="50" y="205"/>
                </a:cxn>
                <a:cxn ang="0">
                  <a:pos x="50" y="201"/>
                </a:cxn>
                <a:cxn ang="0">
                  <a:pos x="50" y="141"/>
                </a:cxn>
                <a:cxn ang="0">
                  <a:pos x="60" y="0"/>
                </a:cxn>
                <a:cxn ang="0">
                  <a:pos x="29" y="0"/>
                </a:cxn>
                <a:cxn ang="0">
                  <a:pos x="0" y="141"/>
                </a:cxn>
              </a:cxnLst>
              <a:rect l="0" t="0" r="r" b="b"/>
              <a:pathLst>
                <a:path w="60" h="226">
                  <a:moveTo>
                    <a:pt x="0" y="141"/>
                  </a:moveTo>
                  <a:lnTo>
                    <a:pt x="0" y="201"/>
                  </a:lnTo>
                  <a:lnTo>
                    <a:pt x="0" y="201"/>
                  </a:lnTo>
                  <a:lnTo>
                    <a:pt x="0" y="205"/>
                  </a:lnTo>
                  <a:lnTo>
                    <a:pt x="1" y="211"/>
                  </a:lnTo>
                  <a:lnTo>
                    <a:pt x="4" y="215"/>
                  </a:lnTo>
                  <a:lnTo>
                    <a:pt x="7" y="219"/>
                  </a:lnTo>
                  <a:lnTo>
                    <a:pt x="11" y="222"/>
                  </a:lnTo>
                  <a:lnTo>
                    <a:pt x="15" y="225"/>
                  </a:lnTo>
                  <a:lnTo>
                    <a:pt x="19" y="226"/>
                  </a:lnTo>
                  <a:lnTo>
                    <a:pt x="25" y="226"/>
                  </a:lnTo>
                  <a:lnTo>
                    <a:pt x="25" y="226"/>
                  </a:lnTo>
                  <a:lnTo>
                    <a:pt x="31" y="226"/>
                  </a:lnTo>
                  <a:lnTo>
                    <a:pt x="35" y="225"/>
                  </a:lnTo>
                  <a:lnTo>
                    <a:pt x="39" y="222"/>
                  </a:lnTo>
                  <a:lnTo>
                    <a:pt x="43" y="219"/>
                  </a:lnTo>
                  <a:lnTo>
                    <a:pt x="46" y="215"/>
                  </a:lnTo>
                  <a:lnTo>
                    <a:pt x="49" y="211"/>
                  </a:lnTo>
                  <a:lnTo>
                    <a:pt x="50" y="205"/>
                  </a:lnTo>
                  <a:lnTo>
                    <a:pt x="50" y="201"/>
                  </a:lnTo>
                  <a:lnTo>
                    <a:pt x="50" y="141"/>
                  </a:lnTo>
                  <a:lnTo>
                    <a:pt x="60" y="0"/>
                  </a:lnTo>
                  <a:lnTo>
                    <a:pt x="29" y="0"/>
                  </a:lnTo>
                  <a:lnTo>
                    <a:pt x="0" y="14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3" name="Freeform 414">
              <a:extLst>
                <a:ext uri="{FF2B5EF4-FFF2-40B4-BE49-F238E27FC236}">
                  <a16:creationId xmlns:a16="http://schemas.microsoft.com/office/drawing/2014/main" id="{9BE24B85-5EF8-459E-B598-9EAD4EE7714F}"/>
                </a:ext>
              </a:extLst>
            </p:cNvPr>
            <p:cNvSpPr>
              <a:spLocks/>
            </p:cNvSpPr>
            <p:nvPr/>
          </p:nvSpPr>
          <p:spPr bwMode="auto">
            <a:xfrm>
              <a:off x="2000251" y="2414588"/>
              <a:ext cx="47625" cy="179387"/>
            </a:xfrm>
            <a:custGeom>
              <a:avLst/>
              <a:gdLst/>
              <a:ahLst/>
              <a:cxnLst>
                <a:cxn ang="0">
                  <a:pos x="0" y="0"/>
                </a:cxn>
                <a:cxn ang="0">
                  <a:pos x="10" y="141"/>
                </a:cxn>
                <a:cxn ang="0">
                  <a:pos x="10" y="201"/>
                </a:cxn>
                <a:cxn ang="0">
                  <a:pos x="10" y="201"/>
                </a:cxn>
                <a:cxn ang="0">
                  <a:pos x="10" y="205"/>
                </a:cxn>
                <a:cxn ang="0">
                  <a:pos x="12" y="211"/>
                </a:cxn>
                <a:cxn ang="0">
                  <a:pos x="14" y="215"/>
                </a:cxn>
                <a:cxn ang="0">
                  <a:pos x="17" y="219"/>
                </a:cxn>
                <a:cxn ang="0">
                  <a:pos x="22" y="222"/>
                </a:cxn>
                <a:cxn ang="0">
                  <a:pos x="26" y="225"/>
                </a:cxn>
                <a:cxn ang="0">
                  <a:pos x="30" y="226"/>
                </a:cxn>
                <a:cxn ang="0">
                  <a:pos x="36" y="226"/>
                </a:cxn>
                <a:cxn ang="0">
                  <a:pos x="36" y="226"/>
                </a:cxn>
                <a:cxn ang="0">
                  <a:pos x="41" y="226"/>
                </a:cxn>
                <a:cxn ang="0">
                  <a:pos x="45" y="225"/>
                </a:cxn>
                <a:cxn ang="0">
                  <a:pos x="50" y="222"/>
                </a:cxn>
                <a:cxn ang="0">
                  <a:pos x="54" y="219"/>
                </a:cxn>
                <a:cxn ang="0">
                  <a:pos x="57" y="215"/>
                </a:cxn>
                <a:cxn ang="0">
                  <a:pos x="59" y="211"/>
                </a:cxn>
                <a:cxn ang="0">
                  <a:pos x="61" y="205"/>
                </a:cxn>
                <a:cxn ang="0">
                  <a:pos x="61" y="201"/>
                </a:cxn>
                <a:cxn ang="0">
                  <a:pos x="61" y="141"/>
                </a:cxn>
                <a:cxn ang="0">
                  <a:pos x="31" y="0"/>
                </a:cxn>
                <a:cxn ang="0">
                  <a:pos x="0" y="0"/>
                </a:cxn>
              </a:cxnLst>
              <a:rect l="0" t="0" r="r" b="b"/>
              <a:pathLst>
                <a:path w="61" h="226">
                  <a:moveTo>
                    <a:pt x="0" y="0"/>
                  </a:moveTo>
                  <a:lnTo>
                    <a:pt x="10" y="141"/>
                  </a:lnTo>
                  <a:lnTo>
                    <a:pt x="10" y="201"/>
                  </a:lnTo>
                  <a:lnTo>
                    <a:pt x="10" y="201"/>
                  </a:lnTo>
                  <a:lnTo>
                    <a:pt x="10" y="205"/>
                  </a:lnTo>
                  <a:lnTo>
                    <a:pt x="12" y="211"/>
                  </a:lnTo>
                  <a:lnTo>
                    <a:pt x="14" y="215"/>
                  </a:lnTo>
                  <a:lnTo>
                    <a:pt x="17" y="219"/>
                  </a:lnTo>
                  <a:lnTo>
                    <a:pt x="22" y="222"/>
                  </a:lnTo>
                  <a:lnTo>
                    <a:pt x="26" y="225"/>
                  </a:lnTo>
                  <a:lnTo>
                    <a:pt x="30" y="226"/>
                  </a:lnTo>
                  <a:lnTo>
                    <a:pt x="36" y="226"/>
                  </a:lnTo>
                  <a:lnTo>
                    <a:pt x="36" y="226"/>
                  </a:lnTo>
                  <a:lnTo>
                    <a:pt x="41" y="226"/>
                  </a:lnTo>
                  <a:lnTo>
                    <a:pt x="45" y="225"/>
                  </a:lnTo>
                  <a:lnTo>
                    <a:pt x="50" y="222"/>
                  </a:lnTo>
                  <a:lnTo>
                    <a:pt x="54" y="219"/>
                  </a:lnTo>
                  <a:lnTo>
                    <a:pt x="57" y="215"/>
                  </a:lnTo>
                  <a:lnTo>
                    <a:pt x="59" y="211"/>
                  </a:lnTo>
                  <a:lnTo>
                    <a:pt x="61" y="205"/>
                  </a:lnTo>
                  <a:lnTo>
                    <a:pt x="61" y="201"/>
                  </a:lnTo>
                  <a:lnTo>
                    <a:pt x="61" y="141"/>
                  </a:lnTo>
                  <a:lnTo>
                    <a:pt x="31"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4" name="Freeform 415">
              <a:extLst>
                <a:ext uri="{FF2B5EF4-FFF2-40B4-BE49-F238E27FC236}">
                  <a16:creationId xmlns:a16="http://schemas.microsoft.com/office/drawing/2014/main" id="{A5833A95-CC34-47FC-9D45-F58AC12EA1A6}"/>
                </a:ext>
              </a:extLst>
            </p:cNvPr>
            <p:cNvSpPr>
              <a:spLocks/>
            </p:cNvSpPr>
            <p:nvPr/>
          </p:nvSpPr>
          <p:spPr bwMode="auto">
            <a:xfrm>
              <a:off x="2049463" y="2414588"/>
              <a:ext cx="79375" cy="179387"/>
            </a:xfrm>
            <a:custGeom>
              <a:avLst/>
              <a:gdLst/>
              <a:ahLst/>
              <a:cxnLst>
                <a:cxn ang="0">
                  <a:pos x="0" y="0"/>
                </a:cxn>
                <a:cxn ang="0">
                  <a:pos x="47" y="141"/>
                </a:cxn>
                <a:cxn ang="0">
                  <a:pos x="47" y="201"/>
                </a:cxn>
                <a:cxn ang="0">
                  <a:pos x="47" y="201"/>
                </a:cxn>
                <a:cxn ang="0">
                  <a:pos x="49" y="205"/>
                </a:cxn>
                <a:cxn ang="0">
                  <a:pos x="50" y="211"/>
                </a:cxn>
                <a:cxn ang="0">
                  <a:pos x="52" y="215"/>
                </a:cxn>
                <a:cxn ang="0">
                  <a:pos x="56" y="219"/>
                </a:cxn>
                <a:cxn ang="0">
                  <a:pos x="59" y="222"/>
                </a:cxn>
                <a:cxn ang="0">
                  <a:pos x="63" y="225"/>
                </a:cxn>
                <a:cxn ang="0">
                  <a:pos x="68" y="226"/>
                </a:cxn>
                <a:cxn ang="0">
                  <a:pos x="74" y="226"/>
                </a:cxn>
                <a:cxn ang="0">
                  <a:pos x="74" y="226"/>
                </a:cxn>
                <a:cxn ang="0">
                  <a:pos x="78" y="226"/>
                </a:cxn>
                <a:cxn ang="0">
                  <a:pos x="84" y="225"/>
                </a:cxn>
                <a:cxn ang="0">
                  <a:pos x="88" y="222"/>
                </a:cxn>
                <a:cxn ang="0">
                  <a:pos x="91" y="219"/>
                </a:cxn>
                <a:cxn ang="0">
                  <a:pos x="95" y="215"/>
                </a:cxn>
                <a:cxn ang="0">
                  <a:pos x="97" y="211"/>
                </a:cxn>
                <a:cxn ang="0">
                  <a:pos x="98" y="205"/>
                </a:cxn>
                <a:cxn ang="0">
                  <a:pos x="99" y="201"/>
                </a:cxn>
                <a:cxn ang="0">
                  <a:pos x="99" y="141"/>
                </a:cxn>
                <a:cxn ang="0">
                  <a:pos x="31" y="0"/>
                </a:cxn>
                <a:cxn ang="0">
                  <a:pos x="0" y="0"/>
                </a:cxn>
              </a:cxnLst>
              <a:rect l="0" t="0" r="r" b="b"/>
              <a:pathLst>
                <a:path w="99" h="226">
                  <a:moveTo>
                    <a:pt x="0" y="0"/>
                  </a:moveTo>
                  <a:lnTo>
                    <a:pt x="47" y="141"/>
                  </a:lnTo>
                  <a:lnTo>
                    <a:pt x="47" y="201"/>
                  </a:lnTo>
                  <a:lnTo>
                    <a:pt x="47" y="201"/>
                  </a:lnTo>
                  <a:lnTo>
                    <a:pt x="49" y="205"/>
                  </a:lnTo>
                  <a:lnTo>
                    <a:pt x="50" y="211"/>
                  </a:lnTo>
                  <a:lnTo>
                    <a:pt x="52" y="215"/>
                  </a:lnTo>
                  <a:lnTo>
                    <a:pt x="56" y="219"/>
                  </a:lnTo>
                  <a:lnTo>
                    <a:pt x="59" y="222"/>
                  </a:lnTo>
                  <a:lnTo>
                    <a:pt x="63" y="225"/>
                  </a:lnTo>
                  <a:lnTo>
                    <a:pt x="68" y="226"/>
                  </a:lnTo>
                  <a:lnTo>
                    <a:pt x="74" y="226"/>
                  </a:lnTo>
                  <a:lnTo>
                    <a:pt x="74" y="226"/>
                  </a:lnTo>
                  <a:lnTo>
                    <a:pt x="78" y="226"/>
                  </a:lnTo>
                  <a:lnTo>
                    <a:pt x="84" y="225"/>
                  </a:lnTo>
                  <a:lnTo>
                    <a:pt x="88" y="222"/>
                  </a:lnTo>
                  <a:lnTo>
                    <a:pt x="91" y="219"/>
                  </a:lnTo>
                  <a:lnTo>
                    <a:pt x="95" y="215"/>
                  </a:lnTo>
                  <a:lnTo>
                    <a:pt x="97" y="211"/>
                  </a:lnTo>
                  <a:lnTo>
                    <a:pt x="98" y="205"/>
                  </a:lnTo>
                  <a:lnTo>
                    <a:pt x="99" y="201"/>
                  </a:lnTo>
                  <a:lnTo>
                    <a:pt x="99" y="141"/>
                  </a:lnTo>
                  <a:lnTo>
                    <a:pt x="31"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25" name="Freeform 416">
              <a:extLst>
                <a:ext uri="{FF2B5EF4-FFF2-40B4-BE49-F238E27FC236}">
                  <a16:creationId xmlns:a16="http://schemas.microsoft.com/office/drawing/2014/main" id="{EBAA91F5-65C6-47EE-81C0-D5A9301CCE7F}"/>
                </a:ext>
              </a:extLst>
            </p:cNvPr>
            <p:cNvSpPr>
              <a:spLocks/>
            </p:cNvSpPr>
            <p:nvPr/>
          </p:nvSpPr>
          <p:spPr bwMode="auto">
            <a:xfrm>
              <a:off x="2100263" y="2414588"/>
              <a:ext cx="109538" cy="179387"/>
            </a:xfrm>
            <a:custGeom>
              <a:avLst/>
              <a:gdLst/>
              <a:ahLst/>
              <a:cxnLst>
                <a:cxn ang="0">
                  <a:pos x="31" y="0"/>
                </a:cxn>
                <a:cxn ang="0">
                  <a:pos x="0" y="0"/>
                </a:cxn>
                <a:cxn ang="0">
                  <a:pos x="87" y="141"/>
                </a:cxn>
                <a:cxn ang="0">
                  <a:pos x="87" y="201"/>
                </a:cxn>
                <a:cxn ang="0">
                  <a:pos x="87" y="201"/>
                </a:cxn>
                <a:cxn ang="0">
                  <a:pos x="87" y="205"/>
                </a:cxn>
                <a:cxn ang="0">
                  <a:pos x="90" y="211"/>
                </a:cxn>
                <a:cxn ang="0">
                  <a:pos x="91" y="215"/>
                </a:cxn>
                <a:cxn ang="0">
                  <a:pos x="94" y="219"/>
                </a:cxn>
                <a:cxn ang="0">
                  <a:pos x="98" y="222"/>
                </a:cxn>
                <a:cxn ang="0">
                  <a:pos x="102" y="225"/>
                </a:cxn>
                <a:cxn ang="0">
                  <a:pos x="108" y="226"/>
                </a:cxn>
                <a:cxn ang="0">
                  <a:pos x="112" y="226"/>
                </a:cxn>
                <a:cxn ang="0">
                  <a:pos x="112" y="226"/>
                </a:cxn>
                <a:cxn ang="0">
                  <a:pos x="118" y="226"/>
                </a:cxn>
                <a:cxn ang="0">
                  <a:pos x="122" y="225"/>
                </a:cxn>
                <a:cxn ang="0">
                  <a:pos x="126" y="222"/>
                </a:cxn>
                <a:cxn ang="0">
                  <a:pos x="130" y="219"/>
                </a:cxn>
                <a:cxn ang="0">
                  <a:pos x="133" y="215"/>
                </a:cxn>
                <a:cxn ang="0">
                  <a:pos x="136" y="211"/>
                </a:cxn>
                <a:cxn ang="0">
                  <a:pos x="137" y="205"/>
                </a:cxn>
                <a:cxn ang="0">
                  <a:pos x="137" y="201"/>
                </a:cxn>
                <a:cxn ang="0">
                  <a:pos x="137" y="141"/>
                </a:cxn>
                <a:cxn ang="0">
                  <a:pos x="31" y="0"/>
                </a:cxn>
              </a:cxnLst>
              <a:rect l="0" t="0" r="r" b="b"/>
              <a:pathLst>
                <a:path w="137" h="226">
                  <a:moveTo>
                    <a:pt x="31" y="0"/>
                  </a:moveTo>
                  <a:lnTo>
                    <a:pt x="0" y="0"/>
                  </a:lnTo>
                  <a:lnTo>
                    <a:pt x="87" y="141"/>
                  </a:lnTo>
                  <a:lnTo>
                    <a:pt x="87" y="201"/>
                  </a:lnTo>
                  <a:lnTo>
                    <a:pt x="87" y="201"/>
                  </a:lnTo>
                  <a:lnTo>
                    <a:pt x="87" y="205"/>
                  </a:lnTo>
                  <a:lnTo>
                    <a:pt x="90" y="211"/>
                  </a:lnTo>
                  <a:lnTo>
                    <a:pt x="91" y="215"/>
                  </a:lnTo>
                  <a:lnTo>
                    <a:pt x="94" y="219"/>
                  </a:lnTo>
                  <a:lnTo>
                    <a:pt x="98" y="222"/>
                  </a:lnTo>
                  <a:lnTo>
                    <a:pt x="102" y="225"/>
                  </a:lnTo>
                  <a:lnTo>
                    <a:pt x="108" y="226"/>
                  </a:lnTo>
                  <a:lnTo>
                    <a:pt x="112" y="226"/>
                  </a:lnTo>
                  <a:lnTo>
                    <a:pt x="112" y="226"/>
                  </a:lnTo>
                  <a:lnTo>
                    <a:pt x="118" y="226"/>
                  </a:lnTo>
                  <a:lnTo>
                    <a:pt x="122" y="225"/>
                  </a:lnTo>
                  <a:lnTo>
                    <a:pt x="126" y="222"/>
                  </a:lnTo>
                  <a:lnTo>
                    <a:pt x="130" y="219"/>
                  </a:lnTo>
                  <a:lnTo>
                    <a:pt x="133" y="215"/>
                  </a:lnTo>
                  <a:lnTo>
                    <a:pt x="136" y="211"/>
                  </a:lnTo>
                  <a:lnTo>
                    <a:pt x="137" y="205"/>
                  </a:lnTo>
                  <a:lnTo>
                    <a:pt x="137" y="201"/>
                  </a:lnTo>
                  <a:lnTo>
                    <a:pt x="137" y="141"/>
                  </a:lnTo>
                  <a:lnTo>
                    <a:pt x="31"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sp>
        <p:nvSpPr>
          <p:cNvPr id="126" name="Rounded Rectangle 305">
            <a:extLst>
              <a:ext uri="{FF2B5EF4-FFF2-40B4-BE49-F238E27FC236}">
                <a16:creationId xmlns:a16="http://schemas.microsoft.com/office/drawing/2014/main" id="{5AA11EA9-A2EF-4C07-B196-D5E6CBCBB7B8}"/>
              </a:ext>
            </a:extLst>
          </p:cNvPr>
          <p:cNvSpPr/>
          <p:nvPr/>
        </p:nvSpPr>
        <p:spPr>
          <a:xfrm>
            <a:off x="4023019" y="1467121"/>
            <a:ext cx="4003381" cy="415835"/>
          </a:xfrm>
          <a:prstGeom prst="roundRect">
            <a:avLst/>
          </a:prstGeom>
          <a:solidFill>
            <a:srgbClr val="2157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33" b="1"/>
              <a:t>Support Received from Principals</a:t>
            </a:r>
          </a:p>
        </p:txBody>
      </p:sp>
      <p:sp>
        <p:nvSpPr>
          <p:cNvPr id="127" name="Rounded Rectangle 307">
            <a:extLst>
              <a:ext uri="{FF2B5EF4-FFF2-40B4-BE49-F238E27FC236}">
                <a16:creationId xmlns:a16="http://schemas.microsoft.com/office/drawing/2014/main" id="{DCA40600-E410-452E-807B-8BDADEB1FAFC}"/>
              </a:ext>
            </a:extLst>
          </p:cNvPr>
          <p:cNvSpPr/>
          <p:nvPr/>
        </p:nvSpPr>
        <p:spPr>
          <a:xfrm>
            <a:off x="4027922" y="4029165"/>
            <a:ext cx="4003381" cy="415835"/>
          </a:xfrm>
          <a:prstGeom prst="roundRect">
            <a:avLst/>
          </a:prstGeom>
          <a:solidFill>
            <a:srgbClr val="2157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733" b="1"/>
              <a:t>Support Needed from Principals</a:t>
            </a:r>
          </a:p>
        </p:txBody>
      </p:sp>
      <p:grpSp>
        <p:nvGrpSpPr>
          <p:cNvPr id="128" name="Group 127">
            <a:extLst>
              <a:ext uri="{FF2B5EF4-FFF2-40B4-BE49-F238E27FC236}">
                <a16:creationId xmlns:a16="http://schemas.microsoft.com/office/drawing/2014/main" id="{8A6D6F87-37A2-425F-9EAD-595CC0B5F653}"/>
              </a:ext>
            </a:extLst>
          </p:cNvPr>
          <p:cNvGrpSpPr/>
          <p:nvPr/>
        </p:nvGrpSpPr>
        <p:grpSpPr>
          <a:xfrm>
            <a:off x="406400" y="2469248"/>
            <a:ext cx="1839661" cy="756552"/>
            <a:chOff x="-2065546" y="2419350"/>
            <a:chExt cx="1379746" cy="567414"/>
          </a:xfrm>
          <a:solidFill>
            <a:srgbClr val="21572B"/>
          </a:solidFill>
        </p:grpSpPr>
        <p:pic>
          <p:nvPicPr>
            <p:cNvPr id="129" name="Picture 1">
              <a:extLst>
                <a:ext uri="{FF2B5EF4-FFF2-40B4-BE49-F238E27FC236}">
                  <a16:creationId xmlns:a16="http://schemas.microsoft.com/office/drawing/2014/main" id="{D131B7FA-5B15-4527-9289-FAAE0FE76F4B}"/>
                </a:ext>
              </a:extLst>
            </p:cNvPr>
            <p:cNvPicPr>
              <a:picLocks noChangeAspect="1" noChangeArrowheads="1"/>
            </p:cNvPicPr>
            <p:nvPr/>
          </p:nvPicPr>
          <p:blipFill rotWithShape="1">
            <a:blip r:embed="rId2">
              <a:duotone>
                <a:schemeClr val="accent3">
                  <a:shade val="45000"/>
                  <a:satMod val="135000"/>
                </a:schemeClr>
                <a:prstClr val="white"/>
              </a:duotone>
              <a:extLst>
                <a:ext uri="{BEBA8EAE-BF5A-486C-A8C5-ECC9F3942E4B}">
                  <a14:imgProps xmlns:a14="http://schemas.microsoft.com/office/drawing/2010/main">
                    <a14:imgLayer r:embed="rId3">
                      <a14:imgEffect>
                        <a14:backgroundRemoval t="13072" b="92157" l="0" r="93954"/>
                      </a14:imgEffect>
                    </a14:imgLayer>
                  </a14:imgProps>
                </a:ext>
                <a:ext uri="{28A0092B-C50C-407E-A947-70E740481C1C}">
                  <a14:useLocalDpi xmlns:a14="http://schemas.microsoft.com/office/drawing/2010/main" val="0"/>
                </a:ext>
              </a:extLst>
            </a:blip>
            <a:srcRect t="11899" b="6923"/>
            <a:stretch/>
          </p:blipFill>
          <p:spPr bwMode="auto">
            <a:xfrm>
              <a:off x="-2065546" y="2419350"/>
              <a:ext cx="698967" cy="567414"/>
            </a:xfrm>
            <a:prstGeom prst="rect">
              <a:avLst/>
            </a:prstGeom>
            <a:grpFill/>
            <a:ln>
              <a:noFill/>
            </a:ln>
          </p:spPr>
        </p:pic>
        <p:pic>
          <p:nvPicPr>
            <p:cNvPr id="130" name="Picture 2">
              <a:extLst>
                <a:ext uri="{FF2B5EF4-FFF2-40B4-BE49-F238E27FC236}">
                  <a16:creationId xmlns:a16="http://schemas.microsoft.com/office/drawing/2014/main" id="{908A1DA7-22E4-453A-AC1B-6368F32F81E1}"/>
                </a:ext>
              </a:extLst>
            </p:cNvPr>
            <p:cNvPicPr>
              <a:picLocks noChangeAspect="1" noChangeArrowheads="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backgroundRemoval t="0" b="93838" l="0" r="100000"/>
                      </a14:imgEffect>
                    </a14:imgLayer>
                  </a14:imgProps>
                </a:ext>
                <a:ext uri="{28A0092B-C50C-407E-A947-70E740481C1C}">
                  <a14:useLocalDpi xmlns:a14="http://schemas.microsoft.com/office/drawing/2010/main" val="0"/>
                </a:ext>
              </a:extLst>
            </a:blip>
            <a:srcRect/>
            <a:stretch>
              <a:fillRect/>
            </a:stretch>
          </p:blipFill>
          <p:spPr bwMode="auto">
            <a:xfrm>
              <a:off x="-1403466" y="2419350"/>
              <a:ext cx="717666" cy="567414"/>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sp>
        <p:nvSpPr>
          <p:cNvPr id="131" name="TextBox 130">
            <a:extLst>
              <a:ext uri="{FF2B5EF4-FFF2-40B4-BE49-F238E27FC236}">
                <a16:creationId xmlns:a16="http://schemas.microsoft.com/office/drawing/2014/main" id="{2B5591A3-C212-4AC7-9C15-7F385B71533B}"/>
              </a:ext>
            </a:extLst>
          </p:cNvPr>
          <p:cNvSpPr txBox="1"/>
          <p:nvPr/>
        </p:nvSpPr>
        <p:spPr>
          <a:xfrm>
            <a:off x="6476501" y="3244130"/>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Rebates/reduction in charges</a:t>
            </a:r>
          </a:p>
        </p:txBody>
      </p:sp>
      <p:sp>
        <p:nvSpPr>
          <p:cNvPr id="132" name="TextBox 131">
            <a:extLst>
              <a:ext uri="{FF2B5EF4-FFF2-40B4-BE49-F238E27FC236}">
                <a16:creationId xmlns:a16="http://schemas.microsoft.com/office/drawing/2014/main" id="{4E4EB5BF-940B-45CE-8A6A-17025B79A2AD}"/>
              </a:ext>
            </a:extLst>
          </p:cNvPr>
          <p:cNvSpPr txBox="1"/>
          <p:nvPr/>
        </p:nvSpPr>
        <p:spPr>
          <a:xfrm>
            <a:off x="6756815" y="2105938"/>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2%</a:t>
            </a:r>
          </a:p>
        </p:txBody>
      </p:sp>
      <p:grpSp>
        <p:nvGrpSpPr>
          <p:cNvPr id="133" name="Groupe 122">
            <a:extLst>
              <a:ext uri="{FF2B5EF4-FFF2-40B4-BE49-F238E27FC236}">
                <a16:creationId xmlns:a16="http://schemas.microsoft.com/office/drawing/2014/main" id="{7EB0EA7A-DA8B-4D91-A664-CA10FC8CE620}"/>
              </a:ext>
            </a:extLst>
          </p:cNvPr>
          <p:cNvGrpSpPr/>
          <p:nvPr/>
        </p:nvGrpSpPr>
        <p:grpSpPr>
          <a:xfrm>
            <a:off x="10464800" y="2616200"/>
            <a:ext cx="1304768" cy="565000"/>
            <a:chOff x="4819650" y="2693988"/>
            <a:chExt cx="768350" cy="736600"/>
          </a:xfrm>
          <a:solidFill>
            <a:srgbClr val="006301"/>
          </a:solidFill>
        </p:grpSpPr>
        <p:sp>
          <p:nvSpPr>
            <p:cNvPr id="134" name="Freeform 54">
              <a:extLst>
                <a:ext uri="{FF2B5EF4-FFF2-40B4-BE49-F238E27FC236}">
                  <a16:creationId xmlns:a16="http://schemas.microsoft.com/office/drawing/2014/main" id="{E3907EF3-4B83-4025-B4C2-79ECB773F2CD}"/>
                </a:ext>
              </a:extLst>
            </p:cNvPr>
            <p:cNvSpPr>
              <a:spLocks noEditPoints="1"/>
            </p:cNvSpPr>
            <p:nvPr/>
          </p:nvSpPr>
          <p:spPr bwMode="auto">
            <a:xfrm>
              <a:off x="5349875" y="3159125"/>
              <a:ext cx="238125" cy="77788"/>
            </a:xfrm>
            <a:custGeom>
              <a:avLst/>
              <a:gdLst/>
              <a:ahLst/>
              <a:cxnLst>
                <a:cxn ang="0">
                  <a:pos x="71" y="25"/>
                </a:cxn>
                <a:cxn ang="0">
                  <a:pos x="31" y="21"/>
                </a:cxn>
                <a:cxn ang="0">
                  <a:pos x="5" y="11"/>
                </a:cxn>
                <a:cxn ang="0">
                  <a:pos x="0" y="21"/>
                </a:cxn>
                <a:cxn ang="0">
                  <a:pos x="0" y="21"/>
                </a:cxn>
                <a:cxn ang="0">
                  <a:pos x="5" y="32"/>
                </a:cxn>
                <a:cxn ang="0">
                  <a:pos x="21" y="42"/>
                </a:cxn>
                <a:cxn ang="0">
                  <a:pos x="45" y="47"/>
                </a:cxn>
                <a:cxn ang="0">
                  <a:pos x="74" y="49"/>
                </a:cxn>
                <a:cxn ang="0">
                  <a:pos x="90" y="49"/>
                </a:cxn>
                <a:cxn ang="0">
                  <a:pos x="115" y="45"/>
                </a:cxn>
                <a:cxn ang="0">
                  <a:pos x="136" y="38"/>
                </a:cxn>
                <a:cxn ang="0">
                  <a:pos x="147" y="28"/>
                </a:cxn>
                <a:cxn ang="0">
                  <a:pos x="148" y="22"/>
                </a:cxn>
                <a:cxn ang="0">
                  <a:pos x="150" y="21"/>
                </a:cxn>
                <a:cxn ang="0">
                  <a:pos x="150" y="3"/>
                </a:cxn>
                <a:cxn ang="0">
                  <a:pos x="148" y="0"/>
                </a:cxn>
                <a:cxn ang="0">
                  <a:pos x="137" y="11"/>
                </a:cxn>
                <a:cxn ang="0">
                  <a:pos x="119" y="19"/>
                </a:cxn>
                <a:cxn ang="0">
                  <a:pos x="97" y="24"/>
                </a:cxn>
                <a:cxn ang="0">
                  <a:pos x="71" y="25"/>
                </a:cxn>
                <a:cxn ang="0">
                  <a:pos x="17" y="35"/>
                </a:cxn>
                <a:cxn ang="0">
                  <a:pos x="7" y="29"/>
                </a:cxn>
                <a:cxn ang="0">
                  <a:pos x="7" y="17"/>
                </a:cxn>
                <a:cxn ang="0">
                  <a:pos x="17" y="22"/>
                </a:cxn>
                <a:cxn ang="0">
                  <a:pos x="38" y="42"/>
                </a:cxn>
                <a:cxn ang="0">
                  <a:pos x="28" y="39"/>
                </a:cxn>
                <a:cxn ang="0">
                  <a:pos x="28" y="24"/>
                </a:cxn>
                <a:cxn ang="0">
                  <a:pos x="38" y="42"/>
                </a:cxn>
                <a:cxn ang="0">
                  <a:pos x="57" y="45"/>
                </a:cxn>
                <a:cxn ang="0">
                  <a:pos x="47" y="29"/>
                </a:cxn>
                <a:cxn ang="0">
                  <a:pos x="57" y="31"/>
                </a:cxn>
                <a:cxn ang="0">
                  <a:pos x="78" y="46"/>
                </a:cxn>
                <a:cxn ang="0">
                  <a:pos x="74" y="46"/>
                </a:cxn>
                <a:cxn ang="0">
                  <a:pos x="69" y="45"/>
                </a:cxn>
                <a:cxn ang="0">
                  <a:pos x="69" y="31"/>
                </a:cxn>
                <a:cxn ang="0">
                  <a:pos x="74" y="31"/>
                </a:cxn>
                <a:cxn ang="0">
                  <a:pos x="78" y="46"/>
                </a:cxn>
                <a:cxn ang="0">
                  <a:pos x="140" y="31"/>
                </a:cxn>
                <a:cxn ang="0">
                  <a:pos x="133" y="19"/>
                </a:cxn>
                <a:cxn ang="0">
                  <a:pos x="140" y="15"/>
                </a:cxn>
              </a:cxnLst>
              <a:rect l="0" t="0" r="r" b="b"/>
              <a:pathLst>
                <a:path w="150" h="49">
                  <a:moveTo>
                    <a:pt x="71" y="25"/>
                  </a:moveTo>
                  <a:lnTo>
                    <a:pt x="71" y="25"/>
                  </a:lnTo>
                  <a:lnTo>
                    <a:pt x="50" y="24"/>
                  </a:lnTo>
                  <a:lnTo>
                    <a:pt x="31" y="21"/>
                  </a:lnTo>
                  <a:lnTo>
                    <a:pt x="12" y="15"/>
                  </a:lnTo>
                  <a:lnTo>
                    <a:pt x="5" y="11"/>
                  </a:lnTo>
                  <a:lnTo>
                    <a:pt x="0" y="7"/>
                  </a:lnTo>
                  <a:lnTo>
                    <a:pt x="0" y="21"/>
                  </a:lnTo>
                  <a:lnTo>
                    <a:pt x="0" y="21"/>
                  </a:lnTo>
                  <a:lnTo>
                    <a:pt x="0" y="21"/>
                  </a:lnTo>
                  <a:lnTo>
                    <a:pt x="1" y="26"/>
                  </a:lnTo>
                  <a:lnTo>
                    <a:pt x="5" y="32"/>
                  </a:lnTo>
                  <a:lnTo>
                    <a:pt x="12" y="38"/>
                  </a:lnTo>
                  <a:lnTo>
                    <a:pt x="21" y="42"/>
                  </a:lnTo>
                  <a:lnTo>
                    <a:pt x="32" y="45"/>
                  </a:lnTo>
                  <a:lnTo>
                    <a:pt x="45" y="47"/>
                  </a:lnTo>
                  <a:lnTo>
                    <a:pt x="59" y="49"/>
                  </a:lnTo>
                  <a:lnTo>
                    <a:pt x="74" y="49"/>
                  </a:lnTo>
                  <a:lnTo>
                    <a:pt x="74" y="49"/>
                  </a:lnTo>
                  <a:lnTo>
                    <a:pt x="90" y="49"/>
                  </a:lnTo>
                  <a:lnTo>
                    <a:pt x="102" y="47"/>
                  </a:lnTo>
                  <a:lnTo>
                    <a:pt x="115" y="45"/>
                  </a:lnTo>
                  <a:lnTo>
                    <a:pt x="126" y="42"/>
                  </a:lnTo>
                  <a:lnTo>
                    <a:pt x="136" y="38"/>
                  </a:lnTo>
                  <a:lnTo>
                    <a:pt x="143" y="33"/>
                  </a:lnTo>
                  <a:lnTo>
                    <a:pt x="147" y="28"/>
                  </a:lnTo>
                  <a:lnTo>
                    <a:pt x="148" y="22"/>
                  </a:lnTo>
                  <a:lnTo>
                    <a:pt x="148" y="22"/>
                  </a:lnTo>
                  <a:lnTo>
                    <a:pt x="148" y="21"/>
                  </a:lnTo>
                  <a:lnTo>
                    <a:pt x="150" y="21"/>
                  </a:lnTo>
                  <a:lnTo>
                    <a:pt x="150" y="3"/>
                  </a:lnTo>
                  <a:lnTo>
                    <a:pt x="150" y="3"/>
                  </a:lnTo>
                  <a:lnTo>
                    <a:pt x="148" y="0"/>
                  </a:lnTo>
                  <a:lnTo>
                    <a:pt x="148" y="0"/>
                  </a:lnTo>
                  <a:lnTo>
                    <a:pt x="144" y="5"/>
                  </a:lnTo>
                  <a:lnTo>
                    <a:pt x="137" y="11"/>
                  </a:lnTo>
                  <a:lnTo>
                    <a:pt x="129" y="15"/>
                  </a:lnTo>
                  <a:lnTo>
                    <a:pt x="119" y="19"/>
                  </a:lnTo>
                  <a:lnTo>
                    <a:pt x="108" y="22"/>
                  </a:lnTo>
                  <a:lnTo>
                    <a:pt x="97" y="24"/>
                  </a:lnTo>
                  <a:lnTo>
                    <a:pt x="71" y="25"/>
                  </a:lnTo>
                  <a:lnTo>
                    <a:pt x="71" y="25"/>
                  </a:lnTo>
                  <a:close/>
                  <a:moveTo>
                    <a:pt x="17" y="35"/>
                  </a:moveTo>
                  <a:lnTo>
                    <a:pt x="17" y="35"/>
                  </a:lnTo>
                  <a:lnTo>
                    <a:pt x="11" y="32"/>
                  </a:lnTo>
                  <a:lnTo>
                    <a:pt x="7" y="29"/>
                  </a:lnTo>
                  <a:lnTo>
                    <a:pt x="7" y="17"/>
                  </a:lnTo>
                  <a:lnTo>
                    <a:pt x="7" y="17"/>
                  </a:lnTo>
                  <a:lnTo>
                    <a:pt x="10" y="19"/>
                  </a:lnTo>
                  <a:lnTo>
                    <a:pt x="17" y="22"/>
                  </a:lnTo>
                  <a:lnTo>
                    <a:pt x="17" y="35"/>
                  </a:lnTo>
                  <a:close/>
                  <a:moveTo>
                    <a:pt x="38" y="42"/>
                  </a:moveTo>
                  <a:lnTo>
                    <a:pt x="38" y="42"/>
                  </a:lnTo>
                  <a:lnTo>
                    <a:pt x="28" y="39"/>
                  </a:lnTo>
                  <a:lnTo>
                    <a:pt x="28" y="24"/>
                  </a:lnTo>
                  <a:lnTo>
                    <a:pt x="28" y="24"/>
                  </a:lnTo>
                  <a:lnTo>
                    <a:pt x="38" y="26"/>
                  </a:lnTo>
                  <a:lnTo>
                    <a:pt x="38" y="42"/>
                  </a:lnTo>
                  <a:close/>
                  <a:moveTo>
                    <a:pt x="57" y="45"/>
                  </a:moveTo>
                  <a:lnTo>
                    <a:pt x="57" y="45"/>
                  </a:lnTo>
                  <a:lnTo>
                    <a:pt x="47" y="43"/>
                  </a:lnTo>
                  <a:lnTo>
                    <a:pt x="47" y="29"/>
                  </a:lnTo>
                  <a:lnTo>
                    <a:pt x="47" y="29"/>
                  </a:lnTo>
                  <a:lnTo>
                    <a:pt x="57" y="31"/>
                  </a:lnTo>
                  <a:lnTo>
                    <a:pt x="57" y="45"/>
                  </a:lnTo>
                  <a:close/>
                  <a:moveTo>
                    <a:pt x="78" y="46"/>
                  </a:moveTo>
                  <a:lnTo>
                    <a:pt x="78" y="46"/>
                  </a:lnTo>
                  <a:lnTo>
                    <a:pt x="74" y="46"/>
                  </a:lnTo>
                  <a:lnTo>
                    <a:pt x="74" y="46"/>
                  </a:lnTo>
                  <a:lnTo>
                    <a:pt x="69" y="45"/>
                  </a:lnTo>
                  <a:lnTo>
                    <a:pt x="69" y="31"/>
                  </a:lnTo>
                  <a:lnTo>
                    <a:pt x="69" y="31"/>
                  </a:lnTo>
                  <a:lnTo>
                    <a:pt x="74" y="31"/>
                  </a:lnTo>
                  <a:lnTo>
                    <a:pt x="74" y="31"/>
                  </a:lnTo>
                  <a:lnTo>
                    <a:pt x="78" y="31"/>
                  </a:lnTo>
                  <a:lnTo>
                    <a:pt x="78" y="46"/>
                  </a:lnTo>
                  <a:close/>
                  <a:moveTo>
                    <a:pt x="140" y="31"/>
                  </a:moveTo>
                  <a:lnTo>
                    <a:pt x="140" y="31"/>
                  </a:lnTo>
                  <a:lnTo>
                    <a:pt x="133" y="35"/>
                  </a:lnTo>
                  <a:lnTo>
                    <a:pt x="133" y="19"/>
                  </a:lnTo>
                  <a:lnTo>
                    <a:pt x="133" y="19"/>
                  </a:lnTo>
                  <a:lnTo>
                    <a:pt x="140" y="15"/>
                  </a:lnTo>
                  <a:lnTo>
                    <a:pt x="140" y="3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35" name="Freeform 55">
              <a:extLst>
                <a:ext uri="{FF2B5EF4-FFF2-40B4-BE49-F238E27FC236}">
                  <a16:creationId xmlns:a16="http://schemas.microsoft.com/office/drawing/2014/main" id="{56C39B93-8E42-4806-B2BC-D21BE68E7A71}"/>
                </a:ext>
              </a:extLst>
            </p:cNvPr>
            <p:cNvSpPr>
              <a:spLocks noEditPoints="1"/>
            </p:cNvSpPr>
            <p:nvPr/>
          </p:nvSpPr>
          <p:spPr bwMode="auto">
            <a:xfrm>
              <a:off x="5343525" y="3111500"/>
              <a:ext cx="238125" cy="77788"/>
            </a:xfrm>
            <a:custGeom>
              <a:avLst/>
              <a:gdLst/>
              <a:ahLst/>
              <a:cxnLst>
                <a:cxn ang="0">
                  <a:pos x="75" y="49"/>
                </a:cxn>
                <a:cxn ang="0">
                  <a:pos x="103" y="48"/>
                </a:cxn>
                <a:cxn ang="0">
                  <a:pos x="127" y="41"/>
                </a:cxn>
                <a:cxn ang="0">
                  <a:pos x="143" y="33"/>
                </a:cxn>
                <a:cxn ang="0">
                  <a:pos x="150" y="23"/>
                </a:cxn>
                <a:cxn ang="0">
                  <a:pos x="150" y="21"/>
                </a:cxn>
                <a:cxn ang="0">
                  <a:pos x="150" y="7"/>
                </a:cxn>
                <a:cxn ang="0">
                  <a:pos x="144" y="11"/>
                </a:cxn>
                <a:cxn ang="0">
                  <a:pos x="119" y="21"/>
                </a:cxn>
                <a:cxn ang="0">
                  <a:pos x="78" y="26"/>
                </a:cxn>
                <a:cxn ang="0">
                  <a:pos x="53" y="24"/>
                </a:cxn>
                <a:cxn ang="0">
                  <a:pos x="30" y="19"/>
                </a:cxn>
                <a:cxn ang="0">
                  <a:pos x="12" y="11"/>
                </a:cxn>
                <a:cxn ang="0">
                  <a:pos x="0" y="0"/>
                </a:cxn>
                <a:cxn ang="0">
                  <a:pos x="0" y="2"/>
                </a:cxn>
                <a:cxn ang="0">
                  <a:pos x="0" y="3"/>
                </a:cxn>
                <a:cxn ang="0">
                  <a:pos x="0" y="21"/>
                </a:cxn>
                <a:cxn ang="0">
                  <a:pos x="1" y="27"/>
                </a:cxn>
                <a:cxn ang="0">
                  <a:pos x="12" y="37"/>
                </a:cxn>
                <a:cxn ang="0">
                  <a:pos x="33" y="45"/>
                </a:cxn>
                <a:cxn ang="0">
                  <a:pos x="60" y="49"/>
                </a:cxn>
                <a:cxn ang="0">
                  <a:pos x="75" y="49"/>
                </a:cxn>
                <a:cxn ang="0">
                  <a:pos x="133" y="23"/>
                </a:cxn>
                <a:cxn ang="0">
                  <a:pos x="141" y="30"/>
                </a:cxn>
                <a:cxn ang="0">
                  <a:pos x="133" y="35"/>
                </a:cxn>
                <a:cxn ang="0">
                  <a:pos x="68" y="31"/>
                </a:cxn>
                <a:cxn ang="0">
                  <a:pos x="75" y="31"/>
                </a:cxn>
                <a:cxn ang="0">
                  <a:pos x="80" y="31"/>
                </a:cxn>
                <a:cxn ang="0">
                  <a:pos x="80" y="45"/>
                </a:cxn>
                <a:cxn ang="0">
                  <a:pos x="75" y="45"/>
                </a:cxn>
                <a:cxn ang="0">
                  <a:pos x="68" y="31"/>
                </a:cxn>
                <a:cxn ang="0">
                  <a:pos x="49" y="28"/>
                </a:cxn>
                <a:cxn ang="0">
                  <a:pos x="58" y="45"/>
                </a:cxn>
                <a:cxn ang="0">
                  <a:pos x="49" y="44"/>
                </a:cxn>
                <a:cxn ang="0">
                  <a:pos x="28" y="24"/>
                </a:cxn>
                <a:cxn ang="0">
                  <a:pos x="37" y="27"/>
                </a:cxn>
                <a:cxn ang="0">
                  <a:pos x="37" y="42"/>
                </a:cxn>
                <a:cxn ang="0">
                  <a:pos x="28" y="24"/>
                </a:cxn>
                <a:cxn ang="0">
                  <a:pos x="8" y="14"/>
                </a:cxn>
                <a:cxn ang="0">
                  <a:pos x="18" y="20"/>
                </a:cxn>
                <a:cxn ang="0">
                  <a:pos x="18" y="35"/>
                </a:cxn>
                <a:cxn ang="0">
                  <a:pos x="8" y="28"/>
                </a:cxn>
              </a:cxnLst>
              <a:rect l="0" t="0" r="r" b="b"/>
              <a:pathLst>
                <a:path w="150" h="49">
                  <a:moveTo>
                    <a:pt x="75" y="49"/>
                  </a:moveTo>
                  <a:lnTo>
                    <a:pt x="75" y="49"/>
                  </a:lnTo>
                  <a:lnTo>
                    <a:pt x="89" y="49"/>
                  </a:lnTo>
                  <a:lnTo>
                    <a:pt x="103" y="48"/>
                  </a:lnTo>
                  <a:lnTo>
                    <a:pt x="116" y="45"/>
                  </a:lnTo>
                  <a:lnTo>
                    <a:pt x="127" y="41"/>
                  </a:lnTo>
                  <a:lnTo>
                    <a:pt x="136" y="38"/>
                  </a:lnTo>
                  <a:lnTo>
                    <a:pt x="143" y="33"/>
                  </a:lnTo>
                  <a:lnTo>
                    <a:pt x="148" y="28"/>
                  </a:lnTo>
                  <a:lnTo>
                    <a:pt x="150" y="23"/>
                  </a:lnTo>
                  <a:lnTo>
                    <a:pt x="150" y="23"/>
                  </a:lnTo>
                  <a:lnTo>
                    <a:pt x="150" y="21"/>
                  </a:lnTo>
                  <a:lnTo>
                    <a:pt x="150" y="21"/>
                  </a:lnTo>
                  <a:lnTo>
                    <a:pt x="150" y="7"/>
                  </a:lnTo>
                  <a:lnTo>
                    <a:pt x="150" y="7"/>
                  </a:lnTo>
                  <a:lnTo>
                    <a:pt x="144" y="11"/>
                  </a:lnTo>
                  <a:lnTo>
                    <a:pt x="137" y="16"/>
                  </a:lnTo>
                  <a:lnTo>
                    <a:pt x="119" y="21"/>
                  </a:lnTo>
                  <a:lnTo>
                    <a:pt x="99" y="24"/>
                  </a:lnTo>
                  <a:lnTo>
                    <a:pt x="78" y="26"/>
                  </a:lnTo>
                  <a:lnTo>
                    <a:pt x="78" y="26"/>
                  </a:lnTo>
                  <a:lnTo>
                    <a:pt x="53" y="24"/>
                  </a:lnTo>
                  <a:lnTo>
                    <a:pt x="42" y="21"/>
                  </a:lnTo>
                  <a:lnTo>
                    <a:pt x="30" y="19"/>
                  </a:lnTo>
                  <a:lnTo>
                    <a:pt x="21" y="16"/>
                  </a:lnTo>
                  <a:lnTo>
                    <a:pt x="12" y="11"/>
                  </a:lnTo>
                  <a:lnTo>
                    <a:pt x="5" y="6"/>
                  </a:lnTo>
                  <a:lnTo>
                    <a:pt x="0" y="0"/>
                  </a:lnTo>
                  <a:lnTo>
                    <a:pt x="0" y="0"/>
                  </a:lnTo>
                  <a:lnTo>
                    <a:pt x="0" y="2"/>
                  </a:lnTo>
                  <a:lnTo>
                    <a:pt x="0" y="2"/>
                  </a:lnTo>
                  <a:lnTo>
                    <a:pt x="0" y="3"/>
                  </a:lnTo>
                  <a:lnTo>
                    <a:pt x="0" y="21"/>
                  </a:lnTo>
                  <a:lnTo>
                    <a:pt x="0" y="21"/>
                  </a:lnTo>
                  <a:lnTo>
                    <a:pt x="0" y="21"/>
                  </a:lnTo>
                  <a:lnTo>
                    <a:pt x="1" y="27"/>
                  </a:lnTo>
                  <a:lnTo>
                    <a:pt x="7" y="33"/>
                  </a:lnTo>
                  <a:lnTo>
                    <a:pt x="12" y="37"/>
                  </a:lnTo>
                  <a:lnTo>
                    <a:pt x="22" y="41"/>
                  </a:lnTo>
                  <a:lnTo>
                    <a:pt x="33" y="45"/>
                  </a:lnTo>
                  <a:lnTo>
                    <a:pt x="46" y="48"/>
                  </a:lnTo>
                  <a:lnTo>
                    <a:pt x="60" y="49"/>
                  </a:lnTo>
                  <a:lnTo>
                    <a:pt x="75" y="49"/>
                  </a:lnTo>
                  <a:lnTo>
                    <a:pt x="75" y="49"/>
                  </a:lnTo>
                  <a:close/>
                  <a:moveTo>
                    <a:pt x="133" y="23"/>
                  </a:moveTo>
                  <a:lnTo>
                    <a:pt x="133" y="23"/>
                  </a:lnTo>
                  <a:lnTo>
                    <a:pt x="141" y="19"/>
                  </a:lnTo>
                  <a:lnTo>
                    <a:pt x="141" y="30"/>
                  </a:lnTo>
                  <a:lnTo>
                    <a:pt x="141" y="30"/>
                  </a:lnTo>
                  <a:lnTo>
                    <a:pt x="133" y="35"/>
                  </a:lnTo>
                  <a:lnTo>
                    <a:pt x="133" y="23"/>
                  </a:lnTo>
                  <a:close/>
                  <a:moveTo>
                    <a:pt x="68" y="31"/>
                  </a:moveTo>
                  <a:lnTo>
                    <a:pt x="68" y="31"/>
                  </a:lnTo>
                  <a:lnTo>
                    <a:pt x="75" y="31"/>
                  </a:lnTo>
                  <a:lnTo>
                    <a:pt x="75" y="31"/>
                  </a:lnTo>
                  <a:lnTo>
                    <a:pt x="80" y="31"/>
                  </a:lnTo>
                  <a:lnTo>
                    <a:pt x="80" y="45"/>
                  </a:lnTo>
                  <a:lnTo>
                    <a:pt x="80" y="45"/>
                  </a:lnTo>
                  <a:lnTo>
                    <a:pt x="75" y="45"/>
                  </a:lnTo>
                  <a:lnTo>
                    <a:pt x="75" y="45"/>
                  </a:lnTo>
                  <a:lnTo>
                    <a:pt x="68" y="45"/>
                  </a:lnTo>
                  <a:lnTo>
                    <a:pt x="68" y="31"/>
                  </a:lnTo>
                  <a:close/>
                  <a:moveTo>
                    <a:pt x="49" y="28"/>
                  </a:moveTo>
                  <a:lnTo>
                    <a:pt x="49" y="28"/>
                  </a:lnTo>
                  <a:lnTo>
                    <a:pt x="58" y="30"/>
                  </a:lnTo>
                  <a:lnTo>
                    <a:pt x="58" y="45"/>
                  </a:lnTo>
                  <a:lnTo>
                    <a:pt x="58" y="45"/>
                  </a:lnTo>
                  <a:lnTo>
                    <a:pt x="49" y="44"/>
                  </a:lnTo>
                  <a:lnTo>
                    <a:pt x="49" y="28"/>
                  </a:lnTo>
                  <a:close/>
                  <a:moveTo>
                    <a:pt x="28" y="24"/>
                  </a:moveTo>
                  <a:lnTo>
                    <a:pt x="28" y="24"/>
                  </a:lnTo>
                  <a:lnTo>
                    <a:pt x="37" y="27"/>
                  </a:lnTo>
                  <a:lnTo>
                    <a:pt x="37" y="42"/>
                  </a:lnTo>
                  <a:lnTo>
                    <a:pt x="37" y="42"/>
                  </a:lnTo>
                  <a:lnTo>
                    <a:pt x="28" y="40"/>
                  </a:lnTo>
                  <a:lnTo>
                    <a:pt x="28" y="24"/>
                  </a:lnTo>
                  <a:close/>
                  <a:moveTo>
                    <a:pt x="8" y="14"/>
                  </a:moveTo>
                  <a:lnTo>
                    <a:pt x="8" y="14"/>
                  </a:lnTo>
                  <a:lnTo>
                    <a:pt x="12" y="17"/>
                  </a:lnTo>
                  <a:lnTo>
                    <a:pt x="18" y="20"/>
                  </a:lnTo>
                  <a:lnTo>
                    <a:pt x="18" y="35"/>
                  </a:lnTo>
                  <a:lnTo>
                    <a:pt x="18" y="35"/>
                  </a:lnTo>
                  <a:lnTo>
                    <a:pt x="11" y="33"/>
                  </a:lnTo>
                  <a:lnTo>
                    <a:pt x="8" y="28"/>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36" name="Freeform 56">
              <a:extLst>
                <a:ext uri="{FF2B5EF4-FFF2-40B4-BE49-F238E27FC236}">
                  <a16:creationId xmlns:a16="http://schemas.microsoft.com/office/drawing/2014/main" id="{F3155512-AEA9-4409-A204-DC8167921998}"/>
                </a:ext>
              </a:extLst>
            </p:cNvPr>
            <p:cNvSpPr>
              <a:spLocks noEditPoints="1"/>
            </p:cNvSpPr>
            <p:nvPr/>
          </p:nvSpPr>
          <p:spPr bwMode="auto">
            <a:xfrm>
              <a:off x="5343525" y="3208338"/>
              <a:ext cx="238125" cy="77788"/>
            </a:xfrm>
            <a:custGeom>
              <a:avLst/>
              <a:gdLst/>
              <a:ahLst/>
              <a:cxnLst>
                <a:cxn ang="0">
                  <a:pos x="150" y="7"/>
                </a:cxn>
                <a:cxn ang="0">
                  <a:pos x="137" y="14"/>
                </a:cxn>
                <a:cxn ang="0">
                  <a:pos x="99" y="23"/>
                </a:cxn>
                <a:cxn ang="0">
                  <a:pos x="78" y="23"/>
                </a:cxn>
                <a:cxn ang="0">
                  <a:pos x="42" y="21"/>
                </a:cxn>
                <a:cxn ang="0">
                  <a:pos x="21" y="14"/>
                </a:cxn>
                <a:cxn ang="0">
                  <a:pos x="5" y="5"/>
                </a:cxn>
                <a:cxn ang="0">
                  <a:pos x="0" y="0"/>
                </a:cxn>
                <a:cxn ang="0">
                  <a:pos x="0" y="1"/>
                </a:cxn>
                <a:cxn ang="0">
                  <a:pos x="0" y="21"/>
                </a:cxn>
                <a:cxn ang="0">
                  <a:pos x="0" y="21"/>
                </a:cxn>
                <a:cxn ang="0">
                  <a:pos x="7" y="30"/>
                </a:cxn>
                <a:cxn ang="0">
                  <a:pos x="22" y="40"/>
                </a:cxn>
                <a:cxn ang="0">
                  <a:pos x="46" y="46"/>
                </a:cxn>
                <a:cxn ang="0">
                  <a:pos x="75" y="49"/>
                </a:cxn>
                <a:cxn ang="0">
                  <a:pos x="89" y="47"/>
                </a:cxn>
                <a:cxn ang="0">
                  <a:pos x="116" y="43"/>
                </a:cxn>
                <a:cxn ang="0">
                  <a:pos x="136" y="36"/>
                </a:cxn>
                <a:cxn ang="0">
                  <a:pos x="148" y="26"/>
                </a:cxn>
                <a:cxn ang="0">
                  <a:pos x="150" y="21"/>
                </a:cxn>
                <a:cxn ang="0">
                  <a:pos x="150" y="21"/>
                </a:cxn>
                <a:cxn ang="0">
                  <a:pos x="18" y="35"/>
                </a:cxn>
                <a:cxn ang="0">
                  <a:pos x="11" y="30"/>
                </a:cxn>
                <a:cxn ang="0">
                  <a:pos x="8" y="12"/>
                </a:cxn>
                <a:cxn ang="0">
                  <a:pos x="12" y="16"/>
                </a:cxn>
                <a:cxn ang="0">
                  <a:pos x="18" y="35"/>
                </a:cxn>
                <a:cxn ang="0">
                  <a:pos x="37" y="40"/>
                </a:cxn>
                <a:cxn ang="0">
                  <a:pos x="28" y="23"/>
                </a:cxn>
                <a:cxn ang="0">
                  <a:pos x="37" y="26"/>
                </a:cxn>
                <a:cxn ang="0">
                  <a:pos x="58" y="43"/>
                </a:cxn>
                <a:cxn ang="0">
                  <a:pos x="49" y="43"/>
                </a:cxn>
                <a:cxn ang="0">
                  <a:pos x="49" y="28"/>
                </a:cxn>
                <a:cxn ang="0">
                  <a:pos x="58" y="43"/>
                </a:cxn>
                <a:cxn ang="0">
                  <a:pos x="80" y="44"/>
                </a:cxn>
                <a:cxn ang="0">
                  <a:pos x="75" y="44"/>
                </a:cxn>
                <a:cxn ang="0">
                  <a:pos x="68" y="29"/>
                </a:cxn>
                <a:cxn ang="0">
                  <a:pos x="75" y="29"/>
                </a:cxn>
                <a:cxn ang="0">
                  <a:pos x="80" y="29"/>
                </a:cxn>
                <a:cxn ang="0">
                  <a:pos x="141" y="29"/>
                </a:cxn>
                <a:cxn ang="0">
                  <a:pos x="133" y="33"/>
                </a:cxn>
                <a:cxn ang="0">
                  <a:pos x="133" y="21"/>
                </a:cxn>
                <a:cxn ang="0">
                  <a:pos x="141" y="29"/>
                </a:cxn>
              </a:cxnLst>
              <a:rect l="0" t="0" r="r" b="b"/>
              <a:pathLst>
                <a:path w="150" h="49">
                  <a:moveTo>
                    <a:pt x="150" y="7"/>
                  </a:moveTo>
                  <a:lnTo>
                    <a:pt x="150" y="7"/>
                  </a:lnTo>
                  <a:lnTo>
                    <a:pt x="144" y="11"/>
                  </a:lnTo>
                  <a:lnTo>
                    <a:pt x="137" y="14"/>
                  </a:lnTo>
                  <a:lnTo>
                    <a:pt x="119" y="19"/>
                  </a:lnTo>
                  <a:lnTo>
                    <a:pt x="99" y="23"/>
                  </a:lnTo>
                  <a:lnTo>
                    <a:pt x="78" y="23"/>
                  </a:lnTo>
                  <a:lnTo>
                    <a:pt x="78" y="23"/>
                  </a:lnTo>
                  <a:lnTo>
                    <a:pt x="53" y="22"/>
                  </a:lnTo>
                  <a:lnTo>
                    <a:pt x="42" y="21"/>
                  </a:lnTo>
                  <a:lnTo>
                    <a:pt x="30" y="18"/>
                  </a:lnTo>
                  <a:lnTo>
                    <a:pt x="21" y="14"/>
                  </a:lnTo>
                  <a:lnTo>
                    <a:pt x="12" y="9"/>
                  </a:lnTo>
                  <a:lnTo>
                    <a:pt x="5" y="5"/>
                  </a:lnTo>
                  <a:lnTo>
                    <a:pt x="0" y="0"/>
                  </a:lnTo>
                  <a:lnTo>
                    <a:pt x="0" y="0"/>
                  </a:lnTo>
                  <a:lnTo>
                    <a:pt x="0" y="1"/>
                  </a:lnTo>
                  <a:lnTo>
                    <a:pt x="0" y="1"/>
                  </a:lnTo>
                  <a:lnTo>
                    <a:pt x="0" y="1"/>
                  </a:lnTo>
                  <a:lnTo>
                    <a:pt x="0" y="21"/>
                  </a:lnTo>
                  <a:lnTo>
                    <a:pt x="0" y="21"/>
                  </a:lnTo>
                  <a:lnTo>
                    <a:pt x="0" y="21"/>
                  </a:lnTo>
                  <a:lnTo>
                    <a:pt x="1" y="26"/>
                  </a:lnTo>
                  <a:lnTo>
                    <a:pt x="7" y="30"/>
                  </a:lnTo>
                  <a:lnTo>
                    <a:pt x="12" y="36"/>
                  </a:lnTo>
                  <a:lnTo>
                    <a:pt x="22" y="40"/>
                  </a:lnTo>
                  <a:lnTo>
                    <a:pt x="33" y="43"/>
                  </a:lnTo>
                  <a:lnTo>
                    <a:pt x="46" y="46"/>
                  </a:lnTo>
                  <a:lnTo>
                    <a:pt x="60" y="47"/>
                  </a:lnTo>
                  <a:lnTo>
                    <a:pt x="75" y="49"/>
                  </a:lnTo>
                  <a:lnTo>
                    <a:pt x="75" y="49"/>
                  </a:lnTo>
                  <a:lnTo>
                    <a:pt x="89" y="47"/>
                  </a:lnTo>
                  <a:lnTo>
                    <a:pt x="103" y="46"/>
                  </a:lnTo>
                  <a:lnTo>
                    <a:pt x="116" y="43"/>
                  </a:lnTo>
                  <a:lnTo>
                    <a:pt x="127" y="40"/>
                  </a:lnTo>
                  <a:lnTo>
                    <a:pt x="136" y="36"/>
                  </a:lnTo>
                  <a:lnTo>
                    <a:pt x="143" y="32"/>
                  </a:lnTo>
                  <a:lnTo>
                    <a:pt x="148" y="26"/>
                  </a:lnTo>
                  <a:lnTo>
                    <a:pt x="150" y="21"/>
                  </a:lnTo>
                  <a:lnTo>
                    <a:pt x="150" y="21"/>
                  </a:lnTo>
                  <a:lnTo>
                    <a:pt x="150" y="21"/>
                  </a:lnTo>
                  <a:lnTo>
                    <a:pt x="150" y="21"/>
                  </a:lnTo>
                  <a:lnTo>
                    <a:pt x="150" y="7"/>
                  </a:lnTo>
                  <a:close/>
                  <a:moveTo>
                    <a:pt x="18" y="35"/>
                  </a:moveTo>
                  <a:lnTo>
                    <a:pt x="18" y="35"/>
                  </a:lnTo>
                  <a:lnTo>
                    <a:pt x="11" y="30"/>
                  </a:lnTo>
                  <a:lnTo>
                    <a:pt x="8" y="28"/>
                  </a:lnTo>
                  <a:lnTo>
                    <a:pt x="8" y="12"/>
                  </a:lnTo>
                  <a:lnTo>
                    <a:pt x="8" y="12"/>
                  </a:lnTo>
                  <a:lnTo>
                    <a:pt x="12" y="16"/>
                  </a:lnTo>
                  <a:lnTo>
                    <a:pt x="18" y="19"/>
                  </a:lnTo>
                  <a:lnTo>
                    <a:pt x="18" y="35"/>
                  </a:lnTo>
                  <a:close/>
                  <a:moveTo>
                    <a:pt x="37" y="40"/>
                  </a:moveTo>
                  <a:lnTo>
                    <a:pt x="37" y="40"/>
                  </a:lnTo>
                  <a:lnTo>
                    <a:pt x="28" y="37"/>
                  </a:lnTo>
                  <a:lnTo>
                    <a:pt x="28" y="23"/>
                  </a:lnTo>
                  <a:lnTo>
                    <a:pt x="28" y="23"/>
                  </a:lnTo>
                  <a:lnTo>
                    <a:pt x="37" y="26"/>
                  </a:lnTo>
                  <a:lnTo>
                    <a:pt x="37" y="40"/>
                  </a:lnTo>
                  <a:close/>
                  <a:moveTo>
                    <a:pt x="58" y="43"/>
                  </a:moveTo>
                  <a:lnTo>
                    <a:pt x="58" y="43"/>
                  </a:lnTo>
                  <a:lnTo>
                    <a:pt x="49" y="43"/>
                  </a:lnTo>
                  <a:lnTo>
                    <a:pt x="49" y="28"/>
                  </a:lnTo>
                  <a:lnTo>
                    <a:pt x="49" y="28"/>
                  </a:lnTo>
                  <a:lnTo>
                    <a:pt x="58" y="29"/>
                  </a:lnTo>
                  <a:lnTo>
                    <a:pt x="58" y="43"/>
                  </a:lnTo>
                  <a:close/>
                  <a:moveTo>
                    <a:pt x="80" y="44"/>
                  </a:moveTo>
                  <a:lnTo>
                    <a:pt x="80" y="44"/>
                  </a:lnTo>
                  <a:lnTo>
                    <a:pt x="75" y="44"/>
                  </a:lnTo>
                  <a:lnTo>
                    <a:pt x="75" y="44"/>
                  </a:lnTo>
                  <a:lnTo>
                    <a:pt x="68" y="44"/>
                  </a:lnTo>
                  <a:lnTo>
                    <a:pt x="68" y="29"/>
                  </a:lnTo>
                  <a:lnTo>
                    <a:pt x="68" y="29"/>
                  </a:lnTo>
                  <a:lnTo>
                    <a:pt x="75" y="29"/>
                  </a:lnTo>
                  <a:lnTo>
                    <a:pt x="75" y="29"/>
                  </a:lnTo>
                  <a:lnTo>
                    <a:pt x="80" y="29"/>
                  </a:lnTo>
                  <a:lnTo>
                    <a:pt x="80" y="44"/>
                  </a:lnTo>
                  <a:close/>
                  <a:moveTo>
                    <a:pt x="141" y="29"/>
                  </a:moveTo>
                  <a:lnTo>
                    <a:pt x="141" y="29"/>
                  </a:lnTo>
                  <a:lnTo>
                    <a:pt x="133" y="33"/>
                  </a:lnTo>
                  <a:lnTo>
                    <a:pt x="133" y="21"/>
                  </a:lnTo>
                  <a:lnTo>
                    <a:pt x="133" y="21"/>
                  </a:lnTo>
                  <a:lnTo>
                    <a:pt x="141" y="18"/>
                  </a:lnTo>
                  <a:lnTo>
                    <a:pt x="141" y="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37" name="Freeform 57">
              <a:extLst>
                <a:ext uri="{FF2B5EF4-FFF2-40B4-BE49-F238E27FC236}">
                  <a16:creationId xmlns:a16="http://schemas.microsoft.com/office/drawing/2014/main" id="{20844782-F9D0-4988-BAB7-344310C9E87E}"/>
                </a:ext>
              </a:extLst>
            </p:cNvPr>
            <p:cNvSpPr>
              <a:spLocks noEditPoints="1"/>
            </p:cNvSpPr>
            <p:nvPr/>
          </p:nvSpPr>
          <p:spPr bwMode="auto">
            <a:xfrm>
              <a:off x="5349875" y="3305175"/>
              <a:ext cx="238125" cy="77788"/>
            </a:xfrm>
            <a:custGeom>
              <a:avLst/>
              <a:gdLst/>
              <a:ahLst/>
              <a:cxnLst>
                <a:cxn ang="0">
                  <a:pos x="71" y="25"/>
                </a:cxn>
                <a:cxn ang="0">
                  <a:pos x="31" y="20"/>
                </a:cxn>
                <a:cxn ang="0">
                  <a:pos x="5" y="11"/>
                </a:cxn>
                <a:cxn ang="0">
                  <a:pos x="0" y="21"/>
                </a:cxn>
                <a:cxn ang="0">
                  <a:pos x="0" y="21"/>
                </a:cxn>
                <a:cxn ang="0">
                  <a:pos x="5" y="32"/>
                </a:cxn>
                <a:cxn ang="0">
                  <a:pos x="21" y="41"/>
                </a:cxn>
                <a:cxn ang="0">
                  <a:pos x="45" y="46"/>
                </a:cxn>
                <a:cxn ang="0">
                  <a:pos x="74" y="49"/>
                </a:cxn>
                <a:cxn ang="0">
                  <a:pos x="90" y="48"/>
                </a:cxn>
                <a:cxn ang="0">
                  <a:pos x="115" y="45"/>
                </a:cxn>
                <a:cxn ang="0">
                  <a:pos x="136" y="37"/>
                </a:cxn>
                <a:cxn ang="0">
                  <a:pos x="147" y="27"/>
                </a:cxn>
                <a:cxn ang="0">
                  <a:pos x="148" y="23"/>
                </a:cxn>
                <a:cxn ang="0">
                  <a:pos x="150" y="21"/>
                </a:cxn>
                <a:cxn ang="0">
                  <a:pos x="150" y="2"/>
                </a:cxn>
                <a:cxn ang="0">
                  <a:pos x="148" y="0"/>
                </a:cxn>
                <a:cxn ang="0">
                  <a:pos x="137" y="10"/>
                </a:cxn>
                <a:cxn ang="0">
                  <a:pos x="119" y="18"/>
                </a:cxn>
                <a:cxn ang="0">
                  <a:pos x="97" y="23"/>
                </a:cxn>
                <a:cxn ang="0">
                  <a:pos x="71" y="25"/>
                </a:cxn>
                <a:cxn ang="0">
                  <a:pos x="17" y="35"/>
                </a:cxn>
                <a:cxn ang="0">
                  <a:pos x="7" y="28"/>
                </a:cxn>
                <a:cxn ang="0">
                  <a:pos x="7" y="16"/>
                </a:cxn>
                <a:cxn ang="0">
                  <a:pos x="17" y="21"/>
                </a:cxn>
                <a:cxn ang="0">
                  <a:pos x="38" y="41"/>
                </a:cxn>
                <a:cxn ang="0">
                  <a:pos x="28" y="38"/>
                </a:cxn>
                <a:cxn ang="0">
                  <a:pos x="28" y="24"/>
                </a:cxn>
                <a:cxn ang="0">
                  <a:pos x="38" y="41"/>
                </a:cxn>
                <a:cxn ang="0">
                  <a:pos x="57" y="44"/>
                </a:cxn>
                <a:cxn ang="0">
                  <a:pos x="47" y="28"/>
                </a:cxn>
                <a:cxn ang="0">
                  <a:pos x="57" y="30"/>
                </a:cxn>
                <a:cxn ang="0">
                  <a:pos x="78" y="45"/>
                </a:cxn>
                <a:cxn ang="0">
                  <a:pos x="74" y="45"/>
                </a:cxn>
                <a:cxn ang="0">
                  <a:pos x="69" y="45"/>
                </a:cxn>
                <a:cxn ang="0">
                  <a:pos x="69" y="30"/>
                </a:cxn>
                <a:cxn ang="0">
                  <a:pos x="74" y="31"/>
                </a:cxn>
                <a:cxn ang="0">
                  <a:pos x="78" y="45"/>
                </a:cxn>
                <a:cxn ang="0">
                  <a:pos x="140" y="30"/>
                </a:cxn>
                <a:cxn ang="0">
                  <a:pos x="133" y="20"/>
                </a:cxn>
                <a:cxn ang="0">
                  <a:pos x="140" y="16"/>
                </a:cxn>
              </a:cxnLst>
              <a:rect l="0" t="0" r="r" b="b"/>
              <a:pathLst>
                <a:path w="150" h="49">
                  <a:moveTo>
                    <a:pt x="71" y="25"/>
                  </a:moveTo>
                  <a:lnTo>
                    <a:pt x="71" y="25"/>
                  </a:lnTo>
                  <a:lnTo>
                    <a:pt x="50" y="24"/>
                  </a:lnTo>
                  <a:lnTo>
                    <a:pt x="31" y="20"/>
                  </a:lnTo>
                  <a:lnTo>
                    <a:pt x="12" y="14"/>
                  </a:lnTo>
                  <a:lnTo>
                    <a:pt x="5" y="11"/>
                  </a:lnTo>
                  <a:lnTo>
                    <a:pt x="0" y="7"/>
                  </a:lnTo>
                  <a:lnTo>
                    <a:pt x="0" y="21"/>
                  </a:lnTo>
                  <a:lnTo>
                    <a:pt x="0" y="21"/>
                  </a:lnTo>
                  <a:lnTo>
                    <a:pt x="0" y="21"/>
                  </a:lnTo>
                  <a:lnTo>
                    <a:pt x="1" y="27"/>
                  </a:lnTo>
                  <a:lnTo>
                    <a:pt x="5" y="32"/>
                  </a:lnTo>
                  <a:lnTo>
                    <a:pt x="12" y="37"/>
                  </a:lnTo>
                  <a:lnTo>
                    <a:pt x="21" y="41"/>
                  </a:lnTo>
                  <a:lnTo>
                    <a:pt x="32" y="44"/>
                  </a:lnTo>
                  <a:lnTo>
                    <a:pt x="45" y="46"/>
                  </a:lnTo>
                  <a:lnTo>
                    <a:pt x="59" y="48"/>
                  </a:lnTo>
                  <a:lnTo>
                    <a:pt x="74" y="49"/>
                  </a:lnTo>
                  <a:lnTo>
                    <a:pt x="74" y="49"/>
                  </a:lnTo>
                  <a:lnTo>
                    <a:pt x="90" y="48"/>
                  </a:lnTo>
                  <a:lnTo>
                    <a:pt x="102" y="46"/>
                  </a:lnTo>
                  <a:lnTo>
                    <a:pt x="115" y="45"/>
                  </a:lnTo>
                  <a:lnTo>
                    <a:pt x="126" y="41"/>
                  </a:lnTo>
                  <a:lnTo>
                    <a:pt x="136" y="37"/>
                  </a:lnTo>
                  <a:lnTo>
                    <a:pt x="143" y="32"/>
                  </a:lnTo>
                  <a:lnTo>
                    <a:pt x="147" y="27"/>
                  </a:lnTo>
                  <a:lnTo>
                    <a:pt x="148" y="23"/>
                  </a:lnTo>
                  <a:lnTo>
                    <a:pt x="148" y="23"/>
                  </a:lnTo>
                  <a:lnTo>
                    <a:pt x="148" y="21"/>
                  </a:lnTo>
                  <a:lnTo>
                    <a:pt x="150" y="21"/>
                  </a:lnTo>
                  <a:lnTo>
                    <a:pt x="150" y="2"/>
                  </a:lnTo>
                  <a:lnTo>
                    <a:pt x="150" y="2"/>
                  </a:lnTo>
                  <a:lnTo>
                    <a:pt x="148" y="0"/>
                  </a:lnTo>
                  <a:lnTo>
                    <a:pt x="148" y="0"/>
                  </a:lnTo>
                  <a:lnTo>
                    <a:pt x="144" y="6"/>
                  </a:lnTo>
                  <a:lnTo>
                    <a:pt x="137" y="10"/>
                  </a:lnTo>
                  <a:lnTo>
                    <a:pt x="129" y="14"/>
                  </a:lnTo>
                  <a:lnTo>
                    <a:pt x="119" y="18"/>
                  </a:lnTo>
                  <a:lnTo>
                    <a:pt x="108" y="21"/>
                  </a:lnTo>
                  <a:lnTo>
                    <a:pt x="97" y="23"/>
                  </a:lnTo>
                  <a:lnTo>
                    <a:pt x="71" y="25"/>
                  </a:lnTo>
                  <a:lnTo>
                    <a:pt x="71" y="25"/>
                  </a:lnTo>
                  <a:close/>
                  <a:moveTo>
                    <a:pt x="17" y="35"/>
                  </a:moveTo>
                  <a:lnTo>
                    <a:pt x="17" y="35"/>
                  </a:lnTo>
                  <a:lnTo>
                    <a:pt x="11" y="31"/>
                  </a:lnTo>
                  <a:lnTo>
                    <a:pt x="7" y="28"/>
                  </a:lnTo>
                  <a:lnTo>
                    <a:pt x="7" y="16"/>
                  </a:lnTo>
                  <a:lnTo>
                    <a:pt x="7" y="16"/>
                  </a:lnTo>
                  <a:lnTo>
                    <a:pt x="10" y="18"/>
                  </a:lnTo>
                  <a:lnTo>
                    <a:pt x="17" y="21"/>
                  </a:lnTo>
                  <a:lnTo>
                    <a:pt x="17" y="35"/>
                  </a:lnTo>
                  <a:close/>
                  <a:moveTo>
                    <a:pt x="38" y="41"/>
                  </a:moveTo>
                  <a:lnTo>
                    <a:pt x="38" y="41"/>
                  </a:lnTo>
                  <a:lnTo>
                    <a:pt x="28" y="38"/>
                  </a:lnTo>
                  <a:lnTo>
                    <a:pt x="28" y="24"/>
                  </a:lnTo>
                  <a:lnTo>
                    <a:pt x="28" y="24"/>
                  </a:lnTo>
                  <a:lnTo>
                    <a:pt x="38" y="27"/>
                  </a:lnTo>
                  <a:lnTo>
                    <a:pt x="38" y="41"/>
                  </a:lnTo>
                  <a:close/>
                  <a:moveTo>
                    <a:pt x="57" y="44"/>
                  </a:moveTo>
                  <a:lnTo>
                    <a:pt x="57" y="44"/>
                  </a:lnTo>
                  <a:lnTo>
                    <a:pt x="47" y="44"/>
                  </a:lnTo>
                  <a:lnTo>
                    <a:pt x="47" y="28"/>
                  </a:lnTo>
                  <a:lnTo>
                    <a:pt x="47" y="28"/>
                  </a:lnTo>
                  <a:lnTo>
                    <a:pt x="57" y="30"/>
                  </a:lnTo>
                  <a:lnTo>
                    <a:pt x="57" y="44"/>
                  </a:lnTo>
                  <a:close/>
                  <a:moveTo>
                    <a:pt x="78" y="45"/>
                  </a:moveTo>
                  <a:lnTo>
                    <a:pt x="78" y="45"/>
                  </a:lnTo>
                  <a:lnTo>
                    <a:pt x="74" y="45"/>
                  </a:lnTo>
                  <a:lnTo>
                    <a:pt x="74" y="45"/>
                  </a:lnTo>
                  <a:lnTo>
                    <a:pt x="69" y="45"/>
                  </a:lnTo>
                  <a:lnTo>
                    <a:pt x="69" y="30"/>
                  </a:lnTo>
                  <a:lnTo>
                    <a:pt x="69" y="30"/>
                  </a:lnTo>
                  <a:lnTo>
                    <a:pt x="74" y="31"/>
                  </a:lnTo>
                  <a:lnTo>
                    <a:pt x="74" y="31"/>
                  </a:lnTo>
                  <a:lnTo>
                    <a:pt x="78" y="31"/>
                  </a:lnTo>
                  <a:lnTo>
                    <a:pt x="78" y="45"/>
                  </a:lnTo>
                  <a:close/>
                  <a:moveTo>
                    <a:pt x="140" y="30"/>
                  </a:moveTo>
                  <a:lnTo>
                    <a:pt x="140" y="30"/>
                  </a:lnTo>
                  <a:lnTo>
                    <a:pt x="133" y="35"/>
                  </a:lnTo>
                  <a:lnTo>
                    <a:pt x="133" y="20"/>
                  </a:lnTo>
                  <a:lnTo>
                    <a:pt x="133" y="20"/>
                  </a:lnTo>
                  <a:lnTo>
                    <a:pt x="140" y="16"/>
                  </a:lnTo>
                  <a:lnTo>
                    <a:pt x="140" y="3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38" name="Freeform 58">
              <a:extLst>
                <a:ext uri="{FF2B5EF4-FFF2-40B4-BE49-F238E27FC236}">
                  <a16:creationId xmlns:a16="http://schemas.microsoft.com/office/drawing/2014/main" id="{65D97A2A-C871-4485-96A2-FC71BD94C063}"/>
                </a:ext>
              </a:extLst>
            </p:cNvPr>
            <p:cNvSpPr>
              <a:spLocks noEditPoints="1"/>
            </p:cNvSpPr>
            <p:nvPr/>
          </p:nvSpPr>
          <p:spPr bwMode="auto">
            <a:xfrm>
              <a:off x="5343525" y="3255963"/>
              <a:ext cx="238125" cy="77788"/>
            </a:xfrm>
            <a:custGeom>
              <a:avLst/>
              <a:gdLst/>
              <a:ahLst/>
              <a:cxnLst>
                <a:cxn ang="0">
                  <a:pos x="0" y="21"/>
                </a:cxn>
                <a:cxn ang="0">
                  <a:pos x="7" y="33"/>
                </a:cxn>
                <a:cxn ang="0">
                  <a:pos x="22" y="42"/>
                </a:cxn>
                <a:cxn ang="0">
                  <a:pos x="46" y="48"/>
                </a:cxn>
                <a:cxn ang="0">
                  <a:pos x="75" y="49"/>
                </a:cxn>
                <a:cxn ang="0">
                  <a:pos x="89" y="49"/>
                </a:cxn>
                <a:cxn ang="0">
                  <a:pos x="116" y="45"/>
                </a:cxn>
                <a:cxn ang="0">
                  <a:pos x="136" y="38"/>
                </a:cxn>
                <a:cxn ang="0">
                  <a:pos x="148" y="28"/>
                </a:cxn>
                <a:cxn ang="0">
                  <a:pos x="150" y="23"/>
                </a:cxn>
                <a:cxn ang="0">
                  <a:pos x="150" y="21"/>
                </a:cxn>
                <a:cxn ang="0">
                  <a:pos x="150" y="9"/>
                </a:cxn>
                <a:cxn ang="0">
                  <a:pos x="137" y="16"/>
                </a:cxn>
                <a:cxn ang="0">
                  <a:pos x="99" y="24"/>
                </a:cxn>
                <a:cxn ang="0">
                  <a:pos x="78" y="26"/>
                </a:cxn>
                <a:cxn ang="0">
                  <a:pos x="42" y="23"/>
                </a:cxn>
                <a:cxn ang="0">
                  <a:pos x="21" y="16"/>
                </a:cxn>
                <a:cxn ang="0">
                  <a:pos x="5" y="6"/>
                </a:cxn>
                <a:cxn ang="0">
                  <a:pos x="0" y="0"/>
                </a:cxn>
                <a:cxn ang="0">
                  <a:pos x="0" y="3"/>
                </a:cxn>
                <a:cxn ang="0">
                  <a:pos x="0" y="21"/>
                </a:cxn>
                <a:cxn ang="0">
                  <a:pos x="133" y="23"/>
                </a:cxn>
                <a:cxn ang="0">
                  <a:pos x="141" y="20"/>
                </a:cxn>
                <a:cxn ang="0">
                  <a:pos x="141" y="31"/>
                </a:cxn>
                <a:cxn ang="0">
                  <a:pos x="133" y="23"/>
                </a:cxn>
                <a:cxn ang="0">
                  <a:pos x="68" y="31"/>
                </a:cxn>
                <a:cxn ang="0">
                  <a:pos x="75" y="31"/>
                </a:cxn>
                <a:cxn ang="0">
                  <a:pos x="80" y="47"/>
                </a:cxn>
                <a:cxn ang="0">
                  <a:pos x="75" y="47"/>
                </a:cxn>
                <a:cxn ang="0">
                  <a:pos x="68" y="47"/>
                </a:cxn>
                <a:cxn ang="0">
                  <a:pos x="49" y="30"/>
                </a:cxn>
                <a:cxn ang="0">
                  <a:pos x="58" y="31"/>
                </a:cxn>
                <a:cxn ang="0">
                  <a:pos x="58" y="45"/>
                </a:cxn>
                <a:cxn ang="0">
                  <a:pos x="49" y="30"/>
                </a:cxn>
                <a:cxn ang="0">
                  <a:pos x="28" y="26"/>
                </a:cxn>
                <a:cxn ang="0">
                  <a:pos x="37" y="42"/>
                </a:cxn>
                <a:cxn ang="0">
                  <a:pos x="28" y="40"/>
                </a:cxn>
                <a:cxn ang="0">
                  <a:pos x="8" y="14"/>
                </a:cxn>
                <a:cxn ang="0">
                  <a:pos x="12" y="17"/>
                </a:cxn>
                <a:cxn ang="0">
                  <a:pos x="18" y="35"/>
                </a:cxn>
                <a:cxn ang="0">
                  <a:pos x="11" y="33"/>
                </a:cxn>
                <a:cxn ang="0">
                  <a:pos x="8" y="14"/>
                </a:cxn>
              </a:cxnLst>
              <a:rect l="0" t="0" r="r" b="b"/>
              <a:pathLst>
                <a:path w="150" h="49">
                  <a:moveTo>
                    <a:pt x="0" y="21"/>
                  </a:moveTo>
                  <a:lnTo>
                    <a:pt x="0" y="21"/>
                  </a:lnTo>
                  <a:lnTo>
                    <a:pt x="1" y="27"/>
                  </a:lnTo>
                  <a:lnTo>
                    <a:pt x="7" y="33"/>
                  </a:lnTo>
                  <a:lnTo>
                    <a:pt x="12" y="38"/>
                  </a:lnTo>
                  <a:lnTo>
                    <a:pt x="22" y="42"/>
                  </a:lnTo>
                  <a:lnTo>
                    <a:pt x="33" y="45"/>
                  </a:lnTo>
                  <a:lnTo>
                    <a:pt x="46" y="48"/>
                  </a:lnTo>
                  <a:lnTo>
                    <a:pt x="60" y="49"/>
                  </a:lnTo>
                  <a:lnTo>
                    <a:pt x="75" y="49"/>
                  </a:lnTo>
                  <a:lnTo>
                    <a:pt x="75" y="49"/>
                  </a:lnTo>
                  <a:lnTo>
                    <a:pt x="89" y="49"/>
                  </a:lnTo>
                  <a:lnTo>
                    <a:pt x="103" y="48"/>
                  </a:lnTo>
                  <a:lnTo>
                    <a:pt x="116" y="45"/>
                  </a:lnTo>
                  <a:lnTo>
                    <a:pt x="127" y="42"/>
                  </a:lnTo>
                  <a:lnTo>
                    <a:pt x="136" y="38"/>
                  </a:lnTo>
                  <a:lnTo>
                    <a:pt x="143" y="34"/>
                  </a:lnTo>
                  <a:lnTo>
                    <a:pt x="148" y="28"/>
                  </a:lnTo>
                  <a:lnTo>
                    <a:pt x="150" y="23"/>
                  </a:lnTo>
                  <a:lnTo>
                    <a:pt x="150" y="23"/>
                  </a:lnTo>
                  <a:lnTo>
                    <a:pt x="150" y="21"/>
                  </a:lnTo>
                  <a:lnTo>
                    <a:pt x="150" y="21"/>
                  </a:lnTo>
                  <a:lnTo>
                    <a:pt x="150" y="9"/>
                  </a:lnTo>
                  <a:lnTo>
                    <a:pt x="150" y="9"/>
                  </a:lnTo>
                  <a:lnTo>
                    <a:pt x="144" y="13"/>
                  </a:lnTo>
                  <a:lnTo>
                    <a:pt x="137" y="16"/>
                  </a:lnTo>
                  <a:lnTo>
                    <a:pt x="119" y="21"/>
                  </a:lnTo>
                  <a:lnTo>
                    <a:pt x="99" y="24"/>
                  </a:lnTo>
                  <a:lnTo>
                    <a:pt x="78" y="26"/>
                  </a:lnTo>
                  <a:lnTo>
                    <a:pt x="78" y="26"/>
                  </a:lnTo>
                  <a:lnTo>
                    <a:pt x="53" y="24"/>
                  </a:lnTo>
                  <a:lnTo>
                    <a:pt x="42" y="23"/>
                  </a:lnTo>
                  <a:lnTo>
                    <a:pt x="30" y="20"/>
                  </a:lnTo>
                  <a:lnTo>
                    <a:pt x="21" y="16"/>
                  </a:lnTo>
                  <a:lnTo>
                    <a:pt x="12" y="12"/>
                  </a:lnTo>
                  <a:lnTo>
                    <a:pt x="5" y="6"/>
                  </a:lnTo>
                  <a:lnTo>
                    <a:pt x="0" y="0"/>
                  </a:lnTo>
                  <a:lnTo>
                    <a:pt x="0" y="0"/>
                  </a:lnTo>
                  <a:lnTo>
                    <a:pt x="0" y="3"/>
                  </a:lnTo>
                  <a:lnTo>
                    <a:pt x="0" y="3"/>
                  </a:lnTo>
                  <a:lnTo>
                    <a:pt x="0" y="3"/>
                  </a:lnTo>
                  <a:lnTo>
                    <a:pt x="0" y="21"/>
                  </a:lnTo>
                  <a:lnTo>
                    <a:pt x="0" y="21"/>
                  </a:lnTo>
                  <a:close/>
                  <a:moveTo>
                    <a:pt x="133" y="23"/>
                  </a:moveTo>
                  <a:lnTo>
                    <a:pt x="133" y="23"/>
                  </a:lnTo>
                  <a:lnTo>
                    <a:pt x="141" y="20"/>
                  </a:lnTo>
                  <a:lnTo>
                    <a:pt x="141" y="31"/>
                  </a:lnTo>
                  <a:lnTo>
                    <a:pt x="141" y="31"/>
                  </a:lnTo>
                  <a:lnTo>
                    <a:pt x="133" y="35"/>
                  </a:lnTo>
                  <a:lnTo>
                    <a:pt x="133" y="23"/>
                  </a:lnTo>
                  <a:close/>
                  <a:moveTo>
                    <a:pt x="68" y="31"/>
                  </a:moveTo>
                  <a:lnTo>
                    <a:pt x="68" y="31"/>
                  </a:lnTo>
                  <a:lnTo>
                    <a:pt x="75" y="31"/>
                  </a:lnTo>
                  <a:lnTo>
                    <a:pt x="75" y="31"/>
                  </a:lnTo>
                  <a:lnTo>
                    <a:pt x="80" y="31"/>
                  </a:lnTo>
                  <a:lnTo>
                    <a:pt x="80" y="47"/>
                  </a:lnTo>
                  <a:lnTo>
                    <a:pt x="80" y="47"/>
                  </a:lnTo>
                  <a:lnTo>
                    <a:pt x="75" y="47"/>
                  </a:lnTo>
                  <a:lnTo>
                    <a:pt x="75" y="47"/>
                  </a:lnTo>
                  <a:lnTo>
                    <a:pt x="68" y="47"/>
                  </a:lnTo>
                  <a:lnTo>
                    <a:pt x="68" y="31"/>
                  </a:lnTo>
                  <a:close/>
                  <a:moveTo>
                    <a:pt x="49" y="30"/>
                  </a:moveTo>
                  <a:lnTo>
                    <a:pt x="49" y="30"/>
                  </a:lnTo>
                  <a:lnTo>
                    <a:pt x="58" y="31"/>
                  </a:lnTo>
                  <a:lnTo>
                    <a:pt x="58" y="45"/>
                  </a:lnTo>
                  <a:lnTo>
                    <a:pt x="58" y="45"/>
                  </a:lnTo>
                  <a:lnTo>
                    <a:pt x="49" y="44"/>
                  </a:lnTo>
                  <a:lnTo>
                    <a:pt x="49" y="30"/>
                  </a:lnTo>
                  <a:close/>
                  <a:moveTo>
                    <a:pt x="28" y="26"/>
                  </a:moveTo>
                  <a:lnTo>
                    <a:pt x="28" y="26"/>
                  </a:lnTo>
                  <a:lnTo>
                    <a:pt x="37" y="27"/>
                  </a:lnTo>
                  <a:lnTo>
                    <a:pt x="37" y="42"/>
                  </a:lnTo>
                  <a:lnTo>
                    <a:pt x="37" y="42"/>
                  </a:lnTo>
                  <a:lnTo>
                    <a:pt x="28" y="40"/>
                  </a:lnTo>
                  <a:lnTo>
                    <a:pt x="28" y="26"/>
                  </a:lnTo>
                  <a:close/>
                  <a:moveTo>
                    <a:pt x="8" y="14"/>
                  </a:moveTo>
                  <a:lnTo>
                    <a:pt x="8" y="14"/>
                  </a:lnTo>
                  <a:lnTo>
                    <a:pt x="12" y="17"/>
                  </a:lnTo>
                  <a:lnTo>
                    <a:pt x="18" y="21"/>
                  </a:lnTo>
                  <a:lnTo>
                    <a:pt x="18" y="35"/>
                  </a:lnTo>
                  <a:lnTo>
                    <a:pt x="18" y="35"/>
                  </a:lnTo>
                  <a:lnTo>
                    <a:pt x="11" y="33"/>
                  </a:lnTo>
                  <a:lnTo>
                    <a:pt x="8" y="30"/>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39" name="Freeform 59">
              <a:extLst>
                <a:ext uri="{FF2B5EF4-FFF2-40B4-BE49-F238E27FC236}">
                  <a16:creationId xmlns:a16="http://schemas.microsoft.com/office/drawing/2014/main" id="{511B0C9B-BF36-4F96-A5F4-3A1B8B8A4A38}"/>
                </a:ext>
              </a:extLst>
            </p:cNvPr>
            <p:cNvSpPr>
              <a:spLocks noEditPoints="1"/>
            </p:cNvSpPr>
            <p:nvPr/>
          </p:nvSpPr>
          <p:spPr bwMode="auto">
            <a:xfrm>
              <a:off x="5343525" y="3352800"/>
              <a:ext cx="238125" cy="77788"/>
            </a:xfrm>
            <a:custGeom>
              <a:avLst/>
              <a:gdLst/>
              <a:ahLst/>
              <a:cxnLst>
                <a:cxn ang="0">
                  <a:pos x="0" y="0"/>
                </a:cxn>
                <a:cxn ang="0">
                  <a:pos x="0" y="1"/>
                </a:cxn>
                <a:cxn ang="0">
                  <a:pos x="0" y="21"/>
                </a:cxn>
                <a:cxn ang="0">
                  <a:pos x="0" y="21"/>
                </a:cxn>
                <a:cxn ang="0">
                  <a:pos x="7" y="32"/>
                </a:cxn>
                <a:cxn ang="0">
                  <a:pos x="22" y="40"/>
                </a:cxn>
                <a:cxn ang="0">
                  <a:pos x="46" y="47"/>
                </a:cxn>
                <a:cxn ang="0">
                  <a:pos x="75" y="49"/>
                </a:cxn>
                <a:cxn ang="0">
                  <a:pos x="89" y="49"/>
                </a:cxn>
                <a:cxn ang="0">
                  <a:pos x="116" y="44"/>
                </a:cxn>
                <a:cxn ang="0">
                  <a:pos x="136" y="37"/>
                </a:cxn>
                <a:cxn ang="0">
                  <a:pos x="148" y="28"/>
                </a:cxn>
                <a:cxn ang="0">
                  <a:pos x="150" y="22"/>
                </a:cxn>
                <a:cxn ang="0">
                  <a:pos x="150" y="21"/>
                </a:cxn>
                <a:cxn ang="0">
                  <a:pos x="150" y="7"/>
                </a:cxn>
                <a:cxn ang="0">
                  <a:pos x="137" y="15"/>
                </a:cxn>
                <a:cxn ang="0">
                  <a:pos x="99" y="23"/>
                </a:cxn>
                <a:cxn ang="0">
                  <a:pos x="78" y="25"/>
                </a:cxn>
                <a:cxn ang="0">
                  <a:pos x="42" y="21"/>
                </a:cxn>
                <a:cxn ang="0">
                  <a:pos x="21" y="15"/>
                </a:cxn>
                <a:cxn ang="0">
                  <a:pos x="5" y="5"/>
                </a:cxn>
                <a:cxn ang="0">
                  <a:pos x="0" y="0"/>
                </a:cxn>
                <a:cxn ang="0">
                  <a:pos x="18" y="35"/>
                </a:cxn>
                <a:cxn ang="0">
                  <a:pos x="8" y="28"/>
                </a:cxn>
                <a:cxn ang="0">
                  <a:pos x="8" y="14"/>
                </a:cxn>
                <a:cxn ang="0">
                  <a:pos x="18" y="19"/>
                </a:cxn>
                <a:cxn ang="0">
                  <a:pos x="37" y="42"/>
                </a:cxn>
                <a:cxn ang="0">
                  <a:pos x="28" y="39"/>
                </a:cxn>
                <a:cxn ang="0">
                  <a:pos x="28" y="23"/>
                </a:cxn>
                <a:cxn ang="0">
                  <a:pos x="37" y="42"/>
                </a:cxn>
                <a:cxn ang="0">
                  <a:pos x="58" y="44"/>
                </a:cxn>
                <a:cxn ang="0">
                  <a:pos x="49" y="28"/>
                </a:cxn>
                <a:cxn ang="0">
                  <a:pos x="58" y="29"/>
                </a:cxn>
                <a:cxn ang="0">
                  <a:pos x="133" y="22"/>
                </a:cxn>
                <a:cxn ang="0">
                  <a:pos x="141" y="18"/>
                </a:cxn>
                <a:cxn ang="0">
                  <a:pos x="141" y="29"/>
                </a:cxn>
                <a:cxn ang="0">
                  <a:pos x="133" y="22"/>
                </a:cxn>
                <a:cxn ang="0">
                  <a:pos x="80" y="44"/>
                </a:cxn>
                <a:cxn ang="0">
                  <a:pos x="75" y="44"/>
                </a:cxn>
                <a:cxn ang="0">
                  <a:pos x="68" y="30"/>
                </a:cxn>
                <a:cxn ang="0">
                  <a:pos x="75" y="30"/>
                </a:cxn>
                <a:cxn ang="0">
                  <a:pos x="80" y="30"/>
                </a:cxn>
              </a:cxnLst>
              <a:rect l="0" t="0" r="r" b="b"/>
              <a:pathLst>
                <a:path w="150" h="49">
                  <a:moveTo>
                    <a:pt x="0" y="0"/>
                  </a:moveTo>
                  <a:lnTo>
                    <a:pt x="0" y="0"/>
                  </a:lnTo>
                  <a:lnTo>
                    <a:pt x="0" y="1"/>
                  </a:lnTo>
                  <a:lnTo>
                    <a:pt x="0" y="1"/>
                  </a:lnTo>
                  <a:lnTo>
                    <a:pt x="0" y="2"/>
                  </a:lnTo>
                  <a:lnTo>
                    <a:pt x="0" y="21"/>
                  </a:lnTo>
                  <a:lnTo>
                    <a:pt x="0" y="21"/>
                  </a:lnTo>
                  <a:lnTo>
                    <a:pt x="0" y="21"/>
                  </a:lnTo>
                  <a:lnTo>
                    <a:pt x="1" y="26"/>
                  </a:lnTo>
                  <a:lnTo>
                    <a:pt x="7" y="32"/>
                  </a:lnTo>
                  <a:lnTo>
                    <a:pt x="12" y="36"/>
                  </a:lnTo>
                  <a:lnTo>
                    <a:pt x="22" y="40"/>
                  </a:lnTo>
                  <a:lnTo>
                    <a:pt x="33" y="44"/>
                  </a:lnTo>
                  <a:lnTo>
                    <a:pt x="46" y="47"/>
                  </a:lnTo>
                  <a:lnTo>
                    <a:pt x="60" y="49"/>
                  </a:lnTo>
                  <a:lnTo>
                    <a:pt x="75" y="49"/>
                  </a:lnTo>
                  <a:lnTo>
                    <a:pt x="75" y="49"/>
                  </a:lnTo>
                  <a:lnTo>
                    <a:pt x="89" y="49"/>
                  </a:lnTo>
                  <a:lnTo>
                    <a:pt x="103" y="47"/>
                  </a:lnTo>
                  <a:lnTo>
                    <a:pt x="116" y="44"/>
                  </a:lnTo>
                  <a:lnTo>
                    <a:pt x="127" y="42"/>
                  </a:lnTo>
                  <a:lnTo>
                    <a:pt x="136" y="37"/>
                  </a:lnTo>
                  <a:lnTo>
                    <a:pt x="143" y="32"/>
                  </a:lnTo>
                  <a:lnTo>
                    <a:pt x="148" y="28"/>
                  </a:lnTo>
                  <a:lnTo>
                    <a:pt x="150" y="22"/>
                  </a:lnTo>
                  <a:lnTo>
                    <a:pt x="150" y="22"/>
                  </a:lnTo>
                  <a:lnTo>
                    <a:pt x="150" y="21"/>
                  </a:lnTo>
                  <a:lnTo>
                    <a:pt x="150" y="21"/>
                  </a:lnTo>
                  <a:lnTo>
                    <a:pt x="150" y="7"/>
                  </a:lnTo>
                  <a:lnTo>
                    <a:pt x="150" y="7"/>
                  </a:lnTo>
                  <a:lnTo>
                    <a:pt x="144" y="11"/>
                  </a:lnTo>
                  <a:lnTo>
                    <a:pt x="137" y="15"/>
                  </a:lnTo>
                  <a:lnTo>
                    <a:pt x="119" y="21"/>
                  </a:lnTo>
                  <a:lnTo>
                    <a:pt x="99" y="23"/>
                  </a:lnTo>
                  <a:lnTo>
                    <a:pt x="78" y="25"/>
                  </a:lnTo>
                  <a:lnTo>
                    <a:pt x="78" y="25"/>
                  </a:lnTo>
                  <a:lnTo>
                    <a:pt x="53" y="23"/>
                  </a:lnTo>
                  <a:lnTo>
                    <a:pt x="42" y="21"/>
                  </a:lnTo>
                  <a:lnTo>
                    <a:pt x="30" y="18"/>
                  </a:lnTo>
                  <a:lnTo>
                    <a:pt x="21" y="15"/>
                  </a:lnTo>
                  <a:lnTo>
                    <a:pt x="12" y="11"/>
                  </a:lnTo>
                  <a:lnTo>
                    <a:pt x="5" y="5"/>
                  </a:lnTo>
                  <a:lnTo>
                    <a:pt x="0" y="0"/>
                  </a:lnTo>
                  <a:lnTo>
                    <a:pt x="0" y="0"/>
                  </a:lnTo>
                  <a:close/>
                  <a:moveTo>
                    <a:pt x="18" y="35"/>
                  </a:moveTo>
                  <a:lnTo>
                    <a:pt x="18" y="35"/>
                  </a:lnTo>
                  <a:lnTo>
                    <a:pt x="11" y="32"/>
                  </a:lnTo>
                  <a:lnTo>
                    <a:pt x="8" y="28"/>
                  </a:lnTo>
                  <a:lnTo>
                    <a:pt x="8" y="14"/>
                  </a:lnTo>
                  <a:lnTo>
                    <a:pt x="8" y="14"/>
                  </a:lnTo>
                  <a:lnTo>
                    <a:pt x="12" y="16"/>
                  </a:lnTo>
                  <a:lnTo>
                    <a:pt x="18" y="19"/>
                  </a:lnTo>
                  <a:lnTo>
                    <a:pt x="18" y="35"/>
                  </a:lnTo>
                  <a:close/>
                  <a:moveTo>
                    <a:pt x="37" y="42"/>
                  </a:moveTo>
                  <a:lnTo>
                    <a:pt x="37" y="42"/>
                  </a:lnTo>
                  <a:lnTo>
                    <a:pt x="28" y="39"/>
                  </a:lnTo>
                  <a:lnTo>
                    <a:pt x="28" y="23"/>
                  </a:lnTo>
                  <a:lnTo>
                    <a:pt x="28" y="23"/>
                  </a:lnTo>
                  <a:lnTo>
                    <a:pt x="37" y="26"/>
                  </a:lnTo>
                  <a:lnTo>
                    <a:pt x="37" y="42"/>
                  </a:lnTo>
                  <a:close/>
                  <a:moveTo>
                    <a:pt x="58" y="44"/>
                  </a:moveTo>
                  <a:lnTo>
                    <a:pt x="58" y="44"/>
                  </a:lnTo>
                  <a:lnTo>
                    <a:pt x="49" y="43"/>
                  </a:lnTo>
                  <a:lnTo>
                    <a:pt x="49" y="28"/>
                  </a:lnTo>
                  <a:lnTo>
                    <a:pt x="49" y="28"/>
                  </a:lnTo>
                  <a:lnTo>
                    <a:pt x="58" y="29"/>
                  </a:lnTo>
                  <a:lnTo>
                    <a:pt x="58" y="44"/>
                  </a:lnTo>
                  <a:close/>
                  <a:moveTo>
                    <a:pt x="133" y="22"/>
                  </a:moveTo>
                  <a:lnTo>
                    <a:pt x="133" y="22"/>
                  </a:lnTo>
                  <a:lnTo>
                    <a:pt x="141" y="18"/>
                  </a:lnTo>
                  <a:lnTo>
                    <a:pt x="141" y="29"/>
                  </a:lnTo>
                  <a:lnTo>
                    <a:pt x="141" y="29"/>
                  </a:lnTo>
                  <a:lnTo>
                    <a:pt x="133" y="35"/>
                  </a:lnTo>
                  <a:lnTo>
                    <a:pt x="133" y="22"/>
                  </a:lnTo>
                  <a:close/>
                  <a:moveTo>
                    <a:pt x="80" y="44"/>
                  </a:moveTo>
                  <a:lnTo>
                    <a:pt x="80" y="44"/>
                  </a:lnTo>
                  <a:lnTo>
                    <a:pt x="75" y="44"/>
                  </a:lnTo>
                  <a:lnTo>
                    <a:pt x="75" y="44"/>
                  </a:lnTo>
                  <a:lnTo>
                    <a:pt x="68" y="44"/>
                  </a:lnTo>
                  <a:lnTo>
                    <a:pt x="68" y="30"/>
                  </a:lnTo>
                  <a:lnTo>
                    <a:pt x="68" y="30"/>
                  </a:lnTo>
                  <a:lnTo>
                    <a:pt x="75" y="30"/>
                  </a:lnTo>
                  <a:lnTo>
                    <a:pt x="75" y="30"/>
                  </a:lnTo>
                  <a:lnTo>
                    <a:pt x="80" y="30"/>
                  </a:lnTo>
                  <a:lnTo>
                    <a:pt x="80" y="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0" name="Freeform 60">
              <a:extLst>
                <a:ext uri="{FF2B5EF4-FFF2-40B4-BE49-F238E27FC236}">
                  <a16:creationId xmlns:a16="http://schemas.microsoft.com/office/drawing/2014/main" id="{39157AF8-E888-4C7C-839C-6F2D74940006}"/>
                </a:ext>
              </a:extLst>
            </p:cNvPr>
            <p:cNvSpPr>
              <a:spLocks/>
            </p:cNvSpPr>
            <p:nvPr/>
          </p:nvSpPr>
          <p:spPr bwMode="auto">
            <a:xfrm>
              <a:off x="5349875" y="3067050"/>
              <a:ext cx="238125" cy="76200"/>
            </a:xfrm>
            <a:custGeom>
              <a:avLst/>
              <a:gdLst/>
              <a:ahLst/>
              <a:cxnLst>
                <a:cxn ang="0">
                  <a:pos x="140" y="28"/>
                </a:cxn>
                <a:cxn ang="0">
                  <a:pos x="133" y="32"/>
                </a:cxn>
                <a:cxn ang="0">
                  <a:pos x="133" y="18"/>
                </a:cxn>
                <a:cxn ang="0">
                  <a:pos x="109" y="25"/>
                </a:cxn>
                <a:cxn ang="0">
                  <a:pos x="78" y="30"/>
                </a:cxn>
                <a:cxn ang="0">
                  <a:pos x="78" y="44"/>
                </a:cxn>
                <a:cxn ang="0">
                  <a:pos x="74" y="44"/>
                </a:cxn>
                <a:cxn ang="0">
                  <a:pos x="69" y="30"/>
                </a:cxn>
                <a:cxn ang="0">
                  <a:pos x="57" y="28"/>
                </a:cxn>
                <a:cxn ang="0">
                  <a:pos x="57" y="42"/>
                </a:cxn>
                <a:cxn ang="0">
                  <a:pos x="47" y="27"/>
                </a:cxn>
                <a:cxn ang="0">
                  <a:pos x="38" y="25"/>
                </a:cxn>
                <a:cxn ang="0">
                  <a:pos x="38" y="39"/>
                </a:cxn>
                <a:cxn ang="0">
                  <a:pos x="28" y="23"/>
                </a:cxn>
                <a:cxn ang="0">
                  <a:pos x="17" y="18"/>
                </a:cxn>
                <a:cxn ang="0">
                  <a:pos x="17" y="34"/>
                </a:cxn>
                <a:cxn ang="0">
                  <a:pos x="7" y="27"/>
                </a:cxn>
                <a:cxn ang="0">
                  <a:pos x="7" y="13"/>
                </a:cxn>
                <a:cxn ang="0">
                  <a:pos x="0" y="3"/>
                </a:cxn>
                <a:cxn ang="0">
                  <a:pos x="0" y="20"/>
                </a:cxn>
                <a:cxn ang="0">
                  <a:pos x="0" y="20"/>
                </a:cxn>
                <a:cxn ang="0">
                  <a:pos x="5" y="30"/>
                </a:cxn>
                <a:cxn ang="0">
                  <a:pos x="21" y="39"/>
                </a:cxn>
                <a:cxn ang="0">
                  <a:pos x="45" y="45"/>
                </a:cxn>
                <a:cxn ang="0">
                  <a:pos x="74" y="48"/>
                </a:cxn>
                <a:cxn ang="0">
                  <a:pos x="90" y="47"/>
                </a:cxn>
                <a:cxn ang="0">
                  <a:pos x="115" y="42"/>
                </a:cxn>
                <a:cxn ang="0">
                  <a:pos x="136" y="35"/>
                </a:cxn>
                <a:cxn ang="0">
                  <a:pos x="147" y="25"/>
                </a:cxn>
                <a:cxn ang="0">
                  <a:pos x="148" y="20"/>
                </a:cxn>
                <a:cxn ang="0">
                  <a:pos x="150" y="20"/>
                </a:cxn>
                <a:cxn ang="0">
                  <a:pos x="150" y="0"/>
                </a:cxn>
                <a:cxn ang="0">
                  <a:pos x="147" y="7"/>
                </a:cxn>
                <a:cxn ang="0">
                  <a:pos x="140" y="14"/>
                </a:cxn>
              </a:cxnLst>
              <a:rect l="0" t="0" r="r" b="b"/>
              <a:pathLst>
                <a:path w="150" h="48">
                  <a:moveTo>
                    <a:pt x="140" y="14"/>
                  </a:moveTo>
                  <a:lnTo>
                    <a:pt x="140" y="28"/>
                  </a:lnTo>
                  <a:lnTo>
                    <a:pt x="140" y="28"/>
                  </a:lnTo>
                  <a:lnTo>
                    <a:pt x="133" y="32"/>
                  </a:lnTo>
                  <a:lnTo>
                    <a:pt x="133" y="18"/>
                  </a:lnTo>
                  <a:lnTo>
                    <a:pt x="133" y="18"/>
                  </a:lnTo>
                  <a:lnTo>
                    <a:pt x="122" y="23"/>
                  </a:lnTo>
                  <a:lnTo>
                    <a:pt x="109" y="25"/>
                  </a:lnTo>
                  <a:lnTo>
                    <a:pt x="94" y="28"/>
                  </a:lnTo>
                  <a:lnTo>
                    <a:pt x="78" y="30"/>
                  </a:lnTo>
                  <a:lnTo>
                    <a:pt x="78" y="44"/>
                  </a:lnTo>
                  <a:lnTo>
                    <a:pt x="78" y="44"/>
                  </a:lnTo>
                  <a:lnTo>
                    <a:pt x="74" y="44"/>
                  </a:lnTo>
                  <a:lnTo>
                    <a:pt x="74" y="44"/>
                  </a:lnTo>
                  <a:lnTo>
                    <a:pt x="69" y="44"/>
                  </a:lnTo>
                  <a:lnTo>
                    <a:pt x="69" y="30"/>
                  </a:lnTo>
                  <a:lnTo>
                    <a:pt x="69" y="30"/>
                  </a:lnTo>
                  <a:lnTo>
                    <a:pt x="57" y="28"/>
                  </a:lnTo>
                  <a:lnTo>
                    <a:pt x="57" y="42"/>
                  </a:lnTo>
                  <a:lnTo>
                    <a:pt x="57" y="42"/>
                  </a:lnTo>
                  <a:lnTo>
                    <a:pt x="47" y="42"/>
                  </a:lnTo>
                  <a:lnTo>
                    <a:pt x="47" y="27"/>
                  </a:lnTo>
                  <a:lnTo>
                    <a:pt x="47" y="27"/>
                  </a:lnTo>
                  <a:lnTo>
                    <a:pt x="38" y="25"/>
                  </a:lnTo>
                  <a:lnTo>
                    <a:pt x="38" y="39"/>
                  </a:lnTo>
                  <a:lnTo>
                    <a:pt x="38" y="39"/>
                  </a:lnTo>
                  <a:lnTo>
                    <a:pt x="28" y="37"/>
                  </a:lnTo>
                  <a:lnTo>
                    <a:pt x="28" y="23"/>
                  </a:lnTo>
                  <a:lnTo>
                    <a:pt x="28" y="23"/>
                  </a:lnTo>
                  <a:lnTo>
                    <a:pt x="17" y="18"/>
                  </a:lnTo>
                  <a:lnTo>
                    <a:pt x="17" y="34"/>
                  </a:lnTo>
                  <a:lnTo>
                    <a:pt x="17" y="34"/>
                  </a:lnTo>
                  <a:lnTo>
                    <a:pt x="11" y="30"/>
                  </a:lnTo>
                  <a:lnTo>
                    <a:pt x="7" y="27"/>
                  </a:lnTo>
                  <a:lnTo>
                    <a:pt x="7" y="13"/>
                  </a:lnTo>
                  <a:lnTo>
                    <a:pt x="7" y="13"/>
                  </a:lnTo>
                  <a:lnTo>
                    <a:pt x="1" y="7"/>
                  </a:lnTo>
                  <a:lnTo>
                    <a:pt x="0" y="3"/>
                  </a:lnTo>
                  <a:lnTo>
                    <a:pt x="0" y="0"/>
                  </a:lnTo>
                  <a:lnTo>
                    <a:pt x="0" y="20"/>
                  </a:lnTo>
                  <a:lnTo>
                    <a:pt x="0" y="20"/>
                  </a:lnTo>
                  <a:lnTo>
                    <a:pt x="0" y="20"/>
                  </a:lnTo>
                  <a:lnTo>
                    <a:pt x="1" y="25"/>
                  </a:lnTo>
                  <a:lnTo>
                    <a:pt x="5" y="30"/>
                  </a:lnTo>
                  <a:lnTo>
                    <a:pt x="12" y="35"/>
                  </a:lnTo>
                  <a:lnTo>
                    <a:pt x="21" y="39"/>
                  </a:lnTo>
                  <a:lnTo>
                    <a:pt x="32" y="42"/>
                  </a:lnTo>
                  <a:lnTo>
                    <a:pt x="45" y="45"/>
                  </a:lnTo>
                  <a:lnTo>
                    <a:pt x="59" y="47"/>
                  </a:lnTo>
                  <a:lnTo>
                    <a:pt x="74" y="48"/>
                  </a:lnTo>
                  <a:lnTo>
                    <a:pt x="74" y="48"/>
                  </a:lnTo>
                  <a:lnTo>
                    <a:pt x="90" y="47"/>
                  </a:lnTo>
                  <a:lnTo>
                    <a:pt x="102" y="45"/>
                  </a:lnTo>
                  <a:lnTo>
                    <a:pt x="115" y="42"/>
                  </a:lnTo>
                  <a:lnTo>
                    <a:pt x="126" y="39"/>
                  </a:lnTo>
                  <a:lnTo>
                    <a:pt x="136" y="35"/>
                  </a:lnTo>
                  <a:lnTo>
                    <a:pt x="143" y="31"/>
                  </a:lnTo>
                  <a:lnTo>
                    <a:pt x="147" y="25"/>
                  </a:lnTo>
                  <a:lnTo>
                    <a:pt x="148" y="20"/>
                  </a:lnTo>
                  <a:lnTo>
                    <a:pt x="148" y="20"/>
                  </a:lnTo>
                  <a:lnTo>
                    <a:pt x="148" y="20"/>
                  </a:lnTo>
                  <a:lnTo>
                    <a:pt x="150" y="20"/>
                  </a:lnTo>
                  <a:lnTo>
                    <a:pt x="150" y="0"/>
                  </a:lnTo>
                  <a:lnTo>
                    <a:pt x="150" y="0"/>
                  </a:lnTo>
                  <a:lnTo>
                    <a:pt x="148" y="4"/>
                  </a:lnTo>
                  <a:lnTo>
                    <a:pt x="147" y="7"/>
                  </a:lnTo>
                  <a:lnTo>
                    <a:pt x="140" y="14"/>
                  </a:lnTo>
                  <a:lnTo>
                    <a:pt x="140"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1" name="Freeform 61">
              <a:extLst>
                <a:ext uri="{FF2B5EF4-FFF2-40B4-BE49-F238E27FC236}">
                  <a16:creationId xmlns:a16="http://schemas.microsoft.com/office/drawing/2014/main" id="{075CCA68-4A60-4108-A920-145CA8306512}"/>
                </a:ext>
              </a:extLst>
            </p:cNvPr>
            <p:cNvSpPr>
              <a:spLocks/>
            </p:cNvSpPr>
            <p:nvPr/>
          </p:nvSpPr>
          <p:spPr bwMode="auto">
            <a:xfrm>
              <a:off x="5349875" y="3062288"/>
              <a:ext cx="1587" cy="4763"/>
            </a:xfrm>
            <a:custGeom>
              <a:avLst/>
              <a:gdLst/>
              <a:ahLst/>
              <a:cxnLst>
                <a:cxn ang="0">
                  <a:pos x="0" y="0"/>
                </a:cxn>
                <a:cxn ang="0">
                  <a:pos x="0" y="0"/>
                </a:cxn>
                <a:cxn ang="0">
                  <a:pos x="0" y="3"/>
                </a:cxn>
                <a:cxn ang="0">
                  <a:pos x="0" y="3"/>
                </a:cxn>
                <a:cxn ang="0">
                  <a:pos x="0" y="3"/>
                </a:cxn>
                <a:cxn ang="0">
                  <a:pos x="0" y="3"/>
                </a:cxn>
                <a:cxn ang="0">
                  <a:pos x="0" y="3"/>
                </a:cxn>
                <a:cxn ang="0">
                  <a:pos x="0" y="0"/>
                </a:cxn>
                <a:cxn ang="0">
                  <a:pos x="0" y="0"/>
                </a:cxn>
              </a:cxnLst>
              <a:rect l="0" t="0" r="r" b="b"/>
              <a:pathLst>
                <a:path h="3">
                  <a:moveTo>
                    <a:pt x="0" y="0"/>
                  </a:moveTo>
                  <a:lnTo>
                    <a:pt x="0" y="0"/>
                  </a:lnTo>
                  <a:lnTo>
                    <a:pt x="0" y="3"/>
                  </a:lnTo>
                  <a:lnTo>
                    <a:pt x="0" y="3"/>
                  </a:lnTo>
                  <a:lnTo>
                    <a:pt x="0" y="3"/>
                  </a:lnTo>
                  <a:lnTo>
                    <a:pt x="0" y="3"/>
                  </a:lnTo>
                  <a:lnTo>
                    <a:pt x="0"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2" name="Freeform 62">
              <a:extLst>
                <a:ext uri="{FF2B5EF4-FFF2-40B4-BE49-F238E27FC236}">
                  <a16:creationId xmlns:a16="http://schemas.microsoft.com/office/drawing/2014/main" id="{3285FC29-DC2E-4C39-83C3-2A6BCBFB4D28}"/>
                </a:ext>
              </a:extLst>
            </p:cNvPr>
            <p:cNvSpPr>
              <a:spLocks/>
            </p:cNvSpPr>
            <p:nvPr/>
          </p:nvSpPr>
          <p:spPr bwMode="auto">
            <a:xfrm>
              <a:off x="5584825" y="3062288"/>
              <a:ext cx="3175" cy="4763"/>
            </a:xfrm>
            <a:custGeom>
              <a:avLst/>
              <a:gdLst/>
              <a:ahLst/>
              <a:cxnLst>
                <a:cxn ang="0">
                  <a:pos x="0" y="0"/>
                </a:cxn>
                <a:cxn ang="0">
                  <a:pos x="0" y="0"/>
                </a:cxn>
                <a:cxn ang="0">
                  <a:pos x="2" y="3"/>
                </a:cxn>
                <a:cxn ang="0">
                  <a:pos x="2" y="3"/>
                </a:cxn>
                <a:cxn ang="0">
                  <a:pos x="2" y="3"/>
                </a:cxn>
                <a:cxn ang="0">
                  <a:pos x="2" y="3"/>
                </a:cxn>
                <a:cxn ang="0">
                  <a:pos x="2" y="3"/>
                </a:cxn>
                <a:cxn ang="0">
                  <a:pos x="0" y="0"/>
                </a:cxn>
                <a:cxn ang="0">
                  <a:pos x="0" y="0"/>
                </a:cxn>
              </a:cxnLst>
              <a:rect l="0" t="0" r="r" b="b"/>
              <a:pathLst>
                <a:path w="2" h="3">
                  <a:moveTo>
                    <a:pt x="0" y="0"/>
                  </a:moveTo>
                  <a:lnTo>
                    <a:pt x="0" y="0"/>
                  </a:lnTo>
                  <a:lnTo>
                    <a:pt x="2" y="3"/>
                  </a:lnTo>
                  <a:lnTo>
                    <a:pt x="2" y="3"/>
                  </a:lnTo>
                  <a:lnTo>
                    <a:pt x="2" y="3"/>
                  </a:lnTo>
                  <a:lnTo>
                    <a:pt x="2" y="3"/>
                  </a:lnTo>
                  <a:lnTo>
                    <a:pt x="2"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3" name="Freeform 63">
              <a:extLst>
                <a:ext uri="{FF2B5EF4-FFF2-40B4-BE49-F238E27FC236}">
                  <a16:creationId xmlns:a16="http://schemas.microsoft.com/office/drawing/2014/main" id="{D85F6A6A-3665-4267-A866-425B4E958B7C}"/>
                </a:ext>
              </a:extLst>
            </p:cNvPr>
            <p:cNvSpPr>
              <a:spLocks/>
            </p:cNvSpPr>
            <p:nvPr/>
          </p:nvSpPr>
          <p:spPr bwMode="auto">
            <a:xfrm>
              <a:off x="5443538" y="3044825"/>
              <a:ext cx="17462" cy="15875"/>
            </a:xfrm>
            <a:custGeom>
              <a:avLst/>
              <a:gdLst/>
              <a:ahLst/>
              <a:cxnLst>
                <a:cxn ang="0">
                  <a:pos x="1" y="7"/>
                </a:cxn>
                <a:cxn ang="0">
                  <a:pos x="1" y="7"/>
                </a:cxn>
                <a:cxn ang="0">
                  <a:pos x="4" y="9"/>
                </a:cxn>
                <a:cxn ang="0">
                  <a:pos x="8" y="10"/>
                </a:cxn>
                <a:cxn ang="0">
                  <a:pos x="8" y="10"/>
                </a:cxn>
                <a:cxn ang="0">
                  <a:pos x="11" y="10"/>
                </a:cxn>
                <a:cxn ang="0">
                  <a:pos x="11" y="0"/>
                </a:cxn>
                <a:cxn ang="0">
                  <a:pos x="11" y="0"/>
                </a:cxn>
                <a:cxn ang="0">
                  <a:pos x="2" y="2"/>
                </a:cxn>
                <a:cxn ang="0">
                  <a:pos x="2" y="2"/>
                </a:cxn>
                <a:cxn ang="0">
                  <a:pos x="0" y="3"/>
                </a:cxn>
                <a:cxn ang="0">
                  <a:pos x="0" y="4"/>
                </a:cxn>
                <a:cxn ang="0">
                  <a:pos x="0" y="6"/>
                </a:cxn>
                <a:cxn ang="0">
                  <a:pos x="1" y="7"/>
                </a:cxn>
                <a:cxn ang="0">
                  <a:pos x="1" y="7"/>
                </a:cxn>
              </a:cxnLst>
              <a:rect l="0" t="0" r="r" b="b"/>
              <a:pathLst>
                <a:path w="11" h="10">
                  <a:moveTo>
                    <a:pt x="1" y="7"/>
                  </a:moveTo>
                  <a:lnTo>
                    <a:pt x="1" y="7"/>
                  </a:lnTo>
                  <a:lnTo>
                    <a:pt x="4" y="9"/>
                  </a:lnTo>
                  <a:lnTo>
                    <a:pt x="8" y="10"/>
                  </a:lnTo>
                  <a:lnTo>
                    <a:pt x="8" y="10"/>
                  </a:lnTo>
                  <a:lnTo>
                    <a:pt x="11" y="10"/>
                  </a:lnTo>
                  <a:lnTo>
                    <a:pt x="11" y="0"/>
                  </a:lnTo>
                  <a:lnTo>
                    <a:pt x="11" y="0"/>
                  </a:lnTo>
                  <a:lnTo>
                    <a:pt x="2" y="2"/>
                  </a:lnTo>
                  <a:lnTo>
                    <a:pt x="2" y="2"/>
                  </a:lnTo>
                  <a:lnTo>
                    <a:pt x="0" y="3"/>
                  </a:lnTo>
                  <a:lnTo>
                    <a:pt x="0" y="4"/>
                  </a:lnTo>
                  <a:lnTo>
                    <a:pt x="0" y="6"/>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4" name="Freeform 64">
              <a:extLst>
                <a:ext uri="{FF2B5EF4-FFF2-40B4-BE49-F238E27FC236}">
                  <a16:creationId xmlns:a16="http://schemas.microsoft.com/office/drawing/2014/main" id="{2072AAE9-B466-41EF-BA6F-1BFE8966C908}"/>
                </a:ext>
              </a:extLst>
            </p:cNvPr>
            <p:cNvSpPr>
              <a:spLocks noEditPoints="1"/>
            </p:cNvSpPr>
            <p:nvPr/>
          </p:nvSpPr>
          <p:spPr bwMode="auto">
            <a:xfrm>
              <a:off x="5365750" y="3028950"/>
              <a:ext cx="204787" cy="74613"/>
            </a:xfrm>
            <a:custGeom>
              <a:avLst/>
              <a:gdLst/>
              <a:ahLst/>
              <a:cxnLst>
                <a:cxn ang="0">
                  <a:pos x="0" y="23"/>
                </a:cxn>
                <a:cxn ang="0">
                  <a:pos x="5" y="33"/>
                </a:cxn>
                <a:cxn ang="0">
                  <a:pos x="19" y="40"/>
                </a:cxn>
                <a:cxn ang="0">
                  <a:pos x="39" y="45"/>
                </a:cxn>
                <a:cxn ang="0">
                  <a:pos x="64" y="47"/>
                </a:cxn>
                <a:cxn ang="0">
                  <a:pos x="77" y="47"/>
                </a:cxn>
                <a:cxn ang="0">
                  <a:pos x="101" y="42"/>
                </a:cxn>
                <a:cxn ang="0">
                  <a:pos x="117" y="37"/>
                </a:cxn>
                <a:cxn ang="0">
                  <a:pos x="127" y="28"/>
                </a:cxn>
                <a:cxn ang="0">
                  <a:pos x="129" y="23"/>
                </a:cxn>
                <a:cxn ang="0">
                  <a:pos x="124" y="14"/>
                </a:cxn>
                <a:cxn ang="0">
                  <a:pos x="110" y="7"/>
                </a:cxn>
                <a:cxn ang="0">
                  <a:pos x="89" y="2"/>
                </a:cxn>
                <a:cxn ang="0">
                  <a:pos x="64" y="0"/>
                </a:cxn>
                <a:cxn ang="0">
                  <a:pos x="51" y="0"/>
                </a:cxn>
                <a:cxn ang="0">
                  <a:pos x="28" y="5"/>
                </a:cxn>
                <a:cxn ang="0">
                  <a:pos x="11" y="10"/>
                </a:cxn>
                <a:cxn ang="0">
                  <a:pos x="1" y="19"/>
                </a:cxn>
                <a:cxn ang="0">
                  <a:pos x="0" y="23"/>
                </a:cxn>
                <a:cxn ang="0">
                  <a:pos x="70" y="6"/>
                </a:cxn>
                <a:cxn ang="0">
                  <a:pos x="75" y="7"/>
                </a:cxn>
                <a:cxn ang="0">
                  <a:pos x="84" y="9"/>
                </a:cxn>
                <a:cxn ang="0">
                  <a:pos x="91" y="12"/>
                </a:cxn>
                <a:cxn ang="0">
                  <a:pos x="91" y="13"/>
                </a:cxn>
                <a:cxn ang="0">
                  <a:pos x="85" y="14"/>
                </a:cxn>
                <a:cxn ang="0">
                  <a:pos x="82" y="14"/>
                </a:cxn>
                <a:cxn ang="0">
                  <a:pos x="82" y="13"/>
                </a:cxn>
                <a:cxn ang="0">
                  <a:pos x="81" y="13"/>
                </a:cxn>
                <a:cxn ang="0">
                  <a:pos x="81" y="13"/>
                </a:cxn>
                <a:cxn ang="0">
                  <a:pos x="73" y="10"/>
                </a:cxn>
                <a:cxn ang="0">
                  <a:pos x="70" y="21"/>
                </a:cxn>
                <a:cxn ang="0">
                  <a:pos x="82" y="24"/>
                </a:cxn>
                <a:cxn ang="0">
                  <a:pos x="89" y="28"/>
                </a:cxn>
                <a:cxn ang="0">
                  <a:pos x="91" y="31"/>
                </a:cxn>
                <a:cxn ang="0">
                  <a:pos x="88" y="35"/>
                </a:cxn>
                <a:cxn ang="0">
                  <a:pos x="84" y="38"/>
                </a:cxn>
                <a:cxn ang="0">
                  <a:pos x="70" y="41"/>
                </a:cxn>
                <a:cxn ang="0">
                  <a:pos x="70" y="44"/>
                </a:cxn>
                <a:cxn ang="0">
                  <a:pos x="61" y="44"/>
                </a:cxn>
                <a:cxn ang="0">
                  <a:pos x="60" y="44"/>
                </a:cxn>
                <a:cxn ang="0">
                  <a:pos x="60" y="41"/>
                </a:cxn>
                <a:cxn ang="0">
                  <a:pos x="42" y="38"/>
                </a:cxn>
                <a:cxn ang="0">
                  <a:pos x="37" y="35"/>
                </a:cxn>
                <a:cxn ang="0">
                  <a:pos x="37" y="34"/>
                </a:cxn>
                <a:cxn ang="0">
                  <a:pos x="43" y="33"/>
                </a:cxn>
                <a:cxn ang="0">
                  <a:pos x="46" y="33"/>
                </a:cxn>
                <a:cxn ang="0">
                  <a:pos x="47" y="33"/>
                </a:cxn>
                <a:cxn ang="0">
                  <a:pos x="47" y="34"/>
                </a:cxn>
                <a:cxn ang="0">
                  <a:pos x="47" y="34"/>
                </a:cxn>
                <a:cxn ang="0">
                  <a:pos x="49" y="34"/>
                </a:cxn>
                <a:cxn ang="0">
                  <a:pos x="56" y="35"/>
                </a:cxn>
                <a:cxn ang="0">
                  <a:pos x="60" y="24"/>
                </a:cxn>
                <a:cxn ang="0">
                  <a:pos x="47" y="23"/>
                </a:cxn>
                <a:cxn ang="0">
                  <a:pos x="43" y="21"/>
                </a:cxn>
                <a:cxn ang="0">
                  <a:pos x="40" y="19"/>
                </a:cxn>
                <a:cxn ang="0">
                  <a:pos x="39" y="14"/>
                </a:cxn>
                <a:cxn ang="0">
                  <a:pos x="44" y="9"/>
                </a:cxn>
                <a:cxn ang="0">
                  <a:pos x="51" y="7"/>
                </a:cxn>
                <a:cxn ang="0">
                  <a:pos x="60" y="3"/>
                </a:cxn>
                <a:cxn ang="0">
                  <a:pos x="61" y="3"/>
                </a:cxn>
                <a:cxn ang="0">
                  <a:pos x="68" y="3"/>
                </a:cxn>
                <a:cxn ang="0">
                  <a:pos x="70" y="3"/>
                </a:cxn>
              </a:cxnLst>
              <a:rect l="0" t="0" r="r" b="b"/>
              <a:pathLst>
                <a:path w="129" h="47">
                  <a:moveTo>
                    <a:pt x="0" y="23"/>
                  </a:moveTo>
                  <a:lnTo>
                    <a:pt x="0" y="23"/>
                  </a:lnTo>
                  <a:lnTo>
                    <a:pt x="1" y="28"/>
                  </a:lnTo>
                  <a:lnTo>
                    <a:pt x="5" y="33"/>
                  </a:lnTo>
                  <a:lnTo>
                    <a:pt x="11" y="37"/>
                  </a:lnTo>
                  <a:lnTo>
                    <a:pt x="19" y="40"/>
                  </a:lnTo>
                  <a:lnTo>
                    <a:pt x="28" y="42"/>
                  </a:lnTo>
                  <a:lnTo>
                    <a:pt x="39" y="45"/>
                  </a:lnTo>
                  <a:lnTo>
                    <a:pt x="51" y="47"/>
                  </a:lnTo>
                  <a:lnTo>
                    <a:pt x="64" y="47"/>
                  </a:lnTo>
                  <a:lnTo>
                    <a:pt x="64" y="47"/>
                  </a:lnTo>
                  <a:lnTo>
                    <a:pt x="77" y="47"/>
                  </a:lnTo>
                  <a:lnTo>
                    <a:pt x="89" y="45"/>
                  </a:lnTo>
                  <a:lnTo>
                    <a:pt x="101" y="42"/>
                  </a:lnTo>
                  <a:lnTo>
                    <a:pt x="110" y="40"/>
                  </a:lnTo>
                  <a:lnTo>
                    <a:pt x="117" y="37"/>
                  </a:lnTo>
                  <a:lnTo>
                    <a:pt x="124" y="33"/>
                  </a:lnTo>
                  <a:lnTo>
                    <a:pt x="127" y="28"/>
                  </a:lnTo>
                  <a:lnTo>
                    <a:pt x="129" y="23"/>
                  </a:lnTo>
                  <a:lnTo>
                    <a:pt x="129" y="23"/>
                  </a:lnTo>
                  <a:lnTo>
                    <a:pt x="127" y="19"/>
                  </a:lnTo>
                  <a:lnTo>
                    <a:pt x="124" y="14"/>
                  </a:lnTo>
                  <a:lnTo>
                    <a:pt x="117" y="10"/>
                  </a:lnTo>
                  <a:lnTo>
                    <a:pt x="110" y="7"/>
                  </a:lnTo>
                  <a:lnTo>
                    <a:pt x="101" y="5"/>
                  </a:lnTo>
                  <a:lnTo>
                    <a:pt x="89" y="2"/>
                  </a:lnTo>
                  <a:lnTo>
                    <a:pt x="77" y="0"/>
                  </a:lnTo>
                  <a:lnTo>
                    <a:pt x="64" y="0"/>
                  </a:lnTo>
                  <a:lnTo>
                    <a:pt x="64" y="0"/>
                  </a:lnTo>
                  <a:lnTo>
                    <a:pt x="51" y="0"/>
                  </a:lnTo>
                  <a:lnTo>
                    <a:pt x="39" y="2"/>
                  </a:lnTo>
                  <a:lnTo>
                    <a:pt x="28" y="5"/>
                  </a:lnTo>
                  <a:lnTo>
                    <a:pt x="19" y="7"/>
                  </a:lnTo>
                  <a:lnTo>
                    <a:pt x="11" y="10"/>
                  </a:lnTo>
                  <a:lnTo>
                    <a:pt x="5" y="14"/>
                  </a:lnTo>
                  <a:lnTo>
                    <a:pt x="1" y="19"/>
                  </a:lnTo>
                  <a:lnTo>
                    <a:pt x="0" y="23"/>
                  </a:lnTo>
                  <a:lnTo>
                    <a:pt x="0" y="23"/>
                  </a:lnTo>
                  <a:close/>
                  <a:moveTo>
                    <a:pt x="70" y="3"/>
                  </a:moveTo>
                  <a:lnTo>
                    <a:pt x="70" y="6"/>
                  </a:lnTo>
                  <a:lnTo>
                    <a:pt x="70" y="6"/>
                  </a:lnTo>
                  <a:lnTo>
                    <a:pt x="75" y="7"/>
                  </a:lnTo>
                  <a:lnTo>
                    <a:pt x="75" y="7"/>
                  </a:lnTo>
                  <a:lnTo>
                    <a:pt x="84" y="9"/>
                  </a:lnTo>
                  <a:lnTo>
                    <a:pt x="91" y="12"/>
                  </a:lnTo>
                  <a:lnTo>
                    <a:pt x="91" y="12"/>
                  </a:lnTo>
                  <a:lnTo>
                    <a:pt x="91" y="12"/>
                  </a:lnTo>
                  <a:lnTo>
                    <a:pt x="91" y="13"/>
                  </a:lnTo>
                  <a:lnTo>
                    <a:pt x="88" y="14"/>
                  </a:lnTo>
                  <a:lnTo>
                    <a:pt x="85" y="14"/>
                  </a:lnTo>
                  <a:lnTo>
                    <a:pt x="82" y="14"/>
                  </a:lnTo>
                  <a:lnTo>
                    <a:pt x="82" y="14"/>
                  </a:lnTo>
                  <a:lnTo>
                    <a:pt x="82" y="13"/>
                  </a:lnTo>
                  <a:lnTo>
                    <a:pt x="82" y="13"/>
                  </a:lnTo>
                  <a:lnTo>
                    <a:pt x="81" y="13"/>
                  </a:lnTo>
                  <a:lnTo>
                    <a:pt x="81" y="13"/>
                  </a:lnTo>
                  <a:lnTo>
                    <a:pt x="81" y="13"/>
                  </a:lnTo>
                  <a:lnTo>
                    <a:pt x="81" y="13"/>
                  </a:lnTo>
                  <a:lnTo>
                    <a:pt x="73" y="10"/>
                  </a:lnTo>
                  <a:lnTo>
                    <a:pt x="73" y="10"/>
                  </a:lnTo>
                  <a:lnTo>
                    <a:pt x="70" y="10"/>
                  </a:lnTo>
                  <a:lnTo>
                    <a:pt x="70" y="21"/>
                  </a:lnTo>
                  <a:lnTo>
                    <a:pt x="70" y="21"/>
                  </a:lnTo>
                  <a:lnTo>
                    <a:pt x="82" y="24"/>
                  </a:lnTo>
                  <a:lnTo>
                    <a:pt x="87" y="27"/>
                  </a:lnTo>
                  <a:lnTo>
                    <a:pt x="89" y="28"/>
                  </a:lnTo>
                  <a:lnTo>
                    <a:pt x="89" y="28"/>
                  </a:lnTo>
                  <a:lnTo>
                    <a:pt x="91" y="31"/>
                  </a:lnTo>
                  <a:lnTo>
                    <a:pt x="91" y="34"/>
                  </a:lnTo>
                  <a:lnTo>
                    <a:pt x="88" y="35"/>
                  </a:lnTo>
                  <a:lnTo>
                    <a:pt x="84" y="38"/>
                  </a:lnTo>
                  <a:lnTo>
                    <a:pt x="84" y="38"/>
                  </a:lnTo>
                  <a:lnTo>
                    <a:pt x="78" y="40"/>
                  </a:lnTo>
                  <a:lnTo>
                    <a:pt x="70" y="41"/>
                  </a:lnTo>
                  <a:lnTo>
                    <a:pt x="70" y="44"/>
                  </a:lnTo>
                  <a:lnTo>
                    <a:pt x="70" y="44"/>
                  </a:lnTo>
                  <a:lnTo>
                    <a:pt x="68" y="44"/>
                  </a:lnTo>
                  <a:lnTo>
                    <a:pt x="61" y="44"/>
                  </a:lnTo>
                  <a:lnTo>
                    <a:pt x="61" y="44"/>
                  </a:lnTo>
                  <a:lnTo>
                    <a:pt x="60" y="44"/>
                  </a:lnTo>
                  <a:lnTo>
                    <a:pt x="60" y="41"/>
                  </a:lnTo>
                  <a:lnTo>
                    <a:pt x="60" y="41"/>
                  </a:lnTo>
                  <a:lnTo>
                    <a:pt x="47" y="40"/>
                  </a:lnTo>
                  <a:lnTo>
                    <a:pt x="42" y="38"/>
                  </a:lnTo>
                  <a:lnTo>
                    <a:pt x="37" y="35"/>
                  </a:lnTo>
                  <a:lnTo>
                    <a:pt x="37" y="35"/>
                  </a:lnTo>
                  <a:lnTo>
                    <a:pt x="37" y="35"/>
                  </a:lnTo>
                  <a:lnTo>
                    <a:pt x="37" y="34"/>
                  </a:lnTo>
                  <a:lnTo>
                    <a:pt x="40" y="33"/>
                  </a:lnTo>
                  <a:lnTo>
                    <a:pt x="43" y="33"/>
                  </a:lnTo>
                  <a:lnTo>
                    <a:pt x="46" y="33"/>
                  </a:lnTo>
                  <a:lnTo>
                    <a:pt x="46" y="33"/>
                  </a:lnTo>
                  <a:lnTo>
                    <a:pt x="47" y="33"/>
                  </a:lnTo>
                  <a:lnTo>
                    <a:pt x="47" y="33"/>
                  </a:lnTo>
                  <a:lnTo>
                    <a:pt x="47" y="34"/>
                  </a:lnTo>
                  <a:lnTo>
                    <a:pt x="47" y="34"/>
                  </a:lnTo>
                  <a:lnTo>
                    <a:pt x="47" y="34"/>
                  </a:lnTo>
                  <a:lnTo>
                    <a:pt x="47" y="34"/>
                  </a:lnTo>
                  <a:lnTo>
                    <a:pt x="49" y="34"/>
                  </a:lnTo>
                  <a:lnTo>
                    <a:pt x="49" y="34"/>
                  </a:lnTo>
                  <a:lnTo>
                    <a:pt x="56" y="35"/>
                  </a:lnTo>
                  <a:lnTo>
                    <a:pt x="56" y="35"/>
                  </a:lnTo>
                  <a:lnTo>
                    <a:pt x="60" y="37"/>
                  </a:lnTo>
                  <a:lnTo>
                    <a:pt x="60" y="24"/>
                  </a:lnTo>
                  <a:lnTo>
                    <a:pt x="60" y="24"/>
                  </a:lnTo>
                  <a:lnTo>
                    <a:pt x="47" y="23"/>
                  </a:lnTo>
                  <a:lnTo>
                    <a:pt x="47" y="23"/>
                  </a:lnTo>
                  <a:lnTo>
                    <a:pt x="43" y="21"/>
                  </a:lnTo>
                  <a:lnTo>
                    <a:pt x="40" y="19"/>
                  </a:lnTo>
                  <a:lnTo>
                    <a:pt x="40" y="19"/>
                  </a:lnTo>
                  <a:lnTo>
                    <a:pt x="39" y="16"/>
                  </a:lnTo>
                  <a:lnTo>
                    <a:pt x="39" y="14"/>
                  </a:lnTo>
                  <a:lnTo>
                    <a:pt x="40" y="12"/>
                  </a:lnTo>
                  <a:lnTo>
                    <a:pt x="44" y="9"/>
                  </a:lnTo>
                  <a:lnTo>
                    <a:pt x="44" y="9"/>
                  </a:lnTo>
                  <a:lnTo>
                    <a:pt x="51" y="7"/>
                  </a:lnTo>
                  <a:lnTo>
                    <a:pt x="60" y="6"/>
                  </a:lnTo>
                  <a:lnTo>
                    <a:pt x="60" y="3"/>
                  </a:lnTo>
                  <a:lnTo>
                    <a:pt x="60" y="3"/>
                  </a:lnTo>
                  <a:lnTo>
                    <a:pt x="61" y="3"/>
                  </a:lnTo>
                  <a:lnTo>
                    <a:pt x="68" y="3"/>
                  </a:lnTo>
                  <a:lnTo>
                    <a:pt x="68" y="3"/>
                  </a:lnTo>
                  <a:lnTo>
                    <a:pt x="70" y="3"/>
                  </a:lnTo>
                  <a:lnTo>
                    <a:pt x="7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5" name="Freeform 65">
              <a:extLst>
                <a:ext uri="{FF2B5EF4-FFF2-40B4-BE49-F238E27FC236}">
                  <a16:creationId xmlns:a16="http://schemas.microsoft.com/office/drawing/2014/main" id="{E9664BE8-1806-47B1-8FB4-E7BC705F15C4}"/>
                </a:ext>
              </a:extLst>
            </p:cNvPr>
            <p:cNvSpPr>
              <a:spLocks/>
            </p:cNvSpPr>
            <p:nvPr/>
          </p:nvSpPr>
          <p:spPr bwMode="auto">
            <a:xfrm>
              <a:off x="5476875" y="3071813"/>
              <a:ext cx="17462" cy="15875"/>
            </a:xfrm>
            <a:custGeom>
              <a:avLst/>
              <a:gdLst/>
              <a:ahLst/>
              <a:cxnLst>
                <a:cxn ang="0">
                  <a:pos x="10" y="3"/>
                </a:cxn>
                <a:cxn ang="0">
                  <a:pos x="10" y="3"/>
                </a:cxn>
                <a:cxn ang="0">
                  <a:pos x="8" y="1"/>
                </a:cxn>
                <a:cxn ang="0">
                  <a:pos x="5" y="1"/>
                </a:cxn>
                <a:cxn ang="0">
                  <a:pos x="5" y="1"/>
                </a:cxn>
                <a:cxn ang="0">
                  <a:pos x="0" y="0"/>
                </a:cxn>
                <a:cxn ang="0">
                  <a:pos x="0" y="10"/>
                </a:cxn>
                <a:cxn ang="0">
                  <a:pos x="0" y="10"/>
                </a:cxn>
                <a:cxn ang="0">
                  <a:pos x="8" y="8"/>
                </a:cxn>
                <a:cxn ang="0">
                  <a:pos x="8" y="8"/>
                </a:cxn>
                <a:cxn ang="0">
                  <a:pos x="11" y="6"/>
                </a:cxn>
                <a:cxn ang="0">
                  <a:pos x="11" y="4"/>
                </a:cxn>
                <a:cxn ang="0">
                  <a:pos x="10" y="3"/>
                </a:cxn>
                <a:cxn ang="0">
                  <a:pos x="10" y="3"/>
                </a:cxn>
              </a:cxnLst>
              <a:rect l="0" t="0" r="r" b="b"/>
              <a:pathLst>
                <a:path w="11" h="10">
                  <a:moveTo>
                    <a:pt x="10" y="3"/>
                  </a:moveTo>
                  <a:lnTo>
                    <a:pt x="10" y="3"/>
                  </a:lnTo>
                  <a:lnTo>
                    <a:pt x="8" y="1"/>
                  </a:lnTo>
                  <a:lnTo>
                    <a:pt x="5" y="1"/>
                  </a:lnTo>
                  <a:lnTo>
                    <a:pt x="5" y="1"/>
                  </a:lnTo>
                  <a:lnTo>
                    <a:pt x="0" y="0"/>
                  </a:lnTo>
                  <a:lnTo>
                    <a:pt x="0" y="10"/>
                  </a:lnTo>
                  <a:lnTo>
                    <a:pt x="0" y="10"/>
                  </a:lnTo>
                  <a:lnTo>
                    <a:pt x="8" y="8"/>
                  </a:lnTo>
                  <a:lnTo>
                    <a:pt x="8" y="8"/>
                  </a:lnTo>
                  <a:lnTo>
                    <a:pt x="11" y="6"/>
                  </a:lnTo>
                  <a:lnTo>
                    <a:pt x="11" y="4"/>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6" name="Freeform 66">
              <a:extLst>
                <a:ext uri="{FF2B5EF4-FFF2-40B4-BE49-F238E27FC236}">
                  <a16:creationId xmlns:a16="http://schemas.microsoft.com/office/drawing/2014/main" id="{14832A52-78DB-4DD4-892B-14572356FD19}"/>
                </a:ext>
              </a:extLst>
            </p:cNvPr>
            <p:cNvSpPr>
              <a:spLocks noEditPoints="1"/>
            </p:cNvSpPr>
            <p:nvPr/>
          </p:nvSpPr>
          <p:spPr bwMode="auto">
            <a:xfrm>
              <a:off x="5106988" y="3316288"/>
              <a:ext cx="214312" cy="71438"/>
            </a:xfrm>
            <a:custGeom>
              <a:avLst/>
              <a:gdLst/>
              <a:ahLst/>
              <a:cxnLst>
                <a:cxn ang="0">
                  <a:pos x="63" y="23"/>
                </a:cxn>
                <a:cxn ang="0">
                  <a:pos x="27" y="18"/>
                </a:cxn>
                <a:cxn ang="0">
                  <a:pos x="4" y="11"/>
                </a:cxn>
                <a:cxn ang="0">
                  <a:pos x="0" y="20"/>
                </a:cxn>
                <a:cxn ang="0">
                  <a:pos x="0" y="20"/>
                </a:cxn>
                <a:cxn ang="0">
                  <a:pos x="4" y="30"/>
                </a:cxn>
                <a:cxn ang="0">
                  <a:pos x="20" y="38"/>
                </a:cxn>
                <a:cxn ang="0">
                  <a:pos x="41" y="44"/>
                </a:cxn>
                <a:cxn ang="0">
                  <a:pos x="67" y="45"/>
                </a:cxn>
                <a:cxn ang="0">
                  <a:pos x="80" y="45"/>
                </a:cxn>
                <a:cxn ang="0">
                  <a:pos x="104" y="41"/>
                </a:cxn>
                <a:cxn ang="0">
                  <a:pos x="122" y="34"/>
                </a:cxn>
                <a:cxn ang="0">
                  <a:pos x="132" y="25"/>
                </a:cxn>
                <a:cxn ang="0">
                  <a:pos x="135" y="21"/>
                </a:cxn>
                <a:cxn ang="0">
                  <a:pos x="135" y="20"/>
                </a:cxn>
                <a:cxn ang="0">
                  <a:pos x="135" y="3"/>
                </a:cxn>
                <a:cxn ang="0">
                  <a:pos x="135" y="0"/>
                </a:cxn>
                <a:cxn ang="0">
                  <a:pos x="123" y="10"/>
                </a:cxn>
                <a:cxn ang="0">
                  <a:pos x="107" y="17"/>
                </a:cxn>
                <a:cxn ang="0">
                  <a:pos x="87" y="21"/>
                </a:cxn>
                <a:cxn ang="0">
                  <a:pos x="63" y="23"/>
                </a:cxn>
                <a:cxn ang="0">
                  <a:pos x="16" y="32"/>
                </a:cxn>
                <a:cxn ang="0">
                  <a:pos x="6" y="27"/>
                </a:cxn>
                <a:cxn ang="0">
                  <a:pos x="6" y="16"/>
                </a:cxn>
                <a:cxn ang="0">
                  <a:pos x="16" y="20"/>
                </a:cxn>
                <a:cxn ang="0">
                  <a:pos x="34" y="38"/>
                </a:cxn>
                <a:cxn ang="0">
                  <a:pos x="24" y="35"/>
                </a:cxn>
                <a:cxn ang="0">
                  <a:pos x="24" y="23"/>
                </a:cxn>
                <a:cxn ang="0">
                  <a:pos x="34" y="38"/>
                </a:cxn>
                <a:cxn ang="0">
                  <a:pos x="52" y="41"/>
                </a:cxn>
                <a:cxn ang="0">
                  <a:pos x="44" y="27"/>
                </a:cxn>
                <a:cxn ang="0">
                  <a:pos x="52" y="28"/>
                </a:cxn>
                <a:cxn ang="0">
                  <a:pos x="70" y="41"/>
                </a:cxn>
                <a:cxn ang="0">
                  <a:pos x="67" y="41"/>
                </a:cxn>
                <a:cxn ang="0">
                  <a:pos x="62" y="41"/>
                </a:cxn>
                <a:cxn ang="0">
                  <a:pos x="62" y="28"/>
                </a:cxn>
                <a:cxn ang="0">
                  <a:pos x="67" y="28"/>
                </a:cxn>
                <a:cxn ang="0">
                  <a:pos x="70" y="41"/>
                </a:cxn>
                <a:cxn ang="0">
                  <a:pos x="126" y="27"/>
                </a:cxn>
                <a:cxn ang="0">
                  <a:pos x="119" y="18"/>
                </a:cxn>
                <a:cxn ang="0">
                  <a:pos x="126" y="14"/>
                </a:cxn>
              </a:cxnLst>
              <a:rect l="0" t="0" r="r" b="b"/>
              <a:pathLst>
                <a:path w="135" h="45">
                  <a:moveTo>
                    <a:pt x="63" y="23"/>
                  </a:moveTo>
                  <a:lnTo>
                    <a:pt x="63" y="23"/>
                  </a:lnTo>
                  <a:lnTo>
                    <a:pt x="45" y="23"/>
                  </a:lnTo>
                  <a:lnTo>
                    <a:pt x="27" y="18"/>
                  </a:lnTo>
                  <a:lnTo>
                    <a:pt x="11" y="14"/>
                  </a:lnTo>
                  <a:lnTo>
                    <a:pt x="4" y="11"/>
                  </a:lnTo>
                  <a:lnTo>
                    <a:pt x="0" y="7"/>
                  </a:lnTo>
                  <a:lnTo>
                    <a:pt x="0" y="20"/>
                  </a:lnTo>
                  <a:lnTo>
                    <a:pt x="0" y="20"/>
                  </a:lnTo>
                  <a:lnTo>
                    <a:pt x="0" y="20"/>
                  </a:lnTo>
                  <a:lnTo>
                    <a:pt x="2" y="25"/>
                  </a:lnTo>
                  <a:lnTo>
                    <a:pt x="4" y="30"/>
                  </a:lnTo>
                  <a:lnTo>
                    <a:pt x="11" y="34"/>
                  </a:lnTo>
                  <a:lnTo>
                    <a:pt x="20" y="38"/>
                  </a:lnTo>
                  <a:lnTo>
                    <a:pt x="30" y="41"/>
                  </a:lnTo>
                  <a:lnTo>
                    <a:pt x="41" y="44"/>
                  </a:lnTo>
                  <a:lnTo>
                    <a:pt x="53" y="45"/>
                  </a:lnTo>
                  <a:lnTo>
                    <a:pt x="67" y="45"/>
                  </a:lnTo>
                  <a:lnTo>
                    <a:pt x="67" y="45"/>
                  </a:lnTo>
                  <a:lnTo>
                    <a:pt x="80" y="45"/>
                  </a:lnTo>
                  <a:lnTo>
                    <a:pt x="93" y="44"/>
                  </a:lnTo>
                  <a:lnTo>
                    <a:pt x="104" y="41"/>
                  </a:lnTo>
                  <a:lnTo>
                    <a:pt x="114" y="38"/>
                  </a:lnTo>
                  <a:lnTo>
                    <a:pt x="122" y="34"/>
                  </a:lnTo>
                  <a:lnTo>
                    <a:pt x="128" y="30"/>
                  </a:lnTo>
                  <a:lnTo>
                    <a:pt x="132" y="25"/>
                  </a:lnTo>
                  <a:lnTo>
                    <a:pt x="135" y="21"/>
                  </a:lnTo>
                  <a:lnTo>
                    <a:pt x="135" y="21"/>
                  </a:lnTo>
                  <a:lnTo>
                    <a:pt x="135" y="20"/>
                  </a:lnTo>
                  <a:lnTo>
                    <a:pt x="135" y="20"/>
                  </a:lnTo>
                  <a:lnTo>
                    <a:pt x="135" y="3"/>
                  </a:lnTo>
                  <a:lnTo>
                    <a:pt x="135" y="3"/>
                  </a:lnTo>
                  <a:lnTo>
                    <a:pt x="135" y="0"/>
                  </a:lnTo>
                  <a:lnTo>
                    <a:pt x="135" y="0"/>
                  </a:lnTo>
                  <a:lnTo>
                    <a:pt x="130" y="6"/>
                  </a:lnTo>
                  <a:lnTo>
                    <a:pt x="123" y="10"/>
                  </a:lnTo>
                  <a:lnTo>
                    <a:pt x="116" y="14"/>
                  </a:lnTo>
                  <a:lnTo>
                    <a:pt x="107" y="17"/>
                  </a:lnTo>
                  <a:lnTo>
                    <a:pt x="97" y="20"/>
                  </a:lnTo>
                  <a:lnTo>
                    <a:pt x="87" y="21"/>
                  </a:lnTo>
                  <a:lnTo>
                    <a:pt x="63" y="23"/>
                  </a:lnTo>
                  <a:lnTo>
                    <a:pt x="63" y="23"/>
                  </a:lnTo>
                  <a:close/>
                  <a:moveTo>
                    <a:pt x="16" y="32"/>
                  </a:moveTo>
                  <a:lnTo>
                    <a:pt x="16" y="32"/>
                  </a:lnTo>
                  <a:lnTo>
                    <a:pt x="10" y="30"/>
                  </a:lnTo>
                  <a:lnTo>
                    <a:pt x="6" y="27"/>
                  </a:lnTo>
                  <a:lnTo>
                    <a:pt x="6" y="16"/>
                  </a:lnTo>
                  <a:lnTo>
                    <a:pt x="6" y="16"/>
                  </a:lnTo>
                  <a:lnTo>
                    <a:pt x="10" y="17"/>
                  </a:lnTo>
                  <a:lnTo>
                    <a:pt x="16" y="20"/>
                  </a:lnTo>
                  <a:lnTo>
                    <a:pt x="16" y="32"/>
                  </a:lnTo>
                  <a:close/>
                  <a:moveTo>
                    <a:pt x="34" y="38"/>
                  </a:moveTo>
                  <a:lnTo>
                    <a:pt x="34" y="38"/>
                  </a:lnTo>
                  <a:lnTo>
                    <a:pt x="24" y="35"/>
                  </a:lnTo>
                  <a:lnTo>
                    <a:pt x="24" y="23"/>
                  </a:lnTo>
                  <a:lnTo>
                    <a:pt x="24" y="23"/>
                  </a:lnTo>
                  <a:lnTo>
                    <a:pt x="34" y="25"/>
                  </a:lnTo>
                  <a:lnTo>
                    <a:pt x="34" y="38"/>
                  </a:lnTo>
                  <a:close/>
                  <a:moveTo>
                    <a:pt x="52" y="41"/>
                  </a:moveTo>
                  <a:lnTo>
                    <a:pt x="52" y="41"/>
                  </a:lnTo>
                  <a:lnTo>
                    <a:pt x="44" y="39"/>
                  </a:lnTo>
                  <a:lnTo>
                    <a:pt x="44" y="27"/>
                  </a:lnTo>
                  <a:lnTo>
                    <a:pt x="44" y="27"/>
                  </a:lnTo>
                  <a:lnTo>
                    <a:pt x="52" y="28"/>
                  </a:lnTo>
                  <a:lnTo>
                    <a:pt x="52" y="41"/>
                  </a:lnTo>
                  <a:close/>
                  <a:moveTo>
                    <a:pt x="70" y="41"/>
                  </a:moveTo>
                  <a:lnTo>
                    <a:pt x="70" y="41"/>
                  </a:lnTo>
                  <a:lnTo>
                    <a:pt x="67" y="41"/>
                  </a:lnTo>
                  <a:lnTo>
                    <a:pt x="67" y="41"/>
                  </a:lnTo>
                  <a:lnTo>
                    <a:pt x="62" y="41"/>
                  </a:lnTo>
                  <a:lnTo>
                    <a:pt x="62" y="28"/>
                  </a:lnTo>
                  <a:lnTo>
                    <a:pt x="62" y="28"/>
                  </a:lnTo>
                  <a:lnTo>
                    <a:pt x="67" y="28"/>
                  </a:lnTo>
                  <a:lnTo>
                    <a:pt x="67" y="28"/>
                  </a:lnTo>
                  <a:lnTo>
                    <a:pt x="70" y="28"/>
                  </a:lnTo>
                  <a:lnTo>
                    <a:pt x="70" y="41"/>
                  </a:lnTo>
                  <a:close/>
                  <a:moveTo>
                    <a:pt x="126" y="27"/>
                  </a:moveTo>
                  <a:lnTo>
                    <a:pt x="126" y="27"/>
                  </a:lnTo>
                  <a:lnTo>
                    <a:pt x="119" y="32"/>
                  </a:lnTo>
                  <a:lnTo>
                    <a:pt x="119" y="18"/>
                  </a:lnTo>
                  <a:lnTo>
                    <a:pt x="119" y="18"/>
                  </a:lnTo>
                  <a:lnTo>
                    <a:pt x="126" y="14"/>
                  </a:lnTo>
                  <a:lnTo>
                    <a:pt x="126" y="2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7" name="Freeform 67">
              <a:extLst>
                <a:ext uri="{FF2B5EF4-FFF2-40B4-BE49-F238E27FC236}">
                  <a16:creationId xmlns:a16="http://schemas.microsoft.com/office/drawing/2014/main" id="{B9E949E7-40C8-45C3-9C7B-E3A290FC2E73}"/>
                </a:ext>
              </a:extLst>
            </p:cNvPr>
            <p:cNvSpPr>
              <a:spLocks noEditPoints="1"/>
            </p:cNvSpPr>
            <p:nvPr/>
          </p:nvSpPr>
          <p:spPr bwMode="auto">
            <a:xfrm>
              <a:off x="5100638" y="3275013"/>
              <a:ext cx="215900" cy="69850"/>
            </a:xfrm>
            <a:custGeom>
              <a:avLst/>
              <a:gdLst/>
              <a:ahLst/>
              <a:cxnLst>
                <a:cxn ang="0">
                  <a:pos x="0" y="19"/>
                </a:cxn>
                <a:cxn ang="0">
                  <a:pos x="6" y="29"/>
                </a:cxn>
                <a:cxn ang="0">
                  <a:pos x="21" y="36"/>
                </a:cxn>
                <a:cxn ang="0">
                  <a:pos x="42" y="42"/>
                </a:cxn>
                <a:cxn ang="0">
                  <a:pos x="67" y="44"/>
                </a:cxn>
                <a:cxn ang="0">
                  <a:pos x="81" y="43"/>
                </a:cxn>
                <a:cxn ang="0">
                  <a:pos x="105" y="40"/>
                </a:cxn>
                <a:cxn ang="0">
                  <a:pos x="123" y="33"/>
                </a:cxn>
                <a:cxn ang="0">
                  <a:pos x="133" y="25"/>
                </a:cxn>
                <a:cxn ang="0">
                  <a:pos x="134" y="19"/>
                </a:cxn>
                <a:cxn ang="0">
                  <a:pos x="136" y="19"/>
                </a:cxn>
                <a:cxn ang="0">
                  <a:pos x="136" y="7"/>
                </a:cxn>
                <a:cxn ang="0">
                  <a:pos x="123" y="14"/>
                </a:cxn>
                <a:cxn ang="0">
                  <a:pos x="90" y="21"/>
                </a:cxn>
                <a:cxn ang="0">
                  <a:pos x="71" y="22"/>
                </a:cxn>
                <a:cxn ang="0">
                  <a:pos x="38" y="19"/>
                </a:cxn>
                <a:cxn ang="0">
                  <a:pos x="18" y="14"/>
                </a:cxn>
                <a:cxn ang="0">
                  <a:pos x="6" y="5"/>
                </a:cxn>
                <a:cxn ang="0">
                  <a:pos x="1" y="0"/>
                </a:cxn>
                <a:cxn ang="0">
                  <a:pos x="0" y="1"/>
                </a:cxn>
                <a:cxn ang="0">
                  <a:pos x="0" y="19"/>
                </a:cxn>
                <a:cxn ang="0">
                  <a:pos x="120" y="19"/>
                </a:cxn>
                <a:cxn ang="0">
                  <a:pos x="127" y="16"/>
                </a:cxn>
                <a:cxn ang="0">
                  <a:pos x="127" y="26"/>
                </a:cxn>
                <a:cxn ang="0">
                  <a:pos x="120" y="19"/>
                </a:cxn>
                <a:cxn ang="0">
                  <a:pos x="63" y="28"/>
                </a:cxn>
                <a:cxn ang="0">
                  <a:pos x="67" y="28"/>
                </a:cxn>
                <a:cxn ang="0">
                  <a:pos x="71" y="40"/>
                </a:cxn>
                <a:cxn ang="0">
                  <a:pos x="67" y="40"/>
                </a:cxn>
                <a:cxn ang="0">
                  <a:pos x="63" y="40"/>
                </a:cxn>
                <a:cxn ang="0">
                  <a:pos x="43" y="26"/>
                </a:cxn>
                <a:cxn ang="0">
                  <a:pos x="53" y="26"/>
                </a:cxn>
                <a:cxn ang="0">
                  <a:pos x="53" y="40"/>
                </a:cxn>
                <a:cxn ang="0">
                  <a:pos x="43" y="26"/>
                </a:cxn>
                <a:cxn ang="0">
                  <a:pos x="25" y="22"/>
                </a:cxn>
                <a:cxn ang="0">
                  <a:pos x="35" y="37"/>
                </a:cxn>
                <a:cxn ang="0">
                  <a:pos x="25" y="35"/>
                </a:cxn>
                <a:cxn ang="0">
                  <a:pos x="7" y="12"/>
                </a:cxn>
                <a:cxn ang="0">
                  <a:pos x="17" y="18"/>
                </a:cxn>
                <a:cxn ang="0">
                  <a:pos x="17" y="32"/>
                </a:cxn>
                <a:cxn ang="0">
                  <a:pos x="7" y="25"/>
                </a:cxn>
              </a:cxnLst>
              <a:rect l="0" t="0" r="r" b="b"/>
              <a:pathLst>
                <a:path w="136" h="44">
                  <a:moveTo>
                    <a:pt x="0" y="19"/>
                  </a:moveTo>
                  <a:lnTo>
                    <a:pt x="0" y="19"/>
                  </a:lnTo>
                  <a:lnTo>
                    <a:pt x="1" y="23"/>
                  </a:lnTo>
                  <a:lnTo>
                    <a:pt x="6" y="29"/>
                  </a:lnTo>
                  <a:lnTo>
                    <a:pt x="13" y="33"/>
                  </a:lnTo>
                  <a:lnTo>
                    <a:pt x="21" y="36"/>
                  </a:lnTo>
                  <a:lnTo>
                    <a:pt x="31" y="40"/>
                  </a:lnTo>
                  <a:lnTo>
                    <a:pt x="42" y="42"/>
                  </a:lnTo>
                  <a:lnTo>
                    <a:pt x="55" y="43"/>
                  </a:lnTo>
                  <a:lnTo>
                    <a:pt x="67" y="44"/>
                  </a:lnTo>
                  <a:lnTo>
                    <a:pt x="67" y="44"/>
                  </a:lnTo>
                  <a:lnTo>
                    <a:pt x="81" y="43"/>
                  </a:lnTo>
                  <a:lnTo>
                    <a:pt x="94" y="42"/>
                  </a:lnTo>
                  <a:lnTo>
                    <a:pt x="105" y="40"/>
                  </a:lnTo>
                  <a:lnTo>
                    <a:pt x="115" y="37"/>
                  </a:lnTo>
                  <a:lnTo>
                    <a:pt x="123" y="33"/>
                  </a:lnTo>
                  <a:lnTo>
                    <a:pt x="129" y="29"/>
                  </a:lnTo>
                  <a:lnTo>
                    <a:pt x="133" y="25"/>
                  </a:lnTo>
                  <a:lnTo>
                    <a:pt x="134" y="19"/>
                  </a:lnTo>
                  <a:lnTo>
                    <a:pt x="134" y="19"/>
                  </a:lnTo>
                  <a:lnTo>
                    <a:pt x="136" y="19"/>
                  </a:lnTo>
                  <a:lnTo>
                    <a:pt x="136" y="19"/>
                  </a:lnTo>
                  <a:lnTo>
                    <a:pt x="136" y="7"/>
                  </a:lnTo>
                  <a:lnTo>
                    <a:pt x="136" y="7"/>
                  </a:lnTo>
                  <a:lnTo>
                    <a:pt x="130" y="9"/>
                  </a:lnTo>
                  <a:lnTo>
                    <a:pt x="123" y="14"/>
                  </a:lnTo>
                  <a:lnTo>
                    <a:pt x="108" y="18"/>
                  </a:lnTo>
                  <a:lnTo>
                    <a:pt x="90" y="21"/>
                  </a:lnTo>
                  <a:lnTo>
                    <a:pt x="71" y="22"/>
                  </a:lnTo>
                  <a:lnTo>
                    <a:pt x="71" y="22"/>
                  </a:lnTo>
                  <a:lnTo>
                    <a:pt x="49" y="21"/>
                  </a:lnTo>
                  <a:lnTo>
                    <a:pt x="38" y="19"/>
                  </a:lnTo>
                  <a:lnTo>
                    <a:pt x="28" y="16"/>
                  </a:lnTo>
                  <a:lnTo>
                    <a:pt x="18" y="14"/>
                  </a:lnTo>
                  <a:lnTo>
                    <a:pt x="11" y="9"/>
                  </a:lnTo>
                  <a:lnTo>
                    <a:pt x="6" y="5"/>
                  </a:lnTo>
                  <a:lnTo>
                    <a:pt x="1" y="0"/>
                  </a:lnTo>
                  <a:lnTo>
                    <a:pt x="1" y="0"/>
                  </a:lnTo>
                  <a:lnTo>
                    <a:pt x="0" y="1"/>
                  </a:lnTo>
                  <a:lnTo>
                    <a:pt x="0" y="1"/>
                  </a:lnTo>
                  <a:lnTo>
                    <a:pt x="0" y="2"/>
                  </a:lnTo>
                  <a:lnTo>
                    <a:pt x="0" y="19"/>
                  </a:lnTo>
                  <a:lnTo>
                    <a:pt x="0" y="19"/>
                  </a:lnTo>
                  <a:close/>
                  <a:moveTo>
                    <a:pt x="120" y="19"/>
                  </a:moveTo>
                  <a:lnTo>
                    <a:pt x="120" y="19"/>
                  </a:lnTo>
                  <a:lnTo>
                    <a:pt x="127" y="16"/>
                  </a:lnTo>
                  <a:lnTo>
                    <a:pt x="127" y="26"/>
                  </a:lnTo>
                  <a:lnTo>
                    <a:pt x="127" y="26"/>
                  </a:lnTo>
                  <a:lnTo>
                    <a:pt x="120" y="30"/>
                  </a:lnTo>
                  <a:lnTo>
                    <a:pt x="120" y="19"/>
                  </a:lnTo>
                  <a:close/>
                  <a:moveTo>
                    <a:pt x="63" y="28"/>
                  </a:moveTo>
                  <a:lnTo>
                    <a:pt x="63" y="28"/>
                  </a:lnTo>
                  <a:lnTo>
                    <a:pt x="67" y="28"/>
                  </a:lnTo>
                  <a:lnTo>
                    <a:pt x="67" y="28"/>
                  </a:lnTo>
                  <a:lnTo>
                    <a:pt x="71" y="28"/>
                  </a:lnTo>
                  <a:lnTo>
                    <a:pt x="71" y="40"/>
                  </a:lnTo>
                  <a:lnTo>
                    <a:pt x="71" y="40"/>
                  </a:lnTo>
                  <a:lnTo>
                    <a:pt x="67" y="40"/>
                  </a:lnTo>
                  <a:lnTo>
                    <a:pt x="67" y="40"/>
                  </a:lnTo>
                  <a:lnTo>
                    <a:pt x="63" y="40"/>
                  </a:lnTo>
                  <a:lnTo>
                    <a:pt x="63" y="28"/>
                  </a:lnTo>
                  <a:close/>
                  <a:moveTo>
                    <a:pt x="43" y="26"/>
                  </a:moveTo>
                  <a:lnTo>
                    <a:pt x="43" y="26"/>
                  </a:lnTo>
                  <a:lnTo>
                    <a:pt x="53" y="26"/>
                  </a:lnTo>
                  <a:lnTo>
                    <a:pt x="53" y="40"/>
                  </a:lnTo>
                  <a:lnTo>
                    <a:pt x="53" y="40"/>
                  </a:lnTo>
                  <a:lnTo>
                    <a:pt x="43" y="39"/>
                  </a:lnTo>
                  <a:lnTo>
                    <a:pt x="43" y="26"/>
                  </a:lnTo>
                  <a:close/>
                  <a:moveTo>
                    <a:pt x="25" y="22"/>
                  </a:moveTo>
                  <a:lnTo>
                    <a:pt x="25" y="22"/>
                  </a:lnTo>
                  <a:lnTo>
                    <a:pt x="35" y="23"/>
                  </a:lnTo>
                  <a:lnTo>
                    <a:pt x="35" y="37"/>
                  </a:lnTo>
                  <a:lnTo>
                    <a:pt x="35" y="37"/>
                  </a:lnTo>
                  <a:lnTo>
                    <a:pt x="25" y="35"/>
                  </a:lnTo>
                  <a:lnTo>
                    <a:pt x="25" y="22"/>
                  </a:lnTo>
                  <a:close/>
                  <a:moveTo>
                    <a:pt x="7" y="12"/>
                  </a:moveTo>
                  <a:lnTo>
                    <a:pt x="7" y="12"/>
                  </a:lnTo>
                  <a:lnTo>
                    <a:pt x="17" y="18"/>
                  </a:lnTo>
                  <a:lnTo>
                    <a:pt x="17" y="32"/>
                  </a:lnTo>
                  <a:lnTo>
                    <a:pt x="17" y="32"/>
                  </a:lnTo>
                  <a:lnTo>
                    <a:pt x="11" y="29"/>
                  </a:lnTo>
                  <a:lnTo>
                    <a:pt x="7" y="25"/>
                  </a:lnTo>
                  <a:lnTo>
                    <a:pt x="7" y="1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8" name="Freeform 68">
              <a:extLst>
                <a:ext uri="{FF2B5EF4-FFF2-40B4-BE49-F238E27FC236}">
                  <a16:creationId xmlns:a16="http://schemas.microsoft.com/office/drawing/2014/main" id="{1B39D672-341B-4DA6-B599-54AA06E2926E}"/>
                </a:ext>
              </a:extLst>
            </p:cNvPr>
            <p:cNvSpPr>
              <a:spLocks noEditPoints="1"/>
            </p:cNvSpPr>
            <p:nvPr/>
          </p:nvSpPr>
          <p:spPr bwMode="auto">
            <a:xfrm>
              <a:off x="5100638" y="3359150"/>
              <a:ext cx="215900" cy="71438"/>
            </a:xfrm>
            <a:custGeom>
              <a:avLst/>
              <a:gdLst/>
              <a:ahLst/>
              <a:cxnLst>
                <a:cxn ang="0">
                  <a:pos x="1" y="0"/>
                </a:cxn>
                <a:cxn ang="0">
                  <a:pos x="0" y="3"/>
                </a:cxn>
                <a:cxn ang="0">
                  <a:pos x="0" y="19"/>
                </a:cxn>
                <a:cxn ang="0">
                  <a:pos x="0" y="19"/>
                </a:cxn>
                <a:cxn ang="0">
                  <a:pos x="6" y="29"/>
                </a:cxn>
                <a:cxn ang="0">
                  <a:pos x="21" y="38"/>
                </a:cxn>
                <a:cxn ang="0">
                  <a:pos x="42" y="43"/>
                </a:cxn>
                <a:cxn ang="0">
                  <a:pos x="67" y="45"/>
                </a:cxn>
                <a:cxn ang="0">
                  <a:pos x="81" y="45"/>
                </a:cxn>
                <a:cxn ang="0">
                  <a:pos x="105" y="40"/>
                </a:cxn>
                <a:cxn ang="0">
                  <a:pos x="123" y="33"/>
                </a:cxn>
                <a:cxn ang="0">
                  <a:pos x="133" y="25"/>
                </a:cxn>
                <a:cxn ang="0">
                  <a:pos x="134" y="21"/>
                </a:cxn>
                <a:cxn ang="0">
                  <a:pos x="136" y="19"/>
                </a:cxn>
                <a:cxn ang="0">
                  <a:pos x="136" y="7"/>
                </a:cxn>
                <a:cxn ang="0">
                  <a:pos x="123" y="14"/>
                </a:cxn>
                <a:cxn ang="0">
                  <a:pos x="90" y="22"/>
                </a:cxn>
                <a:cxn ang="0">
                  <a:pos x="71" y="24"/>
                </a:cxn>
                <a:cxn ang="0">
                  <a:pos x="38" y="19"/>
                </a:cxn>
                <a:cxn ang="0">
                  <a:pos x="18" y="14"/>
                </a:cxn>
                <a:cxn ang="0">
                  <a:pos x="6" y="5"/>
                </a:cxn>
                <a:cxn ang="0">
                  <a:pos x="1" y="0"/>
                </a:cxn>
                <a:cxn ang="0">
                  <a:pos x="17" y="32"/>
                </a:cxn>
                <a:cxn ang="0">
                  <a:pos x="7" y="26"/>
                </a:cxn>
                <a:cxn ang="0">
                  <a:pos x="7" y="12"/>
                </a:cxn>
                <a:cxn ang="0">
                  <a:pos x="17" y="32"/>
                </a:cxn>
                <a:cxn ang="0">
                  <a:pos x="35" y="38"/>
                </a:cxn>
                <a:cxn ang="0">
                  <a:pos x="25" y="22"/>
                </a:cxn>
                <a:cxn ang="0">
                  <a:pos x="35" y="25"/>
                </a:cxn>
                <a:cxn ang="0">
                  <a:pos x="53" y="40"/>
                </a:cxn>
                <a:cxn ang="0">
                  <a:pos x="43" y="39"/>
                </a:cxn>
                <a:cxn ang="0">
                  <a:pos x="43" y="26"/>
                </a:cxn>
                <a:cxn ang="0">
                  <a:pos x="53" y="40"/>
                </a:cxn>
                <a:cxn ang="0">
                  <a:pos x="120" y="21"/>
                </a:cxn>
                <a:cxn ang="0">
                  <a:pos x="127" y="28"/>
                </a:cxn>
                <a:cxn ang="0">
                  <a:pos x="120" y="32"/>
                </a:cxn>
                <a:cxn ang="0">
                  <a:pos x="71" y="40"/>
                </a:cxn>
                <a:cxn ang="0">
                  <a:pos x="67" y="42"/>
                </a:cxn>
                <a:cxn ang="0">
                  <a:pos x="63" y="40"/>
                </a:cxn>
                <a:cxn ang="0">
                  <a:pos x="63" y="28"/>
                </a:cxn>
                <a:cxn ang="0">
                  <a:pos x="67" y="28"/>
                </a:cxn>
                <a:cxn ang="0">
                  <a:pos x="71" y="40"/>
                </a:cxn>
              </a:cxnLst>
              <a:rect l="0" t="0" r="r" b="b"/>
              <a:pathLst>
                <a:path w="136" h="45">
                  <a:moveTo>
                    <a:pt x="1" y="0"/>
                  </a:moveTo>
                  <a:lnTo>
                    <a:pt x="1" y="0"/>
                  </a:lnTo>
                  <a:lnTo>
                    <a:pt x="0" y="3"/>
                  </a:lnTo>
                  <a:lnTo>
                    <a:pt x="0" y="3"/>
                  </a:lnTo>
                  <a:lnTo>
                    <a:pt x="0" y="3"/>
                  </a:lnTo>
                  <a:lnTo>
                    <a:pt x="0" y="19"/>
                  </a:lnTo>
                  <a:lnTo>
                    <a:pt x="0" y="19"/>
                  </a:lnTo>
                  <a:lnTo>
                    <a:pt x="0" y="19"/>
                  </a:lnTo>
                  <a:lnTo>
                    <a:pt x="1" y="25"/>
                  </a:lnTo>
                  <a:lnTo>
                    <a:pt x="6" y="29"/>
                  </a:lnTo>
                  <a:lnTo>
                    <a:pt x="13" y="33"/>
                  </a:lnTo>
                  <a:lnTo>
                    <a:pt x="21" y="38"/>
                  </a:lnTo>
                  <a:lnTo>
                    <a:pt x="31" y="40"/>
                  </a:lnTo>
                  <a:lnTo>
                    <a:pt x="42" y="43"/>
                  </a:lnTo>
                  <a:lnTo>
                    <a:pt x="55" y="45"/>
                  </a:lnTo>
                  <a:lnTo>
                    <a:pt x="67" y="45"/>
                  </a:lnTo>
                  <a:lnTo>
                    <a:pt x="67" y="45"/>
                  </a:lnTo>
                  <a:lnTo>
                    <a:pt x="81" y="45"/>
                  </a:lnTo>
                  <a:lnTo>
                    <a:pt x="94" y="43"/>
                  </a:lnTo>
                  <a:lnTo>
                    <a:pt x="105" y="40"/>
                  </a:lnTo>
                  <a:lnTo>
                    <a:pt x="115" y="38"/>
                  </a:lnTo>
                  <a:lnTo>
                    <a:pt x="123" y="33"/>
                  </a:lnTo>
                  <a:lnTo>
                    <a:pt x="129" y="31"/>
                  </a:lnTo>
                  <a:lnTo>
                    <a:pt x="133" y="25"/>
                  </a:lnTo>
                  <a:lnTo>
                    <a:pt x="134" y="21"/>
                  </a:lnTo>
                  <a:lnTo>
                    <a:pt x="134" y="21"/>
                  </a:lnTo>
                  <a:lnTo>
                    <a:pt x="136" y="19"/>
                  </a:lnTo>
                  <a:lnTo>
                    <a:pt x="136" y="19"/>
                  </a:lnTo>
                  <a:lnTo>
                    <a:pt x="136" y="7"/>
                  </a:lnTo>
                  <a:lnTo>
                    <a:pt x="136" y="7"/>
                  </a:lnTo>
                  <a:lnTo>
                    <a:pt x="130" y="11"/>
                  </a:lnTo>
                  <a:lnTo>
                    <a:pt x="123" y="14"/>
                  </a:lnTo>
                  <a:lnTo>
                    <a:pt x="108" y="19"/>
                  </a:lnTo>
                  <a:lnTo>
                    <a:pt x="90" y="22"/>
                  </a:lnTo>
                  <a:lnTo>
                    <a:pt x="71" y="24"/>
                  </a:lnTo>
                  <a:lnTo>
                    <a:pt x="71" y="24"/>
                  </a:lnTo>
                  <a:lnTo>
                    <a:pt x="49" y="22"/>
                  </a:lnTo>
                  <a:lnTo>
                    <a:pt x="38" y="19"/>
                  </a:lnTo>
                  <a:lnTo>
                    <a:pt x="28" y="17"/>
                  </a:lnTo>
                  <a:lnTo>
                    <a:pt x="18" y="14"/>
                  </a:lnTo>
                  <a:lnTo>
                    <a:pt x="11" y="10"/>
                  </a:lnTo>
                  <a:lnTo>
                    <a:pt x="6" y="5"/>
                  </a:lnTo>
                  <a:lnTo>
                    <a:pt x="1" y="0"/>
                  </a:lnTo>
                  <a:lnTo>
                    <a:pt x="1" y="0"/>
                  </a:lnTo>
                  <a:close/>
                  <a:moveTo>
                    <a:pt x="17" y="32"/>
                  </a:moveTo>
                  <a:lnTo>
                    <a:pt x="17" y="32"/>
                  </a:lnTo>
                  <a:lnTo>
                    <a:pt x="11" y="29"/>
                  </a:lnTo>
                  <a:lnTo>
                    <a:pt x="7" y="26"/>
                  </a:lnTo>
                  <a:lnTo>
                    <a:pt x="7" y="12"/>
                  </a:lnTo>
                  <a:lnTo>
                    <a:pt x="7" y="12"/>
                  </a:lnTo>
                  <a:lnTo>
                    <a:pt x="17" y="18"/>
                  </a:lnTo>
                  <a:lnTo>
                    <a:pt x="17" y="32"/>
                  </a:lnTo>
                  <a:close/>
                  <a:moveTo>
                    <a:pt x="35" y="38"/>
                  </a:moveTo>
                  <a:lnTo>
                    <a:pt x="35" y="38"/>
                  </a:lnTo>
                  <a:lnTo>
                    <a:pt x="25" y="35"/>
                  </a:lnTo>
                  <a:lnTo>
                    <a:pt x="25" y="22"/>
                  </a:lnTo>
                  <a:lnTo>
                    <a:pt x="25" y="22"/>
                  </a:lnTo>
                  <a:lnTo>
                    <a:pt x="35" y="25"/>
                  </a:lnTo>
                  <a:lnTo>
                    <a:pt x="35" y="38"/>
                  </a:lnTo>
                  <a:close/>
                  <a:moveTo>
                    <a:pt x="53" y="40"/>
                  </a:moveTo>
                  <a:lnTo>
                    <a:pt x="53" y="40"/>
                  </a:lnTo>
                  <a:lnTo>
                    <a:pt x="43" y="39"/>
                  </a:lnTo>
                  <a:lnTo>
                    <a:pt x="43" y="26"/>
                  </a:lnTo>
                  <a:lnTo>
                    <a:pt x="43" y="26"/>
                  </a:lnTo>
                  <a:lnTo>
                    <a:pt x="53" y="28"/>
                  </a:lnTo>
                  <a:lnTo>
                    <a:pt x="53" y="40"/>
                  </a:lnTo>
                  <a:close/>
                  <a:moveTo>
                    <a:pt x="120" y="21"/>
                  </a:moveTo>
                  <a:lnTo>
                    <a:pt x="120" y="21"/>
                  </a:lnTo>
                  <a:lnTo>
                    <a:pt x="127" y="17"/>
                  </a:lnTo>
                  <a:lnTo>
                    <a:pt x="127" y="28"/>
                  </a:lnTo>
                  <a:lnTo>
                    <a:pt x="127" y="28"/>
                  </a:lnTo>
                  <a:lnTo>
                    <a:pt x="120" y="32"/>
                  </a:lnTo>
                  <a:lnTo>
                    <a:pt x="120" y="21"/>
                  </a:lnTo>
                  <a:close/>
                  <a:moveTo>
                    <a:pt x="71" y="40"/>
                  </a:moveTo>
                  <a:lnTo>
                    <a:pt x="71" y="40"/>
                  </a:lnTo>
                  <a:lnTo>
                    <a:pt x="67" y="42"/>
                  </a:lnTo>
                  <a:lnTo>
                    <a:pt x="67" y="42"/>
                  </a:lnTo>
                  <a:lnTo>
                    <a:pt x="63" y="40"/>
                  </a:lnTo>
                  <a:lnTo>
                    <a:pt x="63" y="28"/>
                  </a:lnTo>
                  <a:lnTo>
                    <a:pt x="63" y="28"/>
                  </a:lnTo>
                  <a:lnTo>
                    <a:pt x="67" y="28"/>
                  </a:lnTo>
                  <a:lnTo>
                    <a:pt x="67" y="28"/>
                  </a:lnTo>
                  <a:lnTo>
                    <a:pt x="71" y="28"/>
                  </a:lnTo>
                  <a:lnTo>
                    <a:pt x="71"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49" name="Freeform 69">
              <a:extLst>
                <a:ext uri="{FF2B5EF4-FFF2-40B4-BE49-F238E27FC236}">
                  <a16:creationId xmlns:a16="http://schemas.microsoft.com/office/drawing/2014/main" id="{809FBBBB-6DD5-4839-8935-5FC66F47B2BE}"/>
                </a:ext>
              </a:extLst>
            </p:cNvPr>
            <p:cNvSpPr>
              <a:spLocks/>
            </p:cNvSpPr>
            <p:nvPr/>
          </p:nvSpPr>
          <p:spPr bwMode="auto">
            <a:xfrm>
              <a:off x="5106988" y="3233738"/>
              <a:ext cx="214312" cy="69850"/>
            </a:xfrm>
            <a:custGeom>
              <a:avLst/>
              <a:gdLst/>
              <a:ahLst/>
              <a:cxnLst>
                <a:cxn ang="0">
                  <a:pos x="126" y="26"/>
                </a:cxn>
                <a:cxn ang="0">
                  <a:pos x="119" y="30"/>
                </a:cxn>
                <a:cxn ang="0">
                  <a:pos x="119" y="17"/>
                </a:cxn>
                <a:cxn ang="0">
                  <a:pos x="98" y="24"/>
                </a:cxn>
                <a:cxn ang="0">
                  <a:pos x="70" y="27"/>
                </a:cxn>
                <a:cxn ang="0">
                  <a:pos x="70" y="40"/>
                </a:cxn>
                <a:cxn ang="0">
                  <a:pos x="67" y="40"/>
                </a:cxn>
                <a:cxn ang="0">
                  <a:pos x="62" y="27"/>
                </a:cxn>
                <a:cxn ang="0">
                  <a:pos x="52" y="26"/>
                </a:cxn>
                <a:cxn ang="0">
                  <a:pos x="52" y="38"/>
                </a:cxn>
                <a:cxn ang="0">
                  <a:pos x="44" y="26"/>
                </a:cxn>
                <a:cxn ang="0">
                  <a:pos x="34" y="23"/>
                </a:cxn>
                <a:cxn ang="0">
                  <a:pos x="34" y="37"/>
                </a:cxn>
                <a:cxn ang="0">
                  <a:pos x="24" y="21"/>
                </a:cxn>
                <a:cxn ang="0">
                  <a:pos x="16" y="17"/>
                </a:cxn>
                <a:cxn ang="0">
                  <a:pos x="16" y="30"/>
                </a:cxn>
                <a:cxn ang="0">
                  <a:pos x="6" y="24"/>
                </a:cxn>
                <a:cxn ang="0">
                  <a:pos x="6" y="12"/>
                </a:cxn>
                <a:cxn ang="0">
                  <a:pos x="0" y="0"/>
                </a:cxn>
                <a:cxn ang="0">
                  <a:pos x="0" y="17"/>
                </a:cxn>
                <a:cxn ang="0">
                  <a:pos x="2" y="23"/>
                </a:cxn>
                <a:cxn ang="0">
                  <a:pos x="11" y="33"/>
                </a:cxn>
                <a:cxn ang="0">
                  <a:pos x="30" y="38"/>
                </a:cxn>
                <a:cxn ang="0">
                  <a:pos x="53" y="42"/>
                </a:cxn>
                <a:cxn ang="0">
                  <a:pos x="67" y="44"/>
                </a:cxn>
                <a:cxn ang="0">
                  <a:pos x="93" y="41"/>
                </a:cxn>
                <a:cxn ang="0">
                  <a:pos x="114" y="35"/>
                </a:cxn>
                <a:cxn ang="0">
                  <a:pos x="128" y="28"/>
                </a:cxn>
                <a:cxn ang="0">
                  <a:pos x="135" y="19"/>
                </a:cxn>
                <a:cxn ang="0">
                  <a:pos x="135" y="17"/>
                </a:cxn>
                <a:cxn ang="0">
                  <a:pos x="135" y="0"/>
                </a:cxn>
                <a:cxn ang="0">
                  <a:pos x="133" y="5"/>
                </a:cxn>
                <a:cxn ang="0">
                  <a:pos x="126" y="13"/>
                </a:cxn>
              </a:cxnLst>
              <a:rect l="0" t="0" r="r" b="b"/>
              <a:pathLst>
                <a:path w="135" h="44">
                  <a:moveTo>
                    <a:pt x="126" y="13"/>
                  </a:moveTo>
                  <a:lnTo>
                    <a:pt x="126" y="26"/>
                  </a:lnTo>
                  <a:lnTo>
                    <a:pt x="126" y="26"/>
                  </a:lnTo>
                  <a:lnTo>
                    <a:pt x="119" y="30"/>
                  </a:lnTo>
                  <a:lnTo>
                    <a:pt x="119" y="17"/>
                  </a:lnTo>
                  <a:lnTo>
                    <a:pt x="119" y="17"/>
                  </a:lnTo>
                  <a:lnTo>
                    <a:pt x="109" y="21"/>
                  </a:lnTo>
                  <a:lnTo>
                    <a:pt x="98" y="24"/>
                  </a:lnTo>
                  <a:lnTo>
                    <a:pt x="84" y="26"/>
                  </a:lnTo>
                  <a:lnTo>
                    <a:pt x="70" y="27"/>
                  </a:lnTo>
                  <a:lnTo>
                    <a:pt x="70" y="40"/>
                  </a:lnTo>
                  <a:lnTo>
                    <a:pt x="70" y="40"/>
                  </a:lnTo>
                  <a:lnTo>
                    <a:pt x="67" y="40"/>
                  </a:lnTo>
                  <a:lnTo>
                    <a:pt x="67" y="40"/>
                  </a:lnTo>
                  <a:lnTo>
                    <a:pt x="62" y="40"/>
                  </a:lnTo>
                  <a:lnTo>
                    <a:pt x="62" y="27"/>
                  </a:lnTo>
                  <a:lnTo>
                    <a:pt x="62" y="27"/>
                  </a:lnTo>
                  <a:lnTo>
                    <a:pt x="52" y="26"/>
                  </a:lnTo>
                  <a:lnTo>
                    <a:pt x="52" y="38"/>
                  </a:lnTo>
                  <a:lnTo>
                    <a:pt x="52" y="38"/>
                  </a:lnTo>
                  <a:lnTo>
                    <a:pt x="44" y="38"/>
                  </a:lnTo>
                  <a:lnTo>
                    <a:pt x="44" y="26"/>
                  </a:lnTo>
                  <a:lnTo>
                    <a:pt x="44" y="26"/>
                  </a:lnTo>
                  <a:lnTo>
                    <a:pt x="34" y="23"/>
                  </a:lnTo>
                  <a:lnTo>
                    <a:pt x="34" y="37"/>
                  </a:lnTo>
                  <a:lnTo>
                    <a:pt x="34" y="37"/>
                  </a:lnTo>
                  <a:lnTo>
                    <a:pt x="24" y="34"/>
                  </a:lnTo>
                  <a:lnTo>
                    <a:pt x="24" y="21"/>
                  </a:lnTo>
                  <a:lnTo>
                    <a:pt x="24" y="21"/>
                  </a:lnTo>
                  <a:lnTo>
                    <a:pt x="16" y="17"/>
                  </a:lnTo>
                  <a:lnTo>
                    <a:pt x="16" y="30"/>
                  </a:lnTo>
                  <a:lnTo>
                    <a:pt x="16" y="30"/>
                  </a:lnTo>
                  <a:lnTo>
                    <a:pt x="10" y="27"/>
                  </a:lnTo>
                  <a:lnTo>
                    <a:pt x="6" y="24"/>
                  </a:lnTo>
                  <a:lnTo>
                    <a:pt x="6" y="12"/>
                  </a:lnTo>
                  <a:lnTo>
                    <a:pt x="6" y="12"/>
                  </a:lnTo>
                  <a:lnTo>
                    <a:pt x="2" y="6"/>
                  </a:lnTo>
                  <a:lnTo>
                    <a:pt x="0" y="0"/>
                  </a:lnTo>
                  <a:lnTo>
                    <a:pt x="0" y="17"/>
                  </a:lnTo>
                  <a:lnTo>
                    <a:pt x="0" y="17"/>
                  </a:lnTo>
                  <a:lnTo>
                    <a:pt x="0" y="17"/>
                  </a:lnTo>
                  <a:lnTo>
                    <a:pt x="2" y="23"/>
                  </a:lnTo>
                  <a:lnTo>
                    <a:pt x="4" y="27"/>
                  </a:lnTo>
                  <a:lnTo>
                    <a:pt x="11" y="33"/>
                  </a:lnTo>
                  <a:lnTo>
                    <a:pt x="20" y="35"/>
                  </a:lnTo>
                  <a:lnTo>
                    <a:pt x="30" y="38"/>
                  </a:lnTo>
                  <a:lnTo>
                    <a:pt x="41" y="41"/>
                  </a:lnTo>
                  <a:lnTo>
                    <a:pt x="53" y="42"/>
                  </a:lnTo>
                  <a:lnTo>
                    <a:pt x="67" y="44"/>
                  </a:lnTo>
                  <a:lnTo>
                    <a:pt x="67" y="44"/>
                  </a:lnTo>
                  <a:lnTo>
                    <a:pt x="80" y="42"/>
                  </a:lnTo>
                  <a:lnTo>
                    <a:pt x="93" y="41"/>
                  </a:lnTo>
                  <a:lnTo>
                    <a:pt x="104" y="40"/>
                  </a:lnTo>
                  <a:lnTo>
                    <a:pt x="114" y="35"/>
                  </a:lnTo>
                  <a:lnTo>
                    <a:pt x="122" y="33"/>
                  </a:lnTo>
                  <a:lnTo>
                    <a:pt x="128" y="28"/>
                  </a:lnTo>
                  <a:lnTo>
                    <a:pt x="132" y="24"/>
                  </a:lnTo>
                  <a:lnTo>
                    <a:pt x="135" y="19"/>
                  </a:lnTo>
                  <a:lnTo>
                    <a:pt x="135" y="19"/>
                  </a:lnTo>
                  <a:lnTo>
                    <a:pt x="135" y="17"/>
                  </a:lnTo>
                  <a:lnTo>
                    <a:pt x="135" y="17"/>
                  </a:lnTo>
                  <a:lnTo>
                    <a:pt x="135" y="0"/>
                  </a:lnTo>
                  <a:lnTo>
                    <a:pt x="135" y="0"/>
                  </a:lnTo>
                  <a:lnTo>
                    <a:pt x="133" y="5"/>
                  </a:lnTo>
                  <a:lnTo>
                    <a:pt x="132" y="7"/>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0" name="Freeform 70">
              <a:extLst>
                <a:ext uri="{FF2B5EF4-FFF2-40B4-BE49-F238E27FC236}">
                  <a16:creationId xmlns:a16="http://schemas.microsoft.com/office/drawing/2014/main" id="{348A0465-1A2D-4C4A-9CCC-37D6841EE95D}"/>
                </a:ext>
              </a:extLst>
            </p:cNvPr>
            <p:cNvSpPr>
              <a:spLocks/>
            </p:cNvSpPr>
            <p:nvPr/>
          </p:nvSpPr>
          <p:spPr bwMode="auto">
            <a:xfrm>
              <a:off x="5318125" y="3230563"/>
              <a:ext cx="3175" cy="3175"/>
            </a:xfrm>
            <a:custGeom>
              <a:avLst/>
              <a:gdLst/>
              <a:ahLst/>
              <a:cxnLst>
                <a:cxn ang="0">
                  <a:pos x="2" y="2"/>
                </a:cxn>
                <a:cxn ang="0">
                  <a:pos x="2" y="2"/>
                </a:cxn>
                <a:cxn ang="0">
                  <a:pos x="2" y="2"/>
                </a:cxn>
                <a:cxn ang="0">
                  <a:pos x="2" y="2"/>
                </a:cxn>
                <a:cxn ang="0">
                  <a:pos x="2" y="2"/>
                </a:cxn>
                <a:cxn ang="0">
                  <a:pos x="0" y="0"/>
                </a:cxn>
                <a:cxn ang="0">
                  <a:pos x="0" y="0"/>
                </a:cxn>
                <a:cxn ang="0">
                  <a:pos x="2" y="2"/>
                </a:cxn>
                <a:cxn ang="0">
                  <a:pos x="2" y="2"/>
                </a:cxn>
              </a:cxnLst>
              <a:rect l="0" t="0" r="r" b="b"/>
              <a:pathLst>
                <a:path w="2" h="2">
                  <a:moveTo>
                    <a:pt x="2" y="2"/>
                  </a:moveTo>
                  <a:lnTo>
                    <a:pt x="2" y="2"/>
                  </a:lnTo>
                  <a:lnTo>
                    <a:pt x="2" y="2"/>
                  </a:lnTo>
                  <a:lnTo>
                    <a:pt x="2" y="2"/>
                  </a:lnTo>
                  <a:lnTo>
                    <a:pt x="2" y="2"/>
                  </a:lnTo>
                  <a:lnTo>
                    <a:pt x="0" y="0"/>
                  </a:lnTo>
                  <a:lnTo>
                    <a:pt x="0" y="0"/>
                  </a:lnTo>
                  <a:lnTo>
                    <a:pt x="2" y="2"/>
                  </a:lnTo>
                  <a:lnTo>
                    <a:pt x="2"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1" name="Freeform 71">
              <a:extLst>
                <a:ext uri="{FF2B5EF4-FFF2-40B4-BE49-F238E27FC236}">
                  <a16:creationId xmlns:a16="http://schemas.microsoft.com/office/drawing/2014/main" id="{698BDBD2-84F8-4756-BECA-D87229D28E9C}"/>
                </a:ext>
              </a:extLst>
            </p:cNvPr>
            <p:cNvSpPr>
              <a:spLocks/>
            </p:cNvSpPr>
            <p:nvPr/>
          </p:nvSpPr>
          <p:spPr bwMode="auto">
            <a:xfrm>
              <a:off x="5106988" y="3230563"/>
              <a:ext cx="1587" cy="3175"/>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2" name="Freeform 72">
              <a:extLst>
                <a:ext uri="{FF2B5EF4-FFF2-40B4-BE49-F238E27FC236}">
                  <a16:creationId xmlns:a16="http://schemas.microsoft.com/office/drawing/2014/main" id="{3E58E388-B611-4315-9C05-C2EDABC5673C}"/>
                </a:ext>
              </a:extLst>
            </p:cNvPr>
            <p:cNvSpPr>
              <a:spLocks/>
            </p:cNvSpPr>
            <p:nvPr/>
          </p:nvSpPr>
          <p:spPr bwMode="auto">
            <a:xfrm>
              <a:off x="5221288" y="3238500"/>
              <a:ext cx="14287" cy="14288"/>
            </a:xfrm>
            <a:custGeom>
              <a:avLst/>
              <a:gdLst/>
              <a:ahLst/>
              <a:cxnLst>
                <a:cxn ang="0">
                  <a:pos x="9" y="3"/>
                </a:cxn>
                <a:cxn ang="0">
                  <a:pos x="9" y="3"/>
                </a:cxn>
                <a:cxn ang="0">
                  <a:pos x="4" y="2"/>
                </a:cxn>
                <a:cxn ang="0">
                  <a:pos x="4" y="2"/>
                </a:cxn>
                <a:cxn ang="0">
                  <a:pos x="0" y="0"/>
                </a:cxn>
                <a:cxn ang="0">
                  <a:pos x="0" y="9"/>
                </a:cxn>
                <a:cxn ang="0">
                  <a:pos x="0" y="9"/>
                </a:cxn>
                <a:cxn ang="0">
                  <a:pos x="7" y="7"/>
                </a:cxn>
                <a:cxn ang="0">
                  <a:pos x="7" y="7"/>
                </a:cxn>
                <a:cxn ang="0">
                  <a:pos x="9" y="6"/>
                </a:cxn>
                <a:cxn ang="0">
                  <a:pos x="9" y="4"/>
                </a:cxn>
                <a:cxn ang="0">
                  <a:pos x="9" y="3"/>
                </a:cxn>
                <a:cxn ang="0">
                  <a:pos x="9" y="3"/>
                </a:cxn>
              </a:cxnLst>
              <a:rect l="0" t="0" r="r" b="b"/>
              <a:pathLst>
                <a:path w="9" h="9">
                  <a:moveTo>
                    <a:pt x="9" y="3"/>
                  </a:moveTo>
                  <a:lnTo>
                    <a:pt x="9" y="3"/>
                  </a:lnTo>
                  <a:lnTo>
                    <a:pt x="4" y="2"/>
                  </a:lnTo>
                  <a:lnTo>
                    <a:pt x="4" y="2"/>
                  </a:lnTo>
                  <a:lnTo>
                    <a:pt x="0" y="0"/>
                  </a:lnTo>
                  <a:lnTo>
                    <a:pt x="0" y="9"/>
                  </a:lnTo>
                  <a:lnTo>
                    <a:pt x="0" y="9"/>
                  </a:lnTo>
                  <a:lnTo>
                    <a:pt x="7" y="7"/>
                  </a:lnTo>
                  <a:lnTo>
                    <a:pt x="7" y="7"/>
                  </a:lnTo>
                  <a:lnTo>
                    <a:pt x="9" y="6"/>
                  </a:lnTo>
                  <a:lnTo>
                    <a:pt x="9" y="4"/>
                  </a:lnTo>
                  <a:lnTo>
                    <a:pt x="9" y="3"/>
                  </a:lnTo>
                  <a:lnTo>
                    <a:pt x="9"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3" name="Freeform 73">
              <a:extLst>
                <a:ext uri="{FF2B5EF4-FFF2-40B4-BE49-F238E27FC236}">
                  <a16:creationId xmlns:a16="http://schemas.microsoft.com/office/drawing/2014/main" id="{A3E8B53B-1199-4C3E-8341-AF722994CB63}"/>
                </a:ext>
              </a:extLst>
            </p:cNvPr>
            <p:cNvSpPr>
              <a:spLocks/>
            </p:cNvSpPr>
            <p:nvPr/>
          </p:nvSpPr>
          <p:spPr bwMode="auto">
            <a:xfrm>
              <a:off x="5189538" y="3214688"/>
              <a:ext cx="17462" cy="12700"/>
            </a:xfrm>
            <a:custGeom>
              <a:avLst/>
              <a:gdLst/>
              <a:ahLst/>
              <a:cxnLst>
                <a:cxn ang="0">
                  <a:pos x="1" y="7"/>
                </a:cxn>
                <a:cxn ang="0">
                  <a:pos x="1" y="7"/>
                </a:cxn>
                <a:cxn ang="0">
                  <a:pos x="4" y="8"/>
                </a:cxn>
                <a:cxn ang="0">
                  <a:pos x="8" y="8"/>
                </a:cxn>
                <a:cxn ang="0">
                  <a:pos x="8" y="8"/>
                </a:cxn>
                <a:cxn ang="0">
                  <a:pos x="11" y="8"/>
                </a:cxn>
                <a:cxn ang="0">
                  <a:pos x="11" y="0"/>
                </a:cxn>
                <a:cxn ang="0">
                  <a:pos x="11" y="0"/>
                </a:cxn>
                <a:cxn ang="0">
                  <a:pos x="3" y="1"/>
                </a:cxn>
                <a:cxn ang="0">
                  <a:pos x="3" y="1"/>
                </a:cxn>
                <a:cxn ang="0">
                  <a:pos x="0" y="4"/>
                </a:cxn>
                <a:cxn ang="0">
                  <a:pos x="0" y="5"/>
                </a:cxn>
                <a:cxn ang="0">
                  <a:pos x="1" y="7"/>
                </a:cxn>
                <a:cxn ang="0">
                  <a:pos x="1" y="7"/>
                </a:cxn>
              </a:cxnLst>
              <a:rect l="0" t="0" r="r" b="b"/>
              <a:pathLst>
                <a:path w="11" h="8">
                  <a:moveTo>
                    <a:pt x="1" y="7"/>
                  </a:moveTo>
                  <a:lnTo>
                    <a:pt x="1" y="7"/>
                  </a:lnTo>
                  <a:lnTo>
                    <a:pt x="4" y="8"/>
                  </a:lnTo>
                  <a:lnTo>
                    <a:pt x="8" y="8"/>
                  </a:lnTo>
                  <a:lnTo>
                    <a:pt x="8" y="8"/>
                  </a:lnTo>
                  <a:lnTo>
                    <a:pt x="11" y="8"/>
                  </a:lnTo>
                  <a:lnTo>
                    <a:pt x="11" y="0"/>
                  </a:lnTo>
                  <a:lnTo>
                    <a:pt x="11" y="0"/>
                  </a:lnTo>
                  <a:lnTo>
                    <a:pt x="3" y="1"/>
                  </a:lnTo>
                  <a:lnTo>
                    <a:pt x="3" y="1"/>
                  </a:lnTo>
                  <a:lnTo>
                    <a:pt x="0" y="4"/>
                  </a:lnTo>
                  <a:lnTo>
                    <a:pt x="0" y="5"/>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4" name="Freeform 74">
              <a:extLst>
                <a:ext uri="{FF2B5EF4-FFF2-40B4-BE49-F238E27FC236}">
                  <a16:creationId xmlns:a16="http://schemas.microsoft.com/office/drawing/2014/main" id="{454E86B3-5D77-4979-931E-77931A34068E}"/>
                </a:ext>
              </a:extLst>
            </p:cNvPr>
            <p:cNvSpPr>
              <a:spLocks noEditPoints="1"/>
            </p:cNvSpPr>
            <p:nvPr/>
          </p:nvSpPr>
          <p:spPr bwMode="auto">
            <a:xfrm>
              <a:off x="5121275" y="3200400"/>
              <a:ext cx="184150" cy="66675"/>
            </a:xfrm>
            <a:custGeom>
              <a:avLst/>
              <a:gdLst/>
              <a:ahLst/>
              <a:cxnLst>
                <a:cxn ang="0">
                  <a:pos x="0" y="21"/>
                </a:cxn>
                <a:cxn ang="0">
                  <a:pos x="4" y="28"/>
                </a:cxn>
                <a:cxn ang="0">
                  <a:pos x="16" y="35"/>
                </a:cxn>
                <a:cxn ang="0">
                  <a:pos x="35" y="40"/>
                </a:cxn>
                <a:cxn ang="0">
                  <a:pos x="58" y="42"/>
                </a:cxn>
                <a:cxn ang="0">
                  <a:pos x="70" y="41"/>
                </a:cxn>
                <a:cxn ang="0">
                  <a:pos x="91" y="38"/>
                </a:cxn>
                <a:cxn ang="0">
                  <a:pos x="106" y="33"/>
                </a:cxn>
                <a:cxn ang="0">
                  <a:pos x="114" y="26"/>
                </a:cxn>
                <a:cxn ang="0">
                  <a:pos x="116" y="21"/>
                </a:cxn>
                <a:cxn ang="0">
                  <a:pos x="112" y="13"/>
                </a:cxn>
                <a:cxn ang="0">
                  <a:pos x="99" y="6"/>
                </a:cxn>
                <a:cxn ang="0">
                  <a:pos x="81" y="2"/>
                </a:cxn>
                <a:cxn ang="0">
                  <a:pos x="58" y="0"/>
                </a:cxn>
                <a:cxn ang="0">
                  <a:pos x="46" y="0"/>
                </a:cxn>
                <a:cxn ang="0">
                  <a:pos x="25" y="3"/>
                </a:cxn>
                <a:cxn ang="0">
                  <a:pos x="9" y="9"/>
                </a:cxn>
                <a:cxn ang="0">
                  <a:pos x="1" y="17"/>
                </a:cxn>
                <a:cxn ang="0">
                  <a:pos x="0" y="21"/>
                </a:cxn>
                <a:cxn ang="0">
                  <a:pos x="63" y="6"/>
                </a:cxn>
                <a:cxn ang="0">
                  <a:pos x="68" y="6"/>
                </a:cxn>
                <a:cxn ang="0">
                  <a:pos x="75" y="7"/>
                </a:cxn>
                <a:cxn ang="0">
                  <a:pos x="81" y="10"/>
                </a:cxn>
                <a:cxn ang="0">
                  <a:pos x="79" y="13"/>
                </a:cxn>
                <a:cxn ang="0">
                  <a:pos x="74" y="13"/>
                </a:cxn>
                <a:cxn ang="0">
                  <a:pos x="74" y="12"/>
                </a:cxn>
                <a:cxn ang="0">
                  <a:pos x="74" y="12"/>
                </a:cxn>
                <a:cxn ang="0">
                  <a:pos x="74" y="12"/>
                </a:cxn>
                <a:cxn ang="0">
                  <a:pos x="72" y="12"/>
                </a:cxn>
                <a:cxn ang="0">
                  <a:pos x="65" y="10"/>
                </a:cxn>
                <a:cxn ang="0">
                  <a:pos x="63" y="9"/>
                </a:cxn>
                <a:cxn ang="0">
                  <a:pos x="63" y="20"/>
                </a:cxn>
                <a:cxn ang="0">
                  <a:pos x="78" y="24"/>
                </a:cxn>
                <a:cxn ang="0">
                  <a:pos x="81" y="26"/>
                </a:cxn>
                <a:cxn ang="0">
                  <a:pos x="81" y="30"/>
                </a:cxn>
                <a:cxn ang="0">
                  <a:pos x="75" y="34"/>
                </a:cxn>
                <a:cxn ang="0">
                  <a:pos x="70" y="35"/>
                </a:cxn>
                <a:cxn ang="0">
                  <a:pos x="63" y="38"/>
                </a:cxn>
                <a:cxn ang="0">
                  <a:pos x="61" y="40"/>
                </a:cxn>
                <a:cxn ang="0">
                  <a:pos x="56" y="40"/>
                </a:cxn>
                <a:cxn ang="0">
                  <a:pos x="54" y="37"/>
                </a:cxn>
                <a:cxn ang="0">
                  <a:pos x="42" y="35"/>
                </a:cxn>
                <a:cxn ang="0">
                  <a:pos x="35" y="33"/>
                </a:cxn>
                <a:cxn ang="0">
                  <a:pos x="36" y="30"/>
                </a:cxn>
                <a:cxn ang="0">
                  <a:pos x="42" y="30"/>
                </a:cxn>
                <a:cxn ang="0">
                  <a:pos x="42" y="30"/>
                </a:cxn>
                <a:cxn ang="0">
                  <a:pos x="42" y="30"/>
                </a:cxn>
                <a:cxn ang="0">
                  <a:pos x="43" y="30"/>
                </a:cxn>
                <a:cxn ang="0">
                  <a:pos x="43" y="30"/>
                </a:cxn>
                <a:cxn ang="0">
                  <a:pos x="50" y="33"/>
                </a:cxn>
                <a:cxn ang="0">
                  <a:pos x="54" y="33"/>
                </a:cxn>
                <a:cxn ang="0">
                  <a:pos x="54" y="23"/>
                </a:cxn>
                <a:cxn ang="0">
                  <a:pos x="43" y="20"/>
                </a:cxn>
                <a:cxn ang="0">
                  <a:pos x="36" y="17"/>
                </a:cxn>
                <a:cxn ang="0">
                  <a:pos x="35" y="14"/>
                </a:cxn>
                <a:cxn ang="0">
                  <a:pos x="37" y="10"/>
                </a:cxn>
                <a:cxn ang="0">
                  <a:pos x="40" y="9"/>
                </a:cxn>
                <a:cxn ang="0">
                  <a:pos x="54" y="6"/>
                </a:cxn>
                <a:cxn ang="0">
                  <a:pos x="54" y="3"/>
                </a:cxn>
                <a:cxn ang="0">
                  <a:pos x="61" y="3"/>
                </a:cxn>
                <a:cxn ang="0">
                  <a:pos x="63" y="3"/>
                </a:cxn>
              </a:cxnLst>
              <a:rect l="0" t="0" r="r" b="b"/>
              <a:pathLst>
                <a:path w="116" h="42">
                  <a:moveTo>
                    <a:pt x="0" y="21"/>
                  </a:moveTo>
                  <a:lnTo>
                    <a:pt x="0" y="21"/>
                  </a:lnTo>
                  <a:lnTo>
                    <a:pt x="1" y="26"/>
                  </a:lnTo>
                  <a:lnTo>
                    <a:pt x="4" y="28"/>
                  </a:lnTo>
                  <a:lnTo>
                    <a:pt x="9" y="33"/>
                  </a:lnTo>
                  <a:lnTo>
                    <a:pt x="16" y="35"/>
                  </a:lnTo>
                  <a:lnTo>
                    <a:pt x="25" y="38"/>
                  </a:lnTo>
                  <a:lnTo>
                    <a:pt x="35" y="40"/>
                  </a:lnTo>
                  <a:lnTo>
                    <a:pt x="46" y="41"/>
                  </a:lnTo>
                  <a:lnTo>
                    <a:pt x="58" y="42"/>
                  </a:lnTo>
                  <a:lnTo>
                    <a:pt x="58" y="42"/>
                  </a:lnTo>
                  <a:lnTo>
                    <a:pt x="70" y="41"/>
                  </a:lnTo>
                  <a:lnTo>
                    <a:pt x="81" y="40"/>
                  </a:lnTo>
                  <a:lnTo>
                    <a:pt x="91" y="38"/>
                  </a:lnTo>
                  <a:lnTo>
                    <a:pt x="99" y="35"/>
                  </a:lnTo>
                  <a:lnTo>
                    <a:pt x="106" y="33"/>
                  </a:lnTo>
                  <a:lnTo>
                    <a:pt x="112" y="28"/>
                  </a:lnTo>
                  <a:lnTo>
                    <a:pt x="114" y="26"/>
                  </a:lnTo>
                  <a:lnTo>
                    <a:pt x="116" y="21"/>
                  </a:lnTo>
                  <a:lnTo>
                    <a:pt x="116" y="21"/>
                  </a:lnTo>
                  <a:lnTo>
                    <a:pt x="114" y="17"/>
                  </a:lnTo>
                  <a:lnTo>
                    <a:pt x="112" y="13"/>
                  </a:lnTo>
                  <a:lnTo>
                    <a:pt x="106" y="9"/>
                  </a:lnTo>
                  <a:lnTo>
                    <a:pt x="99" y="6"/>
                  </a:lnTo>
                  <a:lnTo>
                    <a:pt x="91" y="3"/>
                  </a:lnTo>
                  <a:lnTo>
                    <a:pt x="81" y="2"/>
                  </a:lnTo>
                  <a:lnTo>
                    <a:pt x="70" y="0"/>
                  </a:lnTo>
                  <a:lnTo>
                    <a:pt x="58" y="0"/>
                  </a:lnTo>
                  <a:lnTo>
                    <a:pt x="58" y="0"/>
                  </a:lnTo>
                  <a:lnTo>
                    <a:pt x="46" y="0"/>
                  </a:lnTo>
                  <a:lnTo>
                    <a:pt x="35" y="2"/>
                  </a:lnTo>
                  <a:lnTo>
                    <a:pt x="25" y="3"/>
                  </a:lnTo>
                  <a:lnTo>
                    <a:pt x="16" y="6"/>
                  </a:lnTo>
                  <a:lnTo>
                    <a:pt x="9" y="9"/>
                  </a:lnTo>
                  <a:lnTo>
                    <a:pt x="4" y="13"/>
                  </a:lnTo>
                  <a:lnTo>
                    <a:pt x="1" y="17"/>
                  </a:lnTo>
                  <a:lnTo>
                    <a:pt x="0" y="21"/>
                  </a:lnTo>
                  <a:lnTo>
                    <a:pt x="0" y="21"/>
                  </a:lnTo>
                  <a:close/>
                  <a:moveTo>
                    <a:pt x="63" y="3"/>
                  </a:moveTo>
                  <a:lnTo>
                    <a:pt x="63" y="6"/>
                  </a:lnTo>
                  <a:lnTo>
                    <a:pt x="63" y="6"/>
                  </a:lnTo>
                  <a:lnTo>
                    <a:pt x="68" y="6"/>
                  </a:lnTo>
                  <a:lnTo>
                    <a:pt x="68" y="6"/>
                  </a:lnTo>
                  <a:lnTo>
                    <a:pt x="75" y="7"/>
                  </a:lnTo>
                  <a:lnTo>
                    <a:pt x="81" y="10"/>
                  </a:lnTo>
                  <a:lnTo>
                    <a:pt x="81" y="10"/>
                  </a:lnTo>
                  <a:lnTo>
                    <a:pt x="82" y="12"/>
                  </a:lnTo>
                  <a:lnTo>
                    <a:pt x="79" y="13"/>
                  </a:lnTo>
                  <a:lnTo>
                    <a:pt x="77" y="13"/>
                  </a:lnTo>
                  <a:lnTo>
                    <a:pt x="74" y="13"/>
                  </a:lnTo>
                  <a:lnTo>
                    <a:pt x="74" y="13"/>
                  </a:lnTo>
                  <a:lnTo>
                    <a:pt x="74" y="12"/>
                  </a:lnTo>
                  <a:lnTo>
                    <a:pt x="74" y="12"/>
                  </a:lnTo>
                  <a:lnTo>
                    <a:pt x="74" y="12"/>
                  </a:lnTo>
                  <a:lnTo>
                    <a:pt x="74" y="12"/>
                  </a:lnTo>
                  <a:lnTo>
                    <a:pt x="74" y="12"/>
                  </a:lnTo>
                  <a:lnTo>
                    <a:pt x="74" y="12"/>
                  </a:lnTo>
                  <a:lnTo>
                    <a:pt x="72" y="12"/>
                  </a:lnTo>
                  <a:lnTo>
                    <a:pt x="72" y="12"/>
                  </a:lnTo>
                  <a:lnTo>
                    <a:pt x="65" y="10"/>
                  </a:lnTo>
                  <a:lnTo>
                    <a:pt x="65" y="10"/>
                  </a:lnTo>
                  <a:lnTo>
                    <a:pt x="63" y="9"/>
                  </a:lnTo>
                  <a:lnTo>
                    <a:pt x="63" y="20"/>
                  </a:lnTo>
                  <a:lnTo>
                    <a:pt x="63" y="20"/>
                  </a:lnTo>
                  <a:lnTo>
                    <a:pt x="74" y="21"/>
                  </a:lnTo>
                  <a:lnTo>
                    <a:pt x="78" y="24"/>
                  </a:lnTo>
                  <a:lnTo>
                    <a:pt x="81" y="26"/>
                  </a:lnTo>
                  <a:lnTo>
                    <a:pt x="81" y="26"/>
                  </a:lnTo>
                  <a:lnTo>
                    <a:pt x="82" y="28"/>
                  </a:lnTo>
                  <a:lnTo>
                    <a:pt x="81" y="30"/>
                  </a:lnTo>
                  <a:lnTo>
                    <a:pt x="79" y="33"/>
                  </a:lnTo>
                  <a:lnTo>
                    <a:pt x="75" y="34"/>
                  </a:lnTo>
                  <a:lnTo>
                    <a:pt x="75" y="34"/>
                  </a:lnTo>
                  <a:lnTo>
                    <a:pt x="70" y="35"/>
                  </a:lnTo>
                  <a:lnTo>
                    <a:pt x="63" y="37"/>
                  </a:lnTo>
                  <a:lnTo>
                    <a:pt x="63" y="38"/>
                  </a:lnTo>
                  <a:lnTo>
                    <a:pt x="63" y="38"/>
                  </a:lnTo>
                  <a:lnTo>
                    <a:pt x="61" y="40"/>
                  </a:lnTo>
                  <a:lnTo>
                    <a:pt x="56" y="40"/>
                  </a:lnTo>
                  <a:lnTo>
                    <a:pt x="56" y="40"/>
                  </a:lnTo>
                  <a:lnTo>
                    <a:pt x="54" y="38"/>
                  </a:lnTo>
                  <a:lnTo>
                    <a:pt x="54" y="37"/>
                  </a:lnTo>
                  <a:lnTo>
                    <a:pt x="54" y="37"/>
                  </a:lnTo>
                  <a:lnTo>
                    <a:pt x="42" y="35"/>
                  </a:lnTo>
                  <a:lnTo>
                    <a:pt x="35" y="33"/>
                  </a:lnTo>
                  <a:lnTo>
                    <a:pt x="35" y="33"/>
                  </a:lnTo>
                  <a:lnTo>
                    <a:pt x="35" y="31"/>
                  </a:lnTo>
                  <a:lnTo>
                    <a:pt x="36" y="30"/>
                  </a:lnTo>
                  <a:lnTo>
                    <a:pt x="39" y="28"/>
                  </a:lnTo>
                  <a:lnTo>
                    <a:pt x="42" y="30"/>
                  </a:lnTo>
                  <a:lnTo>
                    <a:pt x="42" y="30"/>
                  </a:lnTo>
                  <a:lnTo>
                    <a:pt x="42" y="30"/>
                  </a:lnTo>
                  <a:lnTo>
                    <a:pt x="42" y="30"/>
                  </a:lnTo>
                  <a:lnTo>
                    <a:pt x="42" y="30"/>
                  </a:lnTo>
                  <a:lnTo>
                    <a:pt x="42" y="30"/>
                  </a:lnTo>
                  <a:lnTo>
                    <a:pt x="43" y="30"/>
                  </a:lnTo>
                  <a:lnTo>
                    <a:pt x="43" y="30"/>
                  </a:lnTo>
                  <a:lnTo>
                    <a:pt x="43" y="30"/>
                  </a:lnTo>
                  <a:lnTo>
                    <a:pt x="43" y="30"/>
                  </a:lnTo>
                  <a:lnTo>
                    <a:pt x="50" y="33"/>
                  </a:lnTo>
                  <a:lnTo>
                    <a:pt x="50" y="33"/>
                  </a:lnTo>
                  <a:lnTo>
                    <a:pt x="54" y="33"/>
                  </a:lnTo>
                  <a:lnTo>
                    <a:pt x="54" y="23"/>
                  </a:lnTo>
                  <a:lnTo>
                    <a:pt x="54" y="23"/>
                  </a:lnTo>
                  <a:lnTo>
                    <a:pt x="43" y="20"/>
                  </a:lnTo>
                  <a:lnTo>
                    <a:pt x="43" y="20"/>
                  </a:lnTo>
                  <a:lnTo>
                    <a:pt x="39" y="19"/>
                  </a:lnTo>
                  <a:lnTo>
                    <a:pt x="36" y="17"/>
                  </a:lnTo>
                  <a:lnTo>
                    <a:pt x="36" y="17"/>
                  </a:lnTo>
                  <a:lnTo>
                    <a:pt x="35" y="14"/>
                  </a:lnTo>
                  <a:lnTo>
                    <a:pt x="35" y="13"/>
                  </a:lnTo>
                  <a:lnTo>
                    <a:pt x="37" y="10"/>
                  </a:lnTo>
                  <a:lnTo>
                    <a:pt x="40" y="9"/>
                  </a:lnTo>
                  <a:lnTo>
                    <a:pt x="40" y="9"/>
                  </a:lnTo>
                  <a:lnTo>
                    <a:pt x="46" y="6"/>
                  </a:lnTo>
                  <a:lnTo>
                    <a:pt x="54" y="6"/>
                  </a:lnTo>
                  <a:lnTo>
                    <a:pt x="54" y="3"/>
                  </a:lnTo>
                  <a:lnTo>
                    <a:pt x="54" y="3"/>
                  </a:lnTo>
                  <a:lnTo>
                    <a:pt x="56" y="3"/>
                  </a:lnTo>
                  <a:lnTo>
                    <a:pt x="61" y="3"/>
                  </a:lnTo>
                  <a:lnTo>
                    <a:pt x="61" y="3"/>
                  </a:lnTo>
                  <a:lnTo>
                    <a:pt x="63" y="3"/>
                  </a:lnTo>
                  <a:lnTo>
                    <a:pt x="63"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5" name="Freeform 75">
              <a:extLst>
                <a:ext uri="{FF2B5EF4-FFF2-40B4-BE49-F238E27FC236}">
                  <a16:creationId xmlns:a16="http://schemas.microsoft.com/office/drawing/2014/main" id="{7C1EA95B-E1CC-407C-97E9-157D044C688B}"/>
                </a:ext>
              </a:extLst>
            </p:cNvPr>
            <p:cNvSpPr>
              <a:spLocks noEditPoints="1"/>
            </p:cNvSpPr>
            <p:nvPr/>
          </p:nvSpPr>
          <p:spPr bwMode="auto">
            <a:xfrm>
              <a:off x="4852988" y="3359150"/>
              <a:ext cx="215900" cy="71438"/>
            </a:xfrm>
            <a:custGeom>
              <a:avLst/>
              <a:gdLst/>
              <a:ahLst/>
              <a:cxnLst>
                <a:cxn ang="0">
                  <a:pos x="2" y="0"/>
                </a:cxn>
                <a:cxn ang="0">
                  <a:pos x="0" y="3"/>
                </a:cxn>
                <a:cxn ang="0">
                  <a:pos x="0" y="19"/>
                </a:cxn>
                <a:cxn ang="0">
                  <a:pos x="0" y="19"/>
                </a:cxn>
                <a:cxn ang="0">
                  <a:pos x="6" y="29"/>
                </a:cxn>
                <a:cxn ang="0">
                  <a:pos x="21" y="38"/>
                </a:cxn>
                <a:cxn ang="0">
                  <a:pos x="42" y="43"/>
                </a:cxn>
                <a:cxn ang="0">
                  <a:pos x="69" y="45"/>
                </a:cxn>
                <a:cxn ang="0">
                  <a:pos x="82" y="45"/>
                </a:cxn>
                <a:cxn ang="0">
                  <a:pos x="105" y="40"/>
                </a:cxn>
                <a:cxn ang="0">
                  <a:pos x="124" y="33"/>
                </a:cxn>
                <a:cxn ang="0">
                  <a:pos x="133" y="25"/>
                </a:cxn>
                <a:cxn ang="0">
                  <a:pos x="135" y="21"/>
                </a:cxn>
                <a:cxn ang="0">
                  <a:pos x="136" y="19"/>
                </a:cxn>
                <a:cxn ang="0">
                  <a:pos x="136" y="7"/>
                </a:cxn>
                <a:cxn ang="0">
                  <a:pos x="124" y="14"/>
                </a:cxn>
                <a:cxn ang="0">
                  <a:pos x="90" y="22"/>
                </a:cxn>
                <a:cxn ang="0">
                  <a:pos x="72" y="24"/>
                </a:cxn>
                <a:cxn ang="0">
                  <a:pos x="38" y="19"/>
                </a:cxn>
                <a:cxn ang="0">
                  <a:pos x="19" y="14"/>
                </a:cxn>
                <a:cxn ang="0">
                  <a:pos x="6" y="5"/>
                </a:cxn>
                <a:cxn ang="0">
                  <a:pos x="2" y="0"/>
                </a:cxn>
                <a:cxn ang="0">
                  <a:pos x="17" y="32"/>
                </a:cxn>
                <a:cxn ang="0">
                  <a:pos x="7" y="26"/>
                </a:cxn>
                <a:cxn ang="0">
                  <a:pos x="7" y="12"/>
                </a:cxn>
                <a:cxn ang="0">
                  <a:pos x="17" y="32"/>
                </a:cxn>
                <a:cxn ang="0">
                  <a:pos x="35" y="38"/>
                </a:cxn>
                <a:cxn ang="0">
                  <a:pos x="26" y="22"/>
                </a:cxn>
                <a:cxn ang="0">
                  <a:pos x="35" y="25"/>
                </a:cxn>
                <a:cxn ang="0">
                  <a:pos x="54" y="40"/>
                </a:cxn>
                <a:cxn ang="0">
                  <a:pos x="44" y="39"/>
                </a:cxn>
                <a:cxn ang="0">
                  <a:pos x="44" y="26"/>
                </a:cxn>
                <a:cxn ang="0">
                  <a:pos x="54" y="40"/>
                </a:cxn>
                <a:cxn ang="0">
                  <a:pos x="121" y="21"/>
                </a:cxn>
                <a:cxn ang="0">
                  <a:pos x="128" y="28"/>
                </a:cxn>
                <a:cxn ang="0">
                  <a:pos x="121" y="32"/>
                </a:cxn>
                <a:cxn ang="0">
                  <a:pos x="72" y="40"/>
                </a:cxn>
                <a:cxn ang="0">
                  <a:pos x="69" y="42"/>
                </a:cxn>
                <a:cxn ang="0">
                  <a:pos x="63" y="40"/>
                </a:cxn>
                <a:cxn ang="0">
                  <a:pos x="63" y="28"/>
                </a:cxn>
                <a:cxn ang="0">
                  <a:pos x="68" y="28"/>
                </a:cxn>
                <a:cxn ang="0">
                  <a:pos x="72" y="40"/>
                </a:cxn>
              </a:cxnLst>
              <a:rect l="0" t="0" r="r" b="b"/>
              <a:pathLst>
                <a:path w="136" h="45">
                  <a:moveTo>
                    <a:pt x="2" y="0"/>
                  </a:moveTo>
                  <a:lnTo>
                    <a:pt x="2" y="0"/>
                  </a:lnTo>
                  <a:lnTo>
                    <a:pt x="0" y="3"/>
                  </a:lnTo>
                  <a:lnTo>
                    <a:pt x="0" y="3"/>
                  </a:lnTo>
                  <a:lnTo>
                    <a:pt x="0" y="3"/>
                  </a:lnTo>
                  <a:lnTo>
                    <a:pt x="0" y="19"/>
                  </a:lnTo>
                  <a:lnTo>
                    <a:pt x="0" y="19"/>
                  </a:lnTo>
                  <a:lnTo>
                    <a:pt x="0" y="19"/>
                  </a:lnTo>
                  <a:lnTo>
                    <a:pt x="2" y="25"/>
                  </a:lnTo>
                  <a:lnTo>
                    <a:pt x="6" y="29"/>
                  </a:lnTo>
                  <a:lnTo>
                    <a:pt x="13" y="33"/>
                  </a:lnTo>
                  <a:lnTo>
                    <a:pt x="21" y="38"/>
                  </a:lnTo>
                  <a:lnTo>
                    <a:pt x="31" y="40"/>
                  </a:lnTo>
                  <a:lnTo>
                    <a:pt x="42" y="43"/>
                  </a:lnTo>
                  <a:lnTo>
                    <a:pt x="55" y="45"/>
                  </a:lnTo>
                  <a:lnTo>
                    <a:pt x="69" y="45"/>
                  </a:lnTo>
                  <a:lnTo>
                    <a:pt x="69" y="45"/>
                  </a:lnTo>
                  <a:lnTo>
                    <a:pt x="82" y="45"/>
                  </a:lnTo>
                  <a:lnTo>
                    <a:pt x="94" y="43"/>
                  </a:lnTo>
                  <a:lnTo>
                    <a:pt x="105" y="40"/>
                  </a:lnTo>
                  <a:lnTo>
                    <a:pt x="115" y="38"/>
                  </a:lnTo>
                  <a:lnTo>
                    <a:pt x="124" y="33"/>
                  </a:lnTo>
                  <a:lnTo>
                    <a:pt x="129" y="31"/>
                  </a:lnTo>
                  <a:lnTo>
                    <a:pt x="133" y="25"/>
                  </a:lnTo>
                  <a:lnTo>
                    <a:pt x="135" y="21"/>
                  </a:lnTo>
                  <a:lnTo>
                    <a:pt x="135" y="21"/>
                  </a:lnTo>
                  <a:lnTo>
                    <a:pt x="136" y="19"/>
                  </a:lnTo>
                  <a:lnTo>
                    <a:pt x="136" y="19"/>
                  </a:lnTo>
                  <a:lnTo>
                    <a:pt x="136" y="7"/>
                  </a:lnTo>
                  <a:lnTo>
                    <a:pt x="136" y="7"/>
                  </a:lnTo>
                  <a:lnTo>
                    <a:pt x="131" y="11"/>
                  </a:lnTo>
                  <a:lnTo>
                    <a:pt x="124" y="14"/>
                  </a:lnTo>
                  <a:lnTo>
                    <a:pt x="108" y="19"/>
                  </a:lnTo>
                  <a:lnTo>
                    <a:pt x="90" y="22"/>
                  </a:lnTo>
                  <a:lnTo>
                    <a:pt x="72" y="24"/>
                  </a:lnTo>
                  <a:lnTo>
                    <a:pt x="72" y="24"/>
                  </a:lnTo>
                  <a:lnTo>
                    <a:pt x="49" y="22"/>
                  </a:lnTo>
                  <a:lnTo>
                    <a:pt x="38" y="19"/>
                  </a:lnTo>
                  <a:lnTo>
                    <a:pt x="28" y="17"/>
                  </a:lnTo>
                  <a:lnTo>
                    <a:pt x="19" y="14"/>
                  </a:lnTo>
                  <a:lnTo>
                    <a:pt x="12" y="10"/>
                  </a:lnTo>
                  <a:lnTo>
                    <a:pt x="6" y="5"/>
                  </a:lnTo>
                  <a:lnTo>
                    <a:pt x="2" y="0"/>
                  </a:lnTo>
                  <a:lnTo>
                    <a:pt x="2" y="0"/>
                  </a:lnTo>
                  <a:close/>
                  <a:moveTo>
                    <a:pt x="17" y="32"/>
                  </a:moveTo>
                  <a:lnTo>
                    <a:pt x="17" y="32"/>
                  </a:lnTo>
                  <a:lnTo>
                    <a:pt x="12" y="29"/>
                  </a:lnTo>
                  <a:lnTo>
                    <a:pt x="7" y="26"/>
                  </a:lnTo>
                  <a:lnTo>
                    <a:pt x="7" y="12"/>
                  </a:lnTo>
                  <a:lnTo>
                    <a:pt x="7" y="12"/>
                  </a:lnTo>
                  <a:lnTo>
                    <a:pt x="17" y="18"/>
                  </a:lnTo>
                  <a:lnTo>
                    <a:pt x="17" y="32"/>
                  </a:lnTo>
                  <a:close/>
                  <a:moveTo>
                    <a:pt x="35" y="38"/>
                  </a:moveTo>
                  <a:lnTo>
                    <a:pt x="35" y="38"/>
                  </a:lnTo>
                  <a:lnTo>
                    <a:pt x="26" y="36"/>
                  </a:lnTo>
                  <a:lnTo>
                    <a:pt x="26" y="22"/>
                  </a:lnTo>
                  <a:lnTo>
                    <a:pt x="26" y="22"/>
                  </a:lnTo>
                  <a:lnTo>
                    <a:pt x="35" y="25"/>
                  </a:lnTo>
                  <a:lnTo>
                    <a:pt x="35" y="38"/>
                  </a:lnTo>
                  <a:close/>
                  <a:moveTo>
                    <a:pt x="54" y="40"/>
                  </a:moveTo>
                  <a:lnTo>
                    <a:pt x="54" y="40"/>
                  </a:lnTo>
                  <a:lnTo>
                    <a:pt x="44" y="39"/>
                  </a:lnTo>
                  <a:lnTo>
                    <a:pt x="44" y="26"/>
                  </a:lnTo>
                  <a:lnTo>
                    <a:pt x="44" y="26"/>
                  </a:lnTo>
                  <a:lnTo>
                    <a:pt x="54" y="28"/>
                  </a:lnTo>
                  <a:lnTo>
                    <a:pt x="54" y="40"/>
                  </a:lnTo>
                  <a:close/>
                  <a:moveTo>
                    <a:pt x="121" y="21"/>
                  </a:moveTo>
                  <a:lnTo>
                    <a:pt x="121" y="21"/>
                  </a:lnTo>
                  <a:lnTo>
                    <a:pt x="128" y="17"/>
                  </a:lnTo>
                  <a:lnTo>
                    <a:pt x="128" y="28"/>
                  </a:lnTo>
                  <a:lnTo>
                    <a:pt x="128" y="28"/>
                  </a:lnTo>
                  <a:lnTo>
                    <a:pt x="121" y="32"/>
                  </a:lnTo>
                  <a:lnTo>
                    <a:pt x="121" y="21"/>
                  </a:lnTo>
                  <a:close/>
                  <a:moveTo>
                    <a:pt x="72" y="40"/>
                  </a:moveTo>
                  <a:lnTo>
                    <a:pt x="72" y="40"/>
                  </a:lnTo>
                  <a:lnTo>
                    <a:pt x="69" y="42"/>
                  </a:lnTo>
                  <a:lnTo>
                    <a:pt x="69" y="42"/>
                  </a:lnTo>
                  <a:lnTo>
                    <a:pt x="63" y="40"/>
                  </a:lnTo>
                  <a:lnTo>
                    <a:pt x="63" y="28"/>
                  </a:lnTo>
                  <a:lnTo>
                    <a:pt x="63" y="28"/>
                  </a:lnTo>
                  <a:lnTo>
                    <a:pt x="68" y="28"/>
                  </a:lnTo>
                  <a:lnTo>
                    <a:pt x="68" y="28"/>
                  </a:lnTo>
                  <a:lnTo>
                    <a:pt x="72" y="28"/>
                  </a:lnTo>
                  <a:lnTo>
                    <a:pt x="72"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6" name="Freeform 76">
              <a:extLst>
                <a:ext uri="{FF2B5EF4-FFF2-40B4-BE49-F238E27FC236}">
                  <a16:creationId xmlns:a16="http://schemas.microsoft.com/office/drawing/2014/main" id="{88918A08-71CD-4D58-A3E8-CE8E647DAF85}"/>
                </a:ext>
              </a:extLst>
            </p:cNvPr>
            <p:cNvSpPr>
              <a:spLocks/>
            </p:cNvSpPr>
            <p:nvPr/>
          </p:nvSpPr>
          <p:spPr bwMode="auto">
            <a:xfrm>
              <a:off x="4860925" y="3321050"/>
              <a:ext cx="212725" cy="66675"/>
            </a:xfrm>
            <a:custGeom>
              <a:avLst/>
              <a:gdLst/>
              <a:ahLst/>
              <a:cxnLst>
                <a:cxn ang="0">
                  <a:pos x="126" y="24"/>
                </a:cxn>
                <a:cxn ang="0">
                  <a:pos x="119" y="29"/>
                </a:cxn>
                <a:cxn ang="0">
                  <a:pos x="119" y="15"/>
                </a:cxn>
                <a:cxn ang="0">
                  <a:pos x="98" y="22"/>
                </a:cxn>
                <a:cxn ang="0">
                  <a:pos x="70" y="25"/>
                </a:cxn>
                <a:cxn ang="0">
                  <a:pos x="70" y="38"/>
                </a:cxn>
                <a:cxn ang="0">
                  <a:pos x="67" y="38"/>
                </a:cxn>
                <a:cxn ang="0">
                  <a:pos x="61" y="25"/>
                </a:cxn>
                <a:cxn ang="0">
                  <a:pos x="51" y="25"/>
                </a:cxn>
                <a:cxn ang="0">
                  <a:pos x="51" y="38"/>
                </a:cxn>
                <a:cxn ang="0">
                  <a:pos x="43" y="24"/>
                </a:cxn>
                <a:cxn ang="0">
                  <a:pos x="33" y="22"/>
                </a:cxn>
                <a:cxn ang="0">
                  <a:pos x="33" y="35"/>
                </a:cxn>
                <a:cxn ang="0">
                  <a:pos x="23" y="20"/>
                </a:cxn>
                <a:cxn ang="0">
                  <a:pos x="15" y="17"/>
                </a:cxn>
                <a:cxn ang="0">
                  <a:pos x="15" y="29"/>
                </a:cxn>
                <a:cxn ang="0">
                  <a:pos x="5" y="24"/>
                </a:cxn>
                <a:cxn ang="0">
                  <a:pos x="5" y="11"/>
                </a:cxn>
                <a:cxn ang="0">
                  <a:pos x="0" y="0"/>
                </a:cxn>
                <a:cxn ang="0">
                  <a:pos x="0" y="17"/>
                </a:cxn>
                <a:cxn ang="0">
                  <a:pos x="1" y="21"/>
                </a:cxn>
                <a:cxn ang="0">
                  <a:pos x="11" y="31"/>
                </a:cxn>
                <a:cxn ang="0">
                  <a:pos x="29" y="38"/>
                </a:cxn>
                <a:cxn ang="0">
                  <a:pos x="53" y="42"/>
                </a:cxn>
                <a:cxn ang="0">
                  <a:pos x="67" y="42"/>
                </a:cxn>
                <a:cxn ang="0">
                  <a:pos x="92" y="41"/>
                </a:cxn>
                <a:cxn ang="0">
                  <a:pos x="113" y="35"/>
                </a:cxn>
                <a:cxn ang="0">
                  <a:pos x="127" y="27"/>
                </a:cxn>
                <a:cxn ang="0">
                  <a:pos x="134" y="18"/>
                </a:cxn>
                <a:cxn ang="0">
                  <a:pos x="134" y="17"/>
                </a:cxn>
                <a:cxn ang="0">
                  <a:pos x="134" y="0"/>
                </a:cxn>
                <a:cxn ang="0">
                  <a:pos x="133" y="3"/>
                </a:cxn>
                <a:cxn ang="0">
                  <a:pos x="126" y="13"/>
                </a:cxn>
              </a:cxnLst>
              <a:rect l="0" t="0" r="r" b="b"/>
              <a:pathLst>
                <a:path w="134" h="42">
                  <a:moveTo>
                    <a:pt x="126" y="13"/>
                  </a:moveTo>
                  <a:lnTo>
                    <a:pt x="126" y="24"/>
                  </a:lnTo>
                  <a:lnTo>
                    <a:pt x="126" y="24"/>
                  </a:lnTo>
                  <a:lnTo>
                    <a:pt x="119" y="29"/>
                  </a:lnTo>
                  <a:lnTo>
                    <a:pt x="119" y="15"/>
                  </a:lnTo>
                  <a:lnTo>
                    <a:pt x="119" y="15"/>
                  </a:lnTo>
                  <a:lnTo>
                    <a:pt x="109" y="20"/>
                  </a:lnTo>
                  <a:lnTo>
                    <a:pt x="98" y="22"/>
                  </a:lnTo>
                  <a:lnTo>
                    <a:pt x="84" y="25"/>
                  </a:lnTo>
                  <a:lnTo>
                    <a:pt x="70" y="25"/>
                  </a:lnTo>
                  <a:lnTo>
                    <a:pt x="70" y="38"/>
                  </a:lnTo>
                  <a:lnTo>
                    <a:pt x="70" y="38"/>
                  </a:lnTo>
                  <a:lnTo>
                    <a:pt x="67" y="38"/>
                  </a:lnTo>
                  <a:lnTo>
                    <a:pt x="67" y="38"/>
                  </a:lnTo>
                  <a:lnTo>
                    <a:pt x="61" y="38"/>
                  </a:lnTo>
                  <a:lnTo>
                    <a:pt x="61" y="25"/>
                  </a:lnTo>
                  <a:lnTo>
                    <a:pt x="61" y="25"/>
                  </a:lnTo>
                  <a:lnTo>
                    <a:pt x="51" y="25"/>
                  </a:lnTo>
                  <a:lnTo>
                    <a:pt x="51" y="38"/>
                  </a:lnTo>
                  <a:lnTo>
                    <a:pt x="51" y="38"/>
                  </a:lnTo>
                  <a:lnTo>
                    <a:pt x="43" y="36"/>
                  </a:lnTo>
                  <a:lnTo>
                    <a:pt x="43" y="24"/>
                  </a:lnTo>
                  <a:lnTo>
                    <a:pt x="43" y="24"/>
                  </a:lnTo>
                  <a:lnTo>
                    <a:pt x="33" y="22"/>
                  </a:lnTo>
                  <a:lnTo>
                    <a:pt x="33" y="35"/>
                  </a:lnTo>
                  <a:lnTo>
                    <a:pt x="33" y="35"/>
                  </a:lnTo>
                  <a:lnTo>
                    <a:pt x="23" y="32"/>
                  </a:lnTo>
                  <a:lnTo>
                    <a:pt x="23" y="20"/>
                  </a:lnTo>
                  <a:lnTo>
                    <a:pt x="23" y="20"/>
                  </a:lnTo>
                  <a:lnTo>
                    <a:pt x="15" y="17"/>
                  </a:lnTo>
                  <a:lnTo>
                    <a:pt x="15" y="29"/>
                  </a:lnTo>
                  <a:lnTo>
                    <a:pt x="15" y="29"/>
                  </a:lnTo>
                  <a:lnTo>
                    <a:pt x="9" y="27"/>
                  </a:lnTo>
                  <a:lnTo>
                    <a:pt x="5" y="24"/>
                  </a:lnTo>
                  <a:lnTo>
                    <a:pt x="5" y="11"/>
                  </a:lnTo>
                  <a:lnTo>
                    <a:pt x="5" y="11"/>
                  </a:lnTo>
                  <a:lnTo>
                    <a:pt x="1" y="6"/>
                  </a:lnTo>
                  <a:lnTo>
                    <a:pt x="0" y="0"/>
                  </a:lnTo>
                  <a:lnTo>
                    <a:pt x="0" y="17"/>
                  </a:lnTo>
                  <a:lnTo>
                    <a:pt x="0" y="17"/>
                  </a:lnTo>
                  <a:lnTo>
                    <a:pt x="0" y="17"/>
                  </a:lnTo>
                  <a:lnTo>
                    <a:pt x="1" y="21"/>
                  </a:lnTo>
                  <a:lnTo>
                    <a:pt x="4" y="27"/>
                  </a:lnTo>
                  <a:lnTo>
                    <a:pt x="11" y="31"/>
                  </a:lnTo>
                  <a:lnTo>
                    <a:pt x="19" y="35"/>
                  </a:lnTo>
                  <a:lnTo>
                    <a:pt x="29" y="38"/>
                  </a:lnTo>
                  <a:lnTo>
                    <a:pt x="40" y="41"/>
                  </a:lnTo>
                  <a:lnTo>
                    <a:pt x="53" y="42"/>
                  </a:lnTo>
                  <a:lnTo>
                    <a:pt x="67" y="42"/>
                  </a:lnTo>
                  <a:lnTo>
                    <a:pt x="67" y="42"/>
                  </a:lnTo>
                  <a:lnTo>
                    <a:pt x="79" y="42"/>
                  </a:lnTo>
                  <a:lnTo>
                    <a:pt x="92" y="41"/>
                  </a:lnTo>
                  <a:lnTo>
                    <a:pt x="103" y="38"/>
                  </a:lnTo>
                  <a:lnTo>
                    <a:pt x="113" y="35"/>
                  </a:lnTo>
                  <a:lnTo>
                    <a:pt x="121" y="31"/>
                  </a:lnTo>
                  <a:lnTo>
                    <a:pt x="127" y="27"/>
                  </a:lnTo>
                  <a:lnTo>
                    <a:pt x="131" y="22"/>
                  </a:lnTo>
                  <a:lnTo>
                    <a:pt x="134" y="18"/>
                  </a:lnTo>
                  <a:lnTo>
                    <a:pt x="134" y="18"/>
                  </a:lnTo>
                  <a:lnTo>
                    <a:pt x="134" y="17"/>
                  </a:lnTo>
                  <a:lnTo>
                    <a:pt x="134" y="17"/>
                  </a:lnTo>
                  <a:lnTo>
                    <a:pt x="134" y="0"/>
                  </a:lnTo>
                  <a:lnTo>
                    <a:pt x="134" y="0"/>
                  </a:lnTo>
                  <a:lnTo>
                    <a:pt x="133" y="3"/>
                  </a:lnTo>
                  <a:lnTo>
                    <a:pt x="131" y="6"/>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7" name="Freeform 77">
              <a:extLst>
                <a:ext uri="{FF2B5EF4-FFF2-40B4-BE49-F238E27FC236}">
                  <a16:creationId xmlns:a16="http://schemas.microsoft.com/office/drawing/2014/main" id="{FD64E448-FDDF-4CB4-88AC-E3CB5948CBC0}"/>
                </a:ext>
              </a:extLst>
            </p:cNvPr>
            <p:cNvSpPr>
              <a:spLocks/>
            </p:cNvSpPr>
            <p:nvPr/>
          </p:nvSpPr>
          <p:spPr bwMode="auto">
            <a:xfrm>
              <a:off x="5072063" y="3316288"/>
              <a:ext cx="1587" cy="4763"/>
            </a:xfrm>
            <a:custGeom>
              <a:avLst/>
              <a:gdLst/>
              <a:ahLst/>
              <a:cxnLst>
                <a:cxn ang="0">
                  <a:pos x="1" y="2"/>
                </a:cxn>
                <a:cxn ang="0">
                  <a:pos x="1" y="3"/>
                </a:cxn>
                <a:cxn ang="0">
                  <a:pos x="1" y="3"/>
                </a:cxn>
                <a:cxn ang="0">
                  <a:pos x="1" y="3"/>
                </a:cxn>
                <a:cxn ang="0">
                  <a:pos x="1" y="3"/>
                </a:cxn>
                <a:cxn ang="0">
                  <a:pos x="0" y="0"/>
                </a:cxn>
                <a:cxn ang="0">
                  <a:pos x="0" y="0"/>
                </a:cxn>
                <a:cxn ang="0">
                  <a:pos x="1" y="2"/>
                </a:cxn>
                <a:cxn ang="0">
                  <a:pos x="1" y="2"/>
                </a:cxn>
              </a:cxnLst>
              <a:rect l="0" t="0" r="r" b="b"/>
              <a:pathLst>
                <a:path w="1" h="3">
                  <a:moveTo>
                    <a:pt x="1" y="2"/>
                  </a:moveTo>
                  <a:lnTo>
                    <a:pt x="1" y="3"/>
                  </a:lnTo>
                  <a:lnTo>
                    <a:pt x="1" y="3"/>
                  </a:lnTo>
                  <a:lnTo>
                    <a:pt x="1" y="3"/>
                  </a:lnTo>
                  <a:lnTo>
                    <a:pt x="1" y="3"/>
                  </a:lnTo>
                  <a:lnTo>
                    <a:pt x="0" y="0"/>
                  </a:lnTo>
                  <a:lnTo>
                    <a:pt x="0" y="0"/>
                  </a:lnTo>
                  <a:lnTo>
                    <a:pt x="1" y="2"/>
                  </a:lnTo>
                  <a:lnTo>
                    <a:pt x="1"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8" name="Freeform 78">
              <a:extLst>
                <a:ext uri="{FF2B5EF4-FFF2-40B4-BE49-F238E27FC236}">
                  <a16:creationId xmlns:a16="http://schemas.microsoft.com/office/drawing/2014/main" id="{FF9565C7-94E2-4368-B9B2-8868089C4A46}"/>
                </a:ext>
              </a:extLst>
            </p:cNvPr>
            <p:cNvSpPr>
              <a:spLocks/>
            </p:cNvSpPr>
            <p:nvPr/>
          </p:nvSpPr>
          <p:spPr bwMode="auto">
            <a:xfrm>
              <a:off x="4860925" y="3316288"/>
              <a:ext cx="1587" cy="4763"/>
            </a:xfrm>
            <a:custGeom>
              <a:avLst/>
              <a:gdLst/>
              <a:ahLst/>
              <a:cxnLst>
                <a:cxn ang="0">
                  <a:pos x="0" y="0"/>
                </a:cxn>
                <a:cxn ang="0">
                  <a:pos x="0" y="0"/>
                </a:cxn>
                <a:cxn ang="0">
                  <a:pos x="0" y="3"/>
                </a:cxn>
                <a:cxn ang="0">
                  <a:pos x="0" y="3"/>
                </a:cxn>
                <a:cxn ang="0">
                  <a:pos x="0" y="3"/>
                </a:cxn>
                <a:cxn ang="0">
                  <a:pos x="0" y="2"/>
                </a:cxn>
                <a:cxn ang="0">
                  <a:pos x="0" y="2"/>
                </a:cxn>
                <a:cxn ang="0">
                  <a:pos x="0" y="0"/>
                </a:cxn>
                <a:cxn ang="0">
                  <a:pos x="0" y="0"/>
                </a:cxn>
              </a:cxnLst>
              <a:rect l="0" t="0" r="r" b="b"/>
              <a:pathLst>
                <a:path h="3">
                  <a:moveTo>
                    <a:pt x="0" y="0"/>
                  </a:moveTo>
                  <a:lnTo>
                    <a:pt x="0" y="0"/>
                  </a:lnTo>
                  <a:lnTo>
                    <a:pt x="0" y="3"/>
                  </a:lnTo>
                  <a:lnTo>
                    <a:pt x="0" y="3"/>
                  </a:lnTo>
                  <a:lnTo>
                    <a:pt x="0" y="3"/>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59" name="Freeform 79">
              <a:extLst>
                <a:ext uri="{FF2B5EF4-FFF2-40B4-BE49-F238E27FC236}">
                  <a16:creationId xmlns:a16="http://schemas.microsoft.com/office/drawing/2014/main" id="{17EE1FE3-D962-4254-B750-B99280BD3632}"/>
                </a:ext>
              </a:extLst>
            </p:cNvPr>
            <p:cNvSpPr>
              <a:spLocks/>
            </p:cNvSpPr>
            <p:nvPr/>
          </p:nvSpPr>
          <p:spPr bwMode="auto">
            <a:xfrm>
              <a:off x="4941888" y="3300413"/>
              <a:ext cx="19050" cy="14288"/>
            </a:xfrm>
            <a:custGeom>
              <a:avLst/>
              <a:gdLst/>
              <a:ahLst/>
              <a:cxnLst>
                <a:cxn ang="0">
                  <a:pos x="2" y="6"/>
                </a:cxn>
                <a:cxn ang="0">
                  <a:pos x="2" y="6"/>
                </a:cxn>
                <a:cxn ang="0">
                  <a:pos x="5" y="7"/>
                </a:cxn>
                <a:cxn ang="0">
                  <a:pos x="9" y="9"/>
                </a:cxn>
                <a:cxn ang="0">
                  <a:pos x="9" y="9"/>
                </a:cxn>
                <a:cxn ang="0">
                  <a:pos x="12" y="9"/>
                </a:cxn>
                <a:cxn ang="0">
                  <a:pos x="12" y="0"/>
                </a:cxn>
                <a:cxn ang="0">
                  <a:pos x="12" y="0"/>
                </a:cxn>
                <a:cxn ang="0">
                  <a:pos x="3" y="2"/>
                </a:cxn>
                <a:cxn ang="0">
                  <a:pos x="3" y="2"/>
                </a:cxn>
                <a:cxn ang="0">
                  <a:pos x="0" y="3"/>
                </a:cxn>
                <a:cxn ang="0">
                  <a:pos x="2" y="5"/>
                </a:cxn>
                <a:cxn ang="0">
                  <a:pos x="2" y="6"/>
                </a:cxn>
                <a:cxn ang="0">
                  <a:pos x="2" y="6"/>
                </a:cxn>
              </a:cxnLst>
              <a:rect l="0" t="0" r="r" b="b"/>
              <a:pathLst>
                <a:path w="12" h="9">
                  <a:moveTo>
                    <a:pt x="2" y="6"/>
                  </a:moveTo>
                  <a:lnTo>
                    <a:pt x="2" y="6"/>
                  </a:lnTo>
                  <a:lnTo>
                    <a:pt x="5" y="7"/>
                  </a:lnTo>
                  <a:lnTo>
                    <a:pt x="9" y="9"/>
                  </a:lnTo>
                  <a:lnTo>
                    <a:pt x="9" y="9"/>
                  </a:lnTo>
                  <a:lnTo>
                    <a:pt x="12" y="9"/>
                  </a:lnTo>
                  <a:lnTo>
                    <a:pt x="12" y="0"/>
                  </a:lnTo>
                  <a:lnTo>
                    <a:pt x="12" y="0"/>
                  </a:lnTo>
                  <a:lnTo>
                    <a:pt x="3" y="2"/>
                  </a:lnTo>
                  <a:lnTo>
                    <a:pt x="3" y="2"/>
                  </a:lnTo>
                  <a:lnTo>
                    <a:pt x="0" y="3"/>
                  </a:lnTo>
                  <a:lnTo>
                    <a:pt x="2" y="5"/>
                  </a:lnTo>
                  <a:lnTo>
                    <a:pt x="2" y="6"/>
                  </a:lnTo>
                  <a:lnTo>
                    <a:pt x="2"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60" name="Freeform 80">
              <a:extLst>
                <a:ext uri="{FF2B5EF4-FFF2-40B4-BE49-F238E27FC236}">
                  <a16:creationId xmlns:a16="http://schemas.microsoft.com/office/drawing/2014/main" id="{62663F41-EEFA-420F-A006-CCAB97E238EA}"/>
                </a:ext>
              </a:extLst>
            </p:cNvPr>
            <p:cNvSpPr>
              <a:spLocks/>
            </p:cNvSpPr>
            <p:nvPr/>
          </p:nvSpPr>
          <p:spPr bwMode="auto">
            <a:xfrm>
              <a:off x="4973638" y="3322638"/>
              <a:ext cx="15875" cy="15875"/>
            </a:xfrm>
            <a:custGeom>
              <a:avLst/>
              <a:gdLst/>
              <a:ahLst/>
              <a:cxnLst>
                <a:cxn ang="0">
                  <a:pos x="10" y="3"/>
                </a:cxn>
                <a:cxn ang="0">
                  <a:pos x="10" y="3"/>
                </a:cxn>
                <a:cxn ang="0">
                  <a:pos x="4" y="2"/>
                </a:cxn>
                <a:cxn ang="0">
                  <a:pos x="4" y="2"/>
                </a:cxn>
                <a:cxn ang="0">
                  <a:pos x="0" y="0"/>
                </a:cxn>
                <a:cxn ang="0">
                  <a:pos x="0" y="10"/>
                </a:cxn>
                <a:cxn ang="0">
                  <a:pos x="0" y="10"/>
                </a:cxn>
                <a:cxn ang="0">
                  <a:pos x="7" y="9"/>
                </a:cxn>
                <a:cxn ang="0">
                  <a:pos x="7" y="9"/>
                </a:cxn>
                <a:cxn ang="0">
                  <a:pos x="10" y="6"/>
                </a:cxn>
                <a:cxn ang="0">
                  <a:pos x="10" y="5"/>
                </a:cxn>
                <a:cxn ang="0">
                  <a:pos x="10" y="3"/>
                </a:cxn>
                <a:cxn ang="0">
                  <a:pos x="10" y="3"/>
                </a:cxn>
              </a:cxnLst>
              <a:rect l="0" t="0" r="r" b="b"/>
              <a:pathLst>
                <a:path w="10" h="10">
                  <a:moveTo>
                    <a:pt x="10" y="3"/>
                  </a:moveTo>
                  <a:lnTo>
                    <a:pt x="10" y="3"/>
                  </a:lnTo>
                  <a:lnTo>
                    <a:pt x="4" y="2"/>
                  </a:lnTo>
                  <a:lnTo>
                    <a:pt x="4" y="2"/>
                  </a:lnTo>
                  <a:lnTo>
                    <a:pt x="0" y="0"/>
                  </a:lnTo>
                  <a:lnTo>
                    <a:pt x="0" y="10"/>
                  </a:lnTo>
                  <a:lnTo>
                    <a:pt x="0" y="10"/>
                  </a:lnTo>
                  <a:lnTo>
                    <a:pt x="7" y="9"/>
                  </a:lnTo>
                  <a:lnTo>
                    <a:pt x="7" y="9"/>
                  </a:lnTo>
                  <a:lnTo>
                    <a:pt x="10" y="6"/>
                  </a:lnTo>
                  <a:lnTo>
                    <a:pt x="10" y="5"/>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61" name="Freeform 81">
              <a:extLst>
                <a:ext uri="{FF2B5EF4-FFF2-40B4-BE49-F238E27FC236}">
                  <a16:creationId xmlns:a16="http://schemas.microsoft.com/office/drawing/2014/main" id="{BA30A782-0BDE-4B86-A303-2D38EC26260D}"/>
                </a:ext>
              </a:extLst>
            </p:cNvPr>
            <p:cNvSpPr>
              <a:spLocks noEditPoints="1"/>
            </p:cNvSpPr>
            <p:nvPr/>
          </p:nvSpPr>
          <p:spPr bwMode="auto">
            <a:xfrm>
              <a:off x="4873625" y="3286125"/>
              <a:ext cx="184150" cy="66675"/>
            </a:xfrm>
            <a:custGeom>
              <a:avLst/>
              <a:gdLst/>
              <a:ahLst/>
              <a:cxnLst>
                <a:cxn ang="0">
                  <a:pos x="0" y="21"/>
                </a:cxn>
                <a:cxn ang="0">
                  <a:pos x="4" y="29"/>
                </a:cxn>
                <a:cxn ang="0">
                  <a:pos x="17" y="36"/>
                </a:cxn>
                <a:cxn ang="0">
                  <a:pos x="35" y="40"/>
                </a:cxn>
                <a:cxn ang="0">
                  <a:pos x="59" y="42"/>
                </a:cxn>
                <a:cxn ang="0">
                  <a:pos x="70" y="42"/>
                </a:cxn>
                <a:cxn ang="0">
                  <a:pos x="91" y="37"/>
                </a:cxn>
                <a:cxn ang="0">
                  <a:pos x="106" y="32"/>
                </a:cxn>
                <a:cxn ang="0">
                  <a:pos x="115" y="25"/>
                </a:cxn>
                <a:cxn ang="0">
                  <a:pos x="116" y="21"/>
                </a:cxn>
                <a:cxn ang="0">
                  <a:pos x="112" y="12"/>
                </a:cxn>
                <a:cxn ang="0">
                  <a:pos x="99" y="7"/>
                </a:cxn>
                <a:cxn ang="0">
                  <a:pos x="81" y="1"/>
                </a:cxn>
                <a:cxn ang="0">
                  <a:pos x="59" y="0"/>
                </a:cxn>
                <a:cxn ang="0">
                  <a:pos x="46" y="1"/>
                </a:cxn>
                <a:cxn ang="0">
                  <a:pos x="25" y="4"/>
                </a:cxn>
                <a:cxn ang="0">
                  <a:pos x="10" y="9"/>
                </a:cxn>
                <a:cxn ang="0">
                  <a:pos x="1" y="16"/>
                </a:cxn>
                <a:cxn ang="0">
                  <a:pos x="0" y="21"/>
                </a:cxn>
                <a:cxn ang="0">
                  <a:pos x="63" y="5"/>
                </a:cxn>
                <a:cxn ang="0">
                  <a:pos x="69" y="5"/>
                </a:cxn>
                <a:cxn ang="0">
                  <a:pos x="76" y="7"/>
                </a:cxn>
                <a:cxn ang="0">
                  <a:pos x="81" y="9"/>
                </a:cxn>
                <a:cxn ang="0">
                  <a:pos x="80" y="12"/>
                </a:cxn>
                <a:cxn ang="0">
                  <a:pos x="74" y="12"/>
                </a:cxn>
                <a:cxn ang="0">
                  <a:pos x="74" y="12"/>
                </a:cxn>
                <a:cxn ang="0">
                  <a:pos x="74" y="12"/>
                </a:cxn>
                <a:cxn ang="0">
                  <a:pos x="74" y="12"/>
                </a:cxn>
                <a:cxn ang="0">
                  <a:pos x="73" y="11"/>
                </a:cxn>
                <a:cxn ang="0">
                  <a:pos x="66" y="9"/>
                </a:cxn>
                <a:cxn ang="0">
                  <a:pos x="63" y="9"/>
                </a:cxn>
                <a:cxn ang="0">
                  <a:pos x="63" y="19"/>
                </a:cxn>
                <a:cxn ang="0">
                  <a:pos x="78" y="23"/>
                </a:cxn>
                <a:cxn ang="0">
                  <a:pos x="81" y="25"/>
                </a:cxn>
                <a:cxn ang="0">
                  <a:pos x="81" y="30"/>
                </a:cxn>
                <a:cxn ang="0">
                  <a:pos x="76" y="33"/>
                </a:cxn>
                <a:cxn ang="0">
                  <a:pos x="70" y="35"/>
                </a:cxn>
                <a:cxn ang="0">
                  <a:pos x="63" y="39"/>
                </a:cxn>
                <a:cxn ang="0">
                  <a:pos x="62" y="39"/>
                </a:cxn>
                <a:cxn ang="0">
                  <a:pos x="56" y="39"/>
                </a:cxn>
                <a:cxn ang="0">
                  <a:pos x="55" y="36"/>
                </a:cxn>
                <a:cxn ang="0">
                  <a:pos x="42" y="35"/>
                </a:cxn>
                <a:cxn ang="0">
                  <a:pos x="35" y="32"/>
                </a:cxn>
                <a:cxn ang="0">
                  <a:pos x="36" y="29"/>
                </a:cxn>
                <a:cxn ang="0">
                  <a:pos x="42" y="29"/>
                </a:cxn>
                <a:cxn ang="0">
                  <a:pos x="42" y="29"/>
                </a:cxn>
                <a:cxn ang="0">
                  <a:pos x="43" y="30"/>
                </a:cxn>
                <a:cxn ang="0">
                  <a:pos x="43" y="30"/>
                </a:cxn>
                <a:cxn ang="0">
                  <a:pos x="50" y="32"/>
                </a:cxn>
                <a:cxn ang="0">
                  <a:pos x="55" y="32"/>
                </a:cxn>
                <a:cxn ang="0">
                  <a:pos x="55" y="22"/>
                </a:cxn>
                <a:cxn ang="0">
                  <a:pos x="43" y="19"/>
                </a:cxn>
                <a:cxn ang="0">
                  <a:pos x="36" y="16"/>
                </a:cxn>
                <a:cxn ang="0">
                  <a:pos x="35" y="15"/>
                </a:cxn>
                <a:cxn ang="0">
                  <a:pos x="38" y="9"/>
                </a:cxn>
                <a:cxn ang="0">
                  <a:pos x="41" y="8"/>
                </a:cxn>
                <a:cxn ang="0">
                  <a:pos x="55" y="5"/>
                </a:cxn>
                <a:cxn ang="0">
                  <a:pos x="55" y="2"/>
                </a:cxn>
                <a:cxn ang="0">
                  <a:pos x="62" y="2"/>
                </a:cxn>
                <a:cxn ang="0">
                  <a:pos x="63" y="2"/>
                </a:cxn>
              </a:cxnLst>
              <a:rect l="0" t="0" r="r" b="b"/>
              <a:pathLst>
                <a:path w="116" h="42">
                  <a:moveTo>
                    <a:pt x="0" y="21"/>
                  </a:moveTo>
                  <a:lnTo>
                    <a:pt x="0" y="21"/>
                  </a:lnTo>
                  <a:lnTo>
                    <a:pt x="1" y="25"/>
                  </a:lnTo>
                  <a:lnTo>
                    <a:pt x="4" y="29"/>
                  </a:lnTo>
                  <a:lnTo>
                    <a:pt x="10" y="32"/>
                  </a:lnTo>
                  <a:lnTo>
                    <a:pt x="17" y="36"/>
                  </a:lnTo>
                  <a:lnTo>
                    <a:pt x="25" y="37"/>
                  </a:lnTo>
                  <a:lnTo>
                    <a:pt x="35" y="40"/>
                  </a:lnTo>
                  <a:lnTo>
                    <a:pt x="46" y="42"/>
                  </a:lnTo>
                  <a:lnTo>
                    <a:pt x="59" y="42"/>
                  </a:lnTo>
                  <a:lnTo>
                    <a:pt x="59" y="42"/>
                  </a:lnTo>
                  <a:lnTo>
                    <a:pt x="70" y="42"/>
                  </a:lnTo>
                  <a:lnTo>
                    <a:pt x="81" y="40"/>
                  </a:lnTo>
                  <a:lnTo>
                    <a:pt x="91" y="37"/>
                  </a:lnTo>
                  <a:lnTo>
                    <a:pt x="99" y="36"/>
                  </a:lnTo>
                  <a:lnTo>
                    <a:pt x="106" y="32"/>
                  </a:lnTo>
                  <a:lnTo>
                    <a:pt x="112" y="29"/>
                  </a:lnTo>
                  <a:lnTo>
                    <a:pt x="115" y="25"/>
                  </a:lnTo>
                  <a:lnTo>
                    <a:pt x="116" y="21"/>
                  </a:lnTo>
                  <a:lnTo>
                    <a:pt x="116" y="21"/>
                  </a:lnTo>
                  <a:lnTo>
                    <a:pt x="115" y="16"/>
                  </a:lnTo>
                  <a:lnTo>
                    <a:pt x="112" y="12"/>
                  </a:lnTo>
                  <a:lnTo>
                    <a:pt x="106" y="9"/>
                  </a:lnTo>
                  <a:lnTo>
                    <a:pt x="99" y="7"/>
                  </a:lnTo>
                  <a:lnTo>
                    <a:pt x="91" y="4"/>
                  </a:lnTo>
                  <a:lnTo>
                    <a:pt x="81" y="1"/>
                  </a:lnTo>
                  <a:lnTo>
                    <a:pt x="70" y="1"/>
                  </a:lnTo>
                  <a:lnTo>
                    <a:pt x="59" y="0"/>
                  </a:lnTo>
                  <a:lnTo>
                    <a:pt x="59" y="0"/>
                  </a:lnTo>
                  <a:lnTo>
                    <a:pt x="46" y="1"/>
                  </a:lnTo>
                  <a:lnTo>
                    <a:pt x="35" y="1"/>
                  </a:lnTo>
                  <a:lnTo>
                    <a:pt x="25" y="4"/>
                  </a:lnTo>
                  <a:lnTo>
                    <a:pt x="17" y="7"/>
                  </a:lnTo>
                  <a:lnTo>
                    <a:pt x="10" y="9"/>
                  </a:lnTo>
                  <a:lnTo>
                    <a:pt x="4" y="12"/>
                  </a:lnTo>
                  <a:lnTo>
                    <a:pt x="1" y="16"/>
                  </a:lnTo>
                  <a:lnTo>
                    <a:pt x="0" y="21"/>
                  </a:lnTo>
                  <a:lnTo>
                    <a:pt x="0" y="21"/>
                  </a:lnTo>
                  <a:close/>
                  <a:moveTo>
                    <a:pt x="63" y="2"/>
                  </a:moveTo>
                  <a:lnTo>
                    <a:pt x="63" y="5"/>
                  </a:lnTo>
                  <a:lnTo>
                    <a:pt x="63" y="5"/>
                  </a:lnTo>
                  <a:lnTo>
                    <a:pt x="69" y="5"/>
                  </a:lnTo>
                  <a:lnTo>
                    <a:pt x="69" y="5"/>
                  </a:lnTo>
                  <a:lnTo>
                    <a:pt x="76" y="7"/>
                  </a:lnTo>
                  <a:lnTo>
                    <a:pt x="81" y="9"/>
                  </a:lnTo>
                  <a:lnTo>
                    <a:pt x="81" y="9"/>
                  </a:lnTo>
                  <a:lnTo>
                    <a:pt x="83" y="11"/>
                  </a:lnTo>
                  <a:lnTo>
                    <a:pt x="80" y="12"/>
                  </a:lnTo>
                  <a:lnTo>
                    <a:pt x="77" y="12"/>
                  </a:lnTo>
                  <a:lnTo>
                    <a:pt x="74" y="12"/>
                  </a:lnTo>
                  <a:lnTo>
                    <a:pt x="74" y="12"/>
                  </a:lnTo>
                  <a:lnTo>
                    <a:pt x="74" y="12"/>
                  </a:lnTo>
                  <a:lnTo>
                    <a:pt x="74" y="12"/>
                  </a:lnTo>
                  <a:lnTo>
                    <a:pt x="74" y="12"/>
                  </a:lnTo>
                  <a:lnTo>
                    <a:pt x="74" y="12"/>
                  </a:lnTo>
                  <a:lnTo>
                    <a:pt x="74" y="12"/>
                  </a:lnTo>
                  <a:lnTo>
                    <a:pt x="74" y="12"/>
                  </a:lnTo>
                  <a:lnTo>
                    <a:pt x="73" y="11"/>
                  </a:lnTo>
                  <a:lnTo>
                    <a:pt x="73" y="11"/>
                  </a:lnTo>
                  <a:lnTo>
                    <a:pt x="66" y="9"/>
                  </a:lnTo>
                  <a:lnTo>
                    <a:pt x="66" y="9"/>
                  </a:lnTo>
                  <a:lnTo>
                    <a:pt x="63" y="9"/>
                  </a:lnTo>
                  <a:lnTo>
                    <a:pt x="63" y="19"/>
                  </a:lnTo>
                  <a:lnTo>
                    <a:pt x="63" y="19"/>
                  </a:lnTo>
                  <a:lnTo>
                    <a:pt x="74" y="22"/>
                  </a:lnTo>
                  <a:lnTo>
                    <a:pt x="78" y="23"/>
                  </a:lnTo>
                  <a:lnTo>
                    <a:pt x="81" y="25"/>
                  </a:lnTo>
                  <a:lnTo>
                    <a:pt x="81" y="25"/>
                  </a:lnTo>
                  <a:lnTo>
                    <a:pt x="83" y="28"/>
                  </a:lnTo>
                  <a:lnTo>
                    <a:pt x="81" y="30"/>
                  </a:lnTo>
                  <a:lnTo>
                    <a:pt x="80" y="32"/>
                  </a:lnTo>
                  <a:lnTo>
                    <a:pt x="76" y="33"/>
                  </a:lnTo>
                  <a:lnTo>
                    <a:pt x="76" y="33"/>
                  </a:lnTo>
                  <a:lnTo>
                    <a:pt x="70" y="35"/>
                  </a:lnTo>
                  <a:lnTo>
                    <a:pt x="63" y="36"/>
                  </a:lnTo>
                  <a:lnTo>
                    <a:pt x="63" y="39"/>
                  </a:lnTo>
                  <a:lnTo>
                    <a:pt x="63" y="39"/>
                  </a:lnTo>
                  <a:lnTo>
                    <a:pt x="62" y="39"/>
                  </a:lnTo>
                  <a:lnTo>
                    <a:pt x="56" y="39"/>
                  </a:lnTo>
                  <a:lnTo>
                    <a:pt x="56" y="39"/>
                  </a:lnTo>
                  <a:lnTo>
                    <a:pt x="55" y="39"/>
                  </a:lnTo>
                  <a:lnTo>
                    <a:pt x="55" y="36"/>
                  </a:lnTo>
                  <a:lnTo>
                    <a:pt x="55" y="36"/>
                  </a:lnTo>
                  <a:lnTo>
                    <a:pt x="42" y="35"/>
                  </a:lnTo>
                  <a:lnTo>
                    <a:pt x="35" y="32"/>
                  </a:lnTo>
                  <a:lnTo>
                    <a:pt x="35" y="32"/>
                  </a:lnTo>
                  <a:lnTo>
                    <a:pt x="35" y="30"/>
                  </a:lnTo>
                  <a:lnTo>
                    <a:pt x="36" y="29"/>
                  </a:lnTo>
                  <a:lnTo>
                    <a:pt x="39" y="29"/>
                  </a:lnTo>
                  <a:lnTo>
                    <a:pt x="42" y="29"/>
                  </a:lnTo>
                  <a:lnTo>
                    <a:pt x="42" y="29"/>
                  </a:lnTo>
                  <a:lnTo>
                    <a:pt x="42" y="29"/>
                  </a:lnTo>
                  <a:lnTo>
                    <a:pt x="42" y="29"/>
                  </a:lnTo>
                  <a:lnTo>
                    <a:pt x="43" y="30"/>
                  </a:lnTo>
                  <a:lnTo>
                    <a:pt x="43" y="30"/>
                  </a:lnTo>
                  <a:lnTo>
                    <a:pt x="43" y="30"/>
                  </a:lnTo>
                  <a:lnTo>
                    <a:pt x="43" y="30"/>
                  </a:lnTo>
                  <a:lnTo>
                    <a:pt x="50" y="32"/>
                  </a:lnTo>
                  <a:lnTo>
                    <a:pt x="50" y="32"/>
                  </a:lnTo>
                  <a:lnTo>
                    <a:pt x="55" y="32"/>
                  </a:lnTo>
                  <a:lnTo>
                    <a:pt x="55" y="22"/>
                  </a:lnTo>
                  <a:lnTo>
                    <a:pt x="55" y="22"/>
                  </a:lnTo>
                  <a:lnTo>
                    <a:pt x="43" y="19"/>
                  </a:lnTo>
                  <a:lnTo>
                    <a:pt x="43" y="19"/>
                  </a:lnTo>
                  <a:lnTo>
                    <a:pt x="39" y="18"/>
                  </a:lnTo>
                  <a:lnTo>
                    <a:pt x="36" y="16"/>
                  </a:lnTo>
                  <a:lnTo>
                    <a:pt x="36" y="16"/>
                  </a:lnTo>
                  <a:lnTo>
                    <a:pt x="35" y="15"/>
                  </a:lnTo>
                  <a:lnTo>
                    <a:pt x="35" y="12"/>
                  </a:lnTo>
                  <a:lnTo>
                    <a:pt x="38" y="9"/>
                  </a:lnTo>
                  <a:lnTo>
                    <a:pt x="41" y="8"/>
                  </a:lnTo>
                  <a:lnTo>
                    <a:pt x="41" y="8"/>
                  </a:lnTo>
                  <a:lnTo>
                    <a:pt x="46" y="7"/>
                  </a:lnTo>
                  <a:lnTo>
                    <a:pt x="55" y="5"/>
                  </a:lnTo>
                  <a:lnTo>
                    <a:pt x="55" y="2"/>
                  </a:lnTo>
                  <a:lnTo>
                    <a:pt x="55" y="2"/>
                  </a:lnTo>
                  <a:lnTo>
                    <a:pt x="56" y="2"/>
                  </a:lnTo>
                  <a:lnTo>
                    <a:pt x="62" y="2"/>
                  </a:lnTo>
                  <a:lnTo>
                    <a:pt x="62" y="2"/>
                  </a:lnTo>
                  <a:lnTo>
                    <a:pt x="63" y="2"/>
                  </a:lnTo>
                  <a:lnTo>
                    <a:pt x="63"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62" name="Freeform 82">
              <a:extLst>
                <a:ext uri="{FF2B5EF4-FFF2-40B4-BE49-F238E27FC236}">
                  <a16:creationId xmlns:a16="http://schemas.microsoft.com/office/drawing/2014/main" id="{F1E1303D-F5B6-4A67-904E-4CEA17284AF0}"/>
                </a:ext>
              </a:extLst>
            </p:cNvPr>
            <p:cNvSpPr>
              <a:spLocks/>
            </p:cNvSpPr>
            <p:nvPr/>
          </p:nvSpPr>
          <p:spPr bwMode="auto">
            <a:xfrm>
              <a:off x="4819650" y="2693988"/>
              <a:ext cx="719137" cy="566738"/>
            </a:xfrm>
            <a:custGeom>
              <a:avLst/>
              <a:gdLst/>
              <a:ahLst/>
              <a:cxnLst>
                <a:cxn ang="0">
                  <a:pos x="156" y="218"/>
                </a:cxn>
                <a:cxn ang="0">
                  <a:pos x="234" y="277"/>
                </a:cxn>
                <a:cxn ang="0">
                  <a:pos x="234" y="277"/>
                </a:cxn>
                <a:cxn ang="0">
                  <a:pos x="240" y="280"/>
                </a:cxn>
                <a:cxn ang="0">
                  <a:pos x="248" y="280"/>
                </a:cxn>
                <a:cxn ang="0">
                  <a:pos x="254" y="279"/>
                </a:cxn>
                <a:cxn ang="0">
                  <a:pos x="261" y="273"/>
                </a:cxn>
                <a:cxn ang="0">
                  <a:pos x="418" y="71"/>
                </a:cxn>
                <a:cxn ang="0">
                  <a:pos x="418" y="73"/>
                </a:cxn>
                <a:cxn ang="0">
                  <a:pos x="415" y="126"/>
                </a:cxn>
                <a:cxn ang="0">
                  <a:pos x="415" y="126"/>
                </a:cxn>
                <a:cxn ang="0">
                  <a:pos x="417" y="132"/>
                </a:cxn>
                <a:cxn ang="0">
                  <a:pos x="419" y="137"/>
                </a:cxn>
                <a:cxn ang="0">
                  <a:pos x="424" y="141"/>
                </a:cxn>
                <a:cxn ang="0">
                  <a:pos x="431" y="143"/>
                </a:cxn>
                <a:cxn ang="0">
                  <a:pos x="431" y="143"/>
                </a:cxn>
                <a:cxn ang="0">
                  <a:pos x="436" y="143"/>
                </a:cxn>
                <a:cxn ang="0">
                  <a:pos x="442" y="139"/>
                </a:cxn>
                <a:cxn ang="0">
                  <a:pos x="446" y="134"/>
                </a:cxn>
                <a:cxn ang="0">
                  <a:pos x="447" y="127"/>
                </a:cxn>
                <a:cxn ang="0">
                  <a:pos x="453" y="17"/>
                </a:cxn>
                <a:cxn ang="0">
                  <a:pos x="453" y="17"/>
                </a:cxn>
                <a:cxn ang="0">
                  <a:pos x="453" y="13"/>
                </a:cxn>
                <a:cxn ang="0">
                  <a:pos x="452" y="10"/>
                </a:cxn>
                <a:cxn ang="0">
                  <a:pos x="450" y="6"/>
                </a:cxn>
                <a:cxn ang="0">
                  <a:pos x="447" y="3"/>
                </a:cxn>
                <a:cxn ang="0">
                  <a:pos x="447" y="3"/>
                </a:cxn>
                <a:cxn ang="0">
                  <a:pos x="445" y="1"/>
                </a:cxn>
                <a:cxn ang="0">
                  <a:pos x="440" y="0"/>
                </a:cxn>
                <a:cxn ang="0">
                  <a:pos x="438" y="0"/>
                </a:cxn>
                <a:cxn ang="0">
                  <a:pos x="433" y="0"/>
                </a:cxn>
                <a:cxn ang="0">
                  <a:pos x="328" y="28"/>
                </a:cxn>
                <a:cxn ang="0">
                  <a:pos x="328" y="28"/>
                </a:cxn>
                <a:cxn ang="0">
                  <a:pos x="323" y="31"/>
                </a:cxn>
                <a:cxn ang="0">
                  <a:pos x="318" y="35"/>
                </a:cxn>
                <a:cxn ang="0">
                  <a:pos x="317" y="41"/>
                </a:cxn>
                <a:cxn ang="0">
                  <a:pos x="317" y="48"/>
                </a:cxn>
                <a:cxn ang="0">
                  <a:pos x="317" y="48"/>
                </a:cxn>
                <a:cxn ang="0">
                  <a:pos x="320" y="53"/>
                </a:cxn>
                <a:cxn ang="0">
                  <a:pos x="325" y="57"/>
                </a:cxn>
                <a:cxn ang="0">
                  <a:pos x="331" y="59"/>
                </a:cxn>
                <a:cxn ang="0">
                  <a:pos x="337" y="59"/>
                </a:cxn>
                <a:cxn ang="0">
                  <a:pos x="383" y="48"/>
                </a:cxn>
                <a:cxn ang="0">
                  <a:pos x="386" y="49"/>
                </a:cxn>
                <a:cxn ang="0">
                  <a:pos x="241" y="234"/>
                </a:cxn>
                <a:cxn ang="0">
                  <a:pos x="163" y="175"/>
                </a:cxn>
                <a:cxn ang="0">
                  <a:pos x="163" y="175"/>
                </a:cxn>
                <a:cxn ang="0">
                  <a:pos x="157" y="172"/>
                </a:cxn>
                <a:cxn ang="0">
                  <a:pos x="150" y="172"/>
                </a:cxn>
                <a:cxn ang="0">
                  <a:pos x="143" y="174"/>
                </a:cxn>
                <a:cxn ang="0">
                  <a:pos x="138" y="179"/>
                </a:cxn>
                <a:cxn ang="0">
                  <a:pos x="5" y="325"/>
                </a:cxn>
                <a:cxn ang="0">
                  <a:pos x="5" y="325"/>
                </a:cxn>
                <a:cxn ang="0">
                  <a:pos x="0" y="331"/>
                </a:cxn>
                <a:cxn ang="0">
                  <a:pos x="0" y="339"/>
                </a:cxn>
                <a:cxn ang="0">
                  <a:pos x="2" y="346"/>
                </a:cxn>
                <a:cxn ang="0">
                  <a:pos x="6" y="353"/>
                </a:cxn>
                <a:cxn ang="0">
                  <a:pos x="6" y="353"/>
                </a:cxn>
                <a:cxn ang="0">
                  <a:pos x="13" y="356"/>
                </a:cxn>
                <a:cxn ang="0">
                  <a:pos x="21" y="357"/>
                </a:cxn>
                <a:cxn ang="0">
                  <a:pos x="28" y="356"/>
                </a:cxn>
                <a:cxn ang="0">
                  <a:pos x="34" y="350"/>
                </a:cxn>
                <a:cxn ang="0">
                  <a:pos x="156" y="218"/>
                </a:cxn>
              </a:cxnLst>
              <a:rect l="0" t="0" r="r" b="b"/>
              <a:pathLst>
                <a:path w="453" h="357">
                  <a:moveTo>
                    <a:pt x="156" y="218"/>
                  </a:moveTo>
                  <a:lnTo>
                    <a:pt x="234" y="277"/>
                  </a:lnTo>
                  <a:lnTo>
                    <a:pt x="234" y="277"/>
                  </a:lnTo>
                  <a:lnTo>
                    <a:pt x="240" y="280"/>
                  </a:lnTo>
                  <a:lnTo>
                    <a:pt x="248" y="280"/>
                  </a:lnTo>
                  <a:lnTo>
                    <a:pt x="254" y="279"/>
                  </a:lnTo>
                  <a:lnTo>
                    <a:pt x="261" y="273"/>
                  </a:lnTo>
                  <a:lnTo>
                    <a:pt x="418" y="71"/>
                  </a:lnTo>
                  <a:lnTo>
                    <a:pt x="418" y="73"/>
                  </a:lnTo>
                  <a:lnTo>
                    <a:pt x="415" y="126"/>
                  </a:lnTo>
                  <a:lnTo>
                    <a:pt x="415" y="126"/>
                  </a:lnTo>
                  <a:lnTo>
                    <a:pt x="417" y="132"/>
                  </a:lnTo>
                  <a:lnTo>
                    <a:pt x="419" y="137"/>
                  </a:lnTo>
                  <a:lnTo>
                    <a:pt x="424" y="141"/>
                  </a:lnTo>
                  <a:lnTo>
                    <a:pt x="431" y="143"/>
                  </a:lnTo>
                  <a:lnTo>
                    <a:pt x="431" y="143"/>
                  </a:lnTo>
                  <a:lnTo>
                    <a:pt x="436" y="143"/>
                  </a:lnTo>
                  <a:lnTo>
                    <a:pt x="442" y="139"/>
                  </a:lnTo>
                  <a:lnTo>
                    <a:pt x="446" y="134"/>
                  </a:lnTo>
                  <a:lnTo>
                    <a:pt x="447" y="127"/>
                  </a:lnTo>
                  <a:lnTo>
                    <a:pt x="453" y="17"/>
                  </a:lnTo>
                  <a:lnTo>
                    <a:pt x="453" y="17"/>
                  </a:lnTo>
                  <a:lnTo>
                    <a:pt x="453" y="13"/>
                  </a:lnTo>
                  <a:lnTo>
                    <a:pt x="452" y="10"/>
                  </a:lnTo>
                  <a:lnTo>
                    <a:pt x="450" y="6"/>
                  </a:lnTo>
                  <a:lnTo>
                    <a:pt x="447" y="3"/>
                  </a:lnTo>
                  <a:lnTo>
                    <a:pt x="447" y="3"/>
                  </a:lnTo>
                  <a:lnTo>
                    <a:pt x="445" y="1"/>
                  </a:lnTo>
                  <a:lnTo>
                    <a:pt x="440" y="0"/>
                  </a:lnTo>
                  <a:lnTo>
                    <a:pt x="438" y="0"/>
                  </a:lnTo>
                  <a:lnTo>
                    <a:pt x="433" y="0"/>
                  </a:lnTo>
                  <a:lnTo>
                    <a:pt x="328" y="28"/>
                  </a:lnTo>
                  <a:lnTo>
                    <a:pt x="328" y="28"/>
                  </a:lnTo>
                  <a:lnTo>
                    <a:pt x="323" y="31"/>
                  </a:lnTo>
                  <a:lnTo>
                    <a:pt x="318" y="35"/>
                  </a:lnTo>
                  <a:lnTo>
                    <a:pt x="317" y="41"/>
                  </a:lnTo>
                  <a:lnTo>
                    <a:pt x="317" y="48"/>
                  </a:lnTo>
                  <a:lnTo>
                    <a:pt x="317" y="48"/>
                  </a:lnTo>
                  <a:lnTo>
                    <a:pt x="320" y="53"/>
                  </a:lnTo>
                  <a:lnTo>
                    <a:pt x="325" y="57"/>
                  </a:lnTo>
                  <a:lnTo>
                    <a:pt x="331" y="59"/>
                  </a:lnTo>
                  <a:lnTo>
                    <a:pt x="337" y="59"/>
                  </a:lnTo>
                  <a:lnTo>
                    <a:pt x="383" y="48"/>
                  </a:lnTo>
                  <a:lnTo>
                    <a:pt x="386" y="49"/>
                  </a:lnTo>
                  <a:lnTo>
                    <a:pt x="241" y="234"/>
                  </a:lnTo>
                  <a:lnTo>
                    <a:pt x="163" y="175"/>
                  </a:lnTo>
                  <a:lnTo>
                    <a:pt x="163" y="175"/>
                  </a:lnTo>
                  <a:lnTo>
                    <a:pt x="157" y="172"/>
                  </a:lnTo>
                  <a:lnTo>
                    <a:pt x="150" y="172"/>
                  </a:lnTo>
                  <a:lnTo>
                    <a:pt x="143" y="174"/>
                  </a:lnTo>
                  <a:lnTo>
                    <a:pt x="138" y="179"/>
                  </a:lnTo>
                  <a:lnTo>
                    <a:pt x="5" y="325"/>
                  </a:lnTo>
                  <a:lnTo>
                    <a:pt x="5" y="325"/>
                  </a:lnTo>
                  <a:lnTo>
                    <a:pt x="0" y="331"/>
                  </a:lnTo>
                  <a:lnTo>
                    <a:pt x="0" y="339"/>
                  </a:lnTo>
                  <a:lnTo>
                    <a:pt x="2" y="346"/>
                  </a:lnTo>
                  <a:lnTo>
                    <a:pt x="6" y="353"/>
                  </a:lnTo>
                  <a:lnTo>
                    <a:pt x="6" y="353"/>
                  </a:lnTo>
                  <a:lnTo>
                    <a:pt x="13" y="356"/>
                  </a:lnTo>
                  <a:lnTo>
                    <a:pt x="21" y="357"/>
                  </a:lnTo>
                  <a:lnTo>
                    <a:pt x="28" y="356"/>
                  </a:lnTo>
                  <a:lnTo>
                    <a:pt x="34" y="350"/>
                  </a:lnTo>
                  <a:lnTo>
                    <a:pt x="156" y="2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grpSp>
        <p:nvGrpSpPr>
          <p:cNvPr id="163" name="Group 162">
            <a:extLst>
              <a:ext uri="{FF2B5EF4-FFF2-40B4-BE49-F238E27FC236}">
                <a16:creationId xmlns:a16="http://schemas.microsoft.com/office/drawing/2014/main" id="{FDA6AEFC-840A-491B-BB9C-BBA251433637}"/>
              </a:ext>
            </a:extLst>
          </p:cNvPr>
          <p:cNvGrpSpPr/>
          <p:nvPr/>
        </p:nvGrpSpPr>
        <p:grpSpPr>
          <a:xfrm>
            <a:off x="489202" y="4997473"/>
            <a:ext cx="1839661" cy="756552"/>
            <a:chOff x="-2065546" y="2419350"/>
            <a:chExt cx="1379746" cy="567414"/>
          </a:xfrm>
          <a:solidFill>
            <a:srgbClr val="21572B"/>
          </a:solidFill>
        </p:grpSpPr>
        <p:pic>
          <p:nvPicPr>
            <p:cNvPr id="164" name="Picture 1">
              <a:extLst>
                <a:ext uri="{FF2B5EF4-FFF2-40B4-BE49-F238E27FC236}">
                  <a16:creationId xmlns:a16="http://schemas.microsoft.com/office/drawing/2014/main" id="{A928DA6A-380E-4954-987B-0D95E59F5F5D}"/>
                </a:ext>
              </a:extLst>
            </p:cNvPr>
            <p:cNvPicPr>
              <a:picLocks noChangeAspect="1" noChangeArrowheads="1"/>
            </p:cNvPicPr>
            <p:nvPr/>
          </p:nvPicPr>
          <p:blipFill rotWithShape="1">
            <a:blip r:embed="rId2">
              <a:duotone>
                <a:schemeClr val="accent3">
                  <a:shade val="45000"/>
                  <a:satMod val="135000"/>
                </a:schemeClr>
                <a:prstClr val="white"/>
              </a:duotone>
              <a:extLst>
                <a:ext uri="{BEBA8EAE-BF5A-486C-A8C5-ECC9F3942E4B}">
                  <a14:imgProps xmlns:a14="http://schemas.microsoft.com/office/drawing/2010/main">
                    <a14:imgLayer r:embed="rId3">
                      <a14:imgEffect>
                        <a14:backgroundRemoval t="13072" b="92157" l="0" r="93954"/>
                      </a14:imgEffect>
                    </a14:imgLayer>
                  </a14:imgProps>
                </a:ext>
                <a:ext uri="{28A0092B-C50C-407E-A947-70E740481C1C}">
                  <a14:useLocalDpi xmlns:a14="http://schemas.microsoft.com/office/drawing/2010/main" val="0"/>
                </a:ext>
              </a:extLst>
            </a:blip>
            <a:srcRect t="11899" b="6923"/>
            <a:stretch/>
          </p:blipFill>
          <p:spPr bwMode="auto">
            <a:xfrm>
              <a:off x="-2065546" y="2419350"/>
              <a:ext cx="698967" cy="567414"/>
            </a:xfrm>
            <a:prstGeom prst="rect">
              <a:avLst/>
            </a:prstGeom>
            <a:grpFill/>
            <a:ln>
              <a:noFill/>
            </a:ln>
          </p:spPr>
        </p:pic>
        <p:pic>
          <p:nvPicPr>
            <p:cNvPr id="165" name="Picture 2">
              <a:extLst>
                <a:ext uri="{FF2B5EF4-FFF2-40B4-BE49-F238E27FC236}">
                  <a16:creationId xmlns:a16="http://schemas.microsoft.com/office/drawing/2014/main" id="{B65699D6-4CF8-47CE-B5EF-308790B2EEB0}"/>
                </a:ext>
              </a:extLst>
            </p:cNvPr>
            <p:cNvPicPr>
              <a:picLocks noChangeAspect="1" noChangeArrowheads="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backgroundRemoval t="0" b="93838" l="0" r="100000"/>
                      </a14:imgEffect>
                    </a14:imgLayer>
                  </a14:imgProps>
                </a:ext>
                <a:ext uri="{28A0092B-C50C-407E-A947-70E740481C1C}">
                  <a14:useLocalDpi xmlns:a14="http://schemas.microsoft.com/office/drawing/2010/main" val="0"/>
                </a:ext>
              </a:extLst>
            </a:blip>
            <a:srcRect/>
            <a:stretch>
              <a:fillRect/>
            </a:stretch>
          </p:blipFill>
          <p:spPr bwMode="auto">
            <a:xfrm>
              <a:off x="-1403466" y="2419350"/>
              <a:ext cx="717666" cy="567414"/>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sp>
        <p:nvSpPr>
          <p:cNvPr id="166" name="TextBox 165">
            <a:extLst>
              <a:ext uri="{FF2B5EF4-FFF2-40B4-BE49-F238E27FC236}">
                <a16:creationId xmlns:a16="http://schemas.microsoft.com/office/drawing/2014/main" id="{6487263A-40D9-4503-B3FB-EE22A01DD6DA}"/>
              </a:ext>
            </a:extLst>
          </p:cNvPr>
          <p:cNvSpPr txBox="1"/>
          <p:nvPr/>
        </p:nvSpPr>
        <p:spPr>
          <a:xfrm>
            <a:off x="4675678" y="5781358"/>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Training during the pandemic</a:t>
            </a:r>
          </a:p>
        </p:txBody>
      </p:sp>
      <p:grpSp>
        <p:nvGrpSpPr>
          <p:cNvPr id="167" name="Group 166">
            <a:extLst>
              <a:ext uri="{FF2B5EF4-FFF2-40B4-BE49-F238E27FC236}">
                <a16:creationId xmlns:a16="http://schemas.microsoft.com/office/drawing/2014/main" id="{33DBE105-8D44-41AB-A6F1-BA8FC58F9584}"/>
              </a:ext>
            </a:extLst>
          </p:cNvPr>
          <p:cNvGrpSpPr>
            <a:grpSpLocks noChangeAspect="1"/>
          </p:cNvGrpSpPr>
          <p:nvPr/>
        </p:nvGrpSpPr>
        <p:grpSpPr>
          <a:xfrm>
            <a:off x="4890884" y="5036357"/>
            <a:ext cx="1292419" cy="565000"/>
            <a:chOff x="2501900" y="1600201"/>
            <a:chExt cx="674688" cy="657225"/>
          </a:xfrm>
          <a:solidFill>
            <a:srgbClr val="006301"/>
          </a:solidFill>
        </p:grpSpPr>
        <p:sp>
          <p:nvSpPr>
            <p:cNvPr id="168" name="Freeform 35">
              <a:extLst>
                <a:ext uri="{FF2B5EF4-FFF2-40B4-BE49-F238E27FC236}">
                  <a16:creationId xmlns:a16="http://schemas.microsoft.com/office/drawing/2014/main" id="{95CCF793-5758-4CDB-B96F-9E437CF1A459}"/>
                </a:ext>
              </a:extLst>
            </p:cNvPr>
            <p:cNvSpPr>
              <a:spLocks/>
            </p:cNvSpPr>
            <p:nvPr/>
          </p:nvSpPr>
          <p:spPr bwMode="auto">
            <a:xfrm>
              <a:off x="2759075" y="1600201"/>
              <a:ext cx="417513" cy="307975"/>
            </a:xfrm>
            <a:custGeom>
              <a:avLst/>
              <a:gdLst/>
              <a:ahLst/>
              <a:cxnLst>
                <a:cxn ang="0">
                  <a:pos x="5" y="115"/>
                </a:cxn>
                <a:cxn ang="0">
                  <a:pos x="0" y="110"/>
                </a:cxn>
                <a:cxn ang="0">
                  <a:pos x="5" y="105"/>
                </a:cxn>
                <a:cxn ang="0">
                  <a:pos x="7" y="105"/>
                </a:cxn>
                <a:cxn ang="0">
                  <a:pos x="7" y="95"/>
                </a:cxn>
                <a:cxn ang="0">
                  <a:pos x="10" y="97"/>
                </a:cxn>
                <a:cxn ang="0">
                  <a:pos x="13" y="99"/>
                </a:cxn>
                <a:cxn ang="0">
                  <a:pos x="13" y="105"/>
                </a:cxn>
                <a:cxn ang="0">
                  <a:pos x="144" y="105"/>
                </a:cxn>
                <a:cxn ang="0">
                  <a:pos x="144" y="10"/>
                </a:cxn>
                <a:cxn ang="0">
                  <a:pos x="13" y="10"/>
                </a:cxn>
                <a:cxn ang="0">
                  <a:pos x="13" y="67"/>
                </a:cxn>
                <a:cxn ang="0">
                  <a:pos x="7" y="61"/>
                </a:cxn>
                <a:cxn ang="0">
                  <a:pos x="7" y="10"/>
                </a:cxn>
                <a:cxn ang="0">
                  <a:pos x="5" y="10"/>
                </a:cxn>
                <a:cxn ang="0">
                  <a:pos x="0" y="5"/>
                </a:cxn>
                <a:cxn ang="0">
                  <a:pos x="5" y="0"/>
                </a:cxn>
                <a:cxn ang="0">
                  <a:pos x="152" y="0"/>
                </a:cxn>
                <a:cxn ang="0">
                  <a:pos x="157" y="5"/>
                </a:cxn>
                <a:cxn ang="0">
                  <a:pos x="152" y="10"/>
                </a:cxn>
                <a:cxn ang="0">
                  <a:pos x="151" y="10"/>
                </a:cxn>
                <a:cxn ang="0">
                  <a:pos x="151" y="105"/>
                </a:cxn>
                <a:cxn ang="0">
                  <a:pos x="152" y="105"/>
                </a:cxn>
                <a:cxn ang="0">
                  <a:pos x="157" y="110"/>
                </a:cxn>
                <a:cxn ang="0">
                  <a:pos x="152" y="115"/>
                </a:cxn>
                <a:cxn ang="0">
                  <a:pos x="5" y="115"/>
                </a:cxn>
              </a:cxnLst>
              <a:rect l="0" t="0" r="r" b="b"/>
              <a:pathLst>
                <a:path w="157" h="115">
                  <a:moveTo>
                    <a:pt x="5" y="115"/>
                  </a:moveTo>
                  <a:cubicBezTo>
                    <a:pt x="2" y="115"/>
                    <a:pt x="0" y="113"/>
                    <a:pt x="0" y="110"/>
                  </a:cubicBezTo>
                  <a:cubicBezTo>
                    <a:pt x="0" y="107"/>
                    <a:pt x="2" y="105"/>
                    <a:pt x="5" y="105"/>
                  </a:cubicBezTo>
                  <a:cubicBezTo>
                    <a:pt x="7" y="105"/>
                    <a:pt x="7" y="105"/>
                    <a:pt x="7" y="105"/>
                  </a:cubicBezTo>
                  <a:cubicBezTo>
                    <a:pt x="7" y="95"/>
                    <a:pt x="7" y="95"/>
                    <a:pt x="7" y="95"/>
                  </a:cubicBezTo>
                  <a:cubicBezTo>
                    <a:pt x="8" y="95"/>
                    <a:pt x="9" y="96"/>
                    <a:pt x="10" y="97"/>
                  </a:cubicBezTo>
                  <a:cubicBezTo>
                    <a:pt x="11" y="98"/>
                    <a:pt x="12" y="99"/>
                    <a:pt x="13" y="99"/>
                  </a:cubicBezTo>
                  <a:cubicBezTo>
                    <a:pt x="13" y="105"/>
                    <a:pt x="13" y="105"/>
                    <a:pt x="13" y="105"/>
                  </a:cubicBezTo>
                  <a:cubicBezTo>
                    <a:pt x="144" y="105"/>
                    <a:pt x="144" y="105"/>
                    <a:pt x="144" y="105"/>
                  </a:cubicBezTo>
                  <a:cubicBezTo>
                    <a:pt x="144" y="10"/>
                    <a:pt x="144" y="10"/>
                    <a:pt x="144" y="10"/>
                  </a:cubicBezTo>
                  <a:cubicBezTo>
                    <a:pt x="13" y="10"/>
                    <a:pt x="13" y="10"/>
                    <a:pt x="13" y="10"/>
                  </a:cubicBezTo>
                  <a:cubicBezTo>
                    <a:pt x="13" y="67"/>
                    <a:pt x="13" y="67"/>
                    <a:pt x="13" y="67"/>
                  </a:cubicBezTo>
                  <a:cubicBezTo>
                    <a:pt x="11" y="65"/>
                    <a:pt x="9" y="63"/>
                    <a:pt x="7" y="61"/>
                  </a:cubicBezTo>
                  <a:cubicBezTo>
                    <a:pt x="7" y="10"/>
                    <a:pt x="7" y="10"/>
                    <a:pt x="7" y="10"/>
                  </a:cubicBezTo>
                  <a:cubicBezTo>
                    <a:pt x="5" y="10"/>
                    <a:pt x="5" y="10"/>
                    <a:pt x="5" y="10"/>
                  </a:cubicBezTo>
                  <a:cubicBezTo>
                    <a:pt x="2" y="10"/>
                    <a:pt x="0" y="8"/>
                    <a:pt x="0" y="5"/>
                  </a:cubicBezTo>
                  <a:cubicBezTo>
                    <a:pt x="0" y="3"/>
                    <a:pt x="2" y="0"/>
                    <a:pt x="5" y="0"/>
                  </a:cubicBezTo>
                  <a:cubicBezTo>
                    <a:pt x="74" y="0"/>
                    <a:pt x="83" y="0"/>
                    <a:pt x="152" y="0"/>
                  </a:cubicBezTo>
                  <a:cubicBezTo>
                    <a:pt x="155" y="0"/>
                    <a:pt x="157" y="3"/>
                    <a:pt x="157" y="5"/>
                  </a:cubicBezTo>
                  <a:cubicBezTo>
                    <a:pt x="157" y="8"/>
                    <a:pt x="155" y="10"/>
                    <a:pt x="152" y="10"/>
                  </a:cubicBezTo>
                  <a:cubicBezTo>
                    <a:pt x="151" y="10"/>
                    <a:pt x="151" y="10"/>
                    <a:pt x="151" y="10"/>
                  </a:cubicBezTo>
                  <a:cubicBezTo>
                    <a:pt x="151" y="105"/>
                    <a:pt x="151" y="105"/>
                    <a:pt x="151" y="105"/>
                  </a:cubicBezTo>
                  <a:cubicBezTo>
                    <a:pt x="152" y="105"/>
                    <a:pt x="152" y="105"/>
                    <a:pt x="152" y="105"/>
                  </a:cubicBezTo>
                  <a:cubicBezTo>
                    <a:pt x="155" y="105"/>
                    <a:pt x="157" y="107"/>
                    <a:pt x="157" y="110"/>
                  </a:cubicBezTo>
                  <a:cubicBezTo>
                    <a:pt x="157" y="113"/>
                    <a:pt x="155" y="115"/>
                    <a:pt x="152" y="115"/>
                  </a:cubicBezTo>
                  <a:cubicBezTo>
                    <a:pt x="12" y="115"/>
                    <a:pt x="83" y="115"/>
                    <a:pt x="5" y="115"/>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69" name="Freeform 36">
              <a:extLst>
                <a:ext uri="{FF2B5EF4-FFF2-40B4-BE49-F238E27FC236}">
                  <a16:creationId xmlns:a16="http://schemas.microsoft.com/office/drawing/2014/main" id="{85850293-9A78-424A-90DD-C7798269069A}"/>
                </a:ext>
              </a:extLst>
            </p:cNvPr>
            <p:cNvSpPr>
              <a:spLocks noEditPoints="1"/>
            </p:cNvSpPr>
            <p:nvPr/>
          </p:nvSpPr>
          <p:spPr bwMode="auto">
            <a:xfrm>
              <a:off x="2501900" y="1603376"/>
              <a:ext cx="419100" cy="357188"/>
            </a:xfrm>
            <a:custGeom>
              <a:avLst/>
              <a:gdLst/>
              <a:ahLst/>
              <a:cxnLst>
                <a:cxn ang="0">
                  <a:pos x="36" y="106"/>
                </a:cxn>
                <a:cxn ang="0">
                  <a:pos x="36" y="88"/>
                </a:cxn>
                <a:cxn ang="0">
                  <a:pos x="36" y="74"/>
                </a:cxn>
                <a:cxn ang="0">
                  <a:pos x="21" y="92"/>
                </a:cxn>
                <a:cxn ang="0">
                  <a:pos x="36" y="106"/>
                </a:cxn>
                <a:cxn ang="0">
                  <a:pos x="52" y="45"/>
                </a:cxn>
                <a:cxn ang="0">
                  <a:pos x="60" y="69"/>
                </a:cxn>
                <a:cxn ang="0">
                  <a:pos x="60" y="54"/>
                </a:cxn>
                <a:cxn ang="0">
                  <a:pos x="62" y="52"/>
                </a:cxn>
                <a:cxn ang="0">
                  <a:pos x="65" y="54"/>
                </a:cxn>
                <a:cxn ang="0">
                  <a:pos x="65" y="69"/>
                </a:cxn>
                <a:cxn ang="0">
                  <a:pos x="71" y="45"/>
                </a:cxn>
                <a:cxn ang="0">
                  <a:pos x="89" y="50"/>
                </a:cxn>
                <a:cxn ang="0">
                  <a:pos x="95" y="58"/>
                </a:cxn>
                <a:cxn ang="0">
                  <a:pos x="114" y="76"/>
                </a:cxn>
                <a:cxn ang="0">
                  <a:pos x="143" y="58"/>
                </a:cxn>
                <a:cxn ang="0">
                  <a:pos x="150" y="56"/>
                </a:cxn>
                <a:cxn ang="0">
                  <a:pos x="152" y="49"/>
                </a:cxn>
                <a:cxn ang="0">
                  <a:pos x="154" y="48"/>
                </a:cxn>
                <a:cxn ang="0">
                  <a:pos x="155" y="50"/>
                </a:cxn>
                <a:cxn ang="0">
                  <a:pos x="152" y="57"/>
                </a:cxn>
                <a:cxn ang="0">
                  <a:pos x="152" y="69"/>
                </a:cxn>
                <a:cxn ang="0">
                  <a:pos x="118" y="93"/>
                </a:cxn>
                <a:cxn ang="0">
                  <a:pos x="108" y="93"/>
                </a:cxn>
                <a:cxn ang="0">
                  <a:pos x="90" y="77"/>
                </a:cxn>
                <a:cxn ang="0">
                  <a:pos x="90" y="89"/>
                </a:cxn>
                <a:cxn ang="0">
                  <a:pos x="88" y="134"/>
                </a:cxn>
                <a:cxn ang="0">
                  <a:pos x="37" y="134"/>
                </a:cxn>
                <a:cxn ang="0">
                  <a:pos x="36" y="125"/>
                </a:cxn>
                <a:cxn ang="0">
                  <a:pos x="4" y="98"/>
                </a:cxn>
                <a:cxn ang="0">
                  <a:pos x="3" y="87"/>
                </a:cxn>
                <a:cxn ang="0">
                  <a:pos x="35" y="51"/>
                </a:cxn>
                <a:cxn ang="0">
                  <a:pos x="40" y="49"/>
                </a:cxn>
                <a:cxn ang="0">
                  <a:pos x="52" y="45"/>
                </a:cxn>
                <a:cxn ang="0">
                  <a:pos x="62" y="0"/>
                </a:cxn>
                <a:cxn ang="0">
                  <a:pos x="78" y="15"/>
                </a:cxn>
                <a:cxn ang="0">
                  <a:pos x="62" y="40"/>
                </a:cxn>
                <a:cxn ang="0">
                  <a:pos x="47" y="15"/>
                </a:cxn>
                <a:cxn ang="0">
                  <a:pos x="62" y="0"/>
                </a:cxn>
              </a:cxnLst>
              <a:rect l="0" t="0" r="r" b="b"/>
              <a:pathLst>
                <a:path w="157" h="134">
                  <a:moveTo>
                    <a:pt x="36" y="106"/>
                  </a:moveTo>
                  <a:cubicBezTo>
                    <a:pt x="36" y="100"/>
                    <a:pt x="36" y="95"/>
                    <a:pt x="36" y="88"/>
                  </a:cubicBezTo>
                  <a:cubicBezTo>
                    <a:pt x="36" y="74"/>
                    <a:pt x="36" y="74"/>
                    <a:pt x="36" y="74"/>
                  </a:cubicBezTo>
                  <a:cubicBezTo>
                    <a:pt x="31" y="80"/>
                    <a:pt x="26" y="86"/>
                    <a:pt x="21" y="92"/>
                  </a:cubicBezTo>
                  <a:cubicBezTo>
                    <a:pt x="26" y="97"/>
                    <a:pt x="31" y="101"/>
                    <a:pt x="36" y="106"/>
                  </a:cubicBezTo>
                  <a:close/>
                  <a:moveTo>
                    <a:pt x="52" y="45"/>
                  </a:moveTo>
                  <a:cubicBezTo>
                    <a:pt x="54" y="51"/>
                    <a:pt x="57" y="63"/>
                    <a:pt x="60" y="69"/>
                  </a:cubicBezTo>
                  <a:cubicBezTo>
                    <a:pt x="60" y="54"/>
                    <a:pt x="60" y="54"/>
                    <a:pt x="60" y="54"/>
                  </a:cubicBezTo>
                  <a:cubicBezTo>
                    <a:pt x="62" y="52"/>
                    <a:pt x="62" y="52"/>
                    <a:pt x="62" y="52"/>
                  </a:cubicBezTo>
                  <a:cubicBezTo>
                    <a:pt x="65" y="54"/>
                    <a:pt x="65" y="54"/>
                    <a:pt x="65" y="54"/>
                  </a:cubicBezTo>
                  <a:cubicBezTo>
                    <a:pt x="65" y="69"/>
                    <a:pt x="65" y="69"/>
                    <a:pt x="65" y="69"/>
                  </a:cubicBezTo>
                  <a:cubicBezTo>
                    <a:pt x="67" y="62"/>
                    <a:pt x="70" y="51"/>
                    <a:pt x="71" y="45"/>
                  </a:cubicBezTo>
                  <a:cubicBezTo>
                    <a:pt x="76" y="46"/>
                    <a:pt x="84" y="48"/>
                    <a:pt x="89" y="50"/>
                  </a:cubicBezTo>
                  <a:cubicBezTo>
                    <a:pt x="92" y="52"/>
                    <a:pt x="93" y="55"/>
                    <a:pt x="95" y="58"/>
                  </a:cubicBezTo>
                  <a:cubicBezTo>
                    <a:pt x="101" y="64"/>
                    <a:pt x="107" y="70"/>
                    <a:pt x="114" y="76"/>
                  </a:cubicBezTo>
                  <a:cubicBezTo>
                    <a:pt x="126" y="70"/>
                    <a:pt x="134" y="64"/>
                    <a:pt x="143" y="58"/>
                  </a:cubicBezTo>
                  <a:cubicBezTo>
                    <a:pt x="146" y="56"/>
                    <a:pt x="148" y="55"/>
                    <a:pt x="150" y="56"/>
                  </a:cubicBezTo>
                  <a:cubicBezTo>
                    <a:pt x="152" y="49"/>
                    <a:pt x="152" y="49"/>
                    <a:pt x="152" y="49"/>
                  </a:cubicBezTo>
                  <a:cubicBezTo>
                    <a:pt x="152" y="48"/>
                    <a:pt x="153" y="48"/>
                    <a:pt x="154" y="48"/>
                  </a:cubicBezTo>
                  <a:cubicBezTo>
                    <a:pt x="154" y="48"/>
                    <a:pt x="155" y="49"/>
                    <a:pt x="155" y="50"/>
                  </a:cubicBezTo>
                  <a:cubicBezTo>
                    <a:pt x="152" y="57"/>
                    <a:pt x="152" y="57"/>
                    <a:pt x="152" y="57"/>
                  </a:cubicBezTo>
                  <a:cubicBezTo>
                    <a:pt x="156" y="59"/>
                    <a:pt x="157" y="65"/>
                    <a:pt x="152" y="69"/>
                  </a:cubicBezTo>
                  <a:cubicBezTo>
                    <a:pt x="139" y="79"/>
                    <a:pt x="132" y="85"/>
                    <a:pt x="118" y="93"/>
                  </a:cubicBezTo>
                  <a:cubicBezTo>
                    <a:pt x="115" y="95"/>
                    <a:pt x="111" y="95"/>
                    <a:pt x="108" y="93"/>
                  </a:cubicBezTo>
                  <a:cubicBezTo>
                    <a:pt x="102" y="88"/>
                    <a:pt x="96" y="83"/>
                    <a:pt x="90" y="77"/>
                  </a:cubicBezTo>
                  <a:cubicBezTo>
                    <a:pt x="89" y="81"/>
                    <a:pt x="90" y="86"/>
                    <a:pt x="90" y="89"/>
                  </a:cubicBezTo>
                  <a:cubicBezTo>
                    <a:pt x="89" y="105"/>
                    <a:pt x="89" y="120"/>
                    <a:pt x="88" y="134"/>
                  </a:cubicBezTo>
                  <a:cubicBezTo>
                    <a:pt x="37" y="134"/>
                    <a:pt x="37" y="134"/>
                    <a:pt x="37" y="134"/>
                  </a:cubicBezTo>
                  <a:cubicBezTo>
                    <a:pt x="36" y="125"/>
                    <a:pt x="36" y="125"/>
                    <a:pt x="36" y="125"/>
                  </a:cubicBezTo>
                  <a:cubicBezTo>
                    <a:pt x="26" y="118"/>
                    <a:pt x="12" y="107"/>
                    <a:pt x="4" y="98"/>
                  </a:cubicBezTo>
                  <a:cubicBezTo>
                    <a:pt x="1" y="95"/>
                    <a:pt x="0" y="90"/>
                    <a:pt x="3" y="87"/>
                  </a:cubicBezTo>
                  <a:cubicBezTo>
                    <a:pt x="12" y="75"/>
                    <a:pt x="23" y="63"/>
                    <a:pt x="35" y="51"/>
                  </a:cubicBezTo>
                  <a:cubicBezTo>
                    <a:pt x="36" y="50"/>
                    <a:pt x="37" y="50"/>
                    <a:pt x="40" y="49"/>
                  </a:cubicBezTo>
                  <a:cubicBezTo>
                    <a:pt x="44" y="48"/>
                    <a:pt x="48" y="46"/>
                    <a:pt x="52" y="45"/>
                  </a:cubicBezTo>
                  <a:close/>
                  <a:moveTo>
                    <a:pt x="62" y="0"/>
                  </a:moveTo>
                  <a:cubicBezTo>
                    <a:pt x="71" y="0"/>
                    <a:pt x="78" y="7"/>
                    <a:pt x="78" y="15"/>
                  </a:cubicBezTo>
                  <a:cubicBezTo>
                    <a:pt x="78" y="23"/>
                    <a:pt x="72" y="40"/>
                    <a:pt x="62" y="40"/>
                  </a:cubicBezTo>
                  <a:cubicBezTo>
                    <a:pt x="53" y="40"/>
                    <a:pt x="47" y="23"/>
                    <a:pt x="47" y="15"/>
                  </a:cubicBezTo>
                  <a:cubicBezTo>
                    <a:pt x="47" y="7"/>
                    <a:pt x="54" y="0"/>
                    <a:pt x="62" y="0"/>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70" name="Freeform 37">
              <a:extLst>
                <a:ext uri="{FF2B5EF4-FFF2-40B4-BE49-F238E27FC236}">
                  <a16:creationId xmlns:a16="http://schemas.microsoft.com/office/drawing/2014/main" id="{D71172DB-BDBD-4449-BB20-8878671E250D}"/>
                </a:ext>
              </a:extLst>
            </p:cNvPr>
            <p:cNvSpPr>
              <a:spLocks noEditPoints="1"/>
            </p:cNvSpPr>
            <p:nvPr/>
          </p:nvSpPr>
          <p:spPr bwMode="auto">
            <a:xfrm>
              <a:off x="3006725" y="2000251"/>
              <a:ext cx="168275" cy="257175"/>
            </a:xfrm>
            <a:custGeom>
              <a:avLst/>
              <a:gdLst/>
              <a:ahLst/>
              <a:cxnLst>
                <a:cxn ang="0">
                  <a:pos x="25" y="38"/>
                </a:cxn>
                <a:cxn ang="0">
                  <a:pos x="32" y="38"/>
                </a:cxn>
                <a:cxn ang="0">
                  <a:pos x="39" y="38"/>
                </a:cxn>
                <a:cxn ang="0">
                  <a:pos x="48" y="17"/>
                </a:cxn>
                <a:cxn ang="0">
                  <a:pos x="32" y="0"/>
                </a:cxn>
                <a:cxn ang="0">
                  <a:pos x="15" y="17"/>
                </a:cxn>
                <a:cxn ang="0">
                  <a:pos x="25" y="38"/>
                </a:cxn>
                <a:cxn ang="0">
                  <a:pos x="46" y="44"/>
                </a:cxn>
                <a:cxn ang="0">
                  <a:pos x="58" y="51"/>
                </a:cxn>
                <a:cxn ang="0">
                  <a:pos x="63" y="96"/>
                </a:cxn>
                <a:cxn ang="0">
                  <a:pos x="0" y="96"/>
                </a:cxn>
                <a:cxn ang="0">
                  <a:pos x="5" y="51"/>
                </a:cxn>
                <a:cxn ang="0">
                  <a:pos x="18" y="44"/>
                </a:cxn>
                <a:cxn ang="0">
                  <a:pos x="32" y="41"/>
                </a:cxn>
                <a:cxn ang="0">
                  <a:pos x="46" y="44"/>
                </a:cxn>
              </a:cxnLst>
              <a:rect l="0" t="0" r="r" b="b"/>
              <a:pathLst>
                <a:path w="63" h="96">
                  <a:moveTo>
                    <a:pt x="25" y="38"/>
                  </a:moveTo>
                  <a:cubicBezTo>
                    <a:pt x="27" y="38"/>
                    <a:pt x="30" y="38"/>
                    <a:pt x="32" y="38"/>
                  </a:cubicBezTo>
                  <a:cubicBezTo>
                    <a:pt x="33" y="38"/>
                    <a:pt x="36" y="38"/>
                    <a:pt x="39" y="38"/>
                  </a:cubicBezTo>
                  <a:cubicBezTo>
                    <a:pt x="41" y="37"/>
                    <a:pt x="48" y="29"/>
                    <a:pt x="48" y="17"/>
                  </a:cubicBezTo>
                  <a:cubicBezTo>
                    <a:pt x="48" y="8"/>
                    <a:pt x="41" y="0"/>
                    <a:pt x="32" y="0"/>
                  </a:cubicBezTo>
                  <a:cubicBezTo>
                    <a:pt x="22" y="0"/>
                    <a:pt x="15" y="8"/>
                    <a:pt x="15" y="17"/>
                  </a:cubicBezTo>
                  <a:cubicBezTo>
                    <a:pt x="15" y="29"/>
                    <a:pt x="22" y="37"/>
                    <a:pt x="25" y="38"/>
                  </a:cubicBezTo>
                  <a:close/>
                  <a:moveTo>
                    <a:pt x="46" y="44"/>
                  </a:moveTo>
                  <a:cubicBezTo>
                    <a:pt x="51" y="46"/>
                    <a:pt x="57" y="48"/>
                    <a:pt x="58" y="51"/>
                  </a:cubicBezTo>
                  <a:cubicBezTo>
                    <a:pt x="61" y="60"/>
                    <a:pt x="63" y="87"/>
                    <a:pt x="63" y="96"/>
                  </a:cubicBezTo>
                  <a:cubicBezTo>
                    <a:pt x="43" y="96"/>
                    <a:pt x="20" y="96"/>
                    <a:pt x="0" y="96"/>
                  </a:cubicBezTo>
                  <a:cubicBezTo>
                    <a:pt x="0" y="87"/>
                    <a:pt x="2" y="60"/>
                    <a:pt x="5" y="51"/>
                  </a:cubicBezTo>
                  <a:cubicBezTo>
                    <a:pt x="6" y="48"/>
                    <a:pt x="13" y="46"/>
                    <a:pt x="18" y="44"/>
                  </a:cubicBezTo>
                  <a:cubicBezTo>
                    <a:pt x="17" y="43"/>
                    <a:pt x="22" y="41"/>
                    <a:pt x="32" y="41"/>
                  </a:cubicBezTo>
                  <a:cubicBezTo>
                    <a:pt x="41" y="41"/>
                    <a:pt x="46" y="43"/>
                    <a:pt x="46"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71" name="Freeform 38">
              <a:extLst>
                <a:ext uri="{FF2B5EF4-FFF2-40B4-BE49-F238E27FC236}">
                  <a16:creationId xmlns:a16="http://schemas.microsoft.com/office/drawing/2014/main" id="{8AA61FB5-F662-4CBD-8F4C-76CFA2F46546}"/>
                </a:ext>
              </a:extLst>
            </p:cNvPr>
            <p:cNvSpPr>
              <a:spLocks noEditPoints="1"/>
            </p:cNvSpPr>
            <p:nvPr/>
          </p:nvSpPr>
          <p:spPr bwMode="auto">
            <a:xfrm>
              <a:off x="2509838" y="2000251"/>
              <a:ext cx="168275" cy="257175"/>
            </a:xfrm>
            <a:custGeom>
              <a:avLst/>
              <a:gdLst/>
              <a:ahLst/>
              <a:cxnLst>
                <a:cxn ang="0">
                  <a:pos x="24" y="38"/>
                </a:cxn>
                <a:cxn ang="0">
                  <a:pos x="31" y="38"/>
                </a:cxn>
                <a:cxn ang="0">
                  <a:pos x="38" y="38"/>
                </a:cxn>
                <a:cxn ang="0">
                  <a:pos x="48" y="17"/>
                </a:cxn>
                <a:cxn ang="0">
                  <a:pos x="31" y="0"/>
                </a:cxn>
                <a:cxn ang="0">
                  <a:pos x="15" y="17"/>
                </a:cxn>
                <a:cxn ang="0">
                  <a:pos x="24" y="38"/>
                </a:cxn>
                <a:cxn ang="0">
                  <a:pos x="45" y="44"/>
                </a:cxn>
                <a:cxn ang="0">
                  <a:pos x="57" y="51"/>
                </a:cxn>
                <a:cxn ang="0">
                  <a:pos x="63" y="96"/>
                </a:cxn>
                <a:cxn ang="0">
                  <a:pos x="0" y="96"/>
                </a:cxn>
                <a:cxn ang="0">
                  <a:pos x="5" y="51"/>
                </a:cxn>
                <a:cxn ang="0">
                  <a:pos x="17" y="44"/>
                </a:cxn>
                <a:cxn ang="0">
                  <a:pos x="31" y="41"/>
                </a:cxn>
                <a:cxn ang="0">
                  <a:pos x="45" y="44"/>
                </a:cxn>
              </a:cxnLst>
              <a:rect l="0" t="0" r="r" b="b"/>
              <a:pathLst>
                <a:path w="63" h="96">
                  <a:moveTo>
                    <a:pt x="24" y="38"/>
                  </a:moveTo>
                  <a:cubicBezTo>
                    <a:pt x="27" y="38"/>
                    <a:pt x="30" y="38"/>
                    <a:pt x="31" y="38"/>
                  </a:cubicBezTo>
                  <a:cubicBezTo>
                    <a:pt x="33" y="38"/>
                    <a:pt x="35" y="38"/>
                    <a:pt x="38" y="38"/>
                  </a:cubicBezTo>
                  <a:cubicBezTo>
                    <a:pt x="41" y="37"/>
                    <a:pt x="48" y="29"/>
                    <a:pt x="48" y="17"/>
                  </a:cubicBezTo>
                  <a:cubicBezTo>
                    <a:pt x="48" y="8"/>
                    <a:pt x="40" y="0"/>
                    <a:pt x="31" y="0"/>
                  </a:cubicBezTo>
                  <a:cubicBezTo>
                    <a:pt x="22" y="0"/>
                    <a:pt x="15" y="8"/>
                    <a:pt x="15" y="17"/>
                  </a:cubicBezTo>
                  <a:cubicBezTo>
                    <a:pt x="15" y="29"/>
                    <a:pt x="22" y="37"/>
                    <a:pt x="24" y="38"/>
                  </a:cubicBezTo>
                  <a:close/>
                  <a:moveTo>
                    <a:pt x="45" y="44"/>
                  </a:moveTo>
                  <a:cubicBezTo>
                    <a:pt x="50" y="46"/>
                    <a:pt x="57" y="48"/>
                    <a:pt x="57" y="51"/>
                  </a:cubicBezTo>
                  <a:cubicBezTo>
                    <a:pt x="60" y="60"/>
                    <a:pt x="63" y="87"/>
                    <a:pt x="63" y="96"/>
                  </a:cubicBezTo>
                  <a:cubicBezTo>
                    <a:pt x="42" y="96"/>
                    <a:pt x="20" y="96"/>
                    <a:pt x="0" y="96"/>
                  </a:cubicBezTo>
                  <a:cubicBezTo>
                    <a:pt x="0" y="87"/>
                    <a:pt x="2" y="60"/>
                    <a:pt x="5" y="51"/>
                  </a:cubicBezTo>
                  <a:cubicBezTo>
                    <a:pt x="6" y="48"/>
                    <a:pt x="12" y="46"/>
                    <a:pt x="17" y="44"/>
                  </a:cubicBezTo>
                  <a:cubicBezTo>
                    <a:pt x="16" y="43"/>
                    <a:pt x="21" y="41"/>
                    <a:pt x="31" y="41"/>
                  </a:cubicBezTo>
                  <a:cubicBezTo>
                    <a:pt x="41" y="41"/>
                    <a:pt x="46" y="43"/>
                    <a:pt x="45"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72" name="Freeform 39">
              <a:extLst>
                <a:ext uri="{FF2B5EF4-FFF2-40B4-BE49-F238E27FC236}">
                  <a16:creationId xmlns:a16="http://schemas.microsoft.com/office/drawing/2014/main" id="{F17C9C56-7B49-4958-8260-391ECC277202}"/>
                </a:ext>
              </a:extLst>
            </p:cNvPr>
            <p:cNvSpPr>
              <a:spLocks noEditPoints="1"/>
            </p:cNvSpPr>
            <p:nvPr/>
          </p:nvSpPr>
          <p:spPr bwMode="auto">
            <a:xfrm>
              <a:off x="2674938" y="2000251"/>
              <a:ext cx="168275" cy="257175"/>
            </a:xfrm>
            <a:custGeom>
              <a:avLst/>
              <a:gdLst/>
              <a:ahLst/>
              <a:cxnLst>
                <a:cxn ang="0">
                  <a:pos x="24" y="38"/>
                </a:cxn>
                <a:cxn ang="0">
                  <a:pos x="31" y="38"/>
                </a:cxn>
                <a:cxn ang="0">
                  <a:pos x="38" y="38"/>
                </a:cxn>
                <a:cxn ang="0">
                  <a:pos x="48" y="17"/>
                </a:cxn>
                <a:cxn ang="0">
                  <a:pos x="31" y="0"/>
                </a:cxn>
                <a:cxn ang="0">
                  <a:pos x="15" y="17"/>
                </a:cxn>
                <a:cxn ang="0">
                  <a:pos x="24" y="38"/>
                </a:cxn>
                <a:cxn ang="0">
                  <a:pos x="45" y="44"/>
                </a:cxn>
                <a:cxn ang="0">
                  <a:pos x="57" y="51"/>
                </a:cxn>
                <a:cxn ang="0">
                  <a:pos x="63" y="96"/>
                </a:cxn>
                <a:cxn ang="0">
                  <a:pos x="0" y="96"/>
                </a:cxn>
                <a:cxn ang="0">
                  <a:pos x="5" y="51"/>
                </a:cxn>
                <a:cxn ang="0">
                  <a:pos x="17" y="44"/>
                </a:cxn>
                <a:cxn ang="0">
                  <a:pos x="31" y="41"/>
                </a:cxn>
                <a:cxn ang="0">
                  <a:pos x="45" y="44"/>
                </a:cxn>
              </a:cxnLst>
              <a:rect l="0" t="0" r="r" b="b"/>
              <a:pathLst>
                <a:path w="63" h="96">
                  <a:moveTo>
                    <a:pt x="24" y="38"/>
                  </a:moveTo>
                  <a:cubicBezTo>
                    <a:pt x="27" y="38"/>
                    <a:pt x="30" y="38"/>
                    <a:pt x="31" y="38"/>
                  </a:cubicBezTo>
                  <a:cubicBezTo>
                    <a:pt x="33" y="38"/>
                    <a:pt x="36" y="38"/>
                    <a:pt x="38" y="38"/>
                  </a:cubicBezTo>
                  <a:cubicBezTo>
                    <a:pt x="41" y="37"/>
                    <a:pt x="48" y="29"/>
                    <a:pt x="48" y="17"/>
                  </a:cubicBezTo>
                  <a:cubicBezTo>
                    <a:pt x="48" y="8"/>
                    <a:pt x="40" y="0"/>
                    <a:pt x="31" y="0"/>
                  </a:cubicBezTo>
                  <a:cubicBezTo>
                    <a:pt x="22" y="0"/>
                    <a:pt x="15" y="8"/>
                    <a:pt x="15" y="17"/>
                  </a:cubicBezTo>
                  <a:cubicBezTo>
                    <a:pt x="15" y="29"/>
                    <a:pt x="22" y="37"/>
                    <a:pt x="24" y="38"/>
                  </a:cubicBezTo>
                  <a:close/>
                  <a:moveTo>
                    <a:pt x="45" y="44"/>
                  </a:moveTo>
                  <a:cubicBezTo>
                    <a:pt x="50" y="46"/>
                    <a:pt x="57" y="48"/>
                    <a:pt x="57" y="51"/>
                  </a:cubicBezTo>
                  <a:cubicBezTo>
                    <a:pt x="60" y="60"/>
                    <a:pt x="63" y="87"/>
                    <a:pt x="63" y="96"/>
                  </a:cubicBezTo>
                  <a:cubicBezTo>
                    <a:pt x="43" y="96"/>
                    <a:pt x="20" y="96"/>
                    <a:pt x="0" y="96"/>
                  </a:cubicBezTo>
                  <a:cubicBezTo>
                    <a:pt x="0" y="87"/>
                    <a:pt x="2" y="60"/>
                    <a:pt x="5" y="51"/>
                  </a:cubicBezTo>
                  <a:cubicBezTo>
                    <a:pt x="6" y="48"/>
                    <a:pt x="12" y="46"/>
                    <a:pt x="17" y="44"/>
                  </a:cubicBezTo>
                  <a:cubicBezTo>
                    <a:pt x="16" y="43"/>
                    <a:pt x="21" y="41"/>
                    <a:pt x="31" y="41"/>
                  </a:cubicBezTo>
                  <a:cubicBezTo>
                    <a:pt x="41" y="41"/>
                    <a:pt x="46" y="43"/>
                    <a:pt x="45"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73" name="Freeform 40">
              <a:extLst>
                <a:ext uri="{FF2B5EF4-FFF2-40B4-BE49-F238E27FC236}">
                  <a16:creationId xmlns:a16="http://schemas.microsoft.com/office/drawing/2014/main" id="{124F72DD-2213-4268-90A9-B07DAFACE5AA}"/>
                </a:ext>
              </a:extLst>
            </p:cNvPr>
            <p:cNvSpPr>
              <a:spLocks noEditPoints="1"/>
            </p:cNvSpPr>
            <p:nvPr/>
          </p:nvSpPr>
          <p:spPr bwMode="auto">
            <a:xfrm>
              <a:off x="2841625" y="2000251"/>
              <a:ext cx="166688" cy="257175"/>
            </a:xfrm>
            <a:custGeom>
              <a:avLst/>
              <a:gdLst/>
              <a:ahLst/>
              <a:cxnLst>
                <a:cxn ang="0">
                  <a:pos x="24" y="38"/>
                </a:cxn>
                <a:cxn ang="0">
                  <a:pos x="31" y="38"/>
                </a:cxn>
                <a:cxn ang="0">
                  <a:pos x="39" y="38"/>
                </a:cxn>
                <a:cxn ang="0">
                  <a:pos x="48" y="17"/>
                </a:cxn>
                <a:cxn ang="0">
                  <a:pos x="31" y="0"/>
                </a:cxn>
                <a:cxn ang="0">
                  <a:pos x="15" y="17"/>
                </a:cxn>
                <a:cxn ang="0">
                  <a:pos x="24" y="38"/>
                </a:cxn>
                <a:cxn ang="0">
                  <a:pos x="45" y="44"/>
                </a:cxn>
                <a:cxn ang="0">
                  <a:pos x="58" y="51"/>
                </a:cxn>
                <a:cxn ang="0">
                  <a:pos x="63" y="96"/>
                </a:cxn>
                <a:cxn ang="0">
                  <a:pos x="0" y="96"/>
                </a:cxn>
                <a:cxn ang="0">
                  <a:pos x="5" y="51"/>
                </a:cxn>
                <a:cxn ang="0">
                  <a:pos x="17" y="44"/>
                </a:cxn>
                <a:cxn ang="0">
                  <a:pos x="31" y="41"/>
                </a:cxn>
                <a:cxn ang="0">
                  <a:pos x="45" y="44"/>
                </a:cxn>
              </a:cxnLst>
              <a:rect l="0" t="0" r="r" b="b"/>
              <a:pathLst>
                <a:path w="63" h="96">
                  <a:moveTo>
                    <a:pt x="24" y="38"/>
                  </a:moveTo>
                  <a:cubicBezTo>
                    <a:pt x="27" y="38"/>
                    <a:pt x="30" y="38"/>
                    <a:pt x="31" y="38"/>
                  </a:cubicBezTo>
                  <a:cubicBezTo>
                    <a:pt x="33" y="38"/>
                    <a:pt x="36" y="38"/>
                    <a:pt x="39" y="38"/>
                  </a:cubicBezTo>
                  <a:cubicBezTo>
                    <a:pt x="41" y="37"/>
                    <a:pt x="48" y="29"/>
                    <a:pt x="48" y="17"/>
                  </a:cubicBezTo>
                  <a:cubicBezTo>
                    <a:pt x="48" y="8"/>
                    <a:pt x="41" y="0"/>
                    <a:pt x="31" y="0"/>
                  </a:cubicBezTo>
                  <a:cubicBezTo>
                    <a:pt x="22" y="0"/>
                    <a:pt x="15" y="8"/>
                    <a:pt x="15" y="17"/>
                  </a:cubicBezTo>
                  <a:cubicBezTo>
                    <a:pt x="15" y="29"/>
                    <a:pt x="22" y="37"/>
                    <a:pt x="24" y="38"/>
                  </a:cubicBezTo>
                  <a:close/>
                  <a:moveTo>
                    <a:pt x="45" y="44"/>
                  </a:moveTo>
                  <a:cubicBezTo>
                    <a:pt x="50" y="46"/>
                    <a:pt x="57" y="48"/>
                    <a:pt x="58" y="51"/>
                  </a:cubicBezTo>
                  <a:cubicBezTo>
                    <a:pt x="61" y="60"/>
                    <a:pt x="63" y="87"/>
                    <a:pt x="63" y="96"/>
                  </a:cubicBezTo>
                  <a:cubicBezTo>
                    <a:pt x="43" y="96"/>
                    <a:pt x="20" y="96"/>
                    <a:pt x="0" y="96"/>
                  </a:cubicBezTo>
                  <a:cubicBezTo>
                    <a:pt x="0" y="87"/>
                    <a:pt x="2" y="60"/>
                    <a:pt x="5" y="51"/>
                  </a:cubicBezTo>
                  <a:cubicBezTo>
                    <a:pt x="6" y="48"/>
                    <a:pt x="12" y="46"/>
                    <a:pt x="17" y="44"/>
                  </a:cubicBezTo>
                  <a:cubicBezTo>
                    <a:pt x="17" y="43"/>
                    <a:pt x="22" y="41"/>
                    <a:pt x="31" y="41"/>
                  </a:cubicBezTo>
                  <a:cubicBezTo>
                    <a:pt x="41" y="41"/>
                    <a:pt x="46" y="43"/>
                    <a:pt x="45" y="4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sp>
          <p:nvSpPr>
            <p:cNvPr id="174" name="Freeform 41">
              <a:extLst>
                <a:ext uri="{FF2B5EF4-FFF2-40B4-BE49-F238E27FC236}">
                  <a16:creationId xmlns:a16="http://schemas.microsoft.com/office/drawing/2014/main" id="{49C7C0E4-3ECE-44A9-AB47-1D1298D91386}"/>
                </a:ext>
              </a:extLst>
            </p:cNvPr>
            <p:cNvSpPr>
              <a:spLocks noEditPoints="1"/>
            </p:cNvSpPr>
            <p:nvPr/>
          </p:nvSpPr>
          <p:spPr bwMode="auto">
            <a:xfrm>
              <a:off x="2889250" y="1677988"/>
              <a:ext cx="228600" cy="184150"/>
            </a:xfrm>
            <a:custGeom>
              <a:avLst/>
              <a:gdLst/>
              <a:ahLst/>
              <a:cxnLst>
                <a:cxn ang="0">
                  <a:pos x="59" y="39"/>
                </a:cxn>
                <a:cxn ang="0">
                  <a:pos x="60" y="38"/>
                </a:cxn>
                <a:cxn ang="0">
                  <a:pos x="59" y="36"/>
                </a:cxn>
                <a:cxn ang="0">
                  <a:pos x="56" y="36"/>
                </a:cxn>
                <a:cxn ang="0">
                  <a:pos x="55" y="38"/>
                </a:cxn>
                <a:cxn ang="0">
                  <a:pos x="58" y="40"/>
                </a:cxn>
                <a:cxn ang="0">
                  <a:pos x="85" y="9"/>
                </a:cxn>
                <a:cxn ang="0">
                  <a:pos x="85" y="9"/>
                </a:cxn>
                <a:cxn ang="0">
                  <a:pos x="85" y="9"/>
                </a:cxn>
                <a:cxn ang="0">
                  <a:pos x="85" y="9"/>
                </a:cxn>
                <a:cxn ang="0">
                  <a:pos x="86" y="9"/>
                </a:cxn>
                <a:cxn ang="0">
                  <a:pos x="86" y="9"/>
                </a:cxn>
                <a:cxn ang="0">
                  <a:pos x="86" y="9"/>
                </a:cxn>
                <a:cxn ang="0">
                  <a:pos x="86" y="9"/>
                </a:cxn>
                <a:cxn ang="0">
                  <a:pos x="86" y="9"/>
                </a:cxn>
                <a:cxn ang="0">
                  <a:pos x="86" y="9"/>
                </a:cxn>
                <a:cxn ang="0">
                  <a:pos x="86" y="9"/>
                </a:cxn>
                <a:cxn ang="0">
                  <a:pos x="86" y="8"/>
                </a:cxn>
                <a:cxn ang="0">
                  <a:pos x="86" y="8"/>
                </a:cxn>
                <a:cxn ang="0">
                  <a:pos x="86" y="8"/>
                </a:cxn>
                <a:cxn ang="0">
                  <a:pos x="86" y="8"/>
                </a:cxn>
                <a:cxn ang="0">
                  <a:pos x="86" y="8"/>
                </a:cxn>
                <a:cxn ang="0">
                  <a:pos x="71" y="8"/>
                </a:cxn>
                <a:cxn ang="0">
                  <a:pos x="60" y="31"/>
                </a:cxn>
                <a:cxn ang="0">
                  <a:pos x="53" y="33"/>
                </a:cxn>
                <a:cxn ang="0">
                  <a:pos x="53" y="33"/>
                </a:cxn>
                <a:cxn ang="0">
                  <a:pos x="40" y="31"/>
                </a:cxn>
                <a:cxn ang="0">
                  <a:pos x="38" y="27"/>
                </a:cxn>
                <a:cxn ang="0">
                  <a:pos x="28" y="27"/>
                </a:cxn>
                <a:cxn ang="0">
                  <a:pos x="26" y="32"/>
                </a:cxn>
                <a:cxn ang="0">
                  <a:pos x="9" y="55"/>
                </a:cxn>
                <a:cxn ang="0">
                  <a:pos x="2" y="57"/>
                </a:cxn>
                <a:cxn ang="0">
                  <a:pos x="2" y="57"/>
                </a:cxn>
                <a:cxn ang="0">
                  <a:pos x="2" y="67"/>
                </a:cxn>
                <a:cxn ang="0">
                  <a:pos x="7" y="69"/>
                </a:cxn>
                <a:cxn ang="0">
                  <a:pos x="12" y="67"/>
                </a:cxn>
                <a:cxn ang="0">
                  <a:pos x="13" y="58"/>
                </a:cxn>
                <a:cxn ang="0">
                  <a:pos x="33" y="39"/>
                </a:cxn>
                <a:cxn ang="0">
                  <a:pos x="38" y="37"/>
                </a:cxn>
                <a:cxn ang="0">
                  <a:pos x="39" y="35"/>
                </a:cxn>
                <a:cxn ang="0">
                  <a:pos x="53" y="42"/>
                </a:cxn>
                <a:cxn ang="0">
                  <a:pos x="62" y="42"/>
                </a:cxn>
                <a:cxn ang="0">
                  <a:pos x="65" y="38"/>
                </a:cxn>
                <a:cxn ang="0">
                  <a:pos x="77" y="14"/>
                </a:cxn>
                <a:cxn ang="0">
                  <a:pos x="33" y="34"/>
                </a:cxn>
                <a:cxn ang="0">
                  <a:pos x="35" y="34"/>
                </a:cxn>
                <a:cxn ang="0">
                  <a:pos x="35" y="30"/>
                </a:cxn>
                <a:cxn ang="0">
                  <a:pos x="31" y="30"/>
                </a:cxn>
                <a:cxn ang="0">
                  <a:pos x="31" y="30"/>
                </a:cxn>
                <a:cxn ang="0">
                  <a:pos x="31" y="34"/>
                </a:cxn>
                <a:cxn ang="0">
                  <a:pos x="33" y="34"/>
                </a:cxn>
                <a:cxn ang="0">
                  <a:pos x="9" y="63"/>
                </a:cxn>
                <a:cxn ang="0">
                  <a:pos x="9" y="62"/>
                </a:cxn>
                <a:cxn ang="0">
                  <a:pos x="7" y="59"/>
                </a:cxn>
                <a:cxn ang="0">
                  <a:pos x="5" y="60"/>
                </a:cxn>
                <a:cxn ang="0">
                  <a:pos x="5" y="63"/>
                </a:cxn>
                <a:cxn ang="0">
                  <a:pos x="7" y="64"/>
                </a:cxn>
              </a:cxnLst>
              <a:rect l="0" t="0" r="r" b="b"/>
              <a:pathLst>
                <a:path w="86" h="69">
                  <a:moveTo>
                    <a:pt x="58" y="40"/>
                  </a:moveTo>
                  <a:cubicBezTo>
                    <a:pt x="58" y="40"/>
                    <a:pt x="59" y="40"/>
                    <a:pt x="59" y="39"/>
                  </a:cubicBezTo>
                  <a:cubicBezTo>
                    <a:pt x="59" y="39"/>
                    <a:pt x="59" y="39"/>
                    <a:pt x="59" y="39"/>
                  </a:cubicBezTo>
                  <a:cubicBezTo>
                    <a:pt x="60" y="39"/>
                    <a:pt x="60" y="38"/>
                    <a:pt x="60" y="38"/>
                  </a:cubicBezTo>
                  <a:cubicBezTo>
                    <a:pt x="60" y="37"/>
                    <a:pt x="60" y="36"/>
                    <a:pt x="59" y="36"/>
                  </a:cubicBezTo>
                  <a:cubicBezTo>
                    <a:pt x="59" y="36"/>
                    <a:pt x="59" y="36"/>
                    <a:pt x="59" y="36"/>
                  </a:cubicBezTo>
                  <a:cubicBezTo>
                    <a:pt x="59" y="35"/>
                    <a:pt x="58" y="35"/>
                    <a:pt x="58" y="35"/>
                  </a:cubicBezTo>
                  <a:cubicBezTo>
                    <a:pt x="57" y="35"/>
                    <a:pt x="56" y="35"/>
                    <a:pt x="56" y="36"/>
                  </a:cubicBezTo>
                  <a:cubicBezTo>
                    <a:pt x="56" y="36"/>
                    <a:pt x="56" y="36"/>
                    <a:pt x="56" y="36"/>
                  </a:cubicBezTo>
                  <a:cubicBezTo>
                    <a:pt x="55" y="36"/>
                    <a:pt x="55" y="37"/>
                    <a:pt x="55" y="38"/>
                  </a:cubicBezTo>
                  <a:cubicBezTo>
                    <a:pt x="55" y="38"/>
                    <a:pt x="55" y="39"/>
                    <a:pt x="56" y="39"/>
                  </a:cubicBezTo>
                  <a:cubicBezTo>
                    <a:pt x="56" y="40"/>
                    <a:pt x="57" y="40"/>
                    <a:pt x="58" y="40"/>
                  </a:cubicBezTo>
                  <a:close/>
                  <a:moveTo>
                    <a:pt x="78" y="15"/>
                  </a:moveTo>
                  <a:cubicBezTo>
                    <a:pt x="82" y="15"/>
                    <a:pt x="85" y="12"/>
                    <a:pt x="85" y="9"/>
                  </a:cubicBezTo>
                  <a:cubicBezTo>
                    <a:pt x="85" y="9"/>
                    <a:pt x="85" y="9"/>
                    <a:pt x="85" y="9"/>
                  </a:cubicBezTo>
                  <a:cubicBezTo>
                    <a:pt x="85" y="9"/>
                    <a:pt x="85" y="9"/>
                    <a:pt x="85" y="9"/>
                  </a:cubicBezTo>
                  <a:cubicBezTo>
                    <a:pt x="85" y="9"/>
                    <a:pt x="85" y="9"/>
                    <a:pt x="85" y="9"/>
                  </a:cubicBezTo>
                  <a:cubicBezTo>
                    <a:pt x="85" y="9"/>
                    <a:pt x="85" y="9"/>
                    <a:pt x="85" y="9"/>
                  </a:cubicBezTo>
                  <a:cubicBezTo>
                    <a:pt x="85" y="9"/>
                    <a:pt x="85" y="9"/>
                    <a:pt x="85" y="9"/>
                  </a:cubicBezTo>
                  <a:cubicBezTo>
                    <a:pt x="85" y="9"/>
                    <a:pt x="85" y="9"/>
                    <a:pt x="85"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9"/>
                    <a:pt x="86" y="9"/>
                    <a:pt x="86" y="9"/>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8"/>
                    <a:pt x="86" y="8"/>
                    <a:pt x="86" y="8"/>
                  </a:cubicBezTo>
                  <a:cubicBezTo>
                    <a:pt x="86" y="4"/>
                    <a:pt x="82" y="0"/>
                    <a:pt x="78" y="0"/>
                  </a:cubicBezTo>
                  <a:cubicBezTo>
                    <a:pt x="75" y="0"/>
                    <a:pt x="71" y="4"/>
                    <a:pt x="71" y="8"/>
                  </a:cubicBezTo>
                  <a:cubicBezTo>
                    <a:pt x="71" y="9"/>
                    <a:pt x="72" y="11"/>
                    <a:pt x="73" y="12"/>
                  </a:cubicBezTo>
                  <a:cubicBezTo>
                    <a:pt x="60" y="31"/>
                    <a:pt x="60" y="31"/>
                    <a:pt x="60" y="31"/>
                  </a:cubicBezTo>
                  <a:cubicBezTo>
                    <a:pt x="59" y="31"/>
                    <a:pt x="58" y="31"/>
                    <a:pt x="58" y="31"/>
                  </a:cubicBezTo>
                  <a:cubicBezTo>
                    <a:pt x="56" y="31"/>
                    <a:pt x="54" y="31"/>
                    <a:pt x="53" y="33"/>
                  </a:cubicBezTo>
                  <a:cubicBezTo>
                    <a:pt x="53" y="33"/>
                    <a:pt x="53" y="33"/>
                    <a:pt x="53" y="33"/>
                  </a:cubicBezTo>
                  <a:cubicBezTo>
                    <a:pt x="53" y="33"/>
                    <a:pt x="53" y="33"/>
                    <a:pt x="53" y="33"/>
                  </a:cubicBezTo>
                  <a:cubicBezTo>
                    <a:pt x="52" y="33"/>
                    <a:pt x="52" y="33"/>
                    <a:pt x="52" y="34"/>
                  </a:cubicBezTo>
                  <a:cubicBezTo>
                    <a:pt x="40" y="31"/>
                    <a:pt x="40" y="31"/>
                    <a:pt x="40" y="31"/>
                  </a:cubicBezTo>
                  <a:cubicBezTo>
                    <a:pt x="40" y="30"/>
                    <a:pt x="39" y="28"/>
                    <a:pt x="38" y="27"/>
                  </a:cubicBezTo>
                  <a:cubicBezTo>
                    <a:pt x="38" y="27"/>
                    <a:pt x="38" y="27"/>
                    <a:pt x="38" y="27"/>
                  </a:cubicBezTo>
                  <a:cubicBezTo>
                    <a:pt x="37" y="26"/>
                    <a:pt x="35" y="25"/>
                    <a:pt x="33" y="25"/>
                  </a:cubicBezTo>
                  <a:cubicBezTo>
                    <a:pt x="31" y="25"/>
                    <a:pt x="29" y="26"/>
                    <a:pt x="28" y="27"/>
                  </a:cubicBezTo>
                  <a:cubicBezTo>
                    <a:pt x="28" y="27"/>
                    <a:pt x="28" y="27"/>
                    <a:pt x="28" y="27"/>
                  </a:cubicBezTo>
                  <a:cubicBezTo>
                    <a:pt x="27" y="28"/>
                    <a:pt x="26" y="30"/>
                    <a:pt x="26" y="32"/>
                  </a:cubicBezTo>
                  <a:cubicBezTo>
                    <a:pt x="26" y="33"/>
                    <a:pt x="26" y="34"/>
                    <a:pt x="27" y="35"/>
                  </a:cubicBezTo>
                  <a:cubicBezTo>
                    <a:pt x="9" y="55"/>
                    <a:pt x="9" y="55"/>
                    <a:pt x="9" y="55"/>
                  </a:cubicBezTo>
                  <a:cubicBezTo>
                    <a:pt x="9" y="55"/>
                    <a:pt x="8" y="55"/>
                    <a:pt x="7" y="55"/>
                  </a:cubicBezTo>
                  <a:cubicBezTo>
                    <a:pt x="5" y="55"/>
                    <a:pt x="3" y="55"/>
                    <a:pt x="2" y="57"/>
                  </a:cubicBezTo>
                  <a:cubicBezTo>
                    <a:pt x="2" y="57"/>
                    <a:pt x="2" y="57"/>
                    <a:pt x="2" y="57"/>
                  </a:cubicBezTo>
                  <a:cubicBezTo>
                    <a:pt x="2" y="57"/>
                    <a:pt x="2" y="57"/>
                    <a:pt x="2" y="57"/>
                  </a:cubicBezTo>
                  <a:cubicBezTo>
                    <a:pt x="1" y="58"/>
                    <a:pt x="0" y="60"/>
                    <a:pt x="0" y="62"/>
                  </a:cubicBezTo>
                  <a:cubicBezTo>
                    <a:pt x="0" y="64"/>
                    <a:pt x="1" y="65"/>
                    <a:pt x="2" y="67"/>
                  </a:cubicBezTo>
                  <a:cubicBezTo>
                    <a:pt x="2" y="67"/>
                    <a:pt x="2" y="67"/>
                    <a:pt x="2" y="67"/>
                  </a:cubicBezTo>
                  <a:cubicBezTo>
                    <a:pt x="3" y="68"/>
                    <a:pt x="5" y="69"/>
                    <a:pt x="7" y="69"/>
                  </a:cubicBezTo>
                  <a:cubicBezTo>
                    <a:pt x="9" y="69"/>
                    <a:pt x="10" y="68"/>
                    <a:pt x="12" y="67"/>
                  </a:cubicBezTo>
                  <a:cubicBezTo>
                    <a:pt x="12" y="67"/>
                    <a:pt x="12" y="67"/>
                    <a:pt x="12" y="67"/>
                  </a:cubicBezTo>
                  <a:cubicBezTo>
                    <a:pt x="13" y="65"/>
                    <a:pt x="14" y="64"/>
                    <a:pt x="14" y="62"/>
                  </a:cubicBezTo>
                  <a:cubicBezTo>
                    <a:pt x="14" y="60"/>
                    <a:pt x="13" y="59"/>
                    <a:pt x="13" y="58"/>
                  </a:cubicBezTo>
                  <a:cubicBezTo>
                    <a:pt x="30" y="38"/>
                    <a:pt x="30" y="38"/>
                    <a:pt x="30" y="38"/>
                  </a:cubicBezTo>
                  <a:cubicBezTo>
                    <a:pt x="31" y="38"/>
                    <a:pt x="32" y="39"/>
                    <a:pt x="33" y="39"/>
                  </a:cubicBezTo>
                  <a:cubicBezTo>
                    <a:pt x="35" y="39"/>
                    <a:pt x="37" y="38"/>
                    <a:pt x="38" y="37"/>
                  </a:cubicBezTo>
                  <a:cubicBezTo>
                    <a:pt x="38" y="37"/>
                    <a:pt x="38" y="37"/>
                    <a:pt x="38" y="37"/>
                  </a:cubicBezTo>
                  <a:cubicBezTo>
                    <a:pt x="38" y="37"/>
                    <a:pt x="38" y="37"/>
                    <a:pt x="38" y="37"/>
                  </a:cubicBezTo>
                  <a:cubicBezTo>
                    <a:pt x="38" y="36"/>
                    <a:pt x="39" y="36"/>
                    <a:pt x="39" y="35"/>
                  </a:cubicBezTo>
                  <a:cubicBezTo>
                    <a:pt x="51" y="38"/>
                    <a:pt x="51" y="38"/>
                    <a:pt x="51" y="38"/>
                  </a:cubicBezTo>
                  <a:cubicBezTo>
                    <a:pt x="51" y="40"/>
                    <a:pt x="52" y="41"/>
                    <a:pt x="53" y="42"/>
                  </a:cubicBezTo>
                  <a:cubicBezTo>
                    <a:pt x="54" y="44"/>
                    <a:pt x="56" y="44"/>
                    <a:pt x="58" y="44"/>
                  </a:cubicBezTo>
                  <a:cubicBezTo>
                    <a:pt x="59" y="44"/>
                    <a:pt x="61" y="44"/>
                    <a:pt x="62" y="42"/>
                  </a:cubicBezTo>
                  <a:cubicBezTo>
                    <a:pt x="63" y="42"/>
                    <a:pt x="63" y="42"/>
                    <a:pt x="63" y="42"/>
                  </a:cubicBezTo>
                  <a:cubicBezTo>
                    <a:pt x="64" y="41"/>
                    <a:pt x="65" y="39"/>
                    <a:pt x="65" y="38"/>
                  </a:cubicBezTo>
                  <a:cubicBezTo>
                    <a:pt x="65" y="36"/>
                    <a:pt x="64" y="35"/>
                    <a:pt x="63" y="33"/>
                  </a:cubicBezTo>
                  <a:cubicBezTo>
                    <a:pt x="77" y="14"/>
                    <a:pt x="77" y="14"/>
                    <a:pt x="77" y="14"/>
                  </a:cubicBezTo>
                  <a:cubicBezTo>
                    <a:pt x="77" y="15"/>
                    <a:pt x="78" y="15"/>
                    <a:pt x="78" y="15"/>
                  </a:cubicBezTo>
                  <a:close/>
                  <a:moveTo>
                    <a:pt x="33" y="34"/>
                  </a:moveTo>
                  <a:cubicBezTo>
                    <a:pt x="34" y="34"/>
                    <a:pt x="34" y="34"/>
                    <a:pt x="35" y="34"/>
                  </a:cubicBezTo>
                  <a:cubicBezTo>
                    <a:pt x="35" y="34"/>
                    <a:pt x="35" y="34"/>
                    <a:pt x="35" y="34"/>
                  </a:cubicBezTo>
                  <a:cubicBezTo>
                    <a:pt x="35" y="33"/>
                    <a:pt x="36" y="33"/>
                    <a:pt x="36" y="32"/>
                  </a:cubicBezTo>
                  <a:cubicBezTo>
                    <a:pt x="36" y="31"/>
                    <a:pt x="35" y="30"/>
                    <a:pt x="35" y="30"/>
                  </a:cubicBezTo>
                  <a:cubicBezTo>
                    <a:pt x="34" y="30"/>
                    <a:pt x="34" y="29"/>
                    <a:pt x="33" y="29"/>
                  </a:cubicBezTo>
                  <a:cubicBezTo>
                    <a:pt x="32" y="29"/>
                    <a:pt x="32" y="30"/>
                    <a:pt x="31" y="30"/>
                  </a:cubicBezTo>
                  <a:cubicBezTo>
                    <a:pt x="31" y="30"/>
                    <a:pt x="31" y="30"/>
                    <a:pt x="31" y="30"/>
                  </a:cubicBezTo>
                  <a:cubicBezTo>
                    <a:pt x="31" y="30"/>
                    <a:pt x="31" y="30"/>
                    <a:pt x="31" y="30"/>
                  </a:cubicBezTo>
                  <a:cubicBezTo>
                    <a:pt x="31" y="30"/>
                    <a:pt x="31" y="31"/>
                    <a:pt x="31" y="32"/>
                  </a:cubicBezTo>
                  <a:cubicBezTo>
                    <a:pt x="31" y="33"/>
                    <a:pt x="31" y="33"/>
                    <a:pt x="31" y="34"/>
                  </a:cubicBezTo>
                  <a:cubicBezTo>
                    <a:pt x="31" y="34"/>
                    <a:pt x="31" y="34"/>
                    <a:pt x="31" y="34"/>
                  </a:cubicBezTo>
                  <a:cubicBezTo>
                    <a:pt x="32" y="34"/>
                    <a:pt x="32" y="34"/>
                    <a:pt x="33" y="34"/>
                  </a:cubicBezTo>
                  <a:close/>
                  <a:moveTo>
                    <a:pt x="7" y="64"/>
                  </a:moveTo>
                  <a:cubicBezTo>
                    <a:pt x="8" y="64"/>
                    <a:pt x="8" y="64"/>
                    <a:pt x="9" y="63"/>
                  </a:cubicBezTo>
                  <a:cubicBezTo>
                    <a:pt x="9" y="63"/>
                    <a:pt x="9" y="63"/>
                    <a:pt x="9" y="63"/>
                  </a:cubicBezTo>
                  <a:cubicBezTo>
                    <a:pt x="9" y="63"/>
                    <a:pt x="9" y="62"/>
                    <a:pt x="9" y="62"/>
                  </a:cubicBezTo>
                  <a:cubicBezTo>
                    <a:pt x="9" y="61"/>
                    <a:pt x="9" y="60"/>
                    <a:pt x="9" y="60"/>
                  </a:cubicBezTo>
                  <a:cubicBezTo>
                    <a:pt x="8" y="59"/>
                    <a:pt x="8" y="59"/>
                    <a:pt x="7" y="59"/>
                  </a:cubicBezTo>
                  <a:cubicBezTo>
                    <a:pt x="6" y="59"/>
                    <a:pt x="5" y="59"/>
                    <a:pt x="5" y="60"/>
                  </a:cubicBezTo>
                  <a:cubicBezTo>
                    <a:pt x="5" y="60"/>
                    <a:pt x="5" y="60"/>
                    <a:pt x="5" y="60"/>
                  </a:cubicBezTo>
                  <a:cubicBezTo>
                    <a:pt x="5" y="60"/>
                    <a:pt x="4" y="61"/>
                    <a:pt x="4" y="62"/>
                  </a:cubicBezTo>
                  <a:cubicBezTo>
                    <a:pt x="4" y="62"/>
                    <a:pt x="5" y="63"/>
                    <a:pt x="5" y="63"/>
                  </a:cubicBezTo>
                  <a:cubicBezTo>
                    <a:pt x="5" y="64"/>
                    <a:pt x="5" y="64"/>
                    <a:pt x="5" y="64"/>
                  </a:cubicBezTo>
                  <a:cubicBezTo>
                    <a:pt x="6" y="64"/>
                    <a:pt x="6" y="64"/>
                    <a:pt x="7" y="64"/>
                  </a:cubicBez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en-GB" sz="2400"/>
            </a:p>
          </p:txBody>
        </p:sp>
      </p:grpSp>
      <p:sp>
        <p:nvSpPr>
          <p:cNvPr id="175" name="TextBox 174">
            <a:extLst>
              <a:ext uri="{FF2B5EF4-FFF2-40B4-BE49-F238E27FC236}">
                <a16:creationId xmlns:a16="http://schemas.microsoft.com/office/drawing/2014/main" id="{4978E0D2-DA34-4190-B591-A2C0AC56F96C}"/>
              </a:ext>
            </a:extLst>
          </p:cNvPr>
          <p:cNvSpPr txBox="1"/>
          <p:nvPr/>
        </p:nvSpPr>
        <p:spPr>
          <a:xfrm>
            <a:off x="4597042" y="3250850"/>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Cash advances/credit</a:t>
            </a:r>
          </a:p>
        </p:txBody>
      </p:sp>
      <p:sp>
        <p:nvSpPr>
          <p:cNvPr id="176" name="TextBox 175">
            <a:extLst>
              <a:ext uri="{FF2B5EF4-FFF2-40B4-BE49-F238E27FC236}">
                <a16:creationId xmlns:a16="http://schemas.microsoft.com/office/drawing/2014/main" id="{D081183D-CDCE-4943-BBC7-A94645BB18C9}"/>
              </a:ext>
            </a:extLst>
          </p:cNvPr>
          <p:cNvSpPr txBox="1"/>
          <p:nvPr/>
        </p:nvSpPr>
        <p:spPr>
          <a:xfrm>
            <a:off x="4908439" y="2038472"/>
            <a:ext cx="947631" cy="492443"/>
          </a:xfrm>
          <a:prstGeom prst="rect">
            <a:avLst/>
          </a:prstGeom>
          <a:noFill/>
        </p:spPr>
        <p:txBody>
          <a:bodyPr wrap="square" lIns="0" tIns="0" rIns="0" bIns="0" rtlCol="0" anchor="b">
            <a:spAutoFit/>
          </a:bodyPr>
          <a:lstStyle/>
          <a:p>
            <a:pPr algn="ctr" defTabSz="1219110">
              <a:defRPr/>
            </a:pPr>
            <a:r>
              <a:rPr lang="en-GB" sz="3200" b="1">
                <a:solidFill>
                  <a:srgbClr val="222223"/>
                </a:solidFill>
                <a:cs typeface="Times New Roman"/>
              </a:rPr>
              <a:t>3%</a:t>
            </a:r>
          </a:p>
        </p:txBody>
      </p:sp>
      <p:grpSp>
        <p:nvGrpSpPr>
          <p:cNvPr id="177" name="Groupe 279">
            <a:extLst>
              <a:ext uri="{FF2B5EF4-FFF2-40B4-BE49-F238E27FC236}">
                <a16:creationId xmlns:a16="http://schemas.microsoft.com/office/drawing/2014/main" id="{F385B89E-10AB-4137-ADB7-E251E8253611}"/>
              </a:ext>
            </a:extLst>
          </p:cNvPr>
          <p:cNvGrpSpPr/>
          <p:nvPr/>
        </p:nvGrpSpPr>
        <p:grpSpPr>
          <a:xfrm>
            <a:off x="4715338" y="2477071"/>
            <a:ext cx="1149865" cy="730557"/>
            <a:chOff x="1436342" y="3479214"/>
            <a:chExt cx="689725" cy="794363"/>
          </a:xfrm>
          <a:solidFill>
            <a:srgbClr val="006301"/>
          </a:solidFill>
        </p:grpSpPr>
        <p:grpSp>
          <p:nvGrpSpPr>
            <p:cNvPr id="178" name="Groupe 124">
              <a:extLst>
                <a:ext uri="{FF2B5EF4-FFF2-40B4-BE49-F238E27FC236}">
                  <a16:creationId xmlns:a16="http://schemas.microsoft.com/office/drawing/2014/main" id="{45B830B2-D9DB-4A0F-8287-CF0B1D2C13DA}"/>
                </a:ext>
              </a:extLst>
            </p:cNvPr>
            <p:cNvGrpSpPr/>
            <p:nvPr/>
          </p:nvGrpSpPr>
          <p:grpSpPr>
            <a:xfrm>
              <a:off x="1436342" y="3479214"/>
              <a:ext cx="689725" cy="794363"/>
              <a:chOff x="2428875" y="3808413"/>
              <a:chExt cx="742950" cy="855662"/>
            </a:xfrm>
            <a:grpFill/>
          </p:grpSpPr>
          <p:sp>
            <p:nvSpPr>
              <p:cNvPr id="180" name="Freeform 93">
                <a:extLst>
                  <a:ext uri="{FF2B5EF4-FFF2-40B4-BE49-F238E27FC236}">
                    <a16:creationId xmlns:a16="http://schemas.microsoft.com/office/drawing/2014/main" id="{678086B0-F329-4CF3-AA0C-46667C5800B4}"/>
                  </a:ext>
                </a:extLst>
              </p:cNvPr>
              <p:cNvSpPr>
                <a:spLocks/>
              </p:cNvSpPr>
              <p:nvPr/>
            </p:nvSpPr>
            <p:spPr bwMode="auto">
              <a:xfrm>
                <a:off x="2782888" y="3935413"/>
                <a:ext cx="176212" cy="25400"/>
              </a:xfrm>
              <a:custGeom>
                <a:avLst/>
                <a:gdLst/>
                <a:ahLst/>
                <a:cxnLst>
                  <a:cxn ang="0">
                    <a:pos x="10" y="0"/>
                  </a:cxn>
                  <a:cxn ang="0">
                    <a:pos x="10" y="0"/>
                  </a:cxn>
                  <a:cxn ang="0">
                    <a:pos x="5" y="0"/>
                  </a:cxn>
                  <a:cxn ang="0">
                    <a:pos x="3" y="2"/>
                  </a:cxn>
                  <a:cxn ang="0">
                    <a:pos x="1" y="5"/>
                  </a:cxn>
                  <a:cxn ang="0">
                    <a:pos x="0" y="8"/>
                  </a:cxn>
                  <a:cxn ang="0">
                    <a:pos x="0" y="8"/>
                  </a:cxn>
                  <a:cxn ang="0">
                    <a:pos x="1" y="11"/>
                  </a:cxn>
                  <a:cxn ang="0">
                    <a:pos x="3" y="14"/>
                  </a:cxn>
                  <a:cxn ang="0">
                    <a:pos x="5" y="16"/>
                  </a:cxn>
                  <a:cxn ang="0">
                    <a:pos x="10" y="16"/>
                  </a:cxn>
                  <a:cxn ang="0">
                    <a:pos x="101" y="16"/>
                  </a:cxn>
                  <a:cxn ang="0">
                    <a:pos x="101" y="16"/>
                  </a:cxn>
                  <a:cxn ang="0">
                    <a:pos x="105" y="16"/>
                  </a:cxn>
                  <a:cxn ang="0">
                    <a:pos x="108" y="14"/>
                  </a:cxn>
                  <a:cxn ang="0">
                    <a:pos x="111" y="11"/>
                  </a:cxn>
                  <a:cxn ang="0">
                    <a:pos x="111" y="8"/>
                  </a:cxn>
                  <a:cxn ang="0">
                    <a:pos x="111" y="8"/>
                  </a:cxn>
                  <a:cxn ang="0">
                    <a:pos x="111" y="5"/>
                  </a:cxn>
                  <a:cxn ang="0">
                    <a:pos x="108" y="2"/>
                  </a:cxn>
                  <a:cxn ang="0">
                    <a:pos x="105" y="0"/>
                  </a:cxn>
                  <a:cxn ang="0">
                    <a:pos x="101" y="0"/>
                  </a:cxn>
                  <a:cxn ang="0">
                    <a:pos x="10" y="0"/>
                  </a:cxn>
                </a:cxnLst>
                <a:rect l="0" t="0" r="r" b="b"/>
                <a:pathLst>
                  <a:path w="111" h="16">
                    <a:moveTo>
                      <a:pt x="10" y="0"/>
                    </a:moveTo>
                    <a:lnTo>
                      <a:pt x="10" y="0"/>
                    </a:lnTo>
                    <a:lnTo>
                      <a:pt x="5" y="0"/>
                    </a:lnTo>
                    <a:lnTo>
                      <a:pt x="3" y="2"/>
                    </a:lnTo>
                    <a:lnTo>
                      <a:pt x="1" y="5"/>
                    </a:lnTo>
                    <a:lnTo>
                      <a:pt x="0" y="8"/>
                    </a:lnTo>
                    <a:lnTo>
                      <a:pt x="0" y="8"/>
                    </a:lnTo>
                    <a:lnTo>
                      <a:pt x="1" y="11"/>
                    </a:lnTo>
                    <a:lnTo>
                      <a:pt x="3" y="14"/>
                    </a:lnTo>
                    <a:lnTo>
                      <a:pt x="5" y="16"/>
                    </a:lnTo>
                    <a:lnTo>
                      <a:pt x="10" y="16"/>
                    </a:lnTo>
                    <a:lnTo>
                      <a:pt x="101" y="16"/>
                    </a:lnTo>
                    <a:lnTo>
                      <a:pt x="101" y="16"/>
                    </a:lnTo>
                    <a:lnTo>
                      <a:pt x="105" y="16"/>
                    </a:lnTo>
                    <a:lnTo>
                      <a:pt x="108" y="14"/>
                    </a:lnTo>
                    <a:lnTo>
                      <a:pt x="111" y="11"/>
                    </a:lnTo>
                    <a:lnTo>
                      <a:pt x="111" y="8"/>
                    </a:lnTo>
                    <a:lnTo>
                      <a:pt x="111" y="8"/>
                    </a:lnTo>
                    <a:lnTo>
                      <a:pt x="111" y="5"/>
                    </a:lnTo>
                    <a:lnTo>
                      <a:pt x="108" y="2"/>
                    </a:lnTo>
                    <a:lnTo>
                      <a:pt x="105" y="0"/>
                    </a:lnTo>
                    <a:lnTo>
                      <a:pt x="101" y="0"/>
                    </a:lnTo>
                    <a:lnTo>
                      <a:pt x="1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1" name="Freeform 94">
                <a:extLst>
                  <a:ext uri="{FF2B5EF4-FFF2-40B4-BE49-F238E27FC236}">
                    <a16:creationId xmlns:a16="http://schemas.microsoft.com/office/drawing/2014/main" id="{71ECD75B-56E2-4220-A865-CF17884657D8}"/>
                  </a:ext>
                </a:extLst>
              </p:cNvPr>
              <p:cNvSpPr>
                <a:spLocks/>
              </p:cNvSpPr>
              <p:nvPr/>
            </p:nvSpPr>
            <p:spPr bwMode="auto">
              <a:xfrm>
                <a:off x="2740025" y="3808413"/>
                <a:ext cx="269875" cy="107950"/>
              </a:xfrm>
              <a:custGeom>
                <a:avLst/>
                <a:gdLst/>
                <a:ahLst/>
                <a:cxnLst>
                  <a:cxn ang="0">
                    <a:pos x="83" y="68"/>
                  </a:cxn>
                  <a:cxn ang="0">
                    <a:pos x="135" y="68"/>
                  </a:cxn>
                  <a:cxn ang="0">
                    <a:pos x="138" y="61"/>
                  </a:cxn>
                  <a:cxn ang="0">
                    <a:pos x="149" y="43"/>
                  </a:cxn>
                  <a:cxn ang="0">
                    <a:pos x="164" y="31"/>
                  </a:cxn>
                  <a:cxn ang="0">
                    <a:pos x="170" y="24"/>
                  </a:cxn>
                  <a:cxn ang="0">
                    <a:pos x="168" y="21"/>
                  </a:cxn>
                  <a:cxn ang="0">
                    <a:pos x="160" y="17"/>
                  </a:cxn>
                  <a:cxn ang="0">
                    <a:pos x="145" y="11"/>
                  </a:cxn>
                  <a:cxn ang="0">
                    <a:pos x="132" y="11"/>
                  </a:cxn>
                  <a:cxn ang="0">
                    <a:pos x="129" y="12"/>
                  </a:cxn>
                  <a:cxn ang="0">
                    <a:pos x="119" y="29"/>
                  </a:cxn>
                  <a:cxn ang="0">
                    <a:pos x="112" y="38"/>
                  </a:cxn>
                  <a:cxn ang="0">
                    <a:pos x="103" y="43"/>
                  </a:cxn>
                  <a:cxn ang="0">
                    <a:pos x="105" y="35"/>
                  </a:cxn>
                  <a:cxn ang="0">
                    <a:pos x="115" y="14"/>
                  </a:cxn>
                  <a:cxn ang="0">
                    <a:pos x="114" y="5"/>
                  </a:cxn>
                  <a:cxn ang="0">
                    <a:pos x="111" y="4"/>
                  </a:cxn>
                  <a:cxn ang="0">
                    <a:pos x="100" y="1"/>
                  </a:cxn>
                  <a:cxn ang="0">
                    <a:pos x="83" y="0"/>
                  </a:cxn>
                  <a:cxn ang="0">
                    <a:pos x="59" y="3"/>
                  </a:cxn>
                  <a:cxn ang="0">
                    <a:pos x="53" y="5"/>
                  </a:cxn>
                  <a:cxn ang="0">
                    <a:pos x="52" y="8"/>
                  </a:cxn>
                  <a:cxn ang="0">
                    <a:pos x="56" y="24"/>
                  </a:cxn>
                  <a:cxn ang="0">
                    <a:pos x="65" y="43"/>
                  </a:cxn>
                  <a:cxn ang="0">
                    <a:pos x="59" y="42"/>
                  </a:cxn>
                  <a:cxn ang="0">
                    <a:pos x="51" y="33"/>
                  </a:cxn>
                  <a:cxn ang="0">
                    <a:pos x="42" y="18"/>
                  </a:cxn>
                  <a:cxn ang="0">
                    <a:pos x="38" y="12"/>
                  </a:cxn>
                  <a:cxn ang="0">
                    <a:pos x="31" y="10"/>
                  </a:cxn>
                  <a:cxn ang="0">
                    <a:pos x="14" y="12"/>
                  </a:cxn>
                  <a:cxn ang="0">
                    <a:pos x="7" y="17"/>
                  </a:cxn>
                  <a:cxn ang="0">
                    <a:pos x="0" y="28"/>
                  </a:cxn>
                  <a:cxn ang="0">
                    <a:pos x="6" y="33"/>
                  </a:cxn>
                  <a:cxn ang="0">
                    <a:pos x="18" y="45"/>
                  </a:cxn>
                  <a:cxn ang="0">
                    <a:pos x="32" y="68"/>
                  </a:cxn>
                </a:cxnLst>
                <a:rect l="0" t="0" r="r" b="b"/>
                <a:pathLst>
                  <a:path w="170" h="68">
                    <a:moveTo>
                      <a:pt x="32" y="68"/>
                    </a:moveTo>
                    <a:lnTo>
                      <a:pt x="83" y="68"/>
                    </a:lnTo>
                    <a:lnTo>
                      <a:pt x="84" y="68"/>
                    </a:lnTo>
                    <a:lnTo>
                      <a:pt x="135" y="68"/>
                    </a:lnTo>
                    <a:lnTo>
                      <a:pt x="135" y="68"/>
                    </a:lnTo>
                    <a:lnTo>
                      <a:pt x="138" y="61"/>
                    </a:lnTo>
                    <a:lnTo>
                      <a:pt x="142" y="54"/>
                    </a:lnTo>
                    <a:lnTo>
                      <a:pt x="149" y="43"/>
                    </a:lnTo>
                    <a:lnTo>
                      <a:pt x="157" y="36"/>
                    </a:lnTo>
                    <a:lnTo>
                      <a:pt x="164" y="31"/>
                    </a:lnTo>
                    <a:lnTo>
                      <a:pt x="168" y="26"/>
                    </a:lnTo>
                    <a:lnTo>
                      <a:pt x="170" y="24"/>
                    </a:lnTo>
                    <a:lnTo>
                      <a:pt x="170" y="22"/>
                    </a:lnTo>
                    <a:lnTo>
                      <a:pt x="168" y="21"/>
                    </a:lnTo>
                    <a:lnTo>
                      <a:pt x="160" y="17"/>
                    </a:lnTo>
                    <a:lnTo>
                      <a:pt x="160" y="17"/>
                    </a:lnTo>
                    <a:lnTo>
                      <a:pt x="153" y="14"/>
                    </a:lnTo>
                    <a:lnTo>
                      <a:pt x="145" y="11"/>
                    </a:lnTo>
                    <a:lnTo>
                      <a:pt x="136" y="10"/>
                    </a:lnTo>
                    <a:lnTo>
                      <a:pt x="132" y="11"/>
                    </a:lnTo>
                    <a:lnTo>
                      <a:pt x="129" y="12"/>
                    </a:lnTo>
                    <a:lnTo>
                      <a:pt x="129" y="12"/>
                    </a:lnTo>
                    <a:lnTo>
                      <a:pt x="125" y="18"/>
                    </a:lnTo>
                    <a:lnTo>
                      <a:pt x="119" y="29"/>
                    </a:lnTo>
                    <a:lnTo>
                      <a:pt x="117" y="33"/>
                    </a:lnTo>
                    <a:lnTo>
                      <a:pt x="112" y="38"/>
                    </a:lnTo>
                    <a:lnTo>
                      <a:pt x="108" y="42"/>
                    </a:lnTo>
                    <a:lnTo>
                      <a:pt x="103" y="43"/>
                    </a:lnTo>
                    <a:lnTo>
                      <a:pt x="103" y="43"/>
                    </a:lnTo>
                    <a:lnTo>
                      <a:pt x="105" y="35"/>
                    </a:lnTo>
                    <a:lnTo>
                      <a:pt x="111" y="24"/>
                    </a:lnTo>
                    <a:lnTo>
                      <a:pt x="115" y="14"/>
                    </a:lnTo>
                    <a:lnTo>
                      <a:pt x="115" y="8"/>
                    </a:lnTo>
                    <a:lnTo>
                      <a:pt x="114" y="5"/>
                    </a:lnTo>
                    <a:lnTo>
                      <a:pt x="114" y="5"/>
                    </a:lnTo>
                    <a:lnTo>
                      <a:pt x="111" y="4"/>
                    </a:lnTo>
                    <a:lnTo>
                      <a:pt x="108" y="3"/>
                    </a:lnTo>
                    <a:lnTo>
                      <a:pt x="100" y="1"/>
                    </a:lnTo>
                    <a:lnTo>
                      <a:pt x="83" y="0"/>
                    </a:lnTo>
                    <a:lnTo>
                      <a:pt x="83" y="0"/>
                    </a:lnTo>
                    <a:lnTo>
                      <a:pt x="67" y="1"/>
                    </a:lnTo>
                    <a:lnTo>
                      <a:pt x="59" y="3"/>
                    </a:lnTo>
                    <a:lnTo>
                      <a:pt x="55" y="4"/>
                    </a:lnTo>
                    <a:lnTo>
                      <a:pt x="53" y="5"/>
                    </a:lnTo>
                    <a:lnTo>
                      <a:pt x="53" y="5"/>
                    </a:lnTo>
                    <a:lnTo>
                      <a:pt x="52" y="8"/>
                    </a:lnTo>
                    <a:lnTo>
                      <a:pt x="52" y="14"/>
                    </a:lnTo>
                    <a:lnTo>
                      <a:pt x="56" y="24"/>
                    </a:lnTo>
                    <a:lnTo>
                      <a:pt x="62" y="35"/>
                    </a:lnTo>
                    <a:lnTo>
                      <a:pt x="65" y="43"/>
                    </a:lnTo>
                    <a:lnTo>
                      <a:pt x="65" y="43"/>
                    </a:lnTo>
                    <a:lnTo>
                      <a:pt x="59" y="42"/>
                    </a:lnTo>
                    <a:lnTo>
                      <a:pt x="55" y="38"/>
                    </a:lnTo>
                    <a:lnTo>
                      <a:pt x="51" y="33"/>
                    </a:lnTo>
                    <a:lnTo>
                      <a:pt x="48" y="29"/>
                    </a:lnTo>
                    <a:lnTo>
                      <a:pt x="42" y="18"/>
                    </a:lnTo>
                    <a:lnTo>
                      <a:pt x="38" y="12"/>
                    </a:lnTo>
                    <a:lnTo>
                      <a:pt x="38" y="12"/>
                    </a:lnTo>
                    <a:lnTo>
                      <a:pt x="35" y="11"/>
                    </a:lnTo>
                    <a:lnTo>
                      <a:pt x="31" y="10"/>
                    </a:lnTo>
                    <a:lnTo>
                      <a:pt x="23" y="10"/>
                    </a:lnTo>
                    <a:lnTo>
                      <a:pt x="14" y="12"/>
                    </a:lnTo>
                    <a:lnTo>
                      <a:pt x="7" y="17"/>
                    </a:lnTo>
                    <a:lnTo>
                      <a:pt x="7" y="17"/>
                    </a:lnTo>
                    <a:lnTo>
                      <a:pt x="2" y="24"/>
                    </a:lnTo>
                    <a:lnTo>
                      <a:pt x="0" y="28"/>
                    </a:lnTo>
                    <a:lnTo>
                      <a:pt x="2" y="31"/>
                    </a:lnTo>
                    <a:lnTo>
                      <a:pt x="6" y="33"/>
                    </a:lnTo>
                    <a:lnTo>
                      <a:pt x="11" y="38"/>
                    </a:lnTo>
                    <a:lnTo>
                      <a:pt x="18" y="45"/>
                    </a:lnTo>
                    <a:lnTo>
                      <a:pt x="25" y="54"/>
                    </a:lnTo>
                    <a:lnTo>
                      <a:pt x="32" y="68"/>
                    </a:lnTo>
                    <a:lnTo>
                      <a:pt x="32" y="6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2" name="Freeform 95">
                <a:extLst>
                  <a:ext uri="{FF2B5EF4-FFF2-40B4-BE49-F238E27FC236}">
                    <a16:creationId xmlns:a16="http://schemas.microsoft.com/office/drawing/2014/main" id="{9AE65F85-263A-4CBA-B48B-EF510933B1E2}"/>
                  </a:ext>
                </a:extLst>
              </p:cNvPr>
              <p:cNvSpPr>
                <a:spLocks/>
              </p:cNvSpPr>
              <p:nvPr/>
            </p:nvSpPr>
            <p:spPr bwMode="auto">
              <a:xfrm>
                <a:off x="2813050" y="4070350"/>
                <a:ext cx="36512" cy="66675"/>
              </a:xfrm>
              <a:custGeom>
                <a:avLst/>
                <a:gdLst/>
                <a:ahLst/>
                <a:cxnLst>
                  <a:cxn ang="0">
                    <a:pos x="23" y="0"/>
                  </a:cxn>
                  <a:cxn ang="0">
                    <a:pos x="23" y="0"/>
                  </a:cxn>
                  <a:cxn ang="0">
                    <a:pos x="14" y="3"/>
                  </a:cxn>
                  <a:cxn ang="0">
                    <a:pos x="6" y="7"/>
                  </a:cxn>
                  <a:cxn ang="0">
                    <a:pos x="6" y="7"/>
                  </a:cxn>
                  <a:cxn ang="0">
                    <a:pos x="2" y="11"/>
                  </a:cxn>
                  <a:cxn ang="0">
                    <a:pos x="0" y="17"/>
                  </a:cxn>
                  <a:cxn ang="0">
                    <a:pos x="0" y="24"/>
                  </a:cxn>
                  <a:cxn ang="0">
                    <a:pos x="3" y="30"/>
                  </a:cxn>
                  <a:cxn ang="0">
                    <a:pos x="3" y="30"/>
                  </a:cxn>
                  <a:cxn ang="0">
                    <a:pos x="6" y="34"/>
                  </a:cxn>
                  <a:cxn ang="0">
                    <a:pos x="10" y="37"/>
                  </a:cxn>
                  <a:cxn ang="0">
                    <a:pos x="19" y="41"/>
                  </a:cxn>
                  <a:cxn ang="0">
                    <a:pos x="19" y="41"/>
                  </a:cxn>
                  <a:cxn ang="0">
                    <a:pos x="23" y="42"/>
                  </a:cxn>
                  <a:cxn ang="0">
                    <a:pos x="23" y="0"/>
                  </a:cxn>
                </a:cxnLst>
                <a:rect l="0" t="0" r="r" b="b"/>
                <a:pathLst>
                  <a:path w="23" h="42">
                    <a:moveTo>
                      <a:pt x="23" y="0"/>
                    </a:moveTo>
                    <a:lnTo>
                      <a:pt x="23" y="0"/>
                    </a:lnTo>
                    <a:lnTo>
                      <a:pt x="14" y="3"/>
                    </a:lnTo>
                    <a:lnTo>
                      <a:pt x="6" y="7"/>
                    </a:lnTo>
                    <a:lnTo>
                      <a:pt x="6" y="7"/>
                    </a:lnTo>
                    <a:lnTo>
                      <a:pt x="2" y="11"/>
                    </a:lnTo>
                    <a:lnTo>
                      <a:pt x="0" y="17"/>
                    </a:lnTo>
                    <a:lnTo>
                      <a:pt x="0" y="24"/>
                    </a:lnTo>
                    <a:lnTo>
                      <a:pt x="3" y="30"/>
                    </a:lnTo>
                    <a:lnTo>
                      <a:pt x="3" y="30"/>
                    </a:lnTo>
                    <a:lnTo>
                      <a:pt x="6" y="34"/>
                    </a:lnTo>
                    <a:lnTo>
                      <a:pt x="10" y="37"/>
                    </a:lnTo>
                    <a:lnTo>
                      <a:pt x="19" y="41"/>
                    </a:lnTo>
                    <a:lnTo>
                      <a:pt x="19" y="41"/>
                    </a:lnTo>
                    <a:lnTo>
                      <a:pt x="23" y="42"/>
                    </a:lnTo>
                    <a:lnTo>
                      <a:pt x="23"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3" name="Freeform 96">
                <a:extLst>
                  <a:ext uri="{FF2B5EF4-FFF2-40B4-BE49-F238E27FC236}">
                    <a16:creationId xmlns:a16="http://schemas.microsoft.com/office/drawing/2014/main" id="{03FC6BBA-F8B1-49B1-8D9F-F7B2DFEDE72C}"/>
                  </a:ext>
                </a:extLst>
              </p:cNvPr>
              <p:cNvSpPr>
                <a:spLocks/>
              </p:cNvSpPr>
              <p:nvPr/>
            </p:nvSpPr>
            <p:spPr bwMode="auto">
              <a:xfrm>
                <a:off x="2884488" y="4184650"/>
                <a:ext cx="42862" cy="66675"/>
              </a:xfrm>
              <a:custGeom>
                <a:avLst/>
                <a:gdLst/>
                <a:ahLst/>
                <a:cxnLst>
                  <a:cxn ang="0">
                    <a:pos x="26" y="15"/>
                  </a:cxn>
                  <a:cxn ang="0">
                    <a:pos x="26" y="15"/>
                  </a:cxn>
                  <a:cxn ang="0">
                    <a:pos x="23" y="11"/>
                  </a:cxn>
                  <a:cxn ang="0">
                    <a:pos x="19" y="8"/>
                  </a:cxn>
                  <a:cxn ang="0">
                    <a:pos x="10" y="4"/>
                  </a:cxn>
                  <a:cxn ang="0">
                    <a:pos x="10" y="4"/>
                  </a:cxn>
                  <a:cxn ang="0">
                    <a:pos x="0" y="0"/>
                  </a:cxn>
                  <a:cxn ang="0">
                    <a:pos x="0" y="42"/>
                  </a:cxn>
                  <a:cxn ang="0">
                    <a:pos x="0" y="42"/>
                  </a:cxn>
                  <a:cxn ang="0">
                    <a:pos x="12" y="40"/>
                  </a:cxn>
                  <a:cxn ang="0">
                    <a:pos x="16" y="39"/>
                  </a:cxn>
                  <a:cxn ang="0">
                    <a:pos x="20" y="36"/>
                  </a:cxn>
                  <a:cxn ang="0">
                    <a:pos x="20" y="36"/>
                  </a:cxn>
                  <a:cxn ang="0">
                    <a:pos x="24" y="32"/>
                  </a:cxn>
                  <a:cxn ang="0">
                    <a:pos x="27" y="26"/>
                  </a:cxn>
                  <a:cxn ang="0">
                    <a:pos x="27" y="21"/>
                  </a:cxn>
                  <a:cxn ang="0">
                    <a:pos x="26" y="15"/>
                  </a:cxn>
                  <a:cxn ang="0">
                    <a:pos x="26" y="15"/>
                  </a:cxn>
                </a:cxnLst>
                <a:rect l="0" t="0" r="r" b="b"/>
                <a:pathLst>
                  <a:path w="27" h="42">
                    <a:moveTo>
                      <a:pt x="26" y="15"/>
                    </a:moveTo>
                    <a:lnTo>
                      <a:pt x="26" y="15"/>
                    </a:lnTo>
                    <a:lnTo>
                      <a:pt x="23" y="11"/>
                    </a:lnTo>
                    <a:lnTo>
                      <a:pt x="19" y="8"/>
                    </a:lnTo>
                    <a:lnTo>
                      <a:pt x="10" y="4"/>
                    </a:lnTo>
                    <a:lnTo>
                      <a:pt x="10" y="4"/>
                    </a:lnTo>
                    <a:lnTo>
                      <a:pt x="0" y="0"/>
                    </a:lnTo>
                    <a:lnTo>
                      <a:pt x="0" y="42"/>
                    </a:lnTo>
                    <a:lnTo>
                      <a:pt x="0" y="42"/>
                    </a:lnTo>
                    <a:lnTo>
                      <a:pt x="12" y="40"/>
                    </a:lnTo>
                    <a:lnTo>
                      <a:pt x="16" y="39"/>
                    </a:lnTo>
                    <a:lnTo>
                      <a:pt x="20" y="36"/>
                    </a:lnTo>
                    <a:lnTo>
                      <a:pt x="20" y="36"/>
                    </a:lnTo>
                    <a:lnTo>
                      <a:pt x="24" y="32"/>
                    </a:lnTo>
                    <a:lnTo>
                      <a:pt x="27" y="26"/>
                    </a:lnTo>
                    <a:lnTo>
                      <a:pt x="27" y="21"/>
                    </a:lnTo>
                    <a:lnTo>
                      <a:pt x="26" y="15"/>
                    </a:lnTo>
                    <a:lnTo>
                      <a:pt x="26" y="15"/>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4" name="Freeform 97">
                <a:extLst>
                  <a:ext uri="{FF2B5EF4-FFF2-40B4-BE49-F238E27FC236}">
                    <a16:creationId xmlns:a16="http://schemas.microsoft.com/office/drawing/2014/main" id="{B2B5C0F0-EE77-4CED-9D32-53D22C2FE79F}"/>
                  </a:ext>
                </a:extLst>
              </p:cNvPr>
              <p:cNvSpPr>
                <a:spLocks noEditPoints="1"/>
              </p:cNvSpPr>
              <p:nvPr/>
            </p:nvSpPr>
            <p:spPr bwMode="auto">
              <a:xfrm>
                <a:off x="2627313" y="3976688"/>
                <a:ext cx="488950" cy="377825"/>
              </a:xfrm>
              <a:custGeom>
                <a:avLst/>
                <a:gdLst/>
                <a:ahLst/>
                <a:cxnLst>
                  <a:cxn ang="0">
                    <a:pos x="154" y="238"/>
                  </a:cxn>
                  <a:cxn ang="0">
                    <a:pos x="154" y="238"/>
                  </a:cxn>
                  <a:cxn ang="0">
                    <a:pos x="242" y="230"/>
                  </a:cxn>
                  <a:cxn ang="0">
                    <a:pos x="274" y="217"/>
                  </a:cxn>
                  <a:cxn ang="0">
                    <a:pos x="297" y="198"/>
                  </a:cxn>
                  <a:cxn ang="0">
                    <a:pos x="307" y="167"/>
                  </a:cxn>
                  <a:cxn ang="0">
                    <a:pos x="307" y="138"/>
                  </a:cxn>
                  <a:cxn ang="0">
                    <a:pos x="294" y="97"/>
                  </a:cxn>
                  <a:cxn ang="0">
                    <a:pos x="272" y="65"/>
                  </a:cxn>
                  <a:cxn ang="0">
                    <a:pos x="230" y="24"/>
                  </a:cxn>
                  <a:cxn ang="0">
                    <a:pos x="207" y="0"/>
                  </a:cxn>
                  <a:cxn ang="0">
                    <a:pos x="101" y="0"/>
                  </a:cxn>
                  <a:cxn ang="0">
                    <a:pos x="92" y="11"/>
                  </a:cxn>
                  <a:cxn ang="0">
                    <a:pos x="45" y="55"/>
                  </a:cxn>
                  <a:cxn ang="0">
                    <a:pos x="19" y="86"/>
                  </a:cxn>
                  <a:cxn ang="0">
                    <a:pos x="4" y="124"/>
                  </a:cxn>
                  <a:cxn ang="0">
                    <a:pos x="0" y="153"/>
                  </a:cxn>
                  <a:cxn ang="0">
                    <a:pos x="7" y="188"/>
                  </a:cxn>
                  <a:cxn ang="0">
                    <a:pos x="25" y="212"/>
                  </a:cxn>
                  <a:cxn ang="0">
                    <a:pos x="53" y="227"/>
                  </a:cxn>
                  <a:cxn ang="0">
                    <a:pos x="120" y="237"/>
                  </a:cxn>
                  <a:cxn ang="0">
                    <a:pos x="115" y="159"/>
                  </a:cxn>
                  <a:cxn ang="0">
                    <a:pos x="116" y="160"/>
                  </a:cxn>
                  <a:cxn ang="0">
                    <a:pos x="133" y="168"/>
                  </a:cxn>
                  <a:cxn ang="0">
                    <a:pos x="140" y="122"/>
                  </a:cxn>
                  <a:cxn ang="0">
                    <a:pos x="110" y="108"/>
                  </a:cxn>
                  <a:cxn ang="0">
                    <a:pos x="99" y="97"/>
                  </a:cxn>
                  <a:cxn ang="0">
                    <a:pos x="96" y="80"/>
                  </a:cxn>
                  <a:cxn ang="0">
                    <a:pos x="101" y="65"/>
                  </a:cxn>
                  <a:cxn ang="0">
                    <a:pos x="109" y="56"/>
                  </a:cxn>
                  <a:cxn ang="0">
                    <a:pos x="131" y="45"/>
                  </a:cxn>
                  <a:cxn ang="0">
                    <a:pos x="140" y="32"/>
                  </a:cxn>
                  <a:cxn ang="0">
                    <a:pos x="158" y="28"/>
                  </a:cxn>
                  <a:cxn ang="0">
                    <a:pos x="162" y="32"/>
                  </a:cxn>
                  <a:cxn ang="0">
                    <a:pos x="174" y="44"/>
                  </a:cxn>
                  <a:cxn ang="0">
                    <a:pos x="192" y="52"/>
                  </a:cxn>
                  <a:cxn ang="0">
                    <a:pos x="206" y="63"/>
                  </a:cxn>
                  <a:cxn ang="0">
                    <a:pos x="204" y="72"/>
                  </a:cxn>
                  <a:cxn ang="0">
                    <a:pos x="195" y="77"/>
                  </a:cxn>
                  <a:cxn ang="0">
                    <a:pos x="189" y="74"/>
                  </a:cxn>
                  <a:cxn ang="0">
                    <a:pos x="186" y="73"/>
                  </a:cxn>
                  <a:cxn ang="0">
                    <a:pos x="185" y="72"/>
                  </a:cxn>
                  <a:cxn ang="0">
                    <a:pos x="168" y="62"/>
                  </a:cxn>
                  <a:cxn ang="0">
                    <a:pos x="162" y="110"/>
                  </a:cxn>
                  <a:cxn ang="0">
                    <a:pos x="199" y="125"/>
                  </a:cxn>
                  <a:cxn ang="0">
                    <a:pos x="211" y="139"/>
                  </a:cxn>
                  <a:cxn ang="0">
                    <a:pos x="214" y="150"/>
                  </a:cxn>
                  <a:cxn ang="0">
                    <a:pos x="210" y="166"/>
                  </a:cxn>
                  <a:cxn ang="0">
                    <a:pos x="199" y="180"/>
                  </a:cxn>
                  <a:cxn ang="0">
                    <a:pos x="174" y="188"/>
                  </a:cxn>
                  <a:cxn ang="0">
                    <a:pos x="162" y="199"/>
                  </a:cxn>
                  <a:cxn ang="0">
                    <a:pos x="144" y="203"/>
                  </a:cxn>
                  <a:cxn ang="0">
                    <a:pos x="140" y="199"/>
                  </a:cxn>
                  <a:cxn ang="0">
                    <a:pos x="126" y="185"/>
                  </a:cxn>
                  <a:cxn ang="0">
                    <a:pos x="98" y="173"/>
                  </a:cxn>
                  <a:cxn ang="0">
                    <a:pos x="94" y="166"/>
                  </a:cxn>
                  <a:cxn ang="0">
                    <a:pos x="99" y="156"/>
                  </a:cxn>
                  <a:cxn ang="0">
                    <a:pos x="110" y="154"/>
                  </a:cxn>
                  <a:cxn ang="0">
                    <a:pos x="113" y="157"/>
                  </a:cxn>
                  <a:cxn ang="0">
                    <a:pos x="115" y="159"/>
                  </a:cxn>
                </a:cxnLst>
                <a:rect l="0" t="0" r="r" b="b"/>
                <a:pathLst>
                  <a:path w="308" h="238">
                    <a:moveTo>
                      <a:pt x="154" y="238"/>
                    </a:moveTo>
                    <a:lnTo>
                      <a:pt x="154" y="238"/>
                    </a:lnTo>
                    <a:lnTo>
                      <a:pt x="154" y="238"/>
                    </a:lnTo>
                    <a:lnTo>
                      <a:pt x="154" y="238"/>
                    </a:lnTo>
                    <a:lnTo>
                      <a:pt x="154" y="238"/>
                    </a:lnTo>
                    <a:lnTo>
                      <a:pt x="154" y="238"/>
                    </a:lnTo>
                    <a:lnTo>
                      <a:pt x="188" y="237"/>
                    </a:lnTo>
                    <a:lnTo>
                      <a:pt x="217" y="234"/>
                    </a:lnTo>
                    <a:lnTo>
                      <a:pt x="242" y="230"/>
                    </a:lnTo>
                    <a:lnTo>
                      <a:pt x="255" y="227"/>
                    </a:lnTo>
                    <a:lnTo>
                      <a:pt x="265" y="223"/>
                    </a:lnTo>
                    <a:lnTo>
                      <a:pt x="274" y="217"/>
                    </a:lnTo>
                    <a:lnTo>
                      <a:pt x="283" y="212"/>
                    </a:lnTo>
                    <a:lnTo>
                      <a:pt x="290" y="205"/>
                    </a:lnTo>
                    <a:lnTo>
                      <a:pt x="297" y="198"/>
                    </a:lnTo>
                    <a:lnTo>
                      <a:pt x="301" y="188"/>
                    </a:lnTo>
                    <a:lnTo>
                      <a:pt x="305" y="178"/>
                    </a:lnTo>
                    <a:lnTo>
                      <a:pt x="307" y="167"/>
                    </a:lnTo>
                    <a:lnTo>
                      <a:pt x="308" y="153"/>
                    </a:lnTo>
                    <a:lnTo>
                      <a:pt x="308" y="153"/>
                    </a:lnTo>
                    <a:lnTo>
                      <a:pt x="307" y="138"/>
                    </a:lnTo>
                    <a:lnTo>
                      <a:pt x="304" y="124"/>
                    </a:lnTo>
                    <a:lnTo>
                      <a:pt x="300" y="110"/>
                    </a:lnTo>
                    <a:lnTo>
                      <a:pt x="294" y="97"/>
                    </a:lnTo>
                    <a:lnTo>
                      <a:pt x="288" y="86"/>
                    </a:lnTo>
                    <a:lnTo>
                      <a:pt x="280" y="74"/>
                    </a:lnTo>
                    <a:lnTo>
                      <a:pt x="272" y="65"/>
                    </a:lnTo>
                    <a:lnTo>
                      <a:pt x="263" y="55"/>
                    </a:lnTo>
                    <a:lnTo>
                      <a:pt x="246" y="39"/>
                    </a:lnTo>
                    <a:lnTo>
                      <a:pt x="230" y="24"/>
                    </a:lnTo>
                    <a:lnTo>
                      <a:pt x="216" y="11"/>
                    </a:lnTo>
                    <a:lnTo>
                      <a:pt x="210" y="6"/>
                    </a:lnTo>
                    <a:lnTo>
                      <a:pt x="207" y="0"/>
                    </a:lnTo>
                    <a:lnTo>
                      <a:pt x="157" y="0"/>
                    </a:lnTo>
                    <a:lnTo>
                      <a:pt x="150" y="0"/>
                    </a:lnTo>
                    <a:lnTo>
                      <a:pt x="101" y="0"/>
                    </a:lnTo>
                    <a:lnTo>
                      <a:pt x="101" y="0"/>
                    </a:lnTo>
                    <a:lnTo>
                      <a:pt x="98" y="6"/>
                    </a:lnTo>
                    <a:lnTo>
                      <a:pt x="92" y="11"/>
                    </a:lnTo>
                    <a:lnTo>
                      <a:pt x="78" y="24"/>
                    </a:lnTo>
                    <a:lnTo>
                      <a:pt x="61" y="39"/>
                    </a:lnTo>
                    <a:lnTo>
                      <a:pt x="45" y="55"/>
                    </a:lnTo>
                    <a:lnTo>
                      <a:pt x="36" y="65"/>
                    </a:lnTo>
                    <a:lnTo>
                      <a:pt x="28" y="74"/>
                    </a:lnTo>
                    <a:lnTo>
                      <a:pt x="19" y="86"/>
                    </a:lnTo>
                    <a:lnTo>
                      <a:pt x="14" y="97"/>
                    </a:lnTo>
                    <a:lnTo>
                      <a:pt x="8" y="110"/>
                    </a:lnTo>
                    <a:lnTo>
                      <a:pt x="4" y="124"/>
                    </a:lnTo>
                    <a:lnTo>
                      <a:pt x="1" y="138"/>
                    </a:lnTo>
                    <a:lnTo>
                      <a:pt x="0" y="153"/>
                    </a:lnTo>
                    <a:lnTo>
                      <a:pt x="0" y="153"/>
                    </a:lnTo>
                    <a:lnTo>
                      <a:pt x="1" y="167"/>
                    </a:lnTo>
                    <a:lnTo>
                      <a:pt x="3" y="178"/>
                    </a:lnTo>
                    <a:lnTo>
                      <a:pt x="7" y="188"/>
                    </a:lnTo>
                    <a:lnTo>
                      <a:pt x="11" y="198"/>
                    </a:lnTo>
                    <a:lnTo>
                      <a:pt x="18" y="205"/>
                    </a:lnTo>
                    <a:lnTo>
                      <a:pt x="25" y="212"/>
                    </a:lnTo>
                    <a:lnTo>
                      <a:pt x="33" y="217"/>
                    </a:lnTo>
                    <a:lnTo>
                      <a:pt x="43" y="223"/>
                    </a:lnTo>
                    <a:lnTo>
                      <a:pt x="53" y="227"/>
                    </a:lnTo>
                    <a:lnTo>
                      <a:pt x="66" y="230"/>
                    </a:lnTo>
                    <a:lnTo>
                      <a:pt x="91" y="234"/>
                    </a:lnTo>
                    <a:lnTo>
                      <a:pt x="120" y="237"/>
                    </a:lnTo>
                    <a:lnTo>
                      <a:pt x="154" y="238"/>
                    </a:lnTo>
                    <a:lnTo>
                      <a:pt x="154" y="238"/>
                    </a:lnTo>
                    <a:close/>
                    <a:moveTo>
                      <a:pt x="115" y="159"/>
                    </a:moveTo>
                    <a:lnTo>
                      <a:pt x="115" y="159"/>
                    </a:lnTo>
                    <a:lnTo>
                      <a:pt x="116" y="160"/>
                    </a:lnTo>
                    <a:lnTo>
                      <a:pt x="116" y="160"/>
                    </a:lnTo>
                    <a:lnTo>
                      <a:pt x="124" y="164"/>
                    </a:lnTo>
                    <a:lnTo>
                      <a:pt x="133" y="168"/>
                    </a:lnTo>
                    <a:lnTo>
                      <a:pt x="133" y="168"/>
                    </a:lnTo>
                    <a:lnTo>
                      <a:pt x="140" y="170"/>
                    </a:lnTo>
                    <a:lnTo>
                      <a:pt x="140" y="122"/>
                    </a:lnTo>
                    <a:lnTo>
                      <a:pt x="140" y="122"/>
                    </a:lnTo>
                    <a:lnTo>
                      <a:pt x="116" y="111"/>
                    </a:lnTo>
                    <a:lnTo>
                      <a:pt x="116" y="111"/>
                    </a:lnTo>
                    <a:lnTo>
                      <a:pt x="110" y="108"/>
                    </a:lnTo>
                    <a:lnTo>
                      <a:pt x="106" y="105"/>
                    </a:lnTo>
                    <a:lnTo>
                      <a:pt x="99" y="97"/>
                    </a:lnTo>
                    <a:lnTo>
                      <a:pt x="99" y="97"/>
                    </a:lnTo>
                    <a:lnTo>
                      <a:pt x="98" y="91"/>
                    </a:lnTo>
                    <a:lnTo>
                      <a:pt x="96" y="86"/>
                    </a:lnTo>
                    <a:lnTo>
                      <a:pt x="96" y="80"/>
                    </a:lnTo>
                    <a:lnTo>
                      <a:pt x="96" y="74"/>
                    </a:lnTo>
                    <a:lnTo>
                      <a:pt x="98" y="70"/>
                    </a:lnTo>
                    <a:lnTo>
                      <a:pt x="101" y="65"/>
                    </a:lnTo>
                    <a:lnTo>
                      <a:pt x="105" y="60"/>
                    </a:lnTo>
                    <a:lnTo>
                      <a:pt x="109" y="56"/>
                    </a:lnTo>
                    <a:lnTo>
                      <a:pt x="109" y="56"/>
                    </a:lnTo>
                    <a:lnTo>
                      <a:pt x="116" y="51"/>
                    </a:lnTo>
                    <a:lnTo>
                      <a:pt x="123" y="48"/>
                    </a:lnTo>
                    <a:lnTo>
                      <a:pt x="131" y="45"/>
                    </a:lnTo>
                    <a:lnTo>
                      <a:pt x="140" y="42"/>
                    </a:lnTo>
                    <a:lnTo>
                      <a:pt x="140" y="32"/>
                    </a:lnTo>
                    <a:lnTo>
                      <a:pt x="140" y="32"/>
                    </a:lnTo>
                    <a:lnTo>
                      <a:pt x="141" y="30"/>
                    </a:lnTo>
                    <a:lnTo>
                      <a:pt x="144" y="28"/>
                    </a:lnTo>
                    <a:lnTo>
                      <a:pt x="158" y="28"/>
                    </a:lnTo>
                    <a:lnTo>
                      <a:pt x="158" y="28"/>
                    </a:lnTo>
                    <a:lnTo>
                      <a:pt x="161" y="30"/>
                    </a:lnTo>
                    <a:lnTo>
                      <a:pt x="162" y="32"/>
                    </a:lnTo>
                    <a:lnTo>
                      <a:pt x="162" y="42"/>
                    </a:lnTo>
                    <a:lnTo>
                      <a:pt x="162" y="42"/>
                    </a:lnTo>
                    <a:lnTo>
                      <a:pt x="174" y="44"/>
                    </a:lnTo>
                    <a:lnTo>
                      <a:pt x="174" y="44"/>
                    </a:lnTo>
                    <a:lnTo>
                      <a:pt x="183" y="48"/>
                    </a:lnTo>
                    <a:lnTo>
                      <a:pt x="192" y="52"/>
                    </a:lnTo>
                    <a:lnTo>
                      <a:pt x="200" y="58"/>
                    </a:lnTo>
                    <a:lnTo>
                      <a:pt x="206" y="63"/>
                    </a:lnTo>
                    <a:lnTo>
                      <a:pt x="206" y="63"/>
                    </a:lnTo>
                    <a:lnTo>
                      <a:pt x="207" y="66"/>
                    </a:lnTo>
                    <a:lnTo>
                      <a:pt x="207" y="69"/>
                    </a:lnTo>
                    <a:lnTo>
                      <a:pt x="204" y="72"/>
                    </a:lnTo>
                    <a:lnTo>
                      <a:pt x="202" y="74"/>
                    </a:lnTo>
                    <a:lnTo>
                      <a:pt x="199" y="77"/>
                    </a:lnTo>
                    <a:lnTo>
                      <a:pt x="195" y="77"/>
                    </a:lnTo>
                    <a:lnTo>
                      <a:pt x="192" y="77"/>
                    </a:lnTo>
                    <a:lnTo>
                      <a:pt x="189" y="74"/>
                    </a:lnTo>
                    <a:lnTo>
                      <a:pt x="189" y="74"/>
                    </a:lnTo>
                    <a:lnTo>
                      <a:pt x="188" y="73"/>
                    </a:lnTo>
                    <a:lnTo>
                      <a:pt x="188" y="73"/>
                    </a:lnTo>
                    <a:lnTo>
                      <a:pt x="186" y="73"/>
                    </a:lnTo>
                    <a:lnTo>
                      <a:pt x="186" y="73"/>
                    </a:lnTo>
                    <a:lnTo>
                      <a:pt x="185" y="72"/>
                    </a:lnTo>
                    <a:lnTo>
                      <a:pt x="185" y="72"/>
                    </a:lnTo>
                    <a:lnTo>
                      <a:pt x="176" y="66"/>
                    </a:lnTo>
                    <a:lnTo>
                      <a:pt x="168" y="62"/>
                    </a:lnTo>
                    <a:lnTo>
                      <a:pt x="168" y="62"/>
                    </a:lnTo>
                    <a:lnTo>
                      <a:pt x="162" y="60"/>
                    </a:lnTo>
                    <a:lnTo>
                      <a:pt x="162" y="110"/>
                    </a:lnTo>
                    <a:lnTo>
                      <a:pt x="162" y="110"/>
                    </a:lnTo>
                    <a:lnTo>
                      <a:pt x="176" y="115"/>
                    </a:lnTo>
                    <a:lnTo>
                      <a:pt x="192" y="121"/>
                    </a:lnTo>
                    <a:lnTo>
                      <a:pt x="199" y="125"/>
                    </a:lnTo>
                    <a:lnTo>
                      <a:pt x="204" y="129"/>
                    </a:lnTo>
                    <a:lnTo>
                      <a:pt x="209" y="135"/>
                    </a:lnTo>
                    <a:lnTo>
                      <a:pt x="211" y="139"/>
                    </a:lnTo>
                    <a:lnTo>
                      <a:pt x="211" y="139"/>
                    </a:lnTo>
                    <a:lnTo>
                      <a:pt x="213" y="145"/>
                    </a:lnTo>
                    <a:lnTo>
                      <a:pt x="214" y="150"/>
                    </a:lnTo>
                    <a:lnTo>
                      <a:pt x="213" y="156"/>
                    </a:lnTo>
                    <a:lnTo>
                      <a:pt x="211" y="161"/>
                    </a:lnTo>
                    <a:lnTo>
                      <a:pt x="210" y="166"/>
                    </a:lnTo>
                    <a:lnTo>
                      <a:pt x="207" y="171"/>
                    </a:lnTo>
                    <a:lnTo>
                      <a:pt x="199" y="180"/>
                    </a:lnTo>
                    <a:lnTo>
                      <a:pt x="199" y="180"/>
                    </a:lnTo>
                    <a:lnTo>
                      <a:pt x="192" y="184"/>
                    </a:lnTo>
                    <a:lnTo>
                      <a:pt x="183" y="187"/>
                    </a:lnTo>
                    <a:lnTo>
                      <a:pt x="174" y="188"/>
                    </a:lnTo>
                    <a:lnTo>
                      <a:pt x="162" y="189"/>
                    </a:lnTo>
                    <a:lnTo>
                      <a:pt x="162" y="199"/>
                    </a:lnTo>
                    <a:lnTo>
                      <a:pt x="162" y="199"/>
                    </a:lnTo>
                    <a:lnTo>
                      <a:pt x="161" y="202"/>
                    </a:lnTo>
                    <a:lnTo>
                      <a:pt x="158" y="203"/>
                    </a:lnTo>
                    <a:lnTo>
                      <a:pt x="144" y="203"/>
                    </a:lnTo>
                    <a:lnTo>
                      <a:pt x="144" y="203"/>
                    </a:lnTo>
                    <a:lnTo>
                      <a:pt x="141" y="202"/>
                    </a:lnTo>
                    <a:lnTo>
                      <a:pt x="140" y="199"/>
                    </a:lnTo>
                    <a:lnTo>
                      <a:pt x="140" y="188"/>
                    </a:lnTo>
                    <a:lnTo>
                      <a:pt x="140" y="188"/>
                    </a:lnTo>
                    <a:lnTo>
                      <a:pt x="126" y="185"/>
                    </a:lnTo>
                    <a:lnTo>
                      <a:pt x="113" y="181"/>
                    </a:lnTo>
                    <a:lnTo>
                      <a:pt x="102" y="175"/>
                    </a:lnTo>
                    <a:lnTo>
                      <a:pt x="98" y="173"/>
                    </a:lnTo>
                    <a:lnTo>
                      <a:pt x="95" y="168"/>
                    </a:lnTo>
                    <a:lnTo>
                      <a:pt x="95" y="168"/>
                    </a:lnTo>
                    <a:lnTo>
                      <a:pt x="94" y="166"/>
                    </a:lnTo>
                    <a:lnTo>
                      <a:pt x="95" y="161"/>
                    </a:lnTo>
                    <a:lnTo>
                      <a:pt x="96" y="159"/>
                    </a:lnTo>
                    <a:lnTo>
                      <a:pt x="99" y="156"/>
                    </a:lnTo>
                    <a:lnTo>
                      <a:pt x="103" y="154"/>
                    </a:lnTo>
                    <a:lnTo>
                      <a:pt x="106" y="153"/>
                    </a:lnTo>
                    <a:lnTo>
                      <a:pt x="110" y="154"/>
                    </a:lnTo>
                    <a:lnTo>
                      <a:pt x="113" y="156"/>
                    </a:lnTo>
                    <a:lnTo>
                      <a:pt x="113" y="156"/>
                    </a:lnTo>
                    <a:lnTo>
                      <a:pt x="113" y="157"/>
                    </a:lnTo>
                    <a:lnTo>
                      <a:pt x="113" y="157"/>
                    </a:lnTo>
                    <a:lnTo>
                      <a:pt x="115" y="159"/>
                    </a:lnTo>
                    <a:lnTo>
                      <a:pt x="115" y="15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5" name="Freeform 98">
                <a:extLst>
                  <a:ext uri="{FF2B5EF4-FFF2-40B4-BE49-F238E27FC236}">
                    <a16:creationId xmlns:a16="http://schemas.microsoft.com/office/drawing/2014/main" id="{66F1FD0A-2931-431D-B8D1-71E6DA34046E}"/>
                  </a:ext>
                </a:extLst>
              </p:cNvPr>
              <p:cNvSpPr>
                <a:spLocks/>
              </p:cNvSpPr>
              <p:nvPr/>
            </p:nvSpPr>
            <p:spPr bwMode="auto">
              <a:xfrm>
                <a:off x="2428875" y="4464050"/>
                <a:ext cx="233362" cy="200025"/>
              </a:xfrm>
              <a:custGeom>
                <a:avLst/>
                <a:gdLst/>
                <a:ahLst/>
                <a:cxnLst>
                  <a:cxn ang="0">
                    <a:pos x="0" y="39"/>
                  </a:cxn>
                  <a:cxn ang="0">
                    <a:pos x="93" y="126"/>
                  </a:cxn>
                  <a:cxn ang="0">
                    <a:pos x="93" y="126"/>
                  </a:cxn>
                  <a:cxn ang="0">
                    <a:pos x="109" y="112"/>
                  </a:cxn>
                  <a:cxn ang="0">
                    <a:pos x="147" y="84"/>
                  </a:cxn>
                  <a:cxn ang="0">
                    <a:pos x="49" y="0"/>
                  </a:cxn>
                  <a:cxn ang="0">
                    <a:pos x="49" y="0"/>
                  </a:cxn>
                  <a:cxn ang="0">
                    <a:pos x="11" y="29"/>
                  </a:cxn>
                  <a:cxn ang="0">
                    <a:pos x="0" y="39"/>
                  </a:cxn>
                  <a:cxn ang="0">
                    <a:pos x="0" y="39"/>
                  </a:cxn>
                </a:cxnLst>
                <a:rect l="0" t="0" r="r" b="b"/>
                <a:pathLst>
                  <a:path w="147" h="126">
                    <a:moveTo>
                      <a:pt x="0" y="39"/>
                    </a:moveTo>
                    <a:lnTo>
                      <a:pt x="93" y="126"/>
                    </a:lnTo>
                    <a:lnTo>
                      <a:pt x="93" y="126"/>
                    </a:lnTo>
                    <a:lnTo>
                      <a:pt x="109" y="112"/>
                    </a:lnTo>
                    <a:lnTo>
                      <a:pt x="147" y="84"/>
                    </a:lnTo>
                    <a:lnTo>
                      <a:pt x="49" y="0"/>
                    </a:lnTo>
                    <a:lnTo>
                      <a:pt x="49" y="0"/>
                    </a:lnTo>
                    <a:lnTo>
                      <a:pt x="11" y="29"/>
                    </a:lnTo>
                    <a:lnTo>
                      <a:pt x="0" y="39"/>
                    </a:lnTo>
                    <a:lnTo>
                      <a:pt x="0" y="3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6" name="Freeform 99">
                <a:extLst>
                  <a:ext uri="{FF2B5EF4-FFF2-40B4-BE49-F238E27FC236}">
                    <a16:creationId xmlns:a16="http://schemas.microsoft.com/office/drawing/2014/main" id="{4E5E6296-5DA2-4C8C-B2D8-997868B09E98}"/>
                  </a:ext>
                </a:extLst>
              </p:cNvPr>
              <p:cNvSpPr>
                <a:spLocks/>
              </p:cNvSpPr>
              <p:nvPr/>
            </p:nvSpPr>
            <p:spPr bwMode="auto">
              <a:xfrm>
                <a:off x="2544763" y="4376738"/>
                <a:ext cx="627062" cy="204788"/>
              </a:xfrm>
              <a:custGeom>
                <a:avLst/>
                <a:gdLst/>
                <a:ahLst/>
                <a:cxnLst>
                  <a:cxn ang="0">
                    <a:pos x="333" y="26"/>
                  </a:cxn>
                  <a:cxn ang="0">
                    <a:pos x="300" y="52"/>
                  </a:cxn>
                  <a:cxn ang="0">
                    <a:pos x="282" y="61"/>
                  </a:cxn>
                  <a:cxn ang="0">
                    <a:pos x="262" y="66"/>
                  </a:cxn>
                  <a:cxn ang="0">
                    <a:pos x="245" y="69"/>
                  </a:cxn>
                  <a:cxn ang="0">
                    <a:pos x="213" y="68"/>
                  </a:cxn>
                  <a:cxn ang="0">
                    <a:pos x="186" y="65"/>
                  </a:cxn>
                  <a:cxn ang="0">
                    <a:pos x="167" y="58"/>
                  </a:cxn>
                  <a:cxn ang="0">
                    <a:pos x="160" y="55"/>
                  </a:cxn>
                  <a:cxn ang="0">
                    <a:pos x="153" y="48"/>
                  </a:cxn>
                  <a:cxn ang="0">
                    <a:pos x="161" y="47"/>
                  </a:cxn>
                  <a:cxn ang="0">
                    <a:pos x="226" y="45"/>
                  </a:cxn>
                  <a:cxn ang="0">
                    <a:pos x="237" y="45"/>
                  </a:cxn>
                  <a:cxn ang="0">
                    <a:pos x="255" y="41"/>
                  </a:cxn>
                  <a:cxn ang="0">
                    <a:pos x="266" y="35"/>
                  </a:cxn>
                  <a:cxn ang="0">
                    <a:pos x="276" y="26"/>
                  </a:cxn>
                  <a:cxn ang="0">
                    <a:pos x="279" y="13"/>
                  </a:cxn>
                  <a:cxn ang="0">
                    <a:pos x="277" y="7"/>
                  </a:cxn>
                  <a:cxn ang="0">
                    <a:pos x="179" y="3"/>
                  </a:cxn>
                  <a:cxn ang="0">
                    <a:pos x="130" y="0"/>
                  </a:cxn>
                  <a:cxn ang="0">
                    <a:pos x="94" y="0"/>
                  </a:cxn>
                  <a:cxn ang="0">
                    <a:pos x="84" y="2"/>
                  </a:cxn>
                  <a:cxn ang="0">
                    <a:pos x="66" y="9"/>
                  </a:cxn>
                  <a:cxn ang="0">
                    <a:pos x="0" y="54"/>
                  </a:cxn>
                  <a:cxn ang="0">
                    <a:pos x="87" y="129"/>
                  </a:cxn>
                  <a:cxn ang="0">
                    <a:pos x="112" y="115"/>
                  </a:cxn>
                  <a:cxn ang="0">
                    <a:pos x="116" y="114"/>
                  </a:cxn>
                  <a:cxn ang="0">
                    <a:pos x="221" y="117"/>
                  </a:cxn>
                  <a:cxn ang="0">
                    <a:pos x="262" y="114"/>
                  </a:cxn>
                  <a:cxn ang="0">
                    <a:pos x="279" y="105"/>
                  </a:cxn>
                  <a:cxn ang="0">
                    <a:pos x="324" y="77"/>
                  </a:cxn>
                  <a:cxn ang="0">
                    <a:pos x="366" y="44"/>
                  </a:cxn>
                  <a:cxn ang="0">
                    <a:pos x="388" y="19"/>
                  </a:cxn>
                  <a:cxn ang="0">
                    <a:pos x="395" y="9"/>
                  </a:cxn>
                  <a:cxn ang="0">
                    <a:pos x="385" y="3"/>
                  </a:cxn>
                  <a:cxn ang="0">
                    <a:pos x="368" y="2"/>
                  </a:cxn>
                  <a:cxn ang="0">
                    <a:pos x="346" y="13"/>
                  </a:cxn>
                  <a:cxn ang="0">
                    <a:pos x="333" y="26"/>
                  </a:cxn>
                </a:cxnLst>
                <a:rect l="0" t="0" r="r" b="b"/>
                <a:pathLst>
                  <a:path w="395" h="129">
                    <a:moveTo>
                      <a:pt x="333" y="26"/>
                    </a:moveTo>
                    <a:lnTo>
                      <a:pt x="333" y="26"/>
                    </a:lnTo>
                    <a:lnTo>
                      <a:pt x="317" y="40"/>
                    </a:lnTo>
                    <a:lnTo>
                      <a:pt x="300" y="52"/>
                    </a:lnTo>
                    <a:lnTo>
                      <a:pt x="291" y="56"/>
                    </a:lnTo>
                    <a:lnTo>
                      <a:pt x="282" y="61"/>
                    </a:lnTo>
                    <a:lnTo>
                      <a:pt x="272" y="63"/>
                    </a:lnTo>
                    <a:lnTo>
                      <a:pt x="262" y="66"/>
                    </a:lnTo>
                    <a:lnTo>
                      <a:pt x="262" y="66"/>
                    </a:lnTo>
                    <a:lnTo>
                      <a:pt x="245" y="69"/>
                    </a:lnTo>
                    <a:lnTo>
                      <a:pt x="230" y="69"/>
                    </a:lnTo>
                    <a:lnTo>
                      <a:pt x="213" y="68"/>
                    </a:lnTo>
                    <a:lnTo>
                      <a:pt x="199" y="66"/>
                    </a:lnTo>
                    <a:lnTo>
                      <a:pt x="186" y="65"/>
                    </a:lnTo>
                    <a:lnTo>
                      <a:pt x="175" y="61"/>
                    </a:lnTo>
                    <a:lnTo>
                      <a:pt x="167" y="58"/>
                    </a:lnTo>
                    <a:lnTo>
                      <a:pt x="160" y="55"/>
                    </a:lnTo>
                    <a:lnTo>
                      <a:pt x="160" y="55"/>
                    </a:lnTo>
                    <a:lnTo>
                      <a:pt x="154" y="51"/>
                    </a:lnTo>
                    <a:lnTo>
                      <a:pt x="153" y="48"/>
                    </a:lnTo>
                    <a:lnTo>
                      <a:pt x="154" y="47"/>
                    </a:lnTo>
                    <a:lnTo>
                      <a:pt x="161" y="47"/>
                    </a:lnTo>
                    <a:lnTo>
                      <a:pt x="185" y="47"/>
                    </a:lnTo>
                    <a:lnTo>
                      <a:pt x="226" y="45"/>
                    </a:lnTo>
                    <a:lnTo>
                      <a:pt x="226" y="45"/>
                    </a:lnTo>
                    <a:lnTo>
                      <a:pt x="237" y="45"/>
                    </a:lnTo>
                    <a:lnTo>
                      <a:pt x="247" y="44"/>
                    </a:lnTo>
                    <a:lnTo>
                      <a:pt x="255" y="41"/>
                    </a:lnTo>
                    <a:lnTo>
                      <a:pt x="261" y="38"/>
                    </a:lnTo>
                    <a:lnTo>
                      <a:pt x="266" y="35"/>
                    </a:lnTo>
                    <a:lnTo>
                      <a:pt x="270" y="33"/>
                    </a:lnTo>
                    <a:lnTo>
                      <a:pt x="276" y="26"/>
                    </a:lnTo>
                    <a:lnTo>
                      <a:pt x="279" y="19"/>
                    </a:lnTo>
                    <a:lnTo>
                      <a:pt x="279" y="13"/>
                    </a:lnTo>
                    <a:lnTo>
                      <a:pt x="277" y="7"/>
                    </a:lnTo>
                    <a:lnTo>
                      <a:pt x="277" y="7"/>
                    </a:lnTo>
                    <a:lnTo>
                      <a:pt x="248" y="6"/>
                    </a:lnTo>
                    <a:lnTo>
                      <a:pt x="179" y="3"/>
                    </a:lnTo>
                    <a:lnTo>
                      <a:pt x="179" y="3"/>
                    </a:lnTo>
                    <a:lnTo>
                      <a:pt x="130" y="0"/>
                    </a:lnTo>
                    <a:lnTo>
                      <a:pt x="105" y="0"/>
                    </a:lnTo>
                    <a:lnTo>
                      <a:pt x="94" y="0"/>
                    </a:lnTo>
                    <a:lnTo>
                      <a:pt x="84" y="2"/>
                    </a:lnTo>
                    <a:lnTo>
                      <a:pt x="84" y="2"/>
                    </a:lnTo>
                    <a:lnTo>
                      <a:pt x="76" y="5"/>
                    </a:lnTo>
                    <a:lnTo>
                      <a:pt x="66" y="9"/>
                    </a:lnTo>
                    <a:lnTo>
                      <a:pt x="46" y="20"/>
                    </a:lnTo>
                    <a:lnTo>
                      <a:pt x="0" y="54"/>
                    </a:lnTo>
                    <a:lnTo>
                      <a:pt x="87" y="129"/>
                    </a:lnTo>
                    <a:lnTo>
                      <a:pt x="87" y="129"/>
                    </a:lnTo>
                    <a:lnTo>
                      <a:pt x="105" y="118"/>
                    </a:lnTo>
                    <a:lnTo>
                      <a:pt x="112" y="115"/>
                    </a:lnTo>
                    <a:lnTo>
                      <a:pt x="116" y="114"/>
                    </a:lnTo>
                    <a:lnTo>
                      <a:pt x="116" y="114"/>
                    </a:lnTo>
                    <a:lnTo>
                      <a:pt x="181" y="117"/>
                    </a:lnTo>
                    <a:lnTo>
                      <a:pt x="221" y="117"/>
                    </a:lnTo>
                    <a:lnTo>
                      <a:pt x="242" y="117"/>
                    </a:lnTo>
                    <a:lnTo>
                      <a:pt x="262" y="114"/>
                    </a:lnTo>
                    <a:lnTo>
                      <a:pt x="262" y="114"/>
                    </a:lnTo>
                    <a:lnTo>
                      <a:pt x="279" y="105"/>
                    </a:lnTo>
                    <a:lnTo>
                      <a:pt x="296" y="96"/>
                    </a:lnTo>
                    <a:lnTo>
                      <a:pt x="324" y="77"/>
                    </a:lnTo>
                    <a:lnTo>
                      <a:pt x="347" y="59"/>
                    </a:lnTo>
                    <a:lnTo>
                      <a:pt x="366" y="44"/>
                    </a:lnTo>
                    <a:lnTo>
                      <a:pt x="378" y="30"/>
                    </a:lnTo>
                    <a:lnTo>
                      <a:pt x="388" y="19"/>
                    </a:lnTo>
                    <a:lnTo>
                      <a:pt x="395" y="9"/>
                    </a:lnTo>
                    <a:lnTo>
                      <a:pt x="395" y="9"/>
                    </a:lnTo>
                    <a:lnTo>
                      <a:pt x="391" y="5"/>
                    </a:lnTo>
                    <a:lnTo>
                      <a:pt x="385" y="3"/>
                    </a:lnTo>
                    <a:lnTo>
                      <a:pt x="377" y="2"/>
                    </a:lnTo>
                    <a:lnTo>
                      <a:pt x="368" y="2"/>
                    </a:lnTo>
                    <a:lnTo>
                      <a:pt x="357" y="6"/>
                    </a:lnTo>
                    <a:lnTo>
                      <a:pt x="346" y="13"/>
                    </a:lnTo>
                    <a:lnTo>
                      <a:pt x="340" y="19"/>
                    </a:lnTo>
                    <a:lnTo>
                      <a:pt x="333" y="26"/>
                    </a:lnTo>
                    <a:lnTo>
                      <a:pt x="333" y="2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sp>
          <p:nvSpPr>
            <p:cNvPr id="179" name="Rectangle 178">
              <a:extLst>
                <a:ext uri="{FF2B5EF4-FFF2-40B4-BE49-F238E27FC236}">
                  <a16:creationId xmlns:a16="http://schemas.microsoft.com/office/drawing/2014/main" id="{66E27449-5EA2-4CFF-93D1-6F06F82835AF}"/>
                </a:ext>
              </a:extLst>
            </p:cNvPr>
            <p:cNvSpPr/>
            <p:nvPr/>
          </p:nvSpPr>
          <p:spPr>
            <a:xfrm>
              <a:off x="1755648" y="3666744"/>
              <a:ext cx="182880" cy="3017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grpSp>
      <p:grpSp>
        <p:nvGrpSpPr>
          <p:cNvPr id="187" name="Groupe 122">
            <a:extLst>
              <a:ext uri="{FF2B5EF4-FFF2-40B4-BE49-F238E27FC236}">
                <a16:creationId xmlns:a16="http://schemas.microsoft.com/office/drawing/2014/main" id="{FEA801A1-9B55-4E91-B4D2-364F9F6AF7EB}"/>
              </a:ext>
            </a:extLst>
          </p:cNvPr>
          <p:cNvGrpSpPr/>
          <p:nvPr/>
        </p:nvGrpSpPr>
        <p:grpSpPr>
          <a:xfrm>
            <a:off x="6721632" y="5054601"/>
            <a:ext cx="1304768" cy="612009"/>
            <a:chOff x="4819650" y="2487053"/>
            <a:chExt cx="768350" cy="943535"/>
          </a:xfrm>
          <a:solidFill>
            <a:srgbClr val="006301"/>
          </a:solidFill>
        </p:grpSpPr>
        <p:sp>
          <p:nvSpPr>
            <p:cNvPr id="188" name="Freeform 54">
              <a:extLst>
                <a:ext uri="{FF2B5EF4-FFF2-40B4-BE49-F238E27FC236}">
                  <a16:creationId xmlns:a16="http://schemas.microsoft.com/office/drawing/2014/main" id="{43E3670F-20AB-4A2F-98B6-526D7431E1C0}"/>
                </a:ext>
              </a:extLst>
            </p:cNvPr>
            <p:cNvSpPr>
              <a:spLocks noEditPoints="1"/>
            </p:cNvSpPr>
            <p:nvPr/>
          </p:nvSpPr>
          <p:spPr bwMode="auto">
            <a:xfrm>
              <a:off x="5349875" y="3159125"/>
              <a:ext cx="238125" cy="77788"/>
            </a:xfrm>
            <a:custGeom>
              <a:avLst/>
              <a:gdLst/>
              <a:ahLst/>
              <a:cxnLst>
                <a:cxn ang="0">
                  <a:pos x="71" y="25"/>
                </a:cxn>
                <a:cxn ang="0">
                  <a:pos x="31" y="21"/>
                </a:cxn>
                <a:cxn ang="0">
                  <a:pos x="5" y="11"/>
                </a:cxn>
                <a:cxn ang="0">
                  <a:pos x="0" y="21"/>
                </a:cxn>
                <a:cxn ang="0">
                  <a:pos x="0" y="21"/>
                </a:cxn>
                <a:cxn ang="0">
                  <a:pos x="5" y="32"/>
                </a:cxn>
                <a:cxn ang="0">
                  <a:pos x="21" y="42"/>
                </a:cxn>
                <a:cxn ang="0">
                  <a:pos x="45" y="47"/>
                </a:cxn>
                <a:cxn ang="0">
                  <a:pos x="74" y="49"/>
                </a:cxn>
                <a:cxn ang="0">
                  <a:pos x="90" y="49"/>
                </a:cxn>
                <a:cxn ang="0">
                  <a:pos x="115" y="45"/>
                </a:cxn>
                <a:cxn ang="0">
                  <a:pos x="136" y="38"/>
                </a:cxn>
                <a:cxn ang="0">
                  <a:pos x="147" y="28"/>
                </a:cxn>
                <a:cxn ang="0">
                  <a:pos x="148" y="22"/>
                </a:cxn>
                <a:cxn ang="0">
                  <a:pos x="150" y="21"/>
                </a:cxn>
                <a:cxn ang="0">
                  <a:pos x="150" y="3"/>
                </a:cxn>
                <a:cxn ang="0">
                  <a:pos x="148" y="0"/>
                </a:cxn>
                <a:cxn ang="0">
                  <a:pos x="137" y="11"/>
                </a:cxn>
                <a:cxn ang="0">
                  <a:pos x="119" y="19"/>
                </a:cxn>
                <a:cxn ang="0">
                  <a:pos x="97" y="24"/>
                </a:cxn>
                <a:cxn ang="0">
                  <a:pos x="71" y="25"/>
                </a:cxn>
                <a:cxn ang="0">
                  <a:pos x="17" y="35"/>
                </a:cxn>
                <a:cxn ang="0">
                  <a:pos x="7" y="29"/>
                </a:cxn>
                <a:cxn ang="0">
                  <a:pos x="7" y="17"/>
                </a:cxn>
                <a:cxn ang="0">
                  <a:pos x="17" y="22"/>
                </a:cxn>
                <a:cxn ang="0">
                  <a:pos x="38" y="42"/>
                </a:cxn>
                <a:cxn ang="0">
                  <a:pos x="28" y="39"/>
                </a:cxn>
                <a:cxn ang="0">
                  <a:pos x="28" y="24"/>
                </a:cxn>
                <a:cxn ang="0">
                  <a:pos x="38" y="42"/>
                </a:cxn>
                <a:cxn ang="0">
                  <a:pos x="57" y="45"/>
                </a:cxn>
                <a:cxn ang="0">
                  <a:pos x="47" y="29"/>
                </a:cxn>
                <a:cxn ang="0">
                  <a:pos x="57" y="31"/>
                </a:cxn>
                <a:cxn ang="0">
                  <a:pos x="78" y="46"/>
                </a:cxn>
                <a:cxn ang="0">
                  <a:pos x="74" y="46"/>
                </a:cxn>
                <a:cxn ang="0">
                  <a:pos x="69" y="45"/>
                </a:cxn>
                <a:cxn ang="0">
                  <a:pos x="69" y="31"/>
                </a:cxn>
                <a:cxn ang="0">
                  <a:pos x="74" y="31"/>
                </a:cxn>
                <a:cxn ang="0">
                  <a:pos x="78" y="46"/>
                </a:cxn>
                <a:cxn ang="0">
                  <a:pos x="140" y="31"/>
                </a:cxn>
                <a:cxn ang="0">
                  <a:pos x="133" y="19"/>
                </a:cxn>
                <a:cxn ang="0">
                  <a:pos x="140" y="15"/>
                </a:cxn>
              </a:cxnLst>
              <a:rect l="0" t="0" r="r" b="b"/>
              <a:pathLst>
                <a:path w="150" h="49">
                  <a:moveTo>
                    <a:pt x="71" y="25"/>
                  </a:moveTo>
                  <a:lnTo>
                    <a:pt x="71" y="25"/>
                  </a:lnTo>
                  <a:lnTo>
                    <a:pt x="50" y="24"/>
                  </a:lnTo>
                  <a:lnTo>
                    <a:pt x="31" y="21"/>
                  </a:lnTo>
                  <a:lnTo>
                    <a:pt x="12" y="15"/>
                  </a:lnTo>
                  <a:lnTo>
                    <a:pt x="5" y="11"/>
                  </a:lnTo>
                  <a:lnTo>
                    <a:pt x="0" y="7"/>
                  </a:lnTo>
                  <a:lnTo>
                    <a:pt x="0" y="21"/>
                  </a:lnTo>
                  <a:lnTo>
                    <a:pt x="0" y="21"/>
                  </a:lnTo>
                  <a:lnTo>
                    <a:pt x="0" y="21"/>
                  </a:lnTo>
                  <a:lnTo>
                    <a:pt x="1" y="26"/>
                  </a:lnTo>
                  <a:lnTo>
                    <a:pt x="5" y="32"/>
                  </a:lnTo>
                  <a:lnTo>
                    <a:pt x="12" y="38"/>
                  </a:lnTo>
                  <a:lnTo>
                    <a:pt x="21" y="42"/>
                  </a:lnTo>
                  <a:lnTo>
                    <a:pt x="32" y="45"/>
                  </a:lnTo>
                  <a:lnTo>
                    <a:pt x="45" y="47"/>
                  </a:lnTo>
                  <a:lnTo>
                    <a:pt x="59" y="49"/>
                  </a:lnTo>
                  <a:lnTo>
                    <a:pt x="74" y="49"/>
                  </a:lnTo>
                  <a:lnTo>
                    <a:pt x="74" y="49"/>
                  </a:lnTo>
                  <a:lnTo>
                    <a:pt x="90" y="49"/>
                  </a:lnTo>
                  <a:lnTo>
                    <a:pt x="102" y="47"/>
                  </a:lnTo>
                  <a:lnTo>
                    <a:pt x="115" y="45"/>
                  </a:lnTo>
                  <a:lnTo>
                    <a:pt x="126" y="42"/>
                  </a:lnTo>
                  <a:lnTo>
                    <a:pt x="136" y="38"/>
                  </a:lnTo>
                  <a:lnTo>
                    <a:pt x="143" y="33"/>
                  </a:lnTo>
                  <a:lnTo>
                    <a:pt x="147" y="28"/>
                  </a:lnTo>
                  <a:lnTo>
                    <a:pt x="148" y="22"/>
                  </a:lnTo>
                  <a:lnTo>
                    <a:pt x="148" y="22"/>
                  </a:lnTo>
                  <a:lnTo>
                    <a:pt x="148" y="21"/>
                  </a:lnTo>
                  <a:lnTo>
                    <a:pt x="150" y="21"/>
                  </a:lnTo>
                  <a:lnTo>
                    <a:pt x="150" y="3"/>
                  </a:lnTo>
                  <a:lnTo>
                    <a:pt x="150" y="3"/>
                  </a:lnTo>
                  <a:lnTo>
                    <a:pt x="148" y="0"/>
                  </a:lnTo>
                  <a:lnTo>
                    <a:pt x="148" y="0"/>
                  </a:lnTo>
                  <a:lnTo>
                    <a:pt x="144" y="5"/>
                  </a:lnTo>
                  <a:lnTo>
                    <a:pt x="137" y="11"/>
                  </a:lnTo>
                  <a:lnTo>
                    <a:pt x="129" y="15"/>
                  </a:lnTo>
                  <a:lnTo>
                    <a:pt x="119" y="19"/>
                  </a:lnTo>
                  <a:lnTo>
                    <a:pt x="108" y="22"/>
                  </a:lnTo>
                  <a:lnTo>
                    <a:pt x="97" y="24"/>
                  </a:lnTo>
                  <a:lnTo>
                    <a:pt x="71" y="25"/>
                  </a:lnTo>
                  <a:lnTo>
                    <a:pt x="71" y="25"/>
                  </a:lnTo>
                  <a:close/>
                  <a:moveTo>
                    <a:pt x="17" y="35"/>
                  </a:moveTo>
                  <a:lnTo>
                    <a:pt x="17" y="35"/>
                  </a:lnTo>
                  <a:lnTo>
                    <a:pt x="11" y="32"/>
                  </a:lnTo>
                  <a:lnTo>
                    <a:pt x="7" y="29"/>
                  </a:lnTo>
                  <a:lnTo>
                    <a:pt x="7" y="17"/>
                  </a:lnTo>
                  <a:lnTo>
                    <a:pt x="7" y="17"/>
                  </a:lnTo>
                  <a:lnTo>
                    <a:pt x="10" y="19"/>
                  </a:lnTo>
                  <a:lnTo>
                    <a:pt x="17" y="22"/>
                  </a:lnTo>
                  <a:lnTo>
                    <a:pt x="17" y="35"/>
                  </a:lnTo>
                  <a:close/>
                  <a:moveTo>
                    <a:pt x="38" y="42"/>
                  </a:moveTo>
                  <a:lnTo>
                    <a:pt x="38" y="42"/>
                  </a:lnTo>
                  <a:lnTo>
                    <a:pt x="28" y="39"/>
                  </a:lnTo>
                  <a:lnTo>
                    <a:pt x="28" y="24"/>
                  </a:lnTo>
                  <a:lnTo>
                    <a:pt x="28" y="24"/>
                  </a:lnTo>
                  <a:lnTo>
                    <a:pt x="38" y="26"/>
                  </a:lnTo>
                  <a:lnTo>
                    <a:pt x="38" y="42"/>
                  </a:lnTo>
                  <a:close/>
                  <a:moveTo>
                    <a:pt x="57" y="45"/>
                  </a:moveTo>
                  <a:lnTo>
                    <a:pt x="57" y="45"/>
                  </a:lnTo>
                  <a:lnTo>
                    <a:pt x="47" y="43"/>
                  </a:lnTo>
                  <a:lnTo>
                    <a:pt x="47" y="29"/>
                  </a:lnTo>
                  <a:lnTo>
                    <a:pt x="47" y="29"/>
                  </a:lnTo>
                  <a:lnTo>
                    <a:pt x="57" y="31"/>
                  </a:lnTo>
                  <a:lnTo>
                    <a:pt x="57" y="45"/>
                  </a:lnTo>
                  <a:close/>
                  <a:moveTo>
                    <a:pt x="78" y="46"/>
                  </a:moveTo>
                  <a:lnTo>
                    <a:pt x="78" y="46"/>
                  </a:lnTo>
                  <a:lnTo>
                    <a:pt x="74" y="46"/>
                  </a:lnTo>
                  <a:lnTo>
                    <a:pt x="74" y="46"/>
                  </a:lnTo>
                  <a:lnTo>
                    <a:pt x="69" y="45"/>
                  </a:lnTo>
                  <a:lnTo>
                    <a:pt x="69" y="31"/>
                  </a:lnTo>
                  <a:lnTo>
                    <a:pt x="69" y="31"/>
                  </a:lnTo>
                  <a:lnTo>
                    <a:pt x="74" y="31"/>
                  </a:lnTo>
                  <a:lnTo>
                    <a:pt x="74" y="31"/>
                  </a:lnTo>
                  <a:lnTo>
                    <a:pt x="78" y="31"/>
                  </a:lnTo>
                  <a:lnTo>
                    <a:pt x="78" y="46"/>
                  </a:lnTo>
                  <a:close/>
                  <a:moveTo>
                    <a:pt x="140" y="31"/>
                  </a:moveTo>
                  <a:lnTo>
                    <a:pt x="140" y="31"/>
                  </a:lnTo>
                  <a:lnTo>
                    <a:pt x="133" y="35"/>
                  </a:lnTo>
                  <a:lnTo>
                    <a:pt x="133" y="19"/>
                  </a:lnTo>
                  <a:lnTo>
                    <a:pt x="133" y="19"/>
                  </a:lnTo>
                  <a:lnTo>
                    <a:pt x="140" y="15"/>
                  </a:lnTo>
                  <a:lnTo>
                    <a:pt x="140" y="31"/>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89" name="Freeform 55">
              <a:extLst>
                <a:ext uri="{FF2B5EF4-FFF2-40B4-BE49-F238E27FC236}">
                  <a16:creationId xmlns:a16="http://schemas.microsoft.com/office/drawing/2014/main" id="{72270F96-840A-45D1-B62E-552671F58C3E}"/>
                </a:ext>
              </a:extLst>
            </p:cNvPr>
            <p:cNvSpPr>
              <a:spLocks noEditPoints="1"/>
            </p:cNvSpPr>
            <p:nvPr/>
          </p:nvSpPr>
          <p:spPr bwMode="auto">
            <a:xfrm>
              <a:off x="5343525" y="3111500"/>
              <a:ext cx="238125" cy="77788"/>
            </a:xfrm>
            <a:custGeom>
              <a:avLst/>
              <a:gdLst/>
              <a:ahLst/>
              <a:cxnLst>
                <a:cxn ang="0">
                  <a:pos x="75" y="49"/>
                </a:cxn>
                <a:cxn ang="0">
                  <a:pos x="103" y="48"/>
                </a:cxn>
                <a:cxn ang="0">
                  <a:pos x="127" y="41"/>
                </a:cxn>
                <a:cxn ang="0">
                  <a:pos x="143" y="33"/>
                </a:cxn>
                <a:cxn ang="0">
                  <a:pos x="150" y="23"/>
                </a:cxn>
                <a:cxn ang="0">
                  <a:pos x="150" y="21"/>
                </a:cxn>
                <a:cxn ang="0">
                  <a:pos x="150" y="7"/>
                </a:cxn>
                <a:cxn ang="0">
                  <a:pos x="144" y="11"/>
                </a:cxn>
                <a:cxn ang="0">
                  <a:pos x="119" y="21"/>
                </a:cxn>
                <a:cxn ang="0">
                  <a:pos x="78" y="26"/>
                </a:cxn>
                <a:cxn ang="0">
                  <a:pos x="53" y="24"/>
                </a:cxn>
                <a:cxn ang="0">
                  <a:pos x="30" y="19"/>
                </a:cxn>
                <a:cxn ang="0">
                  <a:pos x="12" y="11"/>
                </a:cxn>
                <a:cxn ang="0">
                  <a:pos x="0" y="0"/>
                </a:cxn>
                <a:cxn ang="0">
                  <a:pos x="0" y="2"/>
                </a:cxn>
                <a:cxn ang="0">
                  <a:pos x="0" y="3"/>
                </a:cxn>
                <a:cxn ang="0">
                  <a:pos x="0" y="21"/>
                </a:cxn>
                <a:cxn ang="0">
                  <a:pos x="1" y="27"/>
                </a:cxn>
                <a:cxn ang="0">
                  <a:pos x="12" y="37"/>
                </a:cxn>
                <a:cxn ang="0">
                  <a:pos x="33" y="45"/>
                </a:cxn>
                <a:cxn ang="0">
                  <a:pos x="60" y="49"/>
                </a:cxn>
                <a:cxn ang="0">
                  <a:pos x="75" y="49"/>
                </a:cxn>
                <a:cxn ang="0">
                  <a:pos x="133" y="23"/>
                </a:cxn>
                <a:cxn ang="0">
                  <a:pos x="141" y="30"/>
                </a:cxn>
                <a:cxn ang="0">
                  <a:pos x="133" y="35"/>
                </a:cxn>
                <a:cxn ang="0">
                  <a:pos x="68" y="31"/>
                </a:cxn>
                <a:cxn ang="0">
                  <a:pos x="75" y="31"/>
                </a:cxn>
                <a:cxn ang="0">
                  <a:pos x="80" y="31"/>
                </a:cxn>
                <a:cxn ang="0">
                  <a:pos x="80" y="45"/>
                </a:cxn>
                <a:cxn ang="0">
                  <a:pos x="75" y="45"/>
                </a:cxn>
                <a:cxn ang="0">
                  <a:pos x="68" y="31"/>
                </a:cxn>
                <a:cxn ang="0">
                  <a:pos x="49" y="28"/>
                </a:cxn>
                <a:cxn ang="0">
                  <a:pos x="58" y="45"/>
                </a:cxn>
                <a:cxn ang="0">
                  <a:pos x="49" y="44"/>
                </a:cxn>
                <a:cxn ang="0">
                  <a:pos x="28" y="24"/>
                </a:cxn>
                <a:cxn ang="0">
                  <a:pos x="37" y="27"/>
                </a:cxn>
                <a:cxn ang="0">
                  <a:pos x="37" y="42"/>
                </a:cxn>
                <a:cxn ang="0">
                  <a:pos x="28" y="24"/>
                </a:cxn>
                <a:cxn ang="0">
                  <a:pos x="8" y="14"/>
                </a:cxn>
                <a:cxn ang="0">
                  <a:pos x="18" y="20"/>
                </a:cxn>
                <a:cxn ang="0">
                  <a:pos x="18" y="35"/>
                </a:cxn>
                <a:cxn ang="0">
                  <a:pos x="8" y="28"/>
                </a:cxn>
              </a:cxnLst>
              <a:rect l="0" t="0" r="r" b="b"/>
              <a:pathLst>
                <a:path w="150" h="49">
                  <a:moveTo>
                    <a:pt x="75" y="49"/>
                  </a:moveTo>
                  <a:lnTo>
                    <a:pt x="75" y="49"/>
                  </a:lnTo>
                  <a:lnTo>
                    <a:pt x="89" y="49"/>
                  </a:lnTo>
                  <a:lnTo>
                    <a:pt x="103" y="48"/>
                  </a:lnTo>
                  <a:lnTo>
                    <a:pt x="116" y="45"/>
                  </a:lnTo>
                  <a:lnTo>
                    <a:pt x="127" y="41"/>
                  </a:lnTo>
                  <a:lnTo>
                    <a:pt x="136" y="38"/>
                  </a:lnTo>
                  <a:lnTo>
                    <a:pt x="143" y="33"/>
                  </a:lnTo>
                  <a:lnTo>
                    <a:pt x="148" y="28"/>
                  </a:lnTo>
                  <a:lnTo>
                    <a:pt x="150" y="23"/>
                  </a:lnTo>
                  <a:lnTo>
                    <a:pt x="150" y="23"/>
                  </a:lnTo>
                  <a:lnTo>
                    <a:pt x="150" y="21"/>
                  </a:lnTo>
                  <a:lnTo>
                    <a:pt x="150" y="21"/>
                  </a:lnTo>
                  <a:lnTo>
                    <a:pt x="150" y="7"/>
                  </a:lnTo>
                  <a:lnTo>
                    <a:pt x="150" y="7"/>
                  </a:lnTo>
                  <a:lnTo>
                    <a:pt x="144" y="11"/>
                  </a:lnTo>
                  <a:lnTo>
                    <a:pt x="137" y="16"/>
                  </a:lnTo>
                  <a:lnTo>
                    <a:pt x="119" y="21"/>
                  </a:lnTo>
                  <a:lnTo>
                    <a:pt x="99" y="24"/>
                  </a:lnTo>
                  <a:lnTo>
                    <a:pt x="78" y="26"/>
                  </a:lnTo>
                  <a:lnTo>
                    <a:pt x="78" y="26"/>
                  </a:lnTo>
                  <a:lnTo>
                    <a:pt x="53" y="24"/>
                  </a:lnTo>
                  <a:lnTo>
                    <a:pt x="42" y="21"/>
                  </a:lnTo>
                  <a:lnTo>
                    <a:pt x="30" y="19"/>
                  </a:lnTo>
                  <a:lnTo>
                    <a:pt x="21" y="16"/>
                  </a:lnTo>
                  <a:lnTo>
                    <a:pt x="12" y="11"/>
                  </a:lnTo>
                  <a:lnTo>
                    <a:pt x="5" y="6"/>
                  </a:lnTo>
                  <a:lnTo>
                    <a:pt x="0" y="0"/>
                  </a:lnTo>
                  <a:lnTo>
                    <a:pt x="0" y="0"/>
                  </a:lnTo>
                  <a:lnTo>
                    <a:pt x="0" y="2"/>
                  </a:lnTo>
                  <a:lnTo>
                    <a:pt x="0" y="2"/>
                  </a:lnTo>
                  <a:lnTo>
                    <a:pt x="0" y="3"/>
                  </a:lnTo>
                  <a:lnTo>
                    <a:pt x="0" y="21"/>
                  </a:lnTo>
                  <a:lnTo>
                    <a:pt x="0" y="21"/>
                  </a:lnTo>
                  <a:lnTo>
                    <a:pt x="0" y="21"/>
                  </a:lnTo>
                  <a:lnTo>
                    <a:pt x="1" y="27"/>
                  </a:lnTo>
                  <a:lnTo>
                    <a:pt x="7" y="33"/>
                  </a:lnTo>
                  <a:lnTo>
                    <a:pt x="12" y="37"/>
                  </a:lnTo>
                  <a:lnTo>
                    <a:pt x="22" y="41"/>
                  </a:lnTo>
                  <a:lnTo>
                    <a:pt x="33" y="45"/>
                  </a:lnTo>
                  <a:lnTo>
                    <a:pt x="46" y="48"/>
                  </a:lnTo>
                  <a:lnTo>
                    <a:pt x="60" y="49"/>
                  </a:lnTo>
                  <a:lnTo>
                    <a:pt x="75" y="49"/>
                  </a:lnTo>
                  <a:lnTo>
                    <a:pt x="75" y="49"/>
                  </a:lnTo>
                  <a:close/>
                  <a:moveTo>
                    <a:pt x="133" y="23"/>
                  </a:moveTo>
                  <a:lnTo>
                    <a:pt x="133" y="23"/>
                  </a:lnTo>
                  <a:lnTo>
                    <a:pt x="141" y="19"/>
                  </a:lnTo>
                  <a:lnTo>
                    <a:pt x="141" y="30"/>
                  </a:lnTo>
                  <a:lnTo>
                    <a:pt x="141" y="30"/>
                  </a:lnTo>
                  <a:lnTo>
                    <a:pt x="133" y="35"/>
                  </a:lnTo>
                  <a:lnTo>
                    <a:pt x="133" y="23"/>
                  </a:lnTo>
                  <a:close/>
                  <a:moveTo>
                    <a:pt x="68" y="31"/>
                  </a:moveTo>
                  <a:lnTo>
                    <a:pt x="68" y="31"/>
                  </a:lnTo>
                  <a:lnTo>
                    <a:pt x="75" y="31"/>
                  </a:lnTo>
                  <a:lnTo>
                    <a:pt x="75" y="31"/>
                  </a:lnTo>
                  <a:lnTo>
                    <a:pt x="80" y="31"/>
                  </a:lnTo>
                  <a:lnTo>
                    <a:pt x="80" y="45"/>
                  </a:lnTo>
                  <a:lnTo>
                    <a:pt x="80" y="45"/>
                  </a:lnTo>
                  <a:lnTo>
                    <a:pt x="75" y="45"/>
                  </a:lnTo>
                  <a:lnTo>
                    <a:pt x="75" y="45"/>
                  </a:lnTo>
                  <a:lnTo>
                    <a:pt x="68" y="45"/>
                  </a:lnTo>
                  <a:lnTo>
                    <a:pt x="68" y="31"/>
                  </a:lnTo>
                  <a:close/>
                  <a:moveTo>
                    <a:pt x="49" y="28"/>
                  </a:moveTo>
                  <a:lnTo>
                    <a:pt x="49" y="28"/>
                  </a:lnTo>
                  <a:lnTo>
                    <a:pt x="58" y="30"/>
                  </a:lnTo>
                  <a:lnTo>
                    <a:pt x="58" y="45"/>
                  </a:lnTo>
                  <a:lnTo>
                    <a:pt x="58" y="45"/>
                  </a:lnTo>
                  <a:lnTo>
                    <a:pt x="49" y="44"/>
                  </a:lnTo>
                  <a:lnTo>
                    <a:pt x="49" y="28"/>
                  </a:lnTo>
                  <a:close/>
                  <a:moveTo>
                    <a:pt x="28" y="24"/>
                  </a:moveTo>
                  <a:lnTo>
                    <a:pt x="28" y="24"/>
                  </a:lnTo>
                  <a:lnTo>
                    <a:pt x="37" y="27"/>
                  </a:lnTo>
                  <a:lnTo>
                    <a:pt x="37" y="42"/>
                  </a:lnTo>
                  <a:lnTo>
                    <a:pt x="37" y="42"/>
                  </a:lnTo>
                  <a:lnTo>
                    <a:pt x="28" y="40"/>
                  </a:lnTo>
                  <a:lnTo>
                    <a:pt x="28" y="24"/>
                  </a:lnTo>
                  <a:close/>
                  <a:moveTo>
                    <a:pt x="8" y="14"/>
                  </a:moveTo>
                  <a:lnTo>
                    <a:pt x="8" y="14"/>
                  </a:lnTo>
                  <a:lnTo>
                    <a:pt x="12" y="17"/>
                  </a:lnTo>
                  <a:lnTo>
                    <a:pt x="18" y="20"/>
                  </a:lnTo>
                  <a:lnTo>
                    <a:pt x="18" y="35"/>
                  </a:lnTo>
                  <a:lnTo>
                    <a:pt x="18" y="35"/>
                  </a:lnTo>
                  <a:lnTo>
                    <a:pt x="11" y="33"/>
                  </a:lnTo>
                  <a:lnTo>
                    <a:pt x="8" y="28"/>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0" name="Freeform 56">
              <a:extLst>
                <a:ext uri="{FF2B5EF4-FFF2-40B4-BE49-F238E27FC236}">
                  <a16:creationId xmlns:a16="http://schemas.microsoft.com/office/drawing/2014/main" id="{3966F40F-7FA1-41A4-8ECB-F91D5CDAF42F}"/>
                </a:ext>
              </a:extLst>
            </p:cNvPr>
            <p:cNvSpPr>
              <a:spLocks noEditPoints="1"/>
            </p:cNvSpPr>
            <p:nvPr/>
          </p:nvSpPr>
          <p:spPr bwMode="auto">
            <a:xfrm>
              <a:off x="5343525" y="3208338"/>
              <a:ext cx="238125" cy="77788"/>
            </a:xfrm>
            <a:custGeom>
              <a:avLst/>
              <a:gdLst/>
              <a:ahLst/>
              <a:cxnLst>
                <a:cxn ang="0">
                  <a:pos x="150" y="7"/>
                </a:cxn>
                <a:cxn ang="0">
                  <a:pos x="137" y="14"/>
                </a:cxn>
                <a:cxn ang="0">
                  <a:pos x="99" y="23"/>
                </a:cxn>
                <a:cxn ang="0">
                  <a:pos x="78" y="23"/>
                </a:cxn>
                <a:cxn ang="0">
                  <a:pos x="42" y="21"/>
                </a:cxn>
                <a:cxn ang="0">
                  <a:pos x="21" y="14"/>
                </a:cxn>
                <a:cxn ang="0">
                  <a:pos x="5" y="5"/>
                </a:cxn>
                <a:cxn ang="0">
                  <a:pos x="0" y="0"/>
                </a:cxn>
                <a:cxn ang="0">
                  <a:pos x="0" y="1"/>
                </a:cxn>
                <a:cxn ang="0">
                  <a:pos x="0" y="21"/>
                </a:cxn>
                <a:cxn ang="0">
                  <a:pos x="0" y="21"/>
                </a:cxn>
                <a:cxn ang="0">
                  <a:pos x="7" y="30"/>
                </a:cxn>
                <a:cxn ang="0">
                  <a:pos x="22" y="40"/>
                </a:cxn>
                <a:cxn ang="0">
                  <a:pos x="46" y="46"/>
                </a:cxn>
                <a:cxn ang="0">
                  <a:pos x="75" y="49"/>
                </a:cxn>
                <a:cxn ang="0">
                  <a:pos x="89" y="47"/>
                </a:cxn>
                <a:cxn ang="0">
                  <a:pos x="116" y="43"/>
                </a:cxn>
                <a:cxn ang="0">
                  <a:pos x="136" y="36"/>
                </a:cxn>
                <a:cxn ang="0">
                  <a:pos x="148" y="26"/>
                </a:cxn>
                <a:cxn ang="0">
                  <a:pos x="150" y="21"/>
                </a:cxn>
                <a:cxn ang="0">
                  <a:pos x="150" y="21"/>
                </a:cxn>
                <a:cxn ang="0">
                  <a:pos x="18" y="35"/>
                </a:cxn>
                <a:cxn ang="0">
                  <a:pos x="11" y="30"/>
                </a:cxn>
                <a:cxn ang="0">
                  <a:pos x="8" y="12"/>
                </a:cxn>
                <a:cxn ang="0">
                  <a:pos x="12" y="16"/>
                </a:cxn>
                <a:cxn ang="0">
                  <a:pos x="18" y="35"/>
                </a:cxn>
                <a:cxn ang="0">
                  <a:pos x="37" y="40"/>
                </a:cxn>
                <a:cxn ang="0">
                  <a:pos x="28" y="23"/>
                </a:cxn>
                <a:cxn ang="0">
                  <a:pos x="37" y="26"/>
                </a:cxn>
                <a:cxn ang="0">
                  <a:pos x="58" y="43"/>
                </a:cxn>
                <a:cxn ang="0">
                  <a:pos x="49" y="43"/>
                </a:cxn>
                <a:cxn ang="0">
                  <a:pos x="49" y="28"/>
                </a:cxn>
                <a:cxn ang="0">
                  <a:pos x="58" y="43"/>
                </a:cxn>
                <a:cxn ang="0">
                  <a:pos x="80" y="44"/>
                </a:cxn>
                <a:cxn ang="0">
                  <a:pos x="75" y="44"/>
                </a:cxn>
                <a:cxn ang="0">
                  <a:pos x="68" y="29"/>
                </a:cxn>
                <a:cxn ang="0">
                  <a:pos x="75" y="29"/>
                </a:cxn>
                <a:cxn ang="0">
                  <a:pos x="80" y="29"/>
                </a:cxn>
                <a:cxn ang="0">
                  <a:pos x="141" y="29"/>
                </a:cxn>
                <a:cxn ang="0">
                  <a:pos x="133" y="33"/>
                </a:cxn>
                <a:cxn ang="0">
                  <a:pos x="133" y="21"/>
                </a:cxn>
                <a:cxn ang="0">
                  <a:pos x="141" y="29"/>
                </a:cxn>
              </a:cxnLst>
              <a:rect l="0" t="0" r="r" b="b"/>
              <a:pathLst>
                <a:path w="150" h="49">
                  <a:moveTo>
                    <a:pt x="150" y="7"/>
                  </a:moveTo>
                  <a:lnTo>
                    <a:pt x="150" y="7"/>
                  </a:lnTo>
                  <a:lnTo>
                    <a:pt x="144" y="11"/>
                  </a:lnTo>
                  <a:lnTo>
                    <a:pt x="137" y="14"/>
                  </a:lnTo>
                  <a:lnTo>
                    <a:pt x="119" y="19"/>
                  </a:lnTo>
                  <a:lnTo>
                    <a:pt x="99" y="23"/>
                  </a:lnTo>
                  <a:lnTo>
                    <a:pt x="78" y="23"/>
                  </a:lnTo>
                  <a:lnTo>
                    <a:pt x="78" y="23"/>
                  </a:lnTo>
                  <a:lnTo>
                    <a:pt x="53" y="22"/>
                  </a:lnTo>
                  <a:lnTo>
                    <a:pt x="42" y="21"/>
                  </a:lnTo>
                  <a:lnTo>
                    <a:pt x="30" y="18"/>
                  </a:lnTo>
                  <a:lnTo>
                    <a:pt x="21" y="14"/>
                  </a:lnTo>
                  <a:lnTo>
                    <a:pt x="12" y="9"/>
                  </a:lnTo>
                  <a:lnTo>
                    <a:pt x="5" y="5"/>
                  </a:lnTo>
                  <a:lnTo>
                    <a:pt x="0" y="0"/>
                  </a:lnTo>
                  <a:lnTo>
                    <a:pt x="0" y="0"/>
                  </a:lnTo>
                  <a:lnTo>
                    <a:pt x="0" y="1"/>
                  </a:lnTo>
                  <a:lnTo>
                    <a:pt x="0" y="1"/>
                  </a:lnTo>
                  <a:lnTo>
                    <a:pt x="0" y="1"/>
                  </a:lnTo>
                  <a:lnTo>
                    <a:pt x="0" y="21"/>
                  </a:lnTo>
                  <a:lnTo>
                    <a:pt x="0" y="21"/>
                  </a:lnTo>
                  <a:lnTo>
                    <a:pt x="0" y="21"/>
                  </a:lnTo>
                  <a:lnTo>
                    <a:pt x="1" y="26"/>
                  </a:lnTo>
                  <a:lnTo>
                    <a:pt x="7" y="30"/>
                  </a:lnTo>
                  <a:lnTo>
                    <a:pt x="12" y="36"/>
                  </a:lnTo>
                  <a:lnTo>
                    <a:pt x="22" y="40"/>
                  </a:lnTo>
                  <a:lnTo>
                    <a:pt x="33" y="43"/>
                  </a:lnTo>
                  <a:lnTo>
                    <a:pt x="46" y="46"/>
                  </a:lnTo>
                  <a:lnTo>
                    <a:pt x="60" y="47"/>
                  </a:lnTo>
                  <a:lnTo>
                    <a:pt x="75" y="49"/>
                  </a:lnTo>
                  <a:lnTo>
                    <a:pt x="75" y="49"/>
                  </a:lnTo>
                  <a:lnTo>
                    <a:pt x="89" y="47"/>
                  </a:lnTo>
                  <a:lnTo>
                    <a:pt x="103" y="46"/>
                  </a:lnTo>
                  <a:lnTo>
                    <a:pt x="116" y="43"/>
                  </a:lnTo>
                  <a:lnTo>
                    <a:pt x="127" y="40"/>
                  </a:lnTo>
                  <a:lnTo>
                    <a:pt x="136" y="36"/>
                  </a:lnTo>
                  <a:lnTo>
                    <a:pt x="143" y="32"/>
                  </a:lnTo>
                  <a:lnTo>
                    <a:pt x="148" y="26"/>
                  </a:lnTo>
                  <a:lnTo>
                    <a:pt x="150" y="21"/>
                  </a:lnTo>
                  <a:lnTo>
                    <a:pt x="150" y="21"/>
                  </a:lnTo>
                  <a:lnTo>
                    <a:pt x="150" y="21"/>
                  </a:lnTo>
                  <a:lnTo>
                    <a:pt x="150" y="21"/>
                  </a:lnTo>
                  <a:lnTo>
                    <a:pt x="150" y="7"/>
                  </a:lnTo>
                  <a:close/>
                  <a:moveTo>
                    <a:pt x="18" y="35"/>
                  </a:moveTo>
                  <a:lnTo>
                    <a:pt x="18" y="35"/>
                  </a:lnTo>
                  <a:lnTo>
                    <a:pt x="11" y="30"/>
                  </a:lnTo>
                  <a:lnTo>
                    <a:pt x="8" y="28"/>
                  </a:lnTo>
                  <a:lnTo>
                    <a:pt x="8" y="12"/>
                  </a:lnTo>
                  <a:lnTo>
                    <a:pt x="8" y="12"/>
                  </a:lnTo>
                  <a:lnTo>
                    <a:pt x="12" y="16"/>
                  </a:lnTo>
                  <a:lnTo>
                    <a:pt x="18" y="19"/>
                  </a:lnTo>
                  <a:lnTo>
                    <a:pt x="18" y="35"/>
                  </a:lnTo>
                  <a:close/>
                  <a:moveTo>
                    <a:pt x="37" y="40"/>
                  </a:moveTo>
                  <a:lnTo>
                    <a:pt x="37" y="40"/>
                  </a:lnTo>
                  <a:lnTo>
                    <a:pt x="28" y="37"/>
                  </a:lnTo>
                  <a:lnTo>
                    <a:pt x="28" y="23"/>
                  </a:lnTo>
                  <a:lnTo>
                    <a:pt x="28" y="23"/>
                  </a:lnTo>
                  <a:lnTo>
                    <a:pt x="37" y="26"/>
                  </a:lnTo>
                  <a:lnTo>
                    <a:pt x="37" y="40"/>
                  </a:lnTo>
                  <a:close/>
                  <a:moveTo>
                    <a:pt x="58" y="43"/>
                  </a:moveTo>
                  <a:lnTo>
                    <a:pt x="58" y="43"/>
                  </a:lnTo>
                  <a:lnTo>
                    <a:pt x="49" y="43"/>
                  </a:lnTo>
                  <a:lnTo>
                    <a:pt x="49" y="28"/>
                  </a:lnTo>
                  <a:lnTo>
                    <a:pt x="49" y="28"/>
                  </a:lnTo>
                  <a:lnTo>
                    <a:pt x="58" y="29"/>
                  </a:lnTo>
                  <a:lnTo>
                    <a:pt x="58" y="43"/>
                  </a:lnTo>
                  <a:close/>
                  <a:moveTo>
                    <a:pt x="80" y="44"/>
                  </a:moveTo>
                  <a:lnTo>
                    <a:pt x="80" y="44"/>
                  </a:lnTo>
                  <a:lnTo>
                    <a:pt x="75" y="44"/>
                  </a:lnTo>
                  <a:lnTo>
                    <a:pt x="75" y="44"/>
                  </a:lnTo>
                  <a:lnTo>
                    <a:pt x="68" y="44"/>
                  </a:lnTo>
                  <a:lnTo>
                    <a:pt x="68" y="29"/>
                  </a:lnTo>
                  <a:lnTo>
                    <a:pt x="68" y="29"/>
                  </a:lnTo>
                  <a:lnTo>
                    <a:pt x="75" y="29"/>
                  </a:lnTo>
                  <a:lnTo>
                    <a:pt x="75" y="29"/>
                  </a:lnTo>
                  <a:lnTo>
                    <a:pt x="80" y="29"/>
                  </a:lnTo>
                  <a:lnTo>
                    <a:pt x="80" y="44"/>
                  </a:lnTo>
                  <a:close/>
                  <a:moveTo>
                    <a:pt x="141" y="29"/>
                  </a:moveTo>
                  <a:lnTo>
                    <a:pt x="141" y="29"/>
                  </a:lnTo>
                  <a:lnTo>
                    <a:pt x="133" y="33"/>
                  </a:lnTo>
                  <a:lnTo>
                    <a:pt x="133" y="21"/>
                  </a:lnTo>
                  <a:lnTo>
                    <a:pt x="133" y="21"/>
                  </a:lnTo>
                  <a:lnTo>
                    <a:pt x="141" y="18"/>
                  </a:lnTo>
                  <a:lnTo>
                    <a:pt x="141" y="29"/>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1" name="Freeform 57">
              <a:extLst>
                <a:ext uri="{FF2B5EF4-FFF2-40B4-BE49-F238E27FC236}">
                  <a16:creationId xmlns:a16="http://schemas.microsoft.com/office/drawing/2014/main" id="{83F3AC15-3EDD-4A56-BA06-F9C30C1E0FB7}"/>
                </a:ext>
              </a:extLst>
            </p:cNvPr>
            <p:cNvSpPr>
              <a:spLocks noEditPoints="1"/>
            </p:cNvSpPr>
            <p:nvPr/>
          </p:nvSpPr>
          <p:spPr bwMode="auto">
            <a:xfrm>
              <a:off x="5349875" y="3305175"/>
              <a:ext cx="238125" cy="77788"/>
            </a:xfrm>
            <a:custGeom>
              <a:avLst/>
              <a:gdLst/>
              <a:ahLst/>
              <a:cxnLst>
                <a:cxn ang="0">
                  <a:pos x="71" y="25"/>
                </a:cxn>
                <a:cxn ang="0">
                  <a:pos x="31" y="20"/>
                </a:cxn>
                <a:cxn ang="0">
                  <a:pos x="5" y="11"/>
                </a:cxn>
                <a:cxn ang="0">
                  <a:pos x="0" y="21"/>
                </a:cxn>
                <a:cxn ang="0">
                  <a:pos x="0" y="21"/>
                </a:cxn>
                <a:cxn ang="0">
                  <a:pos x="5" y="32"/>
                </a:cxn>
                <a:cxn ang="0">
                  <a:pos x="21" y="41"/>
                </a:cxn>
                <a:cxn ang="0">
                  <a:pos x="45" y="46"/>
                </a:cxn>
                <a:cxn ang="0">
                  <a:pos x="74" y="49"/>
                </a:cxn>
                <a:cxn ang="0">
                  <a:pos x="90" y="48"/>
                </a:cxn>
                <a:cxn ang="0">
                  <a:pos x="115" y="45"/>
                </a:cxn>
                <a:cxn ang="0">
                  <a:pos x="136" y="37"/>
                </a:cxn>
                <a:cxn ang="0">
                  <a:pos x="147" y="27"/>
                </a:cxn>
                <a:cxn ang="0">
                  <a:pos x="148" y="23"/>
                </a:cxn>
                <a:cxn ang="0">
                  <a:pos x="150" y="21"/>
                </a:cxn>
                <a:cxn ang="0">
                  <a:pos x="150" y="2"/>
                </a:cxn>
                <a:cxn ang="0">
                  <a:pos x="148" y="0"/>
                </a:cxn>
                <a:cxn ang="0">
                  <a:pos x="137" y="10"/>
                </a:cxn>
                <a:cxn ang="0">
                  <a:pos x="119" y="18"/>
                </a:cxn>
                <a:cxn ang="0">
                  <a:pos x="97" y="23"/>
                </a:cxn>
                <a:cxn ang="0">
                  <a:pos x="71" y="25"/>
                </a:cxn>
                <a:cxn ang="0">
                  <a:pos x="17" y="35"/>
                </a:cxn>
                <a:cxn ang="0">
                  <a:pos x="7" y="28"/>
                </a:cxn>
                <a:cxn ang="0">
                  <a:pos x="7" y="16"/>
                </a:cxn>
                <a:cxn ang="0">
                  <a:pos x="17" y="21"/>
                </a:cxn>
                <a:cxn ang="0">
                  <a:pos x="38" y="41"/>
                </a:cxn>
                <a:cxn ang="0">
                  <a:pos x="28" y="38"/>
                </a:cxn>
                <a:cxn ang="0">
                  <a:pos x="28" y="24"/>
                </a:cxn>
                <a:cxn ang="0">
                  <a:pos x="38" y="41"/>
                </a:cxn>
                <a:cxn ang="0">
                  <a:pos x="57" y="44"/>
                </a:cxn>
                <a:cxn ang="0">
                  <a:pos x="47" y="28"/>
                </a:cxn>
                <a:cxn ang="0">
                  <a:pos x="57" y="30"/>
                </a:cxn>
                <a:cxn ang="0">
                  <a:pos x="78" y="45"/>
                </a:cxn>
                <a:cxn ang="0">
                  <a:pos x="74" y="45"/>
                </a:cxn>
                <a:cxn ang="0">
                  <a:pos x="69" y="45"/>
                </a:cxn>
                <a:cxn ang="0">
                  <a:pos x="69" y="30"/>
                </a:cxn>
                <a:cxn ang="0">
                  <a:pos x="74" y="31"/>
                </a:cxn>
                <a:cxn ang="0">
                  <a:pos x="78" y="45"/>
                </a:cxn>
                <a:cxn ang="0">
                  <a:pos x="140" y="30"/>
                </a:cxn>
                <a:cxn ang="0">
                  <a:pos x="133" y="20"/>
                </a:cxn>
                <a:cxn ang="0">
                  <a:pos x="140" y="16"/>
                </a:cxn>
              </a:cxnLst>
              <a:rect l="0" t="0" r="r" b="b"/>
              <a:pathLst>
                <a:path w="150" h="49">
                  <a:moveTo>
                    <a:pt x="71" y="25"/>
                  </a:moveTo>
                  <a:lnTo>
                    <a:pt x="71" y="25"/>
                  </a:lnTo>
                  <a:lnTo>
                    <a:pt x="50" y="24"/>
                  </a:lnTo>
                  <a:lnTo>
                    <a:pt x="31" y="20"/>
                  </a:lnTo>
                  <a:lnTo>
                    <a:pt x="12" y="14"/>
                  </a:lnTo>
                  <a:lnTo>
                    <a:pt x="5" y="11"/>
                  </a:lnTo>
                  <a:lnTo>
                    <a:pt x="0" y="7"/>
                  </a:lnTo>
                  <a:lnTo>
                    <a:pt x="0" y="21"/>
                  </a:lnTo>
                  <a:lnTo>
                    <a:pt x="0" y="21"/>
                  </a:lnTo>
                  <a:lnTo>
                    <a:pt x="0" y="21"/>
                  </a:lnTo>
                  <a:lnTo>
                    <a:pt x="1" y="27"/>
                  </a:lnTo>
                  <a:lnTo>
                    <a:pt x="5" y="32"/>
                  </a:lnTo>
                  <a:lnTo>
                    <a:pt x="12" y="37"/>
                  </a:lnTo>
                  <a:lnTo>
                    <a:pt x="21" y="41"/>
                  </a:lnTo>
                  <a:lnTo>
                    <a:pt x="32" y="44"/>
                  </a:lnTo>
                  <a:lnTo>
                    <a:pt x="45" y="46"/>
                  </a:lnTo>
                  <a:lnTo>
                    <a:pt x="59" y="48"/>
                  </a:lnTo>
                  <a:lnTo>
                    <a:pt x="74" y="49"/>
                  </a:lnTo>
                  <a:lnTo>
                    <a:pt x="74" y="49"/>
                  </a:lnTo>
                  <a:lnTo>
                    <a:pt x="90" y="48"/>
                  </a:lnTo>
                  <a:lnTo>
                    <a:pt x="102" y="46"/>
                  </a:lnTo>
                  <a:lnTo>
                    <a:pt x="115" y="45"/>
                  </a:lnTo>
                  <a:lnTo>
                    <a:pt x="126" y="41"/>
                  </a:lnTo>
                  <a:lnTo>
                    <a:pt x="136" y="37"/>
                  </a:lnTo>
                  <a:lnTo>
                    <a:pt x="143" y="32"/>
                  </a:lnTo>
                  <a:lnTo>
                    <a:pt x="147" y="27"/>
                  </a:lnTo>
                  <a:lnTo>
                    <a:pt x="148" y="23"/>
                  </a:lnTo>
                  <a:lnTo>
                    <a:pt x="148" y="23"/>
                  </a:lnTo>
                  <a:lnTo>
                    <a:pt x="148" y="21"/>
                  </a:lnTo>
                  <a:lnTo>
                    <a:pt x="150" y="21"/>
                  </a:lnTo>
                  <a:lnTo>
                    <a:pt x="150" y="2"/>
                  </a:lnTo>
                  <a:lnTo>
                    <a:pt x="150" y="2"/>
                  </a:lnTo>
                  <a:lnTo>
                    <a:pt x="148" y="0"/>
                  </a:lnTo>
                  <a:lnTo>
                    <a:pt x="148" y="0"/>
                  </a:lnTo>
                  <a:lnTo>
                    <a:pt x="144" y="6"/>
                  </a:lnTo>
                  <a:lnTo>
                    <a:pt x="137" y="10"/>
                  </a:lnTo>
                  <a:lnTo>
                    <a:pt x="129" y="14"/>
                  </a:lnTo>
                  <a:lnTo>
                    <a:pt x="119" y="18"/>
                  </a:lnTo>
                  <a:lnTo>
                    <a:pt x="108" y="21"/>
                  </a:lnTo>
                  <a:lnTo>
                    <a:pt x="97" y="23"/>
                  </a:lnTo>
                  <a:lnTo>
                    <a:pt x="71" y="25"/>
                  </a:lnTo>
                  <a:lnTo>
                    <a:pt x="71" y="25"/>
                  </a:lnTo>
                  <a:close/>
                  <a:moveTo>
                    <a:pt x="17" y="35"/>
                  </a:moveTo>
                  <a:lnTo>
                    <a:pt x="17" y="35"/>
                  </a:lnTo>
                  <a:lnTo>
                    <a:pt x="11" y="31"/>
                  </a:lnTo>
                  <a:lnTo>
                    <a:pt x="7" y="28"/>
                  </a:lnTo>
                  <a:lnTo>
                    <a:pt x="7" y="16"/>
                  </a:lnTo>
                  <a:lnTo>
                    <a:pt x="7" y="16"/>
                  </a:lnTo>
                  <a:lnTo>
                    <a:pt x="10" y="18"/>
                  </a:lnTo>
                  <a:lnTo>
                    <a:pt x="17" y="21"/>
                  </a:lnTo>
                  <a:lnTo>
                    <a:pt x="17" y="35"/>
                  </a:lnTo>
                  <a:close/>
                  <a:moveTo>
                    <a:pt x="38" y="41"/>
                  </a:moveTo>
                  <a:lnTo>
                    <a:pt x="38" y="41"/>
                  </a:lnTo>
                  <a:lnTo>
                    <a:pt x="28" y="38"/>
                  </a:lnTo>
                  <a:lnTo>
                    <a:pt x="28" y="24"/>
                  </a:lnTo>
                  <a:lnTo>
                    <a:pt x="28" y="24"/>
                  </a:lnTo>
                  <a:lnTo>
                    <a:pt x="38" y="27"/>
                  </a:lnTo>
                  <a:lnTo>
                    <a:pt x="38" y="41"/>
                  </a:lnTo>
                  <a:close/>
                  <a:moveTo>
                    <a:pt x="57" y="44"/>
                  </a:moveTo>
                  <a:lnTo>
                    <a:pt x="57" y="44"/>
                  </a:lnTo>
                  <a:lnTo>
                    <a:pt x="47" y="44"/>
                  </a:lnTo>
                  <a:lnTo>
                    <a:pt x="47" y="28"/>
                  </a:lnTo>
                  <a:lnTo>
                    <a:pt x="47" y="28"/>
                  </a:lnTo>
                  <a:lnTo>
                    <a:pt x="57" y="30"/>
                  </a:lnTo>
                  <a:lnTo>
                    <a:pt x="57" y="44"/>
                  </a:lnTo>
                  <a:close/>
                  <a:moveTo>
                    <a:pt x="78" y="45"/>
                  </a:moveTo>
                  <a:lnTo>
                    <a:pt x="78" y="45"/>
                  </a:lnTo>
                  <a:lnTo>
                    <a:pt x="74" y="45"/>
                  </a:lnTo>
                  <a:lnTo>
                    <a:pt x="74" y="45"/>
                  </a:lnTo>
                  <a:lnTo>
                    <a:pt x="69" y="45"/>
                  </a:lnTo>
                  <a:lnTo>
                    <a:pt x="69" y="30"/>
                  </a:lnTo>
                  <a:lnTo>
                    <a:pt x="69" y="30"/>
                  </a:lnTo>
                  <a:lnTo>
                    <a:pt x="74" y="31"/>
                  </a:lnTo>
                  <a:lnTo>
                    <a:pt x="74" y="31"/>
                  </a:lnTo>
                  <a:lnTo>
                    <a:pt x="78" y="31"/>
                  </a:lnTo>
                  <a:lnTo>
                    <a:pt x="78" y="45"/>
                  </a:lnTo>
                  <a:close/>
                  <a:moveTo>
                    <a:pt x="140" y="30"/>
                  </a:moveTo>
                  <a:lnTo>
                    <a:pt x="140" y="30"/>
                  </a:lnTo>
                  <a:lnTo>
                    <a:pt x="133" y="35"/>
                  </a:lnTo>
                  <a:lnTo>
                    <a:pt x="133" y="20"/>
                  </a:lnTo>
                  <a:lnTo>
                    <a:pt x="133" y="20"/>
                  </a:lnTo>
                  <a:lnTo>
                    <a:pt x="140" y="16"/>
                  </a:lnTo>
                  <a:lnTo>
                    <a:pt x="140" y="3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2" name="Freeform 58">
              <a:extLst>
                <a:ext uri="{FF2B5EF4-FFF2-40B4-BE49-F238E27FC236}">
                  <a16:creationId xmlns:a16="http://schemas.microsoft.com/office/drawing/2014/main" id="{AB17B550-4A0C-45FA-B87F-122812AFFACE}"/>
                </a:ext>
              </a:extLst>
            </p:cNvPr>
            <p:cNvSpPr>
              <a:spLocks noEditPoints="1"/>
            </p:cNvSpPr>
            <p:nvPr/>
          </p:nvSpPr>
          <p:spPr bwMode="auto">
            <a:xfrm>
              <a:off x="5343525" y="3255963"/>
              <a:ext cx="238125" cy="77788"/>
            </a:xfrm>
            <a:custGeom>
              <a:avLst/>
              <a:gdLst/>
              <a:ahLst/>
              <a:cxnLst>
                <a:cxn ang="0">
                  <a:pos x="0" y="21"/>
                </a:cxn>
                <a:cxn ang="0">
                  <a:pos x="7" y="33"/>
                </a:cxn>
                <a:cxn ang="0">
                  <a:pos x="22" y="42"/>
                </a:cxn>
                <a:cxn ang="0">
                  <a:pos x="46" y="48"/>
                </a:cxn>
                <a:cxn ang="0">
                  <a:pos x="75" y="49"/>
                </a:cxn>
                <a:cxn ang="0">
                  <a:pos x="89" y="49"/>
                </a:cxn>
                <a:cxn ang="0">
                  <a:pos x="116" y="45"/>
                </a:cxn>
                <a:cxn ang="0">
                  <a:pos x="136" y="38"/>
                </a:cxn>
                <a:cxn ang="0">
                  <a:pos x="148" y="28"/>
                </a:cxn>
                <a:cxn ang="0">
                  <a:pos x="150" y="23"/>
                </a:cxn>
                <a:cxn ang="0">
                  <a:pos x="150" y="21"/>
                </a:cxn>
                <a:cxn ang="0">
                  <a:pos x="150" y="9"/>
                </a:cxn>
                <a:cxn ang="0">
                  <a:pos x="137" y="16"/>
                </a:cxn>
                <a:cxn ang="0">
                  <a:pos x="99" y="24"/>
                </a:cxn>
                <a:cxn ang="0">
                  <a:pos x="78" y="26"/>
                </a:cxn>
                <a:cxn ang="0">
                  <a:pos x="42" y="23"/>
                </a:cxn>
                <a:cxn ang="0">
                  <a:pos x="21" y="16"/>
                </a:cxn>
                <a:cxn ang="0">
                  <a:pos x="5" y="6"/>
                </a:cxn>
                <a:cxn ang="0">
                  <a:pos x="0" y="0"/>
                </a:cxn>
                <a:cxn ang="0">
                  <a:pos x="0" y="3"/>
                </a:cxn>
                <a:cxn ang="0">
                  <a:pos x="0" y="21"/>
                </a:cxn>
                <a:cxn ang="0">
                  <a:pos x="133" y="23"/>
                </a:cxn>
                <a:cxn ang="0">
                  <a:pos x="141" y="20"/>
                </a:cxn>
                <a:cxn ang="0">
                  <a:pos x="141" y="31"/>
                </a:cxn>
                <a:cxn ang="0">
                  <a:pos x="133" y="23"/>
                </a:cxn>
                <a:cxn ang="0">
                  <a:pos x="68" y="31"/>
                </a:cxn>
                <a:cxn ang="0">
                  <a:pos x="75" y="31"/>
                </a:cxn>
                <a:cxn ang="0">
                  <a:pos x="80" y="47"/>
                </a:cxn>
                <a:cxn ang="0">
                  <a:pos x="75" y="47"/>
                </a:cxn>
                <a:cxn ang="0">
                  <a:pos x="68" y="47"/>
                </a:cxn>
                <a:cxn ang="0">
                  <a:pos x="49" y="30"/>
                </a:cxn>
                <a:cxn ang="0">
                  <a:pos x="58" y="31"/>
                </a:cxn>
                <a:cxn ang="0">
                  <a:pos x="58" y="45"/>
                </a:cxn>
                <a:cxn ang="0">
                  <a:pos x="49" y="30"/>
                </a:cxn>
                <a:cxn ang="0">
                  <a:pos x="28" y="26"/>
                </a:cxn>
                <a:cxn ang="0">
                  <a:pos x="37" y="42"/>
                </a:cxn>
                <a:cxn ang="0">
                  <a:pos x="28" y="40"/>
                </a:cxn>
                <a:cxn ang="0">
                  <a:pos x="8" y="14"/>
                </a:cxn>
                <a:cxn ang="0">
                  <a:pos x="12" y="17"/>
                </a:cxn>
                <a:cxn ang="0">
                  <a:pos x="18" y="35"/>
                </a:cxn>
                <a:cxn ang="0">
                  <a:pos x="11" y="33"/>
                </a:cxn>
                <a:cxn ang="0">
                  <a:pos x="8" y="14"/>
                </a:cxn>
              </a:cxnLst>
              <a:rect l="0" t="0" r="r" b="b"/>
              <a:pathLst>
                <a:path w="150" h="49">
                  <a:moveTo>
                    <a:pt x="0" y="21"/>
                  </a:moveTo>
                  <a:lnTo>
                    <a:pt x="0" y="21"/>
                  </a:lnTo>
                  <a:lnTo>
                    <a:pt x="1" y="27"/>
                  </a:lnTo>
                  <a:lnTo>
                    <a:pt x="7" y="33"/>
                  </a:lnTo>
                  <a:lnTo>
                    <a:pt x="12" y="38"/>
                  </a:lnTo>
                  <a:lnTo>
                    <a:pt x="22" y="42"/>
                  </a:lnTo>
                  <a:lnTo>
                    <a:pt x="33" y="45"/>
                  </a:lnTo>
                  <a:lnTo>
                    <a:pt x="46" y="48"/>
                  </a:lnTo>
                  <a:lnTo>
                    <a:pt x="60" y="49"/>
                  </a:lnTo>
                  <a:lnTo>
                    <a:pt x="75" y="49"/>
                  </a:lnTo>
                  <a:lnTo>
                    <a:pt x="75" y="49"/>
                  </a:lnTo>
                  <a:lnTo>
                    <a:pt x="89" y="49"/>
                  </a:lnTo>
                  <a:lnTo>
                    <a:pt x="103" y="48"/>
                  </a:lnTo>
                  <a:lnTo>
                    <a:pt x="116" y="45"/>
                  </a:lnTo>
                  <a:lnTo>
                    <a:pt x="127" y="42"/>
                  </a:lnTo>
                  <a:lnTo>
                    <a:pt x="136" y="38"/>
                  </a:lnTo>
                  <a:lnTo>
                    <a:pt x="143" y="34"/>
                  </a:lnTo>
                  <a:lnTo>
                    <a:pt x="148" y="28"/>
                  </a:lnTo>
                  <a:lnTo>
                    <a:pt x="150" y="23"/>
                  </a:lnTo>
                  <a:lnTo>
                    <a:pt x="150" y="23"/>
                  </a:lnTo>
                  <a:lnTo>
                    <a:pt x="150" y="21"/>
                  </a:lnTo>
                  <a:lnTo>
                    <a:pt x="150" y="21"/>
                  </a:lnTo>
                  <a:lnTo>
                    <a:pt x="150" y="9"/>
                  </a:lnTo>
                  <a:lnTo>
                    <a:pt x="150" y="9"/>
                  </a:lnTo>
                  <a:lnTo>
                    <a:pt x="144" y="13"/>
                  </a:lnTo>
                  <a:lnTo>
                    <a:pt x="137" y="16"/>
                  </a:lnTo>
                  <a:lnTo>
                    <a:pt x="119" y="21"/>
                  </a:lnTo>
                  <a:lnTo>
                    <a:pt x="99" y="24"/>
                  </a:lnTo>
                  <a:lnTo>
                    <a:pt x="78" y="26"/>
                  </a:lnTo>
                  <a:lnTo>
                    <a:pt x="78" y="26"/>
                  </a:lnTo>
                  <a:lnTo>
                    <a:pt x="53" y="24"/>
                  </a:lnTo>
                  <a:lnTo>
                    <a:pt x="42" y="23"/>
                  </a:lnTo>
                  <a:lnTo>
                    <a:pt x="30" y="20"/>
                  </a:lnTo>
                  <a:lnTo>
                    <a:pt x="21" y="16"/>
                  </a:lnTo>
                  <a:lnTo>
                    <a:pt x="12" y="12"/>
                  </a:lnTo>
                  <a:lnTo>
                    <a:pt x="5" y="6"/>
                  </a:lnTo>
                  <a:lnTo>
                    <a:pt x="0" y="0"/>
                  </a:lnTo>
                  <a:lnTo>
                    <a:pt x="0" y="0"/>
                  </a:lnTo>
                  <a:lnTo>
                    <a:pt x="0" y="3"/>
                  </a:lnTo>
                  <a:lnTo>
                    <a:pt x="0" y="3"/>
                  </a:lnTo>
                  <a:lnTo>
                    <a:pt x="0" y="3"/>
                  </a:lnTo>
                  <a:lnTo>
                    <a:pt x="0" y="21"/>
                  </a:lnTo>
                  <a:lnTo>
                    <a:pt x="0" y="21"/>
                  </a:lnTo>
                  <a:close/>
                  <a:moveTo>
                    <a:pt x="133" y="23"/>
                  </a:moveTo>
                  <a:lnTo>
                    <a:pt x="133" y="23"/>
                  </a:lnTo>
                  <a:lnTo>
                    <a:pt x="141" y="20"/>
                  </a:lnTo>
                  <a:lnTo>
                    <a:pt x="141" y="31"/>
                  </a:lnTo>
                  <a:lnTo>
                    <a:pt x="141" y="31"/>
                  </a:lnTo>
                  <a:lnTo>
                    <a:pt x="133" y="35"/>
                  </a:lnTo>
                  <a:lnTo>
                    <a:pt x="133" y="23"/>
                  </a:lnTo>
                  <a:close/>
                  <a:moveTo>
                    <a:pt x="68" y="31"/>
                  </a:moveTo>
                  <a:lnTo>
                    <a:pt x="68" y="31"/>
                  </a:lnTo>
                  <a:lnTo>
                    <a:pt x="75" y="31"/>
                  </a:lnTo>
                  <a:lnTo>
                    <a:pt x="75" y="31"/>
                  </a:lnTo>
                  <a:lnTo>
                    <a:pt x="80" y="31"/>
                  </a:lnTo>
                  <a:lnTo>
                    <a:pt x="80" y="47"/>
                  </a:lnTo>
                  <a:lnTo>
                    <a:pt x="80" y="47"/>
                  </a:lnTo>
                  <a:lnTo>
                    <a:pt x="75" y="47"/>
                  </a:lnTo>
                  <a:lnTo>
                    <a:pt x="75" y="47"/>
                  </a:lnTo>
                  <a:lnTo>
                    <a:pt x="68" y="47"/>
                  </a:lnTo>
                  <a:lnTo>
                    <a:pt x="68" y="31"/>
                  </a:lnTo>
                  <a:close/>
                  <a:moveTo>
                    <a:pt x="49" y="30"/>
                  </a:moveTo>
                  <a:lnTo>
                    <a:pt x="49" y="30"/>
                  </a:lnTo>
                  <a:lnTo>
                    <a:pt x="58" y="31"/>
                  </a:lnTo>
                  <a:lnTo>
                    <a:pt x="58" y="45"/>
                  </a:lnTo>
                  <a:lnTo>
                    <a:pt x="58" y="45"/>
                  </a:lnTo>
                  <a:lnTo>
                    <a:pt x="49" y="44"/>
                  </a:lnTo>
                  <a:lnTo>
                    <a:pt x="49" y="30"/>
                  </a:lnTo>
                  <a:close/>
                  <a:moveTo>
                    <a:pt x="28" y="26"/>
                  </a:moveTo>
                  <a:lnTo>
                    <a:pt x="28" y="26"/>
                  </a:lnTo>
                  <a:lnTo>
                    <a:pt x="37" y="27"/>
                  </a:lnTo>
                  <a:lnTo>
                    <a:pt x="37" y="42"/>
                  </a:lnTo>
                  <a:lnTo>
                    <a:pt x="37" y="42"/>
                  </a:lnTo>
                  <a:lnTo>
                    <a:pt x="28" y="40"/>
                  </a:lnTo>
                  <a:lnTo>
                    <a:pt x="28" y="26"/>
                  </a:lnTo>
                  <a:close/>
                  <a:moveTo>
                    <a:pt x="8" y="14"/>
                  </a:moveTo>
                  <a:lnTo>
                    <a:pt x="8" y="14"/>
                  </a:lnTo>
                  <a:lnTo>
                    <a:pt x="12" y="17"/>
                  </a:lnTo>
                  <a:lnTo>
                    <a:pt x="18" y="21"/>
                  </a:lnTo>
                  <a:lnTo>
                    <a:pt x="18" y="35"/>
                  </a:lnTo>
                  <a:lnTo>
                    <a:pt x="18" y="35"/>
                  </a:lnTo>
                  <a:lnTo>
                    <a:pt x="11" y="33"/>
                  </a:lnTo>
                  <a:lnTo>
                    <a:pt x="8" y="30"/>
                  </a:lnTo>
                  <a:lnTo>
                    <a:pt x="8"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3" name="Freeform 59">
              <a:extLst>
                <a:ext uri="{FF2B5EF4-FFF2-40B4-BE49-F238E27FC236}">
                  <a16:creationId xmlns:a16="http://schemas.microsoft.com/office/drawing/2014/main" id="{A23D7E99-BB4C-4965-BBE3-18D5A992813B}"/>
                </a:ext>
              </a:extLst>
            </p:cNvPr>
            <p:cNvSpPr>
              <a:spLocks noEditPoints="1"/>
            </p:cNvSpPr>
            <p:nvPr/>
          </p:nvSpPr>
          <p:spPr bwMode="auto">
            <a:xfrm>
              <a:off x="5343525" y="3352800"/>
              <a:ext cx="238125" cy="77788"/>
            </a:xfrm>
            <a:custGeom>
              <a:avLst/>
              <a:gdLst/>
              <a:ahLst/>
              <a:cxnLst>
                <a:cxn ang="0">
                  <a:pos x="0" y="0"/>
                </a:cxn>
                <a:cxn ang="0">
                  <a:pos x="0" y="1"/>
                </a:cxn>
                <a:cxn ang="0">
                  <a:pos x="0" y="21"/>
                </a:cxn>
                <a:cxn ang="0">
                  <a:pos x="0" y="21"/>
                </a:cxn>
                <a:cxn ang="0">
                  <a:pos x="7" y="32"/>
                </a:cxn>
                <a:cxn ang="0">
                  <a:pos x="22" y="40"/>
                </a:cxn>
                <a:cxn ang="0">
                  <a:pos x="46" y="47"/>
                </a:cxn>
                <a:cxn ang="0">
                  <a:pos x="75" y="49"/>
                </a:cxn>
                <a:cxn ang="0">
                  <a:pos x="89" y="49"/>
                </a:cxn>
                <a:cxn ang="0">
                  <a:pos x="116" y="44"/>
                </a:cxn>
                <a:cxn ang="0">
                  <a:pos x="136" y="37"/>
                </a:cxn>
                <a:cxn ang="0">
                  <a:pos x="148" y="28"/>
                </a:cxn>
                <a:cxn ang="0">
                  <a:pos x="150" y="22"/>
                </a:cxn>
                <a:cxn ang="0">
                  <a:pos x="150" y="21"/>
                </a:cxn>
                <a:cxn ang="0">
                  <a:pos x="150" y="7"/>
                </a:cxn>
                <a:cxn ang="0">
                  <a:pos x="137" y="15"/>
                </a:cxn>
                <a:cxn ang="0">
                  <a:pos x="99" y="23"/>
                </a:cxn>
                <a:cxn ang="0">
                  <a:pos x="78" y="25"/>
                </a:cxn>
                <a:cxn ang="0">
                  <a:pos x="42" y="21"/>
                </a:cxn>
                <a:cxn ang="0">
                  <a:pos x="21" y="15"/>
                </a:cxn>
                <a:cxn ang="0">
                  <a:pos x="5" y="5"/>
                </a:cxn>
                <a:cxn ang="0">
                  <a:pos x="0" y="0"/>
                </a:cxn>
                <a:cxn ang="0">
                  <a:pos x="18" y="35"/>
                </a:cxn>
                <a:cxn ang="0">
                  <a:pos x="8" y="28"/>
                </a:cxn>
                <a:cxn ang="0">
                  <a:pos x="8" y="14"/>
                </a:cxn>
                <a:cxn ang="0">
                  <a:pos x="18" y="19"/>
                </a:cxn>
                <a:cxn ang="0">
                  <a:pos x="37" y="42"/>
                </a:cxn>
                <a:cxn ang="0">
                  <a:pos x="28" y="39"/>
                </a:cxn>
                <a:cxn ang="0">
                  <a:pos x="28" y="23"/>
                </a:cxn>
                <a:cxn ang="0">
                  <a:pos x="37" y="42"/>
                </a:cxn>
                <a:cxn ang="0">
                  <a:pos x="58" y="44"/>
                </a:cxn>
                <a:cxn ang="0">
                  <a:pos x="49" y="28"/>
                </a:cxn>
                <a:cxn ang="0">
                  <a:pos x="58" y="29"/>
                </a:cxn>
                <a:cxn ang="0">
                  <a:pos x="133" y="22"/>
                </a:cxn>
                <a:cxn ang="0">
                  <a:pos x="141" y="18"/>
                </a:cxn>
                <a:cxn ang="0">
                  <a:pos x="141" y="29"/>
                </a:cxn>
                <a:cxn ang="0">
                  <a:pos x="133" y="22"/>
                </a:cxn>
                <a:cxn ang="0">
                  <a:pos x="80" y="44"/>
                </a:cxn>
                <a:cxn ang="0">
                  <a:pos x="75" y="44"/>
                </a:cxn>
                <a:cxn ang="0">
                  <a:pos x="68" y="30"/>
                </a:cxn>
                <a:cxn ang="0">
                  <a:pos x="75" y="30"/>
                </a:cxn>
                <a:cxn ang="0">
                  <a:pos x="80" y="30"/>
                </a:cxn>
              </a:cxnLst>
              <a:rect l="0" t="0" r="r" b="b"/>
              <a:pathLst>
                <a:path w="150" h="49">
                  <a:moveTo>
                    <a:pt x="0" y="0"/>
                  </a:moveTo>
                  <a:lnTo>
                    <a:pt x="0" y="0"/>
                  </a:lnTo>
                  <a:lnTo>
                    <a:pt x="0" y="1"/>
                  </a:lnTo>
                  <a:lnTo>
                    <a:pt x="0" y="1"/>
                  </a:lnTo>
                  <a:lnTo>
                    <a:pt x="0" y="2"/>
                  </a:lnTo>
                  <a:lnTo>
                    <a:pt x="0" y="21"/>
                  </a:lnTo>
                  <a:lnTo>
                    <a:pt x="0" y="21"/>
                  </a:lnTo>
                  <a:lnTo>
                    <a:pt x="0" y="21"/>
                  </a:lnTo>
                  <a:lnTo>
                    <a:pt x="1" y="26"/>
                  </a:lnTo>
                  <a:lnTo>
                    <a:pt x="7" y="32"/>
                  </a:lnTo>
                  <a:lnTo>
                    <a:pt x="12" y="36"/>
                  </a:lnTo>
                  <a:lnTo>
                    <a:pt x="22" y="40"/>
                  </a:lnTo>
                  <a:lnTo>
                    <a:pt x="33" y="44"/>
                  </a:lnTo>
                  <a:lnTo>
                    <a:pt x="46" y="47"/>
                  </a:lnTo>
                  <a:lnTo>
                    <a:pt x="60" y="49"/>
                  </a:lnTo>
                  <a:lnTo>
                    <a:pt x="75" y="49"/>
                  </a:lnTo>
                  <a:lnTo>
                    <a:pt x="75" y="49"/>
                  </a:lnTo>
                  <a:lnTo>
                    <a:pt x="89" y="49"/>
                  </a:lnTo>
                  <a:lnTo>
                    <a:pt x="103" y="47"/>
                  </a:lnTo>
                  <a:lnTo>
                    <a:pt x="116" y="44"/>
                  </a:lnTo>
                  <a:lnTo>
                    <a:pt x="127" y="42"/>
                  </a:lnTo>
                  <a:lnTo>
                    <a:pt x="136" y="37"/>
                  </a:lnTo>
                  <a:lnTo>
                    <a:pt x="143" y="32"/>
                  </a:lnTo>
                  <a:lnTo>
                    <a:pt x="148" y="28"/>
                  </a:lnTo>
                  <a:lnTo>
                    <a:pt x="150" y="22"/>
                  </a:lnTo>
                  <a:lnTo>
                    <a:pt x="150" y="22"/>
                  </a:lnTo>
                  <a:lnTo>
                    <a:pt x="150" y="21"/>
                  </a:lnTo>
                  <a:lnTo>
                    <a:pt x="150" y="21"/>
                  </a:lnTo>
                  <a:lnTo>
                    <a:pt x="150" y="7"/>
                  </a:lnTo>
                  <a:lnTo>
                    <a:pt x="150" y="7"/>
                  </a:lnTo>
                  <a:lnTo>
                    <a:pt x="144" y="11"/>
                  </a:lnTo>
                  <a:lnTo>
                    <a:pt x="137" y="15"/>
                  </a:lnTo>
                  <a:lnTo>
                    <a:pt x="119" y="21"/>
                  </a:lnTo>
                  <a:lnTo>
                    <a:pt x="99" y="23"/>
                  </a:lnTo>
                  <a:lnTo>
                    <a:pt x="78" y="25"/>
                  </a:lnTo>
                  <a:lnTo>
                    <a:pt x="78" y="25"/>
                  </a:lnTo>
                  <a:lnTo>
                    <a:pt x="53" y="23"/>
                  </a:lnTo>
                  <a:lnTo>
                    <a:pt x="42" y="21"/>
                  </a:lnTo>
                  <a:lnTo>
                    <a:pt x="30" y="18"/>
                  </a:lnTo>
                  <a:lnTo>
                    <a:pt x="21" y="15"/>
                  </a:lnTo>
                  <a:lnTo>
                    <a:pt x="12" y="11"/>
                  </a:lnTo>
                  <a:lnTo>
                    <a:pt x="5" y="5"/>
                  </a:lnTo>
                  <a:lnTo>
                    <a:pt x="0" y="0"/>
                  </a:lnTo>
                  <a:lnTo>
                    <a:pt x="0" y="0"/>
                  </a:lnTo>
                  <a:close/>
                  <a:moveTo>
                    <a:pt x="18" y="35"/>
                  </a:moveTo>
                  <a:lnTo>
                    <a:pt x="18" y="35"/>
                  </a:lnTo>
                  <a:lnTo>
                    <a:pt x="11" y="32"/>
                  </a:lnTo>
                  <a:lnTo>
                    <a:pt x="8" y="28"/>
                  </a:lnTo>
                  <a:lnTo>
                    <a:pt x="8" y="14"/>
                  </a:lnTo>
                  <a:lnTo>
                    <a:pt x="8" y="14"/>
                  </a:lnTo>
                  <a:lnTo>
                    <a:pt x="12" y="16"/>
                  </a:lnTo>
                  <a:lnTo>
                    <a:pt x="18" y="19"/>
                  </a:lnTo>
                  <a:lnTo>
                    <a:pt x="18" y="35"/>
                  </a:lnTo>
                  <a:close/>
                  <a:moveTo>
                    <a:pt x="37" y="42"/>
                  </a:moveTo>
                  <a:lnTo>
                    <a:pt x="37" y="42"/>
                  </a:lnTo>
                  <a:lnTo>
                    <a:pt x="28" y="39"/>
                  </a:lnTo>
                  <a:lnTo>
                    <a:pt x="28" y="23"/>
                  </a:lnTo>
                  <a:lnTo>
                    <a:pt x="28" y="23"/>
                  </a:lnTo>
                  <a:lnTo>
                    <a:pt x="37" y="26"/>
                  </a:lnTo>
                  <a:lnTo>
                    <a:pt x="37" y="42"/>
                  </a:lnTo>
                  <a:close/>
                  <a:moveTo>
                    <a:pt x="58" y="44"/>
                  </a:moveTo>
                  <a:lnTo>
                    <a:pt x="58" y="44"/>
                  </a:lnTo>
                  <a:lnTo>
                    <a:pt x="49" y="43"/>
                  </a:lnTo>
                  <a:lnTo>
                    <a:pt x="49" y="28"/>
                  </a:lnTo>
                  <a:lnTo>
                    <a:pt x="49" y="28"/>
                  </a:lnTo>
                  <a:lnTo>
                    <a:pt x="58" y="29"/>
                  </a:lnTo>
                  <a:lnTo>
                    <a:pt x="58" y="44"/>
                  </a:lnTo>
                  <a:close/>
                  <a:moveTo>
                    <a:pt x="133" y="22"/>
                  </a:moveTo>
                  <a:lnTo>
                    <a:pt x="133" y="22"/>
                  </a:lnTo>
                  <a:lnTo>
                    <a:pt x="141" y="18"/>
                  </a:lnTo>
                  <a:lnTo>
                    <a:pt x="141" y="29"/>
                  </a:lnTo>
                  <a:lnTo>
                    <a:pt x="141" y="29"/>
                  </a:lnTo>
                  <a:lnTo>
                    <a:pt x="133" y="35"/>
                  </a:lnTo>
                  <a:lnTo>
                    <a:pt x="133" y="22"/>
                  </a:lnTo>
                  <a:close/>
                  <a:moveTo>
                    <a:pt x="80" y="44"/>
                  </a:moveTo>
                  <a:lnTo>
                    <a:pt x="80" y="44"/>
                  </a:lnTo>
                  <a:lnTo>
                    <a:pt x="75" y="44"/>
                  </a:lnTo>
                  <a:lnTo>
                    <a:pt x="75" y="44"/>
                  </a:lnTo>
                  <a:lnTo>
                    <a:pt x="68" y="44"/>
                  </a:lnTo>
                  <a:lnTo>
                    <a:pt x="68" y="30"/>
                  </a:lnTo>
                  <a:lnTo>
                    <a:pt x="68" y="30"/>
                  </a:lnTo>
                  <a:lnTo>
                    <a:pt x="75" y="30"/>
                  </a:lnTo>
                  <a:lnTo>
                    <a:pt x="75" y="30"/>
                  </a:lnTo>
                  <a:lnTo>
                    <a:pt x="80" y="30"/>
                  </a:lnTo>
                  <a:lnTo>
                    <a:pt x="80" y="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4" name="Freeform 60">
              <a:extLst>
                <a:ext uri="{FF2B5EF4-FFF2-40B4-BE49-F238E27FC236}">
                  <a16:creationId xmlns:a16="http://schemas.microsoft.com/office/drawing/2014/main" id="{B046453F-6855-4F4B-9883-71B4B16EAA8D}"/>
                </a:ext>
              </a:extLst>
            </p:cNvPr>
            <p:cNvSpPr>
              <a:spLocks/>
            </p:cNvSpPr>
            <p:nvPr/>
          </p:nvSpPr>
          <p:spPr bwMode="auto">
            <a:xfrm>
              <a:off x="5349875" y="3067050"/>
              <a:ext cx="238125" cy="76200"/>
            </a:xfrm>
            <a:custGeom>
              <a:avLst/>
              <a:gdLst/>
              <a:ahLst/>
              <a:cxnLst>
                <a:cxn ang="0">
                  <a:pos x="140" y="28"/>
                </a:cxn>
                <a:cxn ang="0">
                  <a:pos x="133" y="32"/>
                </a:cxn>
                <a:cxn ang="0">
                  <a:pos x="133" y="18"/>
                </a:cxn>
                <a:cxn ang="0">
                  <a:pos x="109" y="25"/>
                </a:cxn>
                <a:cxn ang="0">
                  <a:pos x="78" y="30"/>
                </a:cxn>
                <a:cxn ang="0">
                  <a:pos x="78" y="44"/>
                </a:cxn>
                <a:cxn ang="0">
                  <a:pos x="74" y="44"/>
                </a:cxn>
                <a:cxn ang="0">
                  <a:pos x="69" y="30"/>
                </a:cxn>
                <a:cxn ang="0">
                  <a:pos x="57" y="28"/>
                </a:cxn>
                <a:cxn ang="0">
                  <a:pos x="57" y="42"/>
                </a:cxn>
                <a:cxn ang="0">
                  <a:pos x="47" y="27"/>
                </a:cxn>
                <a:cxn ang="0">
                  <a:pos x="38" y="25"/>
                </a:cxn>
                <a:cxn ang="0">
                  <a:pos x="38" y="39"/>
                </a:cxn>
                <a:cxn ang="0">
                  <a:pos x="28" y="23"/>
                </a:cxn>
                <a:cxn ang="0">
                  <a:pos x="17" y="18"/>
                </a:cxn>
                <a:cxn ang="0">
                  <a:pos x="17" y="34"/>
                </a:cxn>
                <a:cxn ang="0">
                  <a:pos x="7" y="27"/>
                </a:cxn>
                <a:cxn ang="0">
                  <a:pos x="7" y="13"/>
                </a:cxn>
                <a:cxn ang="0">
                  <a:pos x="0" y="3"/>
                </a:cxn>
                <a:cxn ang="0">
                  <a:pos x="0" y="20"/>
                </a:cxn>
                <a:cxn ang="0">
                  <a:pos x="0" y="20"/>
                </a:cxn>
                <a:cxn ang="0">
                  <a:pos x="5" y="30"/>
                </a:cxn>
                <a:cxn ang="0">
                  <a:pos x="21" y="39"/>
                </a:cxn>
                <a:cxn ang="0">
                  <a:pos x="45" y="45"/>
                </a:cxn>
                <a:cxn ang="0">
                  <a:pos x="74" y="48"/>
                </a:cxn>
                <a:cxn ang="0">
                  <a:pos x="90" y="47"/>
                </a:cxn>
                <a:cxn ang="0">
                  <a:pos x="115" y="42"/>
                </a:cxn>
                <a:cxn ang="0">
                  <a:pos x="136" y="35"/>
                </a:cxn>
                <a:cxn ang="0">
                  <a:pos x="147" y="25"/>
                </a:cxn>
                <a:cxn ang="0">
                  <a:pos x="148" y="20"/>
                </a:cxn>
                <a:cxn ang="0">
                  <a:pos x="150" y="20"/>
                </a:cxn>
                <a:cxn ang="0">
                  <a:pos x="150" y="0"/>
                </a:cxn>
                <a:cxn ang="0">
                  <a:pos x="147" y="7"/>
                </a:cxn>
                <a:cxn ang="0">
                  <a:pos x="140" y="14"/>
                </a:cxn>
              </a:cxnLst>
              <a:rect l="0" t="0" r="r" b="b"/>
              <a:pathLst>
                <a:path w="150" h="48">
                  <a:moveTo>
                    <a:pt x="140" y="14"/>
                  </a:moveTo>
                  <a:lnTo>
                    <a:pt x="140" y="28"/>
                  </a:lnTo>
                  <a:lnTo>
                    <a:pt x="140" y="28"/>
                  </a:lnTo>
                  <a:lnTo>
                    <a:pt x="133" y="32"/>
                  </a:lnTo>
                  <a:lnTo>
                    <a:pt x="133" y="18"/>
                  </a:lnTo>
                  <a:lnTo>
                    <a:pt x="133" y="18"/>
                  </a:lnTo>
                  <a:lnTo>
                    <a:pt x="122" y="23"/>
                  </a:lnTo>
                  <a:lnTo>
                    <a:pt x="109" y="25"/>
                  </a:lnTo>
                  <a:lnTo>
                    <a:pt x="94" y="28"/>
                  </a:lnTo>
                  <a:lnTo>
                    <a:pt x="78" y="30"/>
                  </a:lnTo>
                  <a:lnTo>
                    <a:pt x="78" y="44"/>
                  </a:lnTo>
                  <a:lnTo>
                    <a:pt x="78" y="44"/>
                  </a:lnTo>
                  <a:lnTo>
                    <a:pt x="74" y="44"/>
                  </a:lnTo>
                  <a:lnTo>
                    <a:pt x="74" y="44"/>
                  </a:lnTo>
                  <a:lnTo>
                    <a:pt x="69" y="44"/>
                  </a:lnTo>
                  <a:lnTo>
                    <a:pt x="69" y="30"/>
                  </a:lnTo>
                  <a:lnTo>
                    <a:pt x="69" y="30"/>
                  </a:lnTo>
                  <a:lnTo>
                    <a:pt x="57" y="28"/>
                  </a:lnTo>
                  <a:lnTo>
                    <a:pt x="57" y="42"/>
                  </a:lnTo>
                  <a:lnTo>
                    <a:pt x="57" y="42"/>
                  </a:lnTo>
                  <a:lnTo>
                    <a:pt x="47" y="42"/>
                  </a:lnTo>
                  <a:lnTo>
                    <a:pt x="47" y="27"/>
                  </a:lnTo>
                  <a:lnTo>
                    <a:pt x="47" y="27"/>
                  </a:lnTo>
                  <a:lnTo>
                    <a:pt x="38" y="25"/>
                  </a:lnTo>
                  <a:lnTo>
                    <a:pt x="38" y="39"/>
                  </a:lnTo>
                  <a:lnTo>
                    <a:pt x="38" y="39"/>
                  </a:lnTo>
                  <a:lnTo>
                    <a:pt x="28" y="37"/>
                  </a:lnTo>
                  <a:lnTo>
                    <a:pt x="28" y="23"/>
                  </a:lnTo>
                  <a:lnTo>
                    <a:pt x="28" y="23"/>
                  </a:lnTo>
                  <a:lnTo>
                    <a:pt x="17" y="18"/>
                  </a:lnTo>
                  <a:lnTo>
                    <a:pt x="17" y="34"/>
                  </a:lnTo>
                  <a:lnTo>
                    <a:pt x="17" y="34"/>
                  </a:lnTo>
                  <a:lnTo>
                    <a:pt x="11" y="30"/>
                  </a:lnTo>
                  <a:lnTo>
                    <a:pt x="7" y="27"/>
                  </a:lnTo>
                  <a:lnTo>
                    <a:pt x="7" y="13"/>
                  </a:lnTo>
                  <a:lnTo>
                    <a:pt x="7" y="13"/>
                  </a:lnTo>
                  <a:lnTo>
                    <a:pt x="1" y="7"/>
                  </a:lnTo>
                  <a:lnTo>
                    <a:pt x="0" y="3"/>
                  </a:lnTo>
                  <a:lnTo>
                    <a:pt x="0" y="0"/>
                  </a:lnTo>
                  <a:lnTo>
                    <a:pt x="0" y="20"/>
                  </a:lnTo>
                  <a:lnTo>
                    <a:pt x="0" y="20"/>
                  </a:lnTo>
                  <a:lnTo>
                    <a:pt x="0" y="20"/>
                  </a:lnTo>
                  <a:lnTo>
                    <a:pt x="1" y="25"/>
                  </a:lnTo>
                  <a:lnTo>
                    <a:pt x="5" y="30"/>
                  </a:lnTo>
                  <a:lnTo>
                    <a:pt x="12" y="35"/>
                  </a:lnTo>
                  <a:lnTo>
                    <a:pt x="21" y="39"/>
                  </a:lnTo>
                  <a:lnTo>
                    <a:pt x="32" y="42"/>
                  </a:lnTo>
                  <a:lnTo>
                    <a:pt x="45" y="45"/>
                  </a:lnTo>
                  <a:lnTo>
                    <a:pt x="59" y="47"/>
                  </a:lnTo>
                  <a:lnTo>
                    <a:pt x="74" y="48"/>
                  </a:lnTo>
                  <a:lnTo>
                    <a:pt x="74" y="48"/>
                  </a:lnTo>
                  <a:lnTo>
                    <a:pt x="90" y="47"/>
                  </a:lnTo>
                  <a:lnTo>
                    <a:pt x="102" y="45"/>
                  </a:lnTo>
                  <a:lnTo>
                    <a:pt x="115" y="42"/>
                  </a:lnTo>
                  <a:lnTo>
                    <a:pt x="126" y="39"/>
                  </a:lnTo>
                  <a:lnTo>
                    <a:pt x="136" y="35"/>
                  </a:lnTo>
                  <a:lnTo>
                    <a:pt x="143" y="31"/>
                  </a:lnTo>
                  <a:lnTo>
                    <a:pt x="147" y="25"/>
                  </a:lnTo>
                  <a:lnTo>
                    <a:pt x="148" y="20"/>
                  </a:lnTo>
                  <a:lnTo>
                    <a:pt x="148" y="20"/>
                  </a:lnTo>
                  <a:lnTo>
                    <a:pt x="148" y="20"/>
                  </a:lnTo>
                  <a:lnTo>
                    <a:pt x="150" y="20"/>
                  </a:lnTo>
                  <a:lnTo>
                    <a:pt x="150" y="0"/>
                  </a:lnTo>
                  <a:lnTo>
                    <a:pt x="150" y="0"/>
                  </a:lnTo>
                  <a:lnTo>
                    <a:pt x="148" y="4"/>
                  </a:lnTo>
                  <a:lnTo>
                    <a:pt x="147" y="7"/>
                  </a:lnTo>
                  <a:lnTo>
                    <a:pt x="140" y="14"/>
                  </a:lnTo>
                  <a:lnTo>
                    <a:pt x="140" y="1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5" name="Freeform 61">
              <a:extLst>
                <a:ext uri="{FF2B5EF4-FFF2-40B4-BE49-F238E27FC236}">
                  <a16:creationId xmlns:a16="http://schemas.microsoft.com/office/drawing/2014/main" id="{395BC38C-5C0A-4EE0-AA06-5D4B76ACBAEA}"/>
                </a:ext>
              </a:extLst>
            </p:cNvPr>
            <p:cNvSpPr>
              <a:spLocks/>
            </p:cNvSpPr>
            <p:nvPr/>
          </p:nvSpPr>
          <p:spPr bwMode="auto">
            <a:xfrm>
              <a:off x="5349875" y="3062288"/>
              <a:ext cx="1587" cy="4763"/>
            </a:xfrm>
            <a:custGeom>
              <a:avLst/>
              <a:gdLst/>
              <a:ahLst/>
              <a:cxnLst>
                <a:cxn ang="0">
                  <a:pos x="0" y="0"/>
                </a:cxn>
                <a:cxn ang="0">
                  <a:pos x="0" y="0"/>
                </a:cxn>
                <a:cxn ang="0">
                  <a:pos x="0" y="3"/>
                </a:cxn>
                <a:cxn ang="0">
                  <a:pos x="0" y="3"/>
                </a:cxn>
                <a:cxn ang="0">
                  <a:pos x="0" y="3"/>
                </a:cxn>
                <a:cxn ang="0">
                  <a:pos x="0" y="3"/>
                </a:cxn>
                <a:cxn ang="0">
                  <a:pos x="0" y="3"/>
                </a:cxn>
                <a:cxn ang="0">
                  <a:pos x="0" y="0"/>
                </a:cxn>
                <a:cxn ang="0">
                  <a:pos x="0" y="0"/>
                </a:cxn>
              </a:cxnLst>
              <a:rect l="0" t="0" r="r" b="b"/>
              <a:pathLst>
                <a:path h="3">
                  <a:moveTo>
                    <a:pt x="0" y="0"/>
                  </a:moveTo>
                  <a:lnTo>
                    <a:pt x="0" y="0"/>
                  </a:lnTo>
                  <a:lnTo>
                    <a:pt x="0" y="3"/>
                  </a:lnTo>
                  <a:lnTo>
                    <a:pt x="0" y="3"/>
                  </a:lnTo>
                  <a:lnTo>
                    <a:pt x="0" y="3"/>
                  </a:lnTo>
                  <a:lnTo>
                    <a:pt x="0" y="3"/>
                  </a:lnTo>
                  <a:lnTo>
                    <a:pt x="0"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6" name="Freeform 62">
              <a:extLst>
                <a:ext uri="{FF2B5EF4-FFF2-40B4-BE49-F238E27FC236}">
                  <a16:creationId xmlns:a16="http://schemas.microsoft.com/office/drawing/2014/main" id="{98A920B4-2E86-48C6-A963-9C178A4285B9}"/>
                </a:ext>
              </a:extLst>
            </p:cNvPr>
            <p:cNvSpPr>
              <a:spLocks/>
            </p:cNvSpPr>
            <p:nvPr/>
          </p:nvSpPr>
          <p:spPr bwMode="auto">
            <a:xfrm>
              <a:off x="5584825" y="3062288"/>
              <a:ext cx="3175" cy="4763"/>
            </a:xfrm>
            <a:custGeom>
              <a:avLst/>
              <a:gdLst/>
              <a:ahLst/>
              <a:cxnLst>
                <a:cxn ang="0">
                  <a:pos x="0" y="0"/>
                </a:cxn>
                <a:cxn ang="0">
                  <a:pos x="0" y="0"/>
                </a:cxn>
                <a:cxn ang="0">
                  <a:pos x="2" y="3"/>
                </a:cxn>
                <a:cxn ang="0">
                  <a:pos x="2" y="3"/>
                </a:cxn>
                <a:cxn ang="0">
                  <a:pos x="2" y="3"/>
                </a:cxn>
                <a:cxn ang="0">
                  <a:pos x="2" y="3"/>
                </a:cxn>
                <a:cxn ang="0">
                  <a:pos x="2" y="3"/>
                </a:cxn>
                <a:cxn ang="0">
                  <a:pos x="0" y="0"/>
                </a:cxn>
                <a:cxn ang="0">
                  <a:pos x="0" y="0"/>
                </a:cxn>
              </a:cxnLst>
              <a:rect l="0" t="0" r="r" b="b"/>
              <a:pathLst>
                <a:path w="2" h="3">
                  <a:moveTo>
                    <a:pt x="0" y="0"/>
                  </a:moveTo>
                  <a:lnTo>
                    <a:pt x="0" y="0"/>
                  </a:lnTo>
                  <a:lnTo>
                    <a:pt x="2" y="3"/>
                  </a:lnTo>
                  <a:lnTo>
                    <a:pt x="2" y="3"/>
                  </a:lnTo>
                  <a:lnTo>
                    <a:pt x="2" y="3"/>
                  </a:lnTo>
                  <a:lnTo>
                    <a:pt x="2" y="3"/>
                  </a:lnTo>
                  <a:lnTo>
                    <a:pt x="2" y="3"/>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7" name="Freeform 63">
              <a:extLst>
                <a:ext uri="{FF2B5EF4-FFF2-40B4-BE49-F238E27FC236}">
                  <a16:creationId xmlns:a16="http://schemas.microsoft.com/office/drawing/2014/main" id="{AAAFAA3E-C500-4E44-8440-A39948629CF9}"/>
                </a:ext>
              </a:extLst>
            </p:cNvPr>
            <p:cNvSpPr>
              <a:spLocks/>
            </p:cNvSpPr>
            <p:nvPr/>
          </p:nvSpPr>
          <p:spPr bwMode="auto">
            <a:xfrm>
              <a:off x="5443538" y="3044825"/>
              <a:ext cx="17462" cy="15875"/>
            </a:xfrm>
            <a:custGeom>
              <a:avLst/>
              <a:gdLst/>
              <a:ahLst/>
              <a:cxnLst>
                <a:cxn ang="0">
                  <a:pos x="1" y="7"/>
                </a:cxn>
                <a:cxn ang="0">
                  <a:pos x="1" y="7"/>
                </a:cxn>
                <a:cxn ang="0">
                  <a:pos x="4" y="9"/>
                </a:cxn>
                <a:cxn ang="0">
                  <a:pos x="8" y="10"/>
                </a:cxn>
                <a:cxn ang="0">
                  <a:pos x="8" y="10"/>
                </a:cxn>
                <a:cxn ang="0">
                  <a:pos x="11" y="10"/>
                </a:cxn>
                <a:cxn ang="0">
                  <a:pos x="11" y="0"/>
                </a:cxn>
                <a:cxn ang="0">
                  <a:pos x="11" y="0"/>
                </a:cxn>
                <a:cxn ang="0">
                  <a:pos x="2" y="2"/>
                </a:cxn>
                <a:cxn ang="0">
                  <a:pos x="2" y="2"/>
                </a:cxn>
                <a:cxn ang="0">
                  <a:pos x="0" y="3"/>
                </a:cxn>
                <a:cxn ang="0">
                  <a:pos x="0" y="4"/>
                </a:cxn>
                <a:cxn ang="0">
                  <a:pos x="0" y="6"/>
                </a:cxn>
                <a:cxn ang="0">
                  <a:pos x="1" y="7"/>
                </a:cxn>
                <a:cxn ang="0">
                  <a:pos x="1" y="7"/>
                </a:cxn>
              </a:cxnLst>
              <a:rect l="0" t="0" r="r" b="b"/>
              <a:pathLst>
                <a:path w="11" h="10">
                  <a:moveTo>
                    <a:pt x="1" y="7"/>
                  </a:moveTo>
                  <a:lnTo>
                    <a:pt x="1" y="7"/>
                  </a:lnTo>
                  <a:lnTo>
                    <a:pt x="4" y="9"/>
                  </a:lnTo>
                  <a:lnTo>
                    <a:pt x="8" y="10"/>
                  </a:lnTo>
                  <a:lnTo>
                    <a:pt x="8" y="10"/>
                  </a:lnTo>
                  <a:lnTo>
                    <a:pt x="11" y="10"/>
                  </a:lnTo>
                  <a:lnTo>
                    <a:pt x="11" y="0"/>
                  </a:lnTo>
                  <a:lnTo>
                    <a:pt x="11" y="0"/>
                  </a:lnTo>
                  <a:lnTo>
                    <a:pt x="2" y="2"/>
                  </a:lnTo>
                  <a:lnTo>
                    <a:pt x="2" y="2"/>
                  </a:lnTo>
                  <a:lnTo>
                    <a:pt x="0" y="3"/>
                  </a:lnTo>
                  <a:lnTo>
                    <a:pt x="0" y="4"/>
                  </a:lnTo>
                  <a:lnTo>
                    <a:pt x="0" y="6"/>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8" name="Freeform 64">
              <a:extLst>
                <a:ext uri="{FF2B5EF4-FFF2-40B4-BE49-F238E27FC236}">
                  <a16:creationId xmlns:a16="http://schemas.microsoft.com/office/drawing/2014/main" id="{154DB15A-F7CA-49EC-8C98-0FDD9385AD04}"/>
                </a:ext>
              </a:extLst>
            </p:cNvPr>
            <p:cNvSpPr>
              <a:spLocks noEditPoints="1"/>
            </p:cNvSpPr>
            <p:nvPr/>
          </p:nvSpPr>
          <p:spPr bwMode="auto">
            <a:xfrm>
              <a:off x="5365750" y="3028950"/>
              <a:ext cx="204787" cy="74613"/>
            </a:xfrm>
            <a:custGeom>
              <a:avLst/>
              <a:gdLst/>
              <a:ahLst/>
              <a:cxnLst>
                <a:cxn ang="0">
                  <a:pos x="0" y="23"/>
                </a:cxn>
                <a:cxn ang="0">
                  <a:pos x="5" y="33"/>
                </a:cxn>
                <a:cxn ang="0">
                  <a:pos x="19" y="40"/>
                </a:cxn>
                <a:cxn ang="0">
                  <a:pos x="39" y="45"/>
                </a:cxn>
                <a:cxn ang="0">
                  <a:pos x="64" y="47"/>
                </a:cxn>
                <a:cxn ang="0">
                  <a:pos x="77" y="47"/>
                </a:cxn>
                <a:cxn ang="0">
                  <a:pos x="101" y="42"/>
                </a:cxn>
                <a:cxn ang="0">
                  <a:pos x="117" y="37"/>
                </a:cxn>
                <a:cxn ang="0">
                  <a:pos x="127" y="28"/>
                </a:cxn>
                <a:cxn ang="0">
                  <a:pos x="129" y="23"/>
                </a:cxn>
                <a:cxn ang="0">
                  <a:pos x="124" y="14"/>
                </a:cxn>
                <a:cxn ang="0">
                  <a:pos x="110" y="7"/>
                </a:cxn>
                <a:cxn ang="0">
                  <a:pos x="89" y="2"/>
                </a:cxn>
                <a:cxn ang="0">
                  <a:pos x="64" y="0"/>
                </a:cxn>
                <a:cxn ang="0">
                  <a:pos x="51" y="0"/>
                </a:cxn>
                <a:cxn ang="0">
                  <a:pos x="28" y="5"/>
                </a:cxn>
                <a:cxn ang="0">
                  <a:pos x="11" y="10"/>
                </a:cxn>
                <a:cxn ang="0">
                  <a:pos x="1" y="19"/>
                </a:cxn>
                <a:cxn ang="0">
                  <a:pos x="0" y="23"/>
                </a:cxn>
                <a:cxn ang="0">
                  <a:pos x="70" y="6"/>
                </a:cxn>
                <a:cxn ang="0">
                  <a:pos x="75" y="7"/>
                </a:cxn>
                <a:cxn ang="0">
                  <a:pos x="84" y="9"/>
                </a:cxn>
                <a:cxn ang="0">
                  <a:pos x="91" y="12"/>
                </a:cxn>
                <a:cxn ang="0">
                  <a:pos x="91" y="13"/>
                </a:cxn>
                <a:cxn ang="0">
                  <a:pos x="85" y="14"/>
                </a:cxn>
                <a:cxn ang="0">
                  <a:pos x="82" y="14"/>
                </a:cxn>
                <a:cxn ang="0">
                  <a:pos x="82" y="13"/>
                </a:cxn>
                <a:cxn ang="0">
                  <a:pos x="81" y="13"/>
                </a:cxn>
                <a:cxn ang="0">
                  <a:pos x="81" y="13"/>
                </a:cxn>
                <a:cxn ang="0">
                  <a:pos x="73" y="10"/>
                </a:cxn>
                <a:cxn ang="0">
                  <a:pos x="70" y="21"/>
                </a:cxn>
                <a:cxn ang="0">
                  <a:pos x="82" y="24"/>
                </a:cxn>
                <a:cxn ang="0">
                  <a:pos x="89" y="28"/>
                </a:cxn>
                <a:cxn ang="0">
                  <a:pos x="91" y="31"/>
                </a:cxn>
                <a:cxn ang="0">
                  <a:pos x="88" y="35"/>
                </a:cxn>
                <a:cxn ang="0">
                  <a:pos x="84" y="38"/>
                </a:cxn>
                <a:cxn ang="0">
                  <a:pos x="70" y="41"/>
                </a:cxn>
                <a:cxn ang="0">
                  <a:pos x="70" y="44"/>
                </a:cxn>
                <a:cxn ang="0">
                  <a:pos x="61" y="44"/>
                </a:cxn>
                <a:cxn ang="0">
                  <a:pos x="60" y="44"/>
                </a:cxn>
                <a:cxn ang="0">
                  <a:pos x="60" y="41"/>
                </a:cxn>
                <a:cxn ang="0">
                  <a:pos x="42" y="38"/>
                </a:cxn>
                <a:cxn ang="0">
                  <a:pos x="37" y="35"/>
                </a:cxn>
                <a:cxn ang="0">
                  <a:pos x="37" y="34"/>
                </a:cxn>
                <a:cxn ang="0">
                  <a:pos x="43" y="33"/>
                </a:cxn>
                <a:cxn ang="0">
                  <a:pos x="46" y="33"/>
                </a:cxn>
                <a:cxn ang="0">
                  <a:pos x="47" y="33"/>
                </a:cxn>
                <a:cxn ang="0">
                  <a:pos x="47" y="34"/>
                </a:cxn>
                <a:cxn ang="0">
                  <a:pos x="47" y="34"/>
                </a:cxn>
                <a:cxn ang="0">
                  <a:pos x="49" y="34"/>
                </a:cxn>
                <a:cxn ang="0">
                  <a:pos x="56" y="35"/>
                </a:cxn>
                <a:cxn ang="0">
                  <a:pos x="60" y="24"/>
                </a:cxn>
                <a:cxn ang="0">
                  <a:pos x="47" y="23"/>
                </a:cxn>
                <a:cxn ang="0">
                  <a:pos x="43" y="21"/>
                </a:cxn>
                <a:cxn ang="0">
                  <a:pos x="40" y="19"/>
                </a:cxn>
                <a:cxn ang="0">
                  <a:pos x="39" y="14"/>
                </a:cxn>
                <a:cxn ang="0">
                  <a:pos x="44" y="9"/>
                </a:cxn>
                <a:cxn ang="0">
                  <a:pos x="51" y="7"/>
                </a:cxn>
                <a:cxn ang="0">
                  <a:pos x="60" y="3"/>
                </a:cxn>
                <a:cxn ang="0">
                  <a:pos x="61" y="3"/>
                </a:cxn>
                <a:cxn ang="0">
                  <a:pos x="68" y="3"/>
                </a:cxn>
                <a:cxn ang="0">
                  <a:pos x="70" y="3"/>
                </a:cxn>
              </a:cxnLst>
              <a:rect l="0" t="0" r="r" b="b"/>
              <a:pathLst>
                <a:path w="129" h="47">
                  <a:moveTo>
                    <a:pt x="0" y="23"/>
                  </a:moveTo>
                  <a:lnTo>
                    <a:pt x="0" y="23"/>
                  </a:lnTo>
                  <a:lnTo>
                    <a:pt x="1" y="28"/>
                  </a:lnTo>
                  <a:lnTo>
                    <a:pt x="5" y="33"/>
                  </a:lnTo>
                  <a:lnTo>
                    <a:pt x="11" y="37"/>
                  </a:lnTo>
                  <a:lnTo>
                    <a:pt x="19" y="40"/>
                  </a:lnTo>
                  <a:lnTo>
                    <a:pt x="28" y="42"/>
                  </a:lnTo>
                  <a:lnTo>
                    <a:pt x="39" y="45"/>
                  </a:lnTo>
                  <a:lnTo>
                    <a:pt x="51" y="47"/>
                  </a:lnTo>
                  <a:lnTo>
                    <a:pt x="64" y="47"/>
                  </a:lnTo>
                  <a:lnTo>
                    <a:pt x="64" y="47"/>
                  </a:lnTo>
                  <a:lnTo>
                    <a:pt x="77" y="47"/>
                  </a:lnTo>
                  <a:lnTo>
                    <a:pt x="89" y="45"/>
                  </a:lnTo>
                  <a:lnTo>
                    <a:pt x="101" y="42"/>
                  </a:lnTo>
                  <a:lnTo>
                    <a:pt x="110" y="40"/>
                  </a:lnTo>
                  <a:lnTo>
                    <a:pt x="117" y="37"/>
                  </a:lnTo>
                  <a:lnTo>
                    <a:pt x="124" y="33"/>
                  </a:lnTo>
                  <a:lnTo>
                    <a:pt x="127" y="28"/>
                  </a:lnTo>
                  <a:lnTo>
                    <a:pt x="129" y="23"/>
                  </a:lnTo>
                  <a:lnTo>
                    <a:pt x="129" y="23"/>
                  </a:lnTo>
                  <a:lnTo>
                    <a:pt x="127" y="19"/>
                  </a:lnTo>
                  <a:lnTo>
                    <a:pt x="124" y="14"/>
                  </a:lnTo>
                  <a:lnTo>
                    <a:pt x="117" y="10"/>
                  </a:lnTo>
                  <a:lnTo>
                    <a:pt x="110" y="7"/>
                  </a:lnTo>
                  <a:lnTo>
                    <a:pt x="101" y="5"/>
                  </a:lnTo>
                  <a:lnTo>
                    <a:pt x="89" y="2"/>
                  </a:lnTo>
                  <a:lnTo>
                    <a:pt x="77" y="0"/>
                  </a:lnTo>
                  <a:lnTo>
                    <a:pt x="64" y="0"/>
                  </a:lnTo>
                  <a:lnTo>
                    <a:pt x="64" y="0"/>
                  </a:lnTo>
                  <a:lnTo>
                    <a:pt x="51" y="0"/>
                  </a:lnTo>
                  <a:lnTo>
                    <a:pt x="39" y="2"/>
                  </a:lnTo>
                  <a:lnTo>
                    <a:pt x="28" y="5"/>
                  </a:lnTo>
                  <a:lnTo>
                    <a:pt x="19" y="7"/>
                  </a:lnTo>
                  <a:lnTo>
                    <a:pt x="11" y="10"/>
                  </a:lnTo>
                  <a:lnTo>
                    <a:pt x="5" y="14"/>
                  </a:lnTo>
                  <a:lnTo>
                    <a:pt x="1" y="19"/>
                  </a:lnTo>
                  <a:lnTo>
                    <a:pt x="0" y="23"/>
                  </a:lnTo>
                  <a:lnTo>
                    <a:pt x="0" y="23"/>
                  </a:lnTo>
                  <a:close/>
                  <a:moveTo>
                    <a:pt x="70" y="3"/>
                  </a:moveTo>
                  <a:lnTo>
                    <a:pt x="70" y="6"/>
                  </a:lnTo>
                  <a:lnTo>
                    <a:pt x="70" y="6"/>
                  </a:lnTo>
                  <a:lnTo>
                    <a:pt x="75" y="7"/>
                  </a:lnTo>
                  <a:lnTo>
                    <a:pt x="75" y="7"/>
                  </a:lnTo>
                  <a:lnTo>
                    <a:pt x="84" y="9"/>
                  </a:lnTo>
                  <a:lnTo>
                    <a:pt x="91" y="12"/>
                  </a:lnTo>
                  <a:lnTo>
                    <a:pt x="91" y="12"/>
                  </a:lnTo>
                  <a:lnTo>
                    <a:pt x="91" y="12"/>
                  </a:lnTo>
                  <a:lnTo>
                    <a:pt x="91" y="13"/>
                  </a:lnTo>
                  <a:lnTo>
                    <a:pt x="88" y="14"/>
                  </a:lnTo>
                  <a:lnTo>
                    <a:pt x="85" y="14"/>
                  </a:lnTo>
                  <a:lnTo>
                    <a:pt x="82" y="14"/>
                  </a:lnTo>
                  <a:lnTo>
                    <a:pt x="82" y="14"/>
                  </a:lnTo>
                  <a:lnTo>
                    <a:pt x="82" y="13"/>
                  </a:lnTo>
                  <a:lnTo>
                    <a:pt x="82" y="13"/>
                  </a:lnTo>
                  <a:lnTo>
                    <a:pt x="81" y="13"/>
                  </a:lnTo>
                  <a:lnTo>
                    <a:pt x="81" y="13"/>
                  </a:lnTo>
                  <a:lnTo>
                    <a:pt x="81" y="13"/>
                  </a:lnTo>
                  <a:lnTo>
                    <a:pt x="81" y="13"/>
                  </a:lnTo>
                  <a:lnTo>
                    <a:pt x="73" y="10"/>
                  </a:lnTo>
                  <a:lnTo>
                    <a:pt x="73" y="10"/>
                  </a:lnTo>
                  <a:lnTo>
                    <a:pt x="70" y="10"/>
                  </a:lnTo>
                  <a:lnTo>
                    <a:pt x="70" y="21"/>
                  </a:lnTo>
                  <a:lnTo>
                    <a:pt x="70" y="21"/>
                  </a:lnTo>
                  <a:lnTo>
                    <a:pt x="82" y="24"/>
                  </a:lnTo>
                  <a:lnTo>
                    <a:pt x="87" y="27"/>
                  </a:lnTo>
                  <a:lnTo>
                    <a:pt x="89" y="28"/>
                  </a:lnTo>
                  <a:lnTo>
                    <a:pt x="89" y="28"/>
                  </a:lnTo>
                  <a:lnTo>
                    <a:pt x="91" y="31"/>
                  </a:lnTo>
                  <a:lnTo>
                    <a:pt x="91" y="34"/>
                  </a:lnTo>
                  <a:lnTo>
                    <a:pt x="88" y="35"/>
                  </a:lnTo>
                  <a:lnTo>
                    <a:pt x="84" y="38"/>
                  </a:lnTo>
                  <a:lnTo>
                    <a:pt x="84" y="38"/>
                  </a:lnTo>
                  <a:lnTo>
                    <a:pt x="78" y="40"/>
                  </a:lnTo>
                  <a:lnTo>
                    <a:pt x="70" y="41"/>
                  </a:lnTo>
                  <a:lnTo>
                    <a:pt x="70" y="44"/>
                  </a:lnTo>
                  <a:lnTo>
                    <a:pt x="70" y="44"/>
                  </a:lnTo>
                  <a:lnTo>
                    <a:pt x="68" y="44"/>
                  </a:lnTo>
                  <a:lnTo>
                    <a:pt x="61" y="44"/>
                  </a:lnTo>
                  <a:lnTo>
                    <a:pt x="61" y="44"/>
                  </a:lnTo>
                  <a:lnTo>
                    <a:pt x="60" y="44"/>
                  </a:lnTo>
                  <a:lnTo>
                    <a:pt x="60" y="41"/>
                  </a:lnTo>
                  <a:lnTo>
                    <a:pt x="60" y="41"/>
                  </a:lnTo>
                  <a:lnTo>
                    <a:pt x="47" y="40"/>
                  </a:lnTo>
                  <a:lnTo>
                    <a:pt x="42" y="38"/>
                  </a:lnTo>
                  <a:lnTo>
                    <a:pt x="37" y="35"/>
                  </a:lnTo>
                  <a:lnTo>
                    <a:pt x="37" y="35"/>
                  </a:lnTo>
                  <a:lnTo>
                    <a:pt x="37" y="35"/>
                  </a:lnTo>
                  <a:lnTo>
                    <a:pt x="37" y="34"/>
                  </a:lnTo>
                  <a:lnTo>
                    <a:pt x="40" y="33"/>
                  </a:lnTo>
                  <a:lnTo>
                    <a:pt x="43" y="33"/>
                  </a:lnTo>
                  <a:lnTo>
                    <a:pt x="46" y="33"/>
                  </a:lnTo>
                  <a:lnTo>
                    <a:pt x="46" y="33"/>
                  </a:lnTo>
                  <a:lnTo>
                    <a:pt x="47" y="33"/>
                  </a:lnTo>
                  <a:lnTo>
                    <a:pt x="47" y="33"/>
                  </a:lnTo>
                  <a:lnTo>
                    <a:pt x="47" y="34"/>
                  </a:lnTo>
                  <a:lnTo>
                    <a:pt x="47" y="34"/>
                  </a:lnTo>
                  <a:lnTo>
                    <a:pt x="47" y="34"/>
                  </a:lnTo>
                  <a:lnTo>
                    <a:pt x="47" y="34"/>
                  </a:lnTo>
                  <a:lnTo>
                    <a:pt x="49" y="34"/>
                  </a:lnTo>
                  <a:lnTo>
                    <a:pt x="49" y="34"/>
                  </a:lnTo>
                  <a:lnTo>
                    <a:pt x="56" y="35"/>
                  </a:lnTo>
                  <a:lnTo>
                    <a:pt x="56" y="35"/>
                  </a:lnTo>
                  <a:lnTo>
                    <a:pt x="60" y="37"/>
                  </a:lnTo>
                  <a:lnTo>
                    <a:pt x="60" y="24"/>
                  </a:lnTo>
                  <a:lnTo>
                    <a:pt x="60" y="24"/>
                  </a:lnTo>
                  <a:lnTo>
                    <a:pt x="47" y="23"/>
                  </a:lnTo>
                  <a:lnTo>
                    <a:pt x="47" y="23"/>
                  </a:lnTo>
                  <a:lnTo>
                    <a:pt x="43" y="21"/>
                  </a:lnTo>
                  <a:lnTo>
                    <a:pt x="40" y="19"/>
                  </a:lnTo>
                  <a:lnTo>
                    <a:pt x="40" y="19"/>
                  </a:lnTo>
                  <a:lnTo>
                    <a:pt x="39" y="16"/>
                  </a:lnTo>
                  <a:lnTo>
                    <a:pt x="39" y="14"/>
                  </a:lnTo>
                  <a:lnTo>
                    <a:pt x="40" y="12"/>
                  </a:lnTo>
                  <a:lnTo>
                    <a:pt x="44" y="9"/>
                  </a:lnTo>
                  <a:lnTo>
                    <a:pt x="44" y="9"/>
                  </a:lnTo>
                  <a:lnTo>
                    <a:pt x="51" y="7"/>
                  </a:lnTo>
                  <a:lnTo>
                    <a:pt x="60" y="6"/>
                  </a:lnTo>
                  <a:lnTo>
                    <a:pt x="60" y="3"/>
                  </a:lnTo>
                  <a:lnTo>
                    <a:pt x="60" y="3"/>
                  </a:lnTo>
                  <a:lnTo>
                    <a:pt x="61" y="3"/>
                  </a:lnTo>
                  <a:lnTo>
                    <a:pt x="68" y="3"/>
                  </a:lnTo>
                  <a:lnTo>
                    <a:pt x="68" y="3"/>
                  </a:lnTo>
                  <a:lnTo>
                    <a:pt x="70" y="3"/>
                  </a:lnTo>
                  <a:lnTo>
                    <a:pt x="7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199" name="Freeform 65">
              <a:extLst>
                <a:ext uri="{FF2B5EF4-FFF2-40B4-BE49-F238E27FC236}">
                  <a16:creationId xmlns:a16="http://schemas.microsoft.com/office/drawing/2014/main" id="{82C6A8A9-B3A5-4FE6-B7F5-A0551863F827}"/>
                </a:ext>
              </a:extLst>
            </p:cNvPr>
            <p:cNvSpPr>
              <a:spLocks/>
            </p:cNvSpPr>
            <p:nvPr/>
          </p:nvSpPr>
          <p:spPr bwMode="auto">
            <a:xfrm>
              <a:off x="5476875" y="3071813"/>
              <a:ext cx="17462" cy="15875"/>
            </a:xfrm>
            <a:custGeom>
              <a:avLst/>
              <a:gdLst/>
              <a:ahLst/>
              <a:cxnLst>
                <a:cxn ang="0">
                  <a:pos x="10" y="3"/>
                </a:cxn>
                <a:cxn ang="0">
                  <a:pos x="10" y="3"/>
                </a:cxn>
                <a:cxn ang="0">
                  <a:pos x="8" y="1"/>
                </a:cxn>
                <a:cxn ang="0">
                  <a:pos x="5" y="1"/>
                </a:cxn>
                <a:cxn ang="0">
                  <a:pos x="5" y="1"/>
                </a:cxn>
                <a:cxn ang="0">
                  <a:pos x="0" y="0"/>
                </a:cxn>
                <a:cxn ang="0">
                  <a:pos x="0" y="10"/>
                </a:cxn>
                <a:cxn ang="0">
                  <a:pos x="0" y="10"/>
                </a:cxn>
                <a:cxn ang="0">
                  <a:pos x="8" y="8"/>
                </a:cxn>
                <a:cxn ang="0">
                  <a:pos x="8" y="8"/>
                </a:cxn>
                <a:cxn ang="0">
                  <a:pos x="11" y="6"/>
                </a:cxn>
                <a:cxn ang="0">
                  <a:pos x="11" y="4"/>
                </a:cxn>
                <a:cxn ang="0">
                  <a:pos x="10" y="3"/>
                </a:cxn>
                <a:cxn ang="0">
                  <a:pos x="10" y="3"/>
                </a:cxn>
              </a:cxnLst>
              <a:rect l="0" t="0" r="r" b="b"/>
              <a:pathLst>
                <a:path w="11" h="10">
                  <a:moveTo>
                    <a:pt x="10" y="3"/>
                  </a:moveTo>
                  <a:lnTo>
                    <a:pt x="10" y="3"/>
                  </a:lnTo>
                  <a:lnTo>
                    <a:pt x="8" y="1"/>
                  </a:lnTo>
                  <a:lnTo>
                    <a:pt x="5" y="1"/>
                  </a:lnTo>
                  <a:lnTo>
                    <a:pt x="5" y="1"/>
                  </a:lnTo>
                  <a:lnTo>
                    <a:pt x="0" y="0"/>
                  </a:lnTo>
                  <a:lnTo>
                    <a:pt x="0" y="10"/>
                  </a:lnTo>
                  <a:lnTo>
                    <a:pt x="0" y="10"/>
                  </a:lnTo>
                  <a:lnTo>
                    <a:pt x="8" y="8"/>
                  </a:lnTo>
                  <a:lnTo>
                    <a:pt x="8" y="8"/>
                  </a:lnTo>
                  <a:lnTo>
                    <a:pt x="11" y="6"/>
                  </a:lnTo>
                  <a:lnTo>
                    <a:pt x="11" y="4"/>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0" name="Freeform 66">
              <a:extLst>
                <a:ext uri="{FF2B5EF4-FFF2-40B4-BE49-F238E27FC236}">
                  <a16:creationId xmlns:a16="http://schemas.microsoft.com/office/drawing/2014/main" id="{6BA38011-4FEA-48F7-A5C0-47E707C50EE1}"/>
                </a:ext>
              </a:extLst>
            </p:cNvPr>
            <p:cNvSpPr>
              <a:spLocks noEditPoints="1"/>
            </p:cNvSpPr>
            <p:nvPr/>
          </p:nvSpPr>
          <p:spPr bwMode="auto">
            <a:xfrm>
              <a:off x="5106988" y="3316288"/>
              <a:ext cx="214312" cy="71438"/>
            </a:xfrm>
            <a:custGeom>
              <a:avLst/>
              <a:gdLst/>
              <a:ahLst/>
              <a:cxnLst>
                <a:cxn ang="0">
                  <a:pos x="63" y="23"/>
                </a:cxn>
                <a:cxn ang="0">
                  <a:pos x="27" y="18"/>
                </a:cxn>
                <a:cxn ang="0">
                  <a:pos x="4" y="11"/>
                </a:cxn>
                <a:cxn ang="0">
                  <a:pos x="0" y="20"/>
                </a:cxn>
                <a:cxn ang="0">
                  <a:pos x="0" y="20"/>
                </a:cxn>
                <a:cxn ang="0">
                  <a:pos x="4" y="30"/>
                </a:cxn>
                <a:cxn ang="0">
                  <a:pos x="20" y="38"/>
                </a:cxn>
                <a:cxn ang="0">
                  <a:pos x="41" y="44"/>
                </a:cxn>
                <a:cxn ang="0">
                  <a:pos x="67" y="45"/>
                </a:cxn>
                <a:cxn ang="0">
                  <a:pos x="80" y="45"/>
                </a:cxn>
                <a:cxn ang="0">
                  <a:pos x="104" y="41"/>
                </a:cxn>
                <a:cxn ang="0">
                  <a:pos x="122" y="34"/>
                </a:cxn>
                <a:cxn ang="0">
                  <a:pos x="132" y="25"/>
                </a:cxn>
                <a:cxn ang="0">
                  <a:pos x="135" y="21"/>
                </a:cxn>
                <a:cxn ang="0">
                  <a:pos x="135" y="20"/>
                </a:cxn>
                <a:cxn ang="0">
                  <a:pos x="135" y="3"/>
                </a:cxn>
                <a:cxn ang="0">
                  <a:pos x="135" y="0"/>
                </a:cxn>
                <a:cxn ang="0">
                  <a:pos x="123" y="10"/>
                </a:cxn>
                <a:cxn ang="0">
                  <a:pos x="107" y="17"/>
                </a:cxn>
                <a:cxn ang="0">
                  <a:pos x="87" y="21"/>
                </a:cxn>
                <a:cxn ang="0">
                  <a:pos x="63" y="23"/>
                </a:cxn>
                <a:cxn ang="0">
                  <a:pos x="16" y="32"/>
                </a:cxn>
                <a:cxn ang="0">
                  <a:pos x="6" y="27"/>
                </a:cxn>
                <a:cxn ang="0">
                  <a:pos x="6" y="16"/>
                </a:cxn>
                <a:cxn ang="0">
                  <a:pos x="16" y="20"/>
                </a:cxn>
                <a:cxn ang="0">
                  <a:pos x="34" y="38"/>
                </a:cxn>
                <a:cxn ang="0">
                  <a:pos x="24" y="35"/>
                </a:cxn>
                <a:cxn ang="0">
                  <a:pos x="24" y="23"/>
                </a:cxn>
                <a:cxn ang="0">
                  <a:pos x="34" y="38"/>
                </a:cxn>
                <a:cxn ang="0">
                  <a:pos x="52" y="41"/>
                </a:cxn>
                <a:cxn ang="0">
                  <a:pos x="44" y="27"/>
                </a:cxn>
                <a:cxn ang="0">
                  <a:pos x="52" y="28"/>
                </a:cxn>
                <a:cxn ang="0">
                  <a:pos x="70" y="41"/>
                </a:cxn>
                <a:cxn ang="0">
                  <a:pos x="67" y="41"/>
                </a:cxn>
                <a:cxn ang="0">
                  <a:pos x="62" y="41"/>
                </a:cxn>
                <a:cxn ang="0">
                  <a:pos x="62" y="28"/>
                </a:cxn>
                <a:cxn ang="0">
                  <a:pos x="67" y="28"/>
                </a:cxn>
                <a:cxn ang="0">
                  <a:pos x="70" y="41"/>
                </a:cxn>
                <a:cxn ang="0">
                  <a:pos x="126" y="27"/>
                </a:cxn>
                <a:cxn ang="0">
                  <a:pos x="119" y="18"/>
                </a:cxn>
                <a:cxn ang="0">
                  <a:pos x="126" y="14"/>
                </a:cxn>
              </a:cxnLst>
              <a:rect l="0" t="0" r="r" b="b"/>
              <a:pathLst>
                <a:path w="135" h="45">
                  <a:moveTo>
                    <a:pt x="63" y="23"/>
                  </a:moveTo>
                  <a:lnTo>
                    <a:pt x="63" y="23"/>
                  </a:lnTo>
                  <a:lnTo>
                    <a:pt x="45" y="23"/>
                  </a:lnTo>
                  <a:lnTo>
                    <a:pt x="27" y="18"/>
                  </a:lnTo>
                  <a:lnTo>
                    <a:pt x="11" y="14"/>
                  </a:lnTo>
                  <a:lnTo>
                    <a:pt x="4" y="11"/>
                  </a:lnTo>
                  <a:lnTo>
                    <a:pt x="0" y="7"/>
                  </a:lnTo>
                  <a:lnTo>
                    <a:pt x="0" y="20"/>
                  </a:lnTo>
                  <a:lnTo>
                    <a:pt x="0" y="20"/>
                  </a:lnTo>
                  <a:lnTo>
                    <a:pt x="0" y="20"/>
                  </a:lnTo>
                  <a:lnTo>
                    <a:pt x="2" y="25"/>
                  </a:lnTo>
                  <a:lnTo>
                    <a:pt x="4" y="30"/>
                  </a:lnTo>
                  <a:lnTo>
                    <a:pt x="11" y="34"/>
                  </a:lnTo>
                  <a:lnTo>
                    <a:pt x="20" y="38"/>
                  </a:lnTo>
                  <a:lnTo>
                    <a:pt x="30" y="41"/>
                  </a:lnTo>
                  <a:lnTo>
                    <a:pt x="41" y="44"/>
                  </a:lnTo>
                  <a:lnTo>
                    <a:pt x="53" y="45"/>
                  </a:lnTo>
                  <a:lnTo>
                    <a:pt x="67" y="45"/>
                  </a:lnTo>
                  <a:lnTo>
                    <a:pt x="67" y="45"/>
                  </a:lnTo>
                  <a:lnTo>
                    <a:pt x="80" y="45"/>
                  </a:lnTo>
                  <a:lnTo>
                    <a:pt x="93" y="44"/>
                  </a:lnTo>
                  <a:lnTo>
                    <a:pt x="104" y="41"/>
                  </a:lnTo>
                  <a:lnTo>
                    <a:pt x="114" y="38"/>
                  </a:lnTo>
                  <a:lnTo>
                    <a:pt x="122" y="34"/>
                  </a:lnTo>
                  <a:lnTo>
                    <a:pt x="128" y="30"/>
                  </a:lnTo>
                  <a:lnTo>
                    <a:pt x="132" y="25"/>
                  </a:lnTo>
                  <a:lnTo>
                    <a:pt x="135" y="21"/>
                  </a:lnTo>
                  <a:lnTo>
                    <a:pt x="135" y="21"/>
                  </a:lnTo>
                  <a:lnTo>
                    <a:pt x="135" y="20"/>
                  </a:lnTo>
                  <a:lnTo>
                    <a:pt x="135" y="20"/>
                  </a:lnTo>
                  <a:lnTo>
                    <a:pt x="135" y="3"/>
                  </a:lnTo>
                  <a:lnTo>
                    <a:pt x="135" y="3"/>
                  </a:lnTo>
                  <a:lnTo>
                    <a:pt x="135" y="0"/>
                  </a:lnTo>
                  <a:lnTo>
                    <a:pt x="135" y="0"/>
                  </a:lnTo>
                  <a:lnTo>
                    <a:pt x="130" y="6"/>
                  </a:lnTo>
                  <a:lnTo>
                    <a:pt x="123" y="10"/>
                  </a:lnTo>
                  <a:lnTo>
                    <a:pt x="116" y="14"/>
                  </a:lnTo>
                  <a:lnTo>
                    <a:pt x="107" y="17"/>
                  </a:lnTo>
                  <a:lnTo>
                    <a:pt x="97" y="20"/>
                  </a:lnTo>
                  <a:lnTo>
                    <a:pt x="87" y="21"/>
                  </a:lnTo>
                  <a:lnTo>
                    <a:pt x="63" y="23"/>
                  </a:lnTo>
                  <a:lnTo>
                    <a:pt x="63" y="23"/>
                  </a:lnTo>
                  <a:close/>
                  <a:moveTo>
                    <a:pt x="16" y="32"/>
                  </a:moveTo>
                  <a:lnTo>
                    <a:pt x="16" y="32"/>
                  </a:lnTo>
                  <a:lnTo>
                    <a:pt x="10" y="30"/>
                  </a:lnTo>
                  <a:lnTo>
                    <a:pt x="6" y="27"/>
                  </a:lnTo>
                  <a:lnTo>
                    <a:pt x="6" y="16"/>
                  </a:lnTo>
                  <a:lnTo>
                    <a:pt x="6" y="16"/>
                  </a:lnTo>
                  <a:lnTo>
                    <a:pt x="10" y="17"/>
                  </a:lnTo>
                  <a:lnTo>
                    <a:pt x="16" y="20"/>
                  </a:lnTo>
                  <a:lnTo>
                    <a:pt x="16" y="32"/>
                  </a:lnTo>
                  <a:close/>
                  <a:moveTo>
                    <a:pt x="34" y="38"/>
                  </a:moveTo>
                  <a:lnTo>
                    <a:pt x="34" y="38"/>
                  </a:lnTo>
                  <a:lnTo>
                    <a:pt x="24" y="35"/>
                  </a:lnTo>
                  <a:lnTo>
                    <a:pt x="24" y="23"/>
                  </a:lnTo>
                  <a:lnTo>
                    <a:pt x="24" y="23"/>
                  </a:lnTo>
                  <a:lnTo>
                    <a:pt x="34" y="25"/>
                  </a:lnTo>
                  <a:lnTo>
                    <a:pt x="34" y="38"/>
                  </a:lnTo>
                  <a:close/>
                  <a:moveTo>
                    <a:pt x="52" y="41"/>
                  </a:moveTo>
                  <a:lnTo>
                    <a:pt x="52" y="41"/>
                  </a:lnTo>
                  <a:lnTo>
                    <a:pt x="44" y="39"/>
                  </a:lnTo>
                  <a:lnTo>
                    <a:pt x="44" y="27"/>
                  </a:lnTo>
                  <a:lnTo>
                    <a:pt x="44" y="27"/>
                  </a:lnTo>
                  <a:lnTo>
                    <a:pt x="52" y="28"/>
                  </a:lnTo>
                  <a:lnTo>
                    <a:pt x="52" y="41"/>
                  </a:lnTo>
                  <a:close/>
                  <a:moveTo>
                    <a:pt x="70" y="41"/>
                  </a:moveTo>
                  <a:lnTo>
                    <a:pt x="70" y="41"/>
                  </a:lnTo>
                  <a:lnTo>
                    <a:pt x="67" y="41"/>
                  </a:lnTo>
                  <a:lnTo>
                    <a:pt x="67" y="41"/>
                  </a:lnTo>
                  <a:lnTo>
                    <a:pt x="62" y="41"/>
                  </a:lnTo>
                  <a:lnTo>
                    <a:pt x="62" y="28"/>
                  </a:lnTo>
                  <a:lnTo>
                    <a:pt x="62" y="28"/>
                  </a:lnTo>
                  <a:lnTo>
                    <a:pt x="67" y="28"/>
                  </a:lnTo>
                  <a:lnTo>
                    <a:pt x="67" y="28"/>
                  </a:lnTo>
                  <a:lnTo>
                    <a:pt x="70" y="28"/>
                  </a:lnTo>
                  <a:lnTo>
                    <a:pt x="70" y="41"/>
                  </a:lnTo>
                  <a:close/>
                  <a:moveTo>
                    <a:pt x="126" y="27"/>
                  </a:moveTo>
                  <a:lnTo>
                    <a:pt x="126" y="27"/>
                  </a:lnTo>
                  <a:lnTo>
                    <a:pt x="119" y="32"/>
                  </a:lnTo>
                  <a:lnTo>
                    <a:pt x="119" y="18"/>
                  </a:lnTo>
                  <a:lnTo>
                    <a:pt x="119" y="18"/>
                  </a:lnTo>
                  <a:lnTo>
                    <a:pt x="126" y="14"/>
                  </a:lnTo>
                  <a:lnTo>
                    <a:pt x="126" y="2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1" name="Freeform 67">
              <a:extLst>
                <a:ext uri="{FF2B5EF4-FFF2-40B4-BE49-F238E27FC236}">
                  <a16:creationId xmlns:a16="http://schemas.microsoft.com/office/drawing/2014/main" id="{5CEC8BA5-55FE-4675-86A0-01A97BC2F4C6}"/>
                </a:ext>
              </a:extLst>
            </p:cNvPr>
            <p:cNvSpPr>
              <a:spLocks noEditPoints="1"/>
            </p:cNvSpPr>
            <p:nvPr/>
          </p:nvSpPr>
          <p:spPr bwMode="auto">
            <a:xfrm>
              <a:off x="5100638" y="3275013"/>
              <a:ext cx="215900" cy="69850"/>
            </a:xfrm>
            <a:custGeom>
              <a:avLst/>
              <a:gdLst/>
              <a:ahLst/>
              <a:cxnLst>
                <a:cxn ang="0">
                  <a:pos x="0" y="19"/>
                </a:cxn>
                <a:cxn ang="0">
                  <a:pos x="6" y="29"/>
                </a:cxn>
                <a:cxn ang="0">
                  <a:pos x="21" y="36"/>
                </a:cxn>
                <a:cxn ang="0">
                  <a:pos x="42" y="42"/>
                </a:cxn>
                <a:cxn ang="0">
                  <a:pos x="67" y="44"/>
                </a:cxn>
                <a:cxn ang="0">
                  <a:pos x="81" y="43"/>
                </a:cxn>
                <a:cxn ang="0">
                  <a:pos x="105" y="40"/>
                </a:cxn>
                <a:cxn ang="0">
                  <a:pos x="123" y="33"/>
                </a:cxn>
                <a:cxn ang="0">
                  <a:pos x="133" y="25"/>
                </a:cxn>
                <a:cxn ang="0">
                  <a:pos x="134" y="19"/>
                </a:cxn>
                <a:cxn ang="0">
                  <a:pos x="136" y="19"/>
                </a:cxn>
                <a:cxn ang="0">
                  <a:pos x="136" y="7"/>
                </a:cxn>
                <a:cxn ang="0">
                  <a:pos x="123" y="14"/>
                </a:cxn>
                <a:cxn ang="0">
                  <a:pos x="90" y="21"/>
                </a:cxn>
                <a:cxn ang="0">
                  <a:pos x="71" y="22"/>
                </a:cxn>
                <a:cxn ang="0">
                  <a:pos x="38" y="19"/>
                </a:cxn>
                <a:cxn ang="0">
                  <a:pos x="18" y="14"/>
                </a:cxn>
                <a:cxn ang="0">
                  <a:pos x="6" y="5"/>
                </a:cxn>
                <a:cxn ang="0">
                  <a:pos x="1" y="0"/>
                </a:cxn>
                <a:cxn ang="0">
                  <a:pos x="0" y="1"/>
                </a:cxn>
                <a:cxn ang="0">
                  <a:pos x="0" y="19"/>
                </a:cxn>
                <a:cxn ang="0">
                  <a:pos x="120" y="19"/>
                </a:cxn>
                <a:cxn ang="0">
                  <a:pos x="127" y="16"/>
                </a:cxn>
                <a:cxn ang="0">
                  <a:pos x="127" y="26"/>
                </a:cxn>
                <a:cxn ang="0">
                  <a:pos x="120" y="19"/>
                </a:cxn>
                <a:cxn ang="0">
                  <a:pos x="63" y="28"/>
                </a:cxn>
                <a:cxn ang="0">
                  <a:pos x="67" y="28"/>
                </a:cxn>
                <a:cxn ang="0">
                  <a:pos x="71" y="40"/>
                </a:cxn>
                <a:cxn ang="0">
                  <a:pos x="67" y="40"/>
                </a:cxn>
                <a:cxn ang="0">
                  <a:pos x="63" y="40"/>
                </a:cxn>
                <a:cxn ang="0">
                  <a:pos x="43" y="26"/>
                </a:cxn>
                <a:cxn ang="0">
                  <a:pos x="53" y="26"/>
                </a:cxn>
                <a:cxn ang="0">
                  <a:pos x="53" y="40"/>
                </a:cxn>
                <a:cxn ang="0">
                  <a:pos x="43" y="26"/>
                </a:cxn>
                <a:cxn ang="0">
                  <a:pos x="25" y="22"/>
                </a:cxn>
                <a:cxn ang="0">
                  <a:pos x="35" y="37"/>
                </a:cxn>
                <a:cxn ang="0">
                  <a:pos x="25" y="35"/>
                </a:cxn>
                <a:cxn ang="0">
                  <a:pos x="7" y="12"/>
                </a:cxn>
                <a:cxn ang="0">
                  <a:pos x="17" y="18"/>
                </a:cxn>
                <a:cxn ang="0">
                  <a:pos x="17" y="32"/>
                </a:cxn>
                <a:cxn ang="0">
                  <a:pos x="7" y="25"/>
                </a:cxn>
              </a:cxnLst>
              <a:rect l="0" t="0" r="r" b="b"/>
              <a:pathLst>
                <a:path w="136" h="44">
                  <a:moveTo>
                    <a:pt x="0" y="19"/>
                  </a:moveTo>
                  <a:lnTo>
                    <a:pt x="0" y="19"/>
                  </a:lnTo>
                  <a:lnTo>
                    <a:pt x="1" y="23"/>
                  </a:lnTo>
                  <a:lnTo>
                    <a:pt x="6" y="29"/>
                  </a:lnTo>
                  <a:lnTo>
                    <a:pt x="13" y="33"/>
                  </a:lnTo>
                  <a:lnTo>
                    <a:pt x="21" y="36"/>
                  </a:lnTo>
                  <a:lnTo>
                    <a:pt x="31" y="40"/>
                  </a:lnTo>
                  <a:lnTo>
                    <a:pt x="42" y="42"/>
                  </a:lnTo>
                  <a:lnTo>
                    <a:pt x="55" y="43"/>
                  </a:lnTo>
                  <a:lnTo>
                    <a:pt x="67" y="44"/>
                  </a:lnTo>
                  <a:lnTo>
                    <a:pt x="67" y="44"/>
                  </a:lnTo>
                  <a:lnTo>
                    <a:pt x="81" y="43"/>
                  </a:lnTo>
                  <a:lnTo>
                    <a:pt x="94" y="42"/>
                  </a:lnTo>
                  <a:lnTo>
                    <a:pt x="105" y="40"/>
                  </a:lnTo>
                  <a:lnTo>
                    <a:pt x="115" y="37"/>
                  </a:lnTo>
                  <a:lnTo>
                    <a:pt x="123" y="33"/>
                  </a:lnTo>
                  <a:lnTo>
                    <a:pt x="129" y="29"/>
                  </a:lnTo>
                  <a:lnTo>
                    <a:pt x="133" y="25"/>
                  </a:lnTo>
                  <a:lnTo>
                    <a:pt x="134" y="19"/>
                  </a:lnTo>
                  <a:lnTo>
                    <a:pt x="134" y="19"/>
                  </a:lnTo>
                  <a:lnTo>
                    <a:pt x="136" y="19"/>
                  </a:lnTo>
                  <a:lnTo>
                    <a:pt x="136" y="19"/>
                  </a:lnTo>
                  <a:lnTo>
                    <a:pt x="136" y="7"/>
                  </a:lnTo>
                  <a:lnTo>
                    <a:pt x="136" y="7"/>
                  </a:lnTo>
                  <a:lnTo>
                    <a:pt x="130" y="9"/>
                  </a:lnTo>
                  <a:lnTo>
                    <a:pt x="123" y="14"/>
                  </a:lnTo>
                  <a:lnTo>
                    <a:pt x="108" y="18"/>
                  </a:lnTo>
                  <a:lnTo>
                    <a:pt x="90" y="21"/>
                  </a:lnTo>
                  <a:lnTo>
                    <a:pt x="71" y="22"/>
                  </a:lnTo>
                  <a:lnTo>
                    <a:pt x="71" y="22"/>
                  </a:lnTo>
                  <a:lnTo>
                    <a:pt x="49" y="21"/>
                  </a:lnTo>
                  <a:lnTo>
                    <a:pt x="38" y="19"/>
                  </a:lnTo>
                  <a:lnTo>
                    <a:pt x="28" y="16"/>
                  </a:lnTo>
                  <a:lnTo>
                    <a:pt x="18" y="14"/>
                  </a:lnTo>
                  <a:lnTo>
                    <a:pt x="11" y="9"/>
                  </a:lnTo>
                  <a:lnTo>
                    <a:pt x="6" y="5"/>
                  </a:lnTo>
                  <a:lnTo>
                    <a:pt x="1" y="0"/>
                  </a:lnTo>
                  <a:lnTo>
                    <a:pt x="1" y="0"/>
                  </a:lnTo>
                  <a:lnTo>
                    <a:pt x="0" y="1"/>
                  </a:lnTo>
                  <a:lnTo>
                    <a:pt x="0" y="1"/>
                  </a:lnTo>
                  <a:lnTo>
                    <a:pt x="0" y="2"/>
                  </a:lnTo>
                  <a:lnTo>
                    <a:pt x="0" y="19"/>
                  </a:lnTo>
                  <a:lnTo>
                    <a:pt x="0" y="19"/>
                  </a:lnTo>
                  <a:close/>
                  <a:moveTo>
                    <a:pt x="120" y="19"/>
                  </a:moveTo>
                  <a:lnTo>
                    <a:pt x="120" y="19"/>
                  </a:lnTo>
                  <a:lnTo>
                    <a:pt x="127" y="16"/>
                  </a:lnTo>
                  <a:lnTo>
                    <a:pt x="127" y="26"/>
                  </a:lnTo>
                  <a:lnTo>
                    <a:pt x="127" y="26"/>
                  </a:lnTo>
                  <a:lnTo>
                    <a:pt x="120" y="30"/>
                  </a:lnTo>
                  <a:lnTo>
                    <a:pt x="120" y="19"/>
                  </a:lnTo>
                  <a:close/>
                  <a:moveTo>
                    <a:pt x="63" y="28"/>
                  </a:moveTo>
                  <a:lnTo>
                    <a:pt x="63" y="28"/>
                  </a:lnTo>
                  <a:lnTo>
                    <a:pt x="67" y="28"/>
                  </a:lnTo>
                  <a:lnTo>
                    <a:pt x="67" y="28"/>
                  </a:lnTo>
                  <a:lnTo>
                    <a:pt x="71" y="28"/>
                  </a:lnTo>
                  <a:lnTo>
                    <a:pt x="71" y="40"/>
                  </a:lnTo>
                  <a:lnTo>
                    <a:pt x="71" y="40"/>
                  </a:lnTo>
                  <a:lnTo>
                    <a:pt x="67" y="40"/>
                  </a:lnTo>
                  <a:lnTo>
                    <a:pt x="67" y="40"/>
                  </a:lnTo>
                  <a:lnTo>
                    <a:pt x="63" y="40"/>
                  </a:lnTo>
                  <a:lnTo>
                    <a:pt x="63" y="28"/>
                  </a:lnTo>
                  <a:close/>
                  <a:moveTo>
                    <a:pt x="43" y="26"/>
                  </a:moveTo>
                  <a:lnTo>
                    <a:pt x="43" y="26"/>
                  </a:lnTo>
                  <a:lnTo>
                    <a:pt x="53" y="26"/>
                  </a:lnTo>
                  <a:lnTo>
                    <a:pt x="53" y="40"/>
                  </a:lnTo>
                  <a:lnTo>
                    <a:pt x="53" y="40"/>
                  </a:lnTo>
                  <a:lnTo>
                    <a:pt x="43" y="39"/>
                  </a:lnTo>
                  <a:lnTo>
                    <a:pt x="43" y="26"/>
                  </a:lnTo>
                  <a:close/>
                  <a:moveTo>
                    <a:pt x="25" y="22"/>
                  </a:moveTo>
                  <a:lnTo>
                    <a:pt x="25" y="22"/>
                  </a:lnTo>
                  <a:lnTo>
                    <a:pt x="35" y="23"/>
                  </a:lnTo>
                  <a:lnTo>
                    <a:pt x="35" y="37"/>
                  </a:lnTo>
                  <a:lnTo>
                    <a:pt x="35" y="37"/>
                  </a:lnTo>
                  <a:lnTo>
                    <a:pt x="25" y="35"/>
                  </a:lnTo>
                  <a:lnTo>
                    <a:pt x="25" y="22"/>
                  </a:lnTo>
                  <a:close/>
                  <a:moveTo>
                    <a:pt x="7" y="12"/>
                  </a:moveTo>
                  <a:lnTo>
                    <a:pt x="7" y="12"/>
                  </a:lnTo>
                  <a:lnTo>
                    <a:pt x="17" y="18"/>
                  </a:lnTo>
                  <a:lnTo>
                    <a:pt x="17" y="32"/>
                  </a:lnTo>
                  <a:lnTo>
                    <a:pt x="17" y="32"/>
                  </a:lnTo>
                  <a:lnTo>
                    <a:pt x="11" y="29"/>
                  </a:lnTo>
                  <a:lnTo>
                    <a:pt x="7" y="25"/>
                  </a:lnTo>
                  <a:lnTo>
                    <a:pt x="7" y="1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2" name="Freeform 68">
              <a:extLst>
                <a:ext uri="{FF2B5EF4-FFF2-40B4-BE49-F238E27FC236}">
                  <a16:creationId xmlns:a16="http://schemas.microsoft.com/office/drawing/2014/main" id="{55C317CC-322E-4BEF-8AF4-099EC8865051}"/>
                </a:ext>
              </a:extLst>
            </p:cNvPr>
            <p:cNvSpPr>
              <a:spLocks noEditPoints="1"/>
            </p:cNvSpPr>
            <p:nvPr/>
          </p:nvSpPr>
          <p:spPr bwMode="auto">
            <a:xfrm>
              <a:off x="5100638" y="3359150"/>
              <a:ext cx="215900" cy="71438"/>
            </a:xfrm>
            <a:custGeom>
              <a:avLst/>
              <a:gdLst/>
              <a:ahLst/>
              <a:cxnLst>
                <a:cxn ang="0">
                  <a:pos x="1" y="0"/>
                </a:cxn>
                <a:cxn ang="0">
                  <a:pos x="0" y="3"/>
                </a:cxn>
                <a:cxn ang="0">
                  <a:pos x="0" y="19"/>
                </a:cxn>
                <a:cxn ang="0">
                  <a:pos x="0" y="19"/>
                </a:cxn>
                <a:cxn ang="0">
                  <a:pos x="6" y="29"/>
                </a:cxn>
                <a:cxn ang="0">
                  <a:pos x="21" y="38"/>
                </a:cxn>
                <a:cxn ang="0">
                  <a:pos x="42" y="43"/>
                </a:cxn>
                <a:cxn ang="0">
                  <a:pos x="67" y="45"/>
                </a:cxn>
                <a:cxn ang="0">
                  <a:pos x="81" y="45"/>
                </a:cxn>
                <a:cxn ang="0">
                  <a:pos x="105" y="40"/>
                </a:cxn>
                <a:cxn ang="0">
                  <a:pos x="123" y="33"/>
                </a:cxn>
                <a:cxn ang="0">
                  <a:pos x="133" y="25"/>
                </a:cxn>
                <a:cxn ang="0">
                  <a:pos x="134" y="21"/>
                </a:cxn>
                <a:cxn ang="0">
                  <a:pos x="136" y="19"/>
                </a:cxn>
                <a:cxn ang="0">
                  <a:pos x="136" y="7"/>
                </a:cxn>
                <a:cxn ang="0">
                  <a:pos x="123" y="14"/>
                </a:cxn>
                <a:cxn ang="0">
                  <a:pos x="90" y="22"/>
                </a:cxn>
                <a:cxn ang="0">
                  <a:pos x="71" y="24"/>
                </a:cxn>
                <a:cxn ang="0">
                  <a:pos x="38" y="19"/>
                </a:cxn>
                <a:cxn ang="0">
                  <a:pos x="18" y="14"/>
                </a:cxn>
                <a:cxn ang="0">
                  <a:pos x="6" y="5"/>
                </a:cxn>
                <a:cxn ang="0">
                  <a:pos x="1" y="0"/>
                </a:cxn>
                <a:cxn ang="0">
                  <a:pos x="17" y="32"/>
                </a:cxn>
                <a:cxn ang="0">
                  <a:pos x="7" y="26"/>
                </a:cxn>
                <a:cxn ang="0">
                  <a:pos x="7" y="12"/>
                </a:cxn>
                <a:cxn ang="0">
                  <a:pos x="17" y="32"/>
                </a:cxn>
                <a:cxn ang="0">
                  <a:pos x="35" y="38"/>
                </a:cxn>
                <a:cxn ang="0">
                  <a:pos x="25" y="22"/>
                </a:cxn>
                <a:cxn ang="0">
                  <a:pos x="35" y="25"/>
                </a:cxn>
                <a:cxn ang="0">
                  <a:pos x="53" y="40"/>
                </a:cxn>
                <a:cxn ang="0">
                  <a:pos x="43" y="39"/>
                </a:cxn>
                <a:cxn ang="0">
                  <a:pos x="43" y="26"/>
                </a:cxn>
                <a:cxn ang="0">
                  <a:pos x="53" y="40"/>
                </a:cxn>
                <a:cxn ang="0">
                  <a:pos x="120" y="21"/>
                </a:cxn>
                <a:cxn ang="0">
                  <a:pos x="127" y="28"/>
                </a:cxn>
                <a:cxn ang="0">
                  <a:pos x="120" y="32"/>
                </a:cxn>
                <a:cxn ang="0">
                  <a:pos x="71" y="40"/>
                </a:cxn>
                <a:cxn ang="0">
                  <a:pos x="67" y="42"/>
                </a:cxn>
                <a:cxn ang="0">
                  <a:pos x="63" y="40"/>
                </a:cxn>
                <a:cxn ang="0">
                  <a:pos x="63" y="28"/>
                </a:cxn>
                <a:cxn ang="0">
                  <a:pos x="67" y="28"/>
                </a:cxn>
                <a:cxn ang="0">
                  <a:pos x="71" y="40"/>
                </a:cxn>
              </a:cxnLst>
              <a:rect l="0" t="0" r="r" b="b"/>
              <a:pathLst>
                <a:path w="136" h="45">
                  <a:moveTo>
                    <a:pt x="1" y="0"/>
                  </a:moveTo>
                  <a:lnTo>
                    <a:pt x="1" y="0"/>
                  </a:lnTo>
                  <a:lnTo>
                    <a:pt x="0" y="3"/>
                  </a:lnTo>
                  <a:lnTo>
                    <a:pt x="0" y="3"/>
                  </a:lnTo>
                  <a:lnTo>
                    <a:pt x="0" y="3"/>
                  </a:lnTo>
                  <a:lnTo>
                    <a:pt x="0" y="19"/>
                  </a:lnTo>
                  <a:lnTo>
                    <a:pt x="0" y="19"/>
                  </a:lnTo>
                  <a:lnTo>
                    <a:pt x="0" y="19"/>
                  </a:lnTo>
                  <a:lnTo>
                    <a:pt x="1" y="25"/>
                  </a:lnTo>
                  <a:lnTo>
                    <a:pt x="6" y="29"/>
                  </a:lnTo>
                  <a:lnTo>
                    <a:pt x="13" y="33"/>
                  </a:lnTo>
                  <a:lnTo>
                    <a:pt x="21" y="38"/>
                  </a:lnTo>
                  <a:lnTo>
                    <a:pt x="31" y="40"/>
                  </a:lnTo>
                  <a:lnTo>
                    <a:pt x="42" y="43"/>
                  </a:lnTo>
                  <a:lnTo>
                    <a:pt x="55" y="45"/>
                  </a:lnTo>
                  <a:lnTo>
                    <a:pt x="67" y="45"/>
                  </a:lnTo>
                  <a:lnTo>
                    <a:pt x="67" y="45"/>
                  </a:lnTo>
                  <a:lnTo>
                    <a:pt x="81" y="45"/>
                  </a:lnTo>
                  <a:lnTo>
                    <a:pt x="94" y="43"/>
                  </a:lnTo>
                  <a:lnTo>
                    <a:pt x="105" y="40"/>
                  </a:lnTo>
                  <a:lnTo>
                    <a:pt x="115" y="38"/>
                  </a:lnTo>
                  <a:lnTo>
                    <a:pt x="123" y="33"/>
                  </a:lnTo>
                  <a:lnTo>
                    <a:pt x="129" y="31"/>
                  </a:lnTo>
                  <a:lnTo>
                    <a:pt x="133" y="25"/>
                  </a:lnTo>
                  <a:lnTo>
                    <a:pt x="134" y="21"/>
                  </a:lnTo>
                  <a:lnTo>
                    <a:pt x="134" y="21"/>
                  </a:lnTo>
                  <a:lnTo>
                    <a:pt x="136" y="19"/>
                  </a:lnTo>
                  <a:lnTo>
                    <a:pt x="136" y="19"/>
                  </a:lnTo>
                  <a:lnTo>
                    <a:pt x="136" y="7"/>
                  </a:lnTo>
                  <a:lnTo>
                    <a:pt x="136" y="7"/>
                  </a:lnTo>
                  <a:lnTo>
                    <a:pt x="130" y="11"/>
                  </a:lnTo>
                  <a:lnTo>
                    <a:pt x="123" y="14"/>
                  </a:lnTo>
                  <a:lnTo>
                    <a:pt x="108" y="19"/>
                  </a:lnTo>
                  <a:lnTo>
                    <a:pt x="90" y="22"/>
                  </a:lnTo>
                  <a:lnTo>
                    <a:pt x="71" y="24"/>
                  </a:lnTo>
                  <a:lnTo>
                    <a:pt x="71" y="24"/>
                  </a:lnTo>
                  <a:lnTo>
                    <a:pt x="49" y="22"/>
                  </a:lnTo>
                  <a:lnTo>
                    <a:pt x="38" y="19"/>
                  </a:lnTo>
                  <a:lnTo>
                    <a:pt x="28" y="17"/>
                  </a:lnTo>
                  <a:lnTo>
                    <a:pt x="18" y="14"/>
                  </a:lnTo>
                  <a:lnTo>
                    <a:pt x="11" y="10"/>
                  </a:lnTo>
                  <a:lnTo>
                    <a:pt x="6" y="5"/>
                  </a:lnTo>
                  <a:lnTo>
                    <a:pt x="1" y="0"/>
                  </a:lnTo>
                  <a:lnTo>
                    <a:pt x="1" y="0"/>
                  </a:lnTo>
                  <a:close/>
                  <a:moveTo>
                    <a:pt x="17" y="32"/>
                  </a:moveTo>
                  <a:lnTo>
                    <a:pt x="17" y="32"/>
                  </a:lnTo>
                  <a:lnTo>
                    <a:pt x="11" y="29"/>
                  </a:lnTo>
                  <a:lnTo>
                    <a:pt x="7" y="26"/>
                  </a:lnTo>
                  <a:lnTo>
                    <a:pt x="7" y="12"/>
                  </a:lnTo>
                  <a:lnTo>
                    <a:pt x="7" y="12"/>
                  </a:lnTo>
                  <a:lnTo>
                    <a:pt x="17" y="18"/>
                  </a:lnTo>
                  <a:lnTo>
                    <a:pt x="17" y="32"/>
                  </a:lnTo>
                  <a:close/>
                  <a:moveTo>
                    <a:pt x="35" y="38"/>
                  </a:moveTo>
                  <a:lnTo>
                    <a:pt x="35" y="38"/>
                  </a:lnTo>
                  <a:lnTo>
                    <a:pt x="25" y="35"/>
                  </a:lnTo>
                  <a:lnTo>
                    <a:pt x="25" y="22"/>
                  </a:lnTo>
                  <a:lnTo>
                    <a:pt x="25" y="22"/>
                  </a:lnTo>
                  <a:lnTo>
                    <a:pt x="35" y="25"/>
                  </a:lnTo>
                  <a:lnTo>
                    <a:pt x="35" y="38"/>
                  </a:lnTo>
                  <a:close/>
                  <a:moveTo>
                    <a:pt x="53" y="40"/>
                  </a:moveTo>
                  <a:lnTo>
                    <a:pt x="53" y="40"/>
                  </a:lnTo>
                  <a:lnTo>
                    <a:pt x="43" y="39"/>
                  </a:lnTo>
                  <a:lnTo>
                    <a:pt x="43" y="26"/>
                  </a:lnTo>
                  <a:lnTo>
                    <a:pt x="43" y="26"/>
                  </a:lnTo>
                  <a:lnTo>
                    <a:pt x="53" y="28"/>
                  </a:lnTo>
                  <a:lnTo>
                    <a:pt x="53" y="40"/>
                  </a:lnTo>
                  <a:close/>
                  <a:moveTo>
                    <a:pt x="120" y="21"/>
                  </a:moveTo>
                  <a:lnTo>
                    <a:pt x="120" y="21"/>
                  </a:lnTo>
                  <a:lnTo>
                    <a:pt x="127" y="17"/>
                  </a:lnTo>
                  <a:lnTo>
                    <a:pt x="127" y="28"/>
                  </a:lnTo>
                  <a:lnTo>
                    <a:pt x="127" y="28"/>
                  </a:lnTo>
                  <a:lnTo>
                    <a:pt x="120" y="32"/>
                  </a:lnTo>
                  <a:lnTo>
                    <a:pt x="120" y="21"/>
                  </a:lnTo>
                  <a:close/>
                  <a:moveTo>
                    <a:pt x="71" y="40"/>
                  </a:moveTo>
                  <a:lnTo>
                    <a:pt x="71" y="40"/>
                  </a:lnTo>
                  <a:lnTo>
                    <a:pt x="67" y="42"/>
                  </a:lnTo>
                  <a:lnTo>
                    <a:pt x="67" y="42"/>
                  </a:lnTo>
                  <a:lnTo>
                    <a:pt x="63" y="40"/>
                  </a:lnTo>
                  <a:lnTo>
                    <a:pt x="63" y="28"/>
                  </a:lnTo>
                  <a:lnTo>
                    <a:pt x="63" y="28"/>
                  </a:lnTo>
                  <a:lnTo>
                    <a:pt x="67" y="28"/>
                  </a:lnTo>
                  <a:lnTo>
                    <a:pt x="67" y="28"/>
                  </a:lnTo>
                  <a:lnTo>
                    <a:pt x="71" y="28"/>
                  </a:lnTo>
                  <a:lnTo>
                    <a:pt x="71"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3" name="Freeform 69">
              <a:extLst>
                <a:ext uri="{FF2B5EF4-FFF2-40B4-BE49-F238E27FC236}">
                  <a16:creationId xmlns:a16="http://schemas.microsoft.com/office/drawing/2014/main" id="{B2A222C9-5118-42C9-8D58-D06ECA049C00}"/>
                </a:ext>
              </a:extLst>
            </p:cNvPr>
            <p:cNvSpPr>
              <a:spLocks/>
            </p:cNvSpPr>
            <p:nvPr/>
          </p:nvSpPr>
          <p:spPr bwMode="auto">
            <a:xfrm>
              <a:off x="5106988" y="3233738"/>
              <a:ext cx="214312" cy="69850"/>
            </a:xfrm>
            <a:custGeom>
              <a:avLst/>
              <a:gdLst/>
              <a:ahLst/>
              <a:cxnLst>
                <a:cxn ang="0">
                  <a:pos x="126" y="26"/>
                </a:cxn>
                <a:cxn ang="0">
                  <a:pos x="119" y="30"/>
                </a:cxn>
                <a:cxn ang="0">
                  <a:pos x="119" y="17"/>
                </a:cxn>
                <a:cxn ang="0">
                  <a:pos x="98" y="24"/>
                </a:cxn>
                <a:cxn ang="0">
                  <a:pos x="70" y="27"/>
                </a:cxn>
                <a:cxn ang="0">
                  <a:pos x="70" y="40"/>
                </a:cxn>
                <a:cxn ang="0">
                  <a:pos x="67" y="40"/>
                </a:cxn>
                <a:cxn ang="0">
                  <a:pos x="62" y="27"/>
                </a:cxn>
                <a:cxn ang="0">
                  <a:pos x="52" y="26"/>
                </a:cxn>
                <a:cxn ang="0">
                  <a:pos x="52" y="38"/>
                </a:cxn>
                <a:cxn ang="0">
                  <a:pos x="44" y="26"/>
                </a:cxn>
                <a:cxn ang="0">
                  <a:pos x="34" y="23"/>
                </a:cxn>
                <a:cxn ang="0">
                  <a:pos x="34" y="37"/>
                </a:cxn>
                <a:cxn ang="0">
                  <a:pos x="24" y="21"/>
                </a:cxn>
                <a:cxn ang="0">
                  <a:pos x="16" y="17"/>
                </a:cxn>
                <a:cxn ang="0">
                  <a:pos x="16" y="30"/>
                </a:cxn>
                <a:cxn ang="0">
                  <a:pos x="6" y="24"/>
                </a:cxn>
                <a:cxn ang="0">
                  <a:pos x="6" y="12"/>
                </a:cxn>
                <a:cxn ang="0">
                  <a:pos x="0" y="0"/>
                </a:cxn>
                <a:cxn ang="0">
                  <a:pos x="0" y="17"/>
                </a:cxn>
                <a:cxn ang="0">
                  <a:pos x="2" y="23"/>
                </a:cxn>
                <a:cxn ang="0">
                  <a:pos x="11" y="33"/>
                </a:cxn>
                <a:cxn ang="0">
                  <a:pos x="30" y="38"/>
                </a:cxn>
                <a:cxn ang="0">
                  <a:pos x="53" y="42"/>
                </a:cxn>
                <a:cxn ang="0">
                  <a:pos x="67" y="44"/>
                </a:cxn>
                <a:cxn ang="0">
                  <a:pos x="93" y="41"/>
                </a:cxn>
                <a:cxn ang="0">
                  <a:pos x="114" y="35"/>
                </a:cxn>
                <a:cxn ang="0">
                  <a:pos x="128" y="28"/>
                </a:cxn>
                <a:cxn ang="0">
                  <a:pos x="135" y="19"/>
                </a:cxn>
                <a:cxn ang="0">
                  <a:pos x="135" y="17"/>
                </a:cxn>
                <a:cxn ang="0">
                  <a:pos x="135" y="0"/>
                </a:cxn>
                <a:cxn ang="0">
                  <a:pos x="133" y="5"/>
                </a:cxn>
                <a:cxn ang="0">
                  <a:pos x="126" y="13"/>
                </a:cxn>
              </a:cxnLst>
              <a:rect l="0" t="0" r="r" b="b"/>
              <a:pathLst>
                <a:path w="135" h="44">
                  <a:moveTo>
                    <a:pt x="126" y="13"/>
                  </a:moveTo>
                  <a:lnTo>
                    <a:pt x="126" y="26"/>
                  </a:lnTo>
                  <a:lnTo>
                    <a:pt x="126" y="26"/>
                  </a:lnTo>
                  <a:lnTo>
                    <a:pt x="119" y="30"/>
                  </a:lnTo>
                  <a:lnTo>
                    <a:pt x="119" y="17"/>
                  </a:lnTo>
                  <a:lnTo>
                    <a:pt x="119" y="17"/>
                  </a:lnTo>
                  <a:lnTo>
                    <a:pt x="109" y="21"/>
                  </a:lnTo>
                  <a:lnTo>
                    <a:pt x="98" y="24"/>
                  </a:lnTo>
                  <a:lnTo>
                    <a:pt x="84" y="26"/>
                  </a:lnTo>
                  <a:lnTo>
                    <a:pt x="70" y="27"/>
                  </a:lnTo>
                  <a:lnTo>
                    <a:pt x="70" y="40"/>
                  </a:lnTo>
                  <a:lnTo>
                    <a:pt x="70" y="40"/>
                  </a:lnTo>
                  <a:lnTo>
                    <a:pt x="67" y="40"/>
                  </a:lnTo>
                  <a:lnTo>
                    <a:pt x="67" y="40"/>
                  </a:lnTo>
                  <a:lnTo>
                    <a:pt x="62" y="40"/>
                  </a:lnTo>
                  <a:lnTo>
                    <a:pt x="62" y="27"/>
                  </a:lnTo>
                  <a:lnTo>
                    <a:pt x="62" y="27"/>
                  </a:lnTo>
                  <a:lnTo>
                    <a:pt x="52" y="26"/>
                  </a:lnTo>
                  <a:lnTo>
                    <a:pt x="52" y="38"/>
                  </a:lnTo>
                  <a:lnTo>
                    <a:pt x="52" y="38"/>
                  </a:lnTo>
                  <a:lnTo>
                    <a:pt x="44" y="38"/>
                  </a:lnTo>
                  <a:lnTo>
                    <a:pt x="44" y="26"/>
                  </a:lnTo>
                  <a:lnTo>
                    <a:pt x="44" y="26"/>
                  </a:lnTo>
                  <a:lnTo>
                    <a:pt x="34" y="23"/>
                  </a:lnTo>
                  <a:lnTo>
                    <a:pt x="34" y="37"/>
                  </a:lnTo>
                  <a:lnTo>
                    <a:pt x="34" y="37"/>
                  </a:lnTo>
                  <a:lnTo>
                    <a:pt x="24" y="34"/>
                  </a:lnTo>
                  <a:lnTo>
                    <a:pt x="24" y="21"/>
                  </a:lnTo>
                  <a:lnTo>
                    <a:pt x="24" y="21"/>
                  </a:lnTo>
                  <a:lnTo>
                    <a:pt x="16" y="17"/>
                  </a:lnTo>
                  <a:lnTo>
                    <a:pt x="16" y="30"/>
                  </a:lnTo>
                  <a:lnTo>
                    <a:pt x="16" y="30"/>
                  </a:lnTo>
                  <a:lnTo>
                    <a:pt x="10" y="27"/>
                  </a:lnTo>
                  <a:lnTo>
                    <a:pt x="6" y="24"/>
                  </a:lnTo>
                  <a:lnTo>
                    <a:pt x="6" y="12"/>
                  </a:lnTo>
                  <a:lnTo>
                    <a:pt x="6" y="12"/>
                  </a:lnTo>
                  <a:lnTo>
                    <a:pt x="2" y="6"/>
                  </a:lnTo>
                  <a:lnTo>
                    <a:pt x="0" y="0"/>
                  </a:lnTo>
                  <a:lnTo>
                    <a:pt x="0" y="17"/>
                  </a:lnTo>
                  <a:lnTo>
                    <a:pt x="0" y="17"/>
                  </a:lnTo>
                  <a:lnTo>
                    <a:pt x="0" y="17"/>
                  </a:lnTo>
                  <a:lnTo>
                    <a:pt x="2" y="23"/>
                  </a:lnTo>
                  <a:lnTo>
                    <a:pt x="4" y="27"/>
                  </a:lnTo>
                  <a:lnTo>
                    <a:pt x="11" y="33"/>
                  </a:lnTo>
                  <a:lnTo>
                    <a:pt x="20" y="35"/>
                  </a:lnTo>
                  <a:lnTo>
                    <a:pt x="30" y="38"/>
                  </a:lnTo>
                  <a:lnTo>
                    <a:pt x="41" y="41"/>
                  </a:lnTo>
                  <a:lnTo>
                    <a:pt x="53" y="42"/>
                  </a:lnTo>
                  <a:lnTo>
                    <a:pt x="67" y="44"/>
                  </a:lnTo>
                  <a:lnTo>
                    <a:pt x="67" y="44"/>
                  </a:lnTo>
                  <a:lnTo>
                    <a:pt x="80" y="42"/>
                  </a:lnTo>
                  <a:lnTo>
                    <a:pt x="93" y="41"/>
                  </a:lnTo>
                  <a:lnTo>
                    <a:pt x="104" y="40"/>
                  </a:lnTo>
                  <a:lnTo>
                    <a:pt x="114" y="35"/>
                  </a:lnTo>
                  <a:lnTo>
                    <a:pt x="122" y="33"/>
                  </a:lnTo>
                  <a:lnTo>
                    <a:pt x="128" y="28"/>
                  </a:lnTo>
                  <a:lnTo>
                    <a:pt x="132" y="24"/>
                  </a:lnTo>
                  <a:lnTo>
                    <a:pt x="135" y="19"/>
                  </a:lnTo>
                  <a:lnTo>
                    <a:pt x="135" y="19"/>
                  </a:lnTo>
                  <a:lnTo>
                    <a:pt x="135" y="17"/>
                  </a:lnTo>
                  <a:lnTo>
                    <a:pt x="135" y="17"/>
                  </a:lnTo>
                  <a:lnTo>
                    <a:pt x="135" y="0"/>
                  </a:lnTo>
                  <a:lnTo>
                    <a:pt x="135" y="0"/>
                  </a:lnTo>
                  <a:lnTo>
                    <a:pt x="133" y="5"/>
                  </a:lnTo>
                  <a:lnTo>
                    <a:pt x="132" y="7"/>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4" name="Freeform 70">
              <a:extLst>
                <a:ext uri="{FF2B5EF4-FFF2-40B4-BE49-F238E27FC236}">
                  <a16:creationId xmlns:a16="http://schemas.microsoft.com/office/drawing/2014/main" id="{A87E6EB1-73B5-4C0F-B37D-F2A2BFB62BFF}"/>
                </a:ext>
              </a:extLst>
            </p:cNvPr>
            <p:cNvSpPr>
              <a:spLocks/>
            </p:cNvSpPr>
            <p:nvPr/>
          </p:nvSpPr>
          <p:spPr bwMode="auto">
            <a:xfrm>
              <a:off x="5318125" y="3230563"/>
              <a:ext cx="3175" cy="3175"/>
            </a:xfrm>
            <a:custGeom>
              <a:avLst/>
              <a:gdLst/>
              <a:ahLst/>
              <a:cxnLst>
                <a:cxn ang="0">
                  <a:pos x="2" y="2"/>
                </a:cxn>
                <a:cxn ang="0">
                  <a:pos x="2" y="2"/>
                </a:cxn>
                <a:cxn ang="0">
                  <a:pos x="2" y="2"/>
                </a:cxn>
                <a:cxn ang="0">
                  <a:pos x="2" y="2"/>
                </a:cxn>
                <a:cxn ang="0">
                  <a:pos x="2" y="2"/>
                </a:cxn>
                <a:cxn ang="0">
                  <a:pos x="0" y="0"/>
                </a:cxn>
                <a:cxn ang="0">
                  <a:pos x="0" y="0"/>
                </a:cxn>
                <a:cxn ang="0">
                  <a:pos x="2" y="2"/>
                </a:cxn>
                <a:cxn ang="0">
                  <a:pos x="2" y="2"/>
                </a:cxn>
              </a:cxnLst>
              <a:rect l="0" t="0" r="r" b="b"/>
              <a:pathLst>
                <a:path w="2" h="2">
                  <a:moveTo>
                    <a:pt x="2" y="2"/>
                  </a:moveTo>
                  <a:lnTo>
                    <a:pt x="2" y="2"/>
                  </a:lnTo>
                  <a:lnTo>
                    <a:pt x="2" y="2"/>
                  </a:lnTo>
                  <a:lnTo>
                    <a:pt x="2" y="2"/>
                  </a:lnTo>
                  <a:lnTo>
                    <a:pt x="2" y="2"/>
                  </a:lnTo>
                  <a:lnTo>
                    <a:pt x="0" y="0"/>
                  </a:lnTo>
                  <a:lnTo>
                    <a:pt x="0" y="0"/>
                  </a:lnTo>
                  <a:lnTo>
                    <a:pt x="2" y="2"/>
                  </a:lnTo>
                  <a:lnTo>
                    <a:pt x="2"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5" name="Freeform 71">
              <a:extLst>
                <a:ext uri="{FF2B5EF4-FFF2-40B4-BE49-F238E27FC236}">
                  <a16:creationId xmlns:a16="http://schemas.microsoft.com/office/drawing/2014/main" id="{61BE2F62-556F-4D50-B6FD-64D3177F0645}"/>
                </a:ext>
              </a:extLst>
            </p:cNvPr>
            <p:cNvSpPr>
              <a:spLocks/>
            </p:cNvSpPr>
            <p:nvPr/>
          </p:nvSpPr>
          <p:spPr bwMode="auto">
            <a:xfrm>
              <a:off x="5106988" y="3230563"/>
              <a:ext cx="1587" cy="3175"/>
            </a:xfrm>
            <a:custGeom>
              <a:avLst/>
              <a:gdLst/>
              <a:ahLst/>
              <a:cxnLst>
                <a:cxn ang="0">
                  <a:pos x="0" y="0"/>
                </a:cxn>
                <a:cxn ang="0">
                  <a:pos x="0" y="0"/>
                </a:cxn>
                <a:cxn ang="0">
                  <a:pos x="0" y="2"/>
                </a:cxn>
                <a:cxn ang="0">
                  <a:pos x="0" y="2"/>
                </a:cxn>
                <a:cxn ang="0">
                  <a:pos x="0" y="2"/>
                </a:cxn>
                <a:cxn ang="0">
                  <a:pos x="0" y="2"/>
                </a:cxn>
                <a:cxn ang="0">
                  <a:pos x="0" y="2"/>
                </a:cxn>
                <a:cxn ang="0">
                  <a:pos x="0" y="0"/>
                </a:cxn>
                <a:cxn ang="0">
                  <a:pos x="0" y="0"/>
                </a:cxn>
              </a:cxnLst>
              <a:rect l="0" t="0" r="r" b="b"/>
              <a:pathLst>
                <a:path h="2">
                  <a:moveTo>
                    <a:pt x="0" y="0"/>
                  </a:moveTo>
                  <a:lnTo>
                    <a:pt x="0" y="0"/>
                  </a:lnTo>
                  <a:lnTo>
                    <a:pt x="0" y="2"/>
                  </a:lnTo>
                  <a:lnTo>
                    <a:pt x="0" y="2"/>
                  </a:lnTo>
                  <a:lnTo>
                    <a:pt x="0" y="2"/>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6" name="Freeform 72">
              <a:extLst>
                <a:ext uri="{FF2B5EF4-FFF2-40B4-BE49-F238E27FC236}">
                  <a16:creationId xmlns:a16="http://schemas.microsoft.com/office/drawing/2014/main" id="{893FA8EE-094B-48C9-A1FA-5FED1A38EBCE}"/>
                </a:ext>
              </a:extLst>
            </p:cNvPr>
            <p:cNvSpPr>
              <a:spLocks/>
            </p:cNvSpPr>
            <p:nvPr/>
          </p:nvSpPr>
          <p:spPr bwMode="auto">
            <a:xfrm>
              <a:off x="5221288" y="3238500"/>
              <a:ext cx="14287" cy="14288"/>
            </a:xfrm>
            <a:custGeom>
              <a:avLst/>
              <a:gdLst/>
              <a:ahLst/>
              <a:cxnLst>
                <a:cxn ang="0">
                  <a:pos x="9" y="3"/>
                </a:cxn>
                <a:cxn ang="0">
                  <a:pos x="9" y="3"/>
                </a:cxn>
                <a:cxn ang="0">
                  <a:pos x="4" y="2"/>
                </a:cxn>
                <a:cxn ang="0">
                  <a:pos x="4" y="2"/>
                </a:cxn>
                <a:cxn ang="0">
                  <a:pos x="0" y="0"/>
                </a:cxn>
                <a:cxn ang="0">
                  <a:pos x="0" y="9"/>
                </a:cxn>
                <a:cxn ang="0">
                  <a:pos x="0" y="9"/>
                </a:cxn>
                <a:cxn ang="0">
                  <a:pos x="7" y="7"/>
                </a:cxn>
                <a:cxn ang="0">
                  <a:pos x="7" y="7"/>
                </a:cxn>
                <a:cxn ang="0">
                  <a:pos x="9" y="6"/>
                </a:cxn>
                <a:cxn ang="0">
                  <a:pos x="9" y="4"/>
                </a:cxn>
                <a:cxn ang="0">
                  <a:pos x="9" y="3"/>
                </a:cxn>
                <a:cxn ang="0">
                  <a:pos x="9" y="3"/>
                </a:cxn>
              </a:cxnLst>
              <a:rect l="0" t="0" r="r" b="b"/>
              <a:pathLst>
                <a:path w="9" h="9">
                  <a:moveTo>
                    <a:pt x="9" y="3"/>
                  </a:moveTo>
                  <a:lnTo>
                    <a:pt x="9" y="3"/>
                  </a:lnTo>
                  <a:lnTo>
                    <a:pt x="4" y="2"/>
                  </a:lnTo>
                  <a:lnTo>
                    <a:pt x="4" y="2"/>
                  </a:lnTo>
                  <a:lnTo>
                    <a:pt x="0" y="0"/>
                  </a:lnTo>
                  <a:lnTo>
                    <a:pt x="0" y="9"/>
                  </a:lnTo>
                  <a:lnTo>
                    <a:pt x="0" y="9"/>
                  </a:lnTo>
                  <a:lnTo>
                    <a:pt x="7" y="7"/>
                  </a:lnTo>
                  <a:lnTo>
                    <a:pt x="7" y="7"/>
                  </a:lnTo>
                  <a:lnTo>
                    <a:pt x="9" y="6"/>
                  </a:lnTo>
                  <a:lnTo>
                    <a:pt x="9" y="4"/>
                  </a:lnTo>
                  <a:lnTo>
                    <a:pt x="9" y="3"/>
                  </a:lnTo>
                  <a:lnTo>
                    <a:pt x="9"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7" name="Freeform 73">
              <a:extLst>
                <a:ext uri="{FF2B5EF4-FFF2-40B4-BE49-F238E27FC236}">
                  <a16:creationId xmlns:a16="http://schemas.microsoft.com/office/drawing/2014/main" id="{7C6CD8CF-4C55-4EE8-A94D-BB4A41962898}"/>
                </a:ext>
              </a:extLst>
            </p:cNvPr>
            <p:cNvSpPr>
              <a:spLocks/>
            </p:cNvSpPr>
            <p:nvPr/>
          </p:nvSpPr>
          <p:spPr bwMode="auto">
            <a:xfrm>
              <a:off x="5189538" y="3214688"/>
              <a:ext cx="17462" cy="12700"/>
            </a:xfrm>
            <a:custGeom>
              <a:avLst/>
              <a:gdLst/>
              <a:ahLst/>
              <a:cxnLst>
                <a:cxn ang="0">
                  <a:pos x="1" y="7"/>
                </a:cxn>
                <a:cxn ang="0">
                  <a:pos x="1" y="7"/>
                </a:cxn>
                <a:cxn ang="0">
                  <a:pos x="4" y="8"/>
                </a:cxn>
                <a:cxn ang="0">
                  <a:pos x="8" y="8"/>
                </a:cxn>
                <a:cxn ang="0">
                  <a:pos x="8" y="8"/>
                </a:cxn>
                <a:cxn ang="0">
                  <a:pos x="11" y="8"/>
                </a:cxn>
                <a:cxn ang="0">
                  <a:pos x="11" y="0"/>
                </a:cxn>
                <a:cxn ang="0">
                  <a:pos x="11" y="0"/>
                </a:cxn>
                <a:cxn ang="0">
                  <a:pos x="3" y="1"/>
                </a:cxn>
                <a:cxn ang="0">
                  <a:pos x="3" y="1"/>
                </a:cxn>
                <a:cxn ang="0">
                  <a:pos x="0" y="4"/>
                </a:cxn>
                <a:cxn ang="0">
                  <a:pos x="0" y="5"/>
                </a:cxn>
                <a:cxn ang="0">
                  <a:pos x="1" y="7"/>
                </a:cxn>
                <a:cxn ang="0">
                  <a:pos x="1" y="7"/>
                </a:cxn>
              </a:cxnLst>
              <a:rect l="0" t="0" r="r" b="b"/>
              <a:pathLst>
                <a:path w="11" h="8">
                  <a:moveTo>
                    <a:pt x="1" y="7"/>
                  </a:moveTo>
                  <a:lnTo>
                    <a:pt x="1" y="7"/>
                  </a:lnTo>
                  <a:lnTo>
                    <a:pt x="4" y="8"/>
                  </a:lnTo>
                  <a:lnTo>
                    <a:pt x="8" y="8"/>
                  </a:lnTo>
                  <a:lnTo>
                    <a:pt x="8" y="8"/>
                  </a:lnTo>
                  <a:lnTo>
                    <a:pt x="11" y="8"/>
                  </a:lnTo>
                  <a:lnTo>
                    <a:pt x="11" y="0"/>
                  </a:lnTo>
                  <a:lnTo>
                    <a:pt x="11" y="0"/>
                  </a:lnTo>
                  <a:lnTo>
                    <a:pt x="3" y="1"/>
                  </a:lnTo>
                  <a:lnTo>
                    <a:pt x="3" y="1"/>
                  </a:lnTo>
                  <a:lnTo>
                    <a:pt x="0" y="4"/>
                  </a:lnTo>
                  <a:lnTo>
                    <a:pt x="0" y="5"/>
                  </a:lnTo>
                  <a:lnTo>
                    <a:pt x="1" y="7"/>
                  </a:lnTo>
                  <a:lnTo>
                    <a:pt x="1" y="7"/>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8" name="Freeform 74">
              <a:extLst>
                <a:ext uri="{FF2B5EF4-FFF2-40B4-BE49-F238E27FC236}">
                  <a16:creationId xmlns:a16="http://schemas.microsoft.com/office/drawing/2014/main" id="{3E400CA3-059D-49A5-A397-CDA0C84EF32A}"/>
                </a:ext>
              </a:extLst>
            </p:cNvPr>
            <p:cNvSpPr>
              <a:spLocks noEditPoints="1"/>
            </p:cNvSpPr>
            <p:nvPr/>
          </p:nvSpPr>
          <p:spPr bwMode="auto">
            <a:xfrm>
              <a:off x="5121275" y="3200400"/>
              <a:ext cx="184150" cy="66675"/>
            </a:xfrm>
            <a:custGeom>
              <a:avLst/>
              <a:gdLst/>
              <a:ahLst/>
              <a:cxnLst>
                <a:cxn ang="0">
                  <a:pos x="0" y="21"/>
                </a:cxn>
                <a:cxn ang="0">
                  <a:pos x="4" y="28"/>
                </a:cxn>
                <a:cxn ang="0">
                  <a:pos x="16" y="35"/>
                </a:cxn>
                <a:cxn ang="0">
                  <a:pos x="35" y="40"/>
                </a:cxn>
                <a:cxn ang="0">
                  <a:pos x="58" y="42"/>
                </a:cxn>
                <a:cxn ang="0">
                  <a:pos x="70" y="41"/>
                </a:cxn>
                <a:cxn ang="0">
                  <a:pos x="91" y="38"/>
                </a:cxn>
                <a:cxn ang="0">
                  <a:pos x="106" y="33"/>
                </a:cxn>
                <a:cxn ang="0">
                  <a:pos x="114" y="26"/>
                </a:cxn>
                <a:cxn ang="0">
                  <a:pos x="116" y="21"/>
                </a:cxn>
                <a:cxn ang="0">
                  <a:pos x="112" y="13"/>
                </a:cxn>
                <a:cxn ang="0">
                  <a:pos x="99" y="6"/>
                </a:cxn>
                <a:cxn ang="0">
                  <a:pos x="81" y="2"/>
                </a:cxn>
                <a:cxn ang="0">
                  <a:pos x="58" y="0"/>
                </a:cxn>
                <a:cxn ang="0">
                  <a:pos x="46" y="0"/>
                </a:cxn>
                <a:cxn ang="0">
                  <a:pos x="25" y="3"/>
                </a:cxn>
                <a:cxn ang="0">
                  <a:pos x="9" y="9"/>
                </a:cxn>
                <a:cxn ang="0">
                  <a:pos x="1" y="17"/>
                </a:cxn>
                <a:cxn ang="0">
                  <a:pos x="0" y="21"/>
                </a:cxn>
                <a:cxn ang="0">
                  <a:pos x="63" y="6"/>
                </a:cxn>
                <a:cxn ang="0">
                  <a:pos x="68" y="6"/>
                </a:cxn>
                <a:cxn ang="0">
                  <a:pos x="75" y="7"/>
                </a:cxn>
                <a:cxn ang="0">
                  <a:pos x="81" y="10"/>
                </a:cxn>
                <a:cxn ang="0">
                  <a:pos x="79" y="13"/>
                </a:cxn>
                <a:cxn ang="0">
                  <a:pos x="74" y="13"/>
                </a:cxn>
                <a:cxn ang="0">
                  <a:pos x="74" y="12"/>
                </a:cxn>
                <a:cxn ang="0">
                  <a:pos x="74" y="12"/>
                </a:cxn>
                <a:cxn ang="0">
                  <a:pos x="74" y="12"/>
                </a:cxn>
                <a:cxn ang="0">
                  <a:pos x="72" y="12"/>
                </a:cxn>
                <a:cxn ang="0">
                  <a:pos x="65" y="10"/>
                </a:cxn>
                <a:cxn ang="0">
                  <a:pos x="63" y="9"/>
                </a:cxn>
                <a:cxn ang="0">
                  <a:pos x="63" y="20"/>
                </a:cxn>
                <a:cxn ang="0">
                  <a:pos x="78" y="24"/>
                </a:cxn>
                <a:cxn ang="0">
                  <a:pos x="81" y="26"/>
                </a:cxn>
                <a:cxn ang="0">
                  <a:pos x="81" y="30"/>
                </a:cxn>
                <a:cxn ang="0">
                  <a:pos x="75" y="34"/>
                </a:cxn>
                <a:cxn ang="0">
                  <a:pos x="70" y="35"/>
                </a:cxn>
                <a:cxn ang="0">
                  <a:pos x="63" y="38"/>
                </a:cxn>
                <a:cxn ang="0">
                  <a:pos x="61" y="40"/>
                </a:cxn>
                <a:cxn ang="0">
                  <a:pos x="56" y="40"/>
                </a:cxn>
                <a:cxn ang="0">
                  <a:pos x="54" y="37"/>
                </a:cxn>
                <a:cxn ang="0">
                  <a:pos x="42" y="35"/>
                </a:cxn>
                <a:cxn ang="0">
                  <a:pos x="35" y="33"/>
                </a:cxn>
                <a:cxn ang="0">
                  <a:pos x="36" y="30"/>
                </a:cxn>
                <a:cxn ang="0">
                  <a:pos x="42" y="30"/>
                </a:cxn>
                <a:cxn ang="0">
                  <a:pos x="42" y="30"/>
                </a:cxn>
                <a:cxn ang="0">
                  <a:pos x="42" y="30"/>
                </a:cxn>
                <a:cxn ang="0">
                  <a:pos x="43" y="30"/>
                </a:cxn>
                <a:cxn ang="0">
                  <a:pos x="43" y="30"/>
                </a:cxn>
                <a:cxn ang="0">
                  <a:pos x="50" y="33"/>
                </a:cxn>
                <a:cxn ang="0">
                  <a:pos x="54" y="33"/>
                </a:cxn>
                <a:cxn ang="0">
                  <a:pos x="54" y="23"/>
                </a:cxn>
                <a:cxn ang="0">
                  <a:pos x="43" y="20"/>
                </a:cxn>
                <a:cxn ang="0">
                  <a:pos x="36" y="17"/>
                </a:cxn>
                <a:cxn ang="0">
                  <a:pos x="35" y="14"/>
                </a:cxn>
                <a:cxn ang="0">
                  <a:pos x="37" y="10"/>
                </a:cxn>
                <a:cxn ang="0">
                  <a:pos x="40" y="9"/>
                </a:cxn>
                <a:cxn ang="0">
                  <a:pos x="54" y="6"/>
                </a:cxn>
                <a:cxn ang="0">
                  <a:pos x="54" y="3"/>
                </a:cxn>
                <a:cxn ang="0">
                  <a:pos x="61" y="3"/>
                </a:cxn>
                <a:cxn ang="0">
                  <a:pos x="63" y="3"/>
                </a:cxn>
              </a:cxnLst>
              <a:rect l="0" t="0" r="r" b="b"/>
              <a:pathLst>
                <a:path w="116" h="42">
                  <a:moveTo>
                    <a:pt x="0" y="21"/>
                  </a:moveTo>
                  <a:lnTo>
                    <a:pt x="0" y="21"/>
                  </a:lnTo>
                  <a:lnTo>
                    <a:pt x="1" y="26"/>
                  </a:lnTo>
                  <a:lnTo>
                    <a:pt x="4" y="28"/>
                  </a:lnTo>
                  <a:lnTo>
                    <a:pt x="9" y="33"/>
                  </a:lnTo>
                  <a:lnTo>
                    <a:pt x="16" y="35"/>
                  </a:lnTo>
                  <a:lnTo>
                    <a:pt x="25" y="38"/>
                  </a:lnTo>
                  <a:lnTo>
                    <a:pt x="35" y="40"/>
                  </a:lnTo>
                  <a:lnTo>
                    <a:pt x="46" y="41"/>
                  </a:lnTo>
                  <a:lnTo>
                    <a:pt x="58" y="42"/>
                  </a:lnTo>
                  <a:lnTo>
                    <a:pt x="58" y="42"/>
                  </a:lnTo>
                  <a:lnTo>
                    <a:pt x="70" y="41"/>
                  </a:lnTo>
                  <a:lnTo>
                    <a:pt x="81" y="40"/>
                  </a:lnTo>
                  <a:lnTo>
                    <a:pt x="91" y="38"/>
                  </a:lnTo>
                  <a:lnTo>
                    <a:pt x="99" y="35"/>
                  </a:lnTo>
                  <a:lnTo>
                    <a:pt x="106" y="33"/>
                  </a:lnTo>
                  <a:lnTo>
                    <a:pt x="112" y="28"/>
                  </a:lnTo>
                  <a:lnTo>
                    <a:pt x="114" y="26"/>
                  </a:lnTo>
                  <a:lnTo>
                    <a:pt x="116" y="21"/>
                  </a:lnTo>
                  <a:lnTo>
                    <a:pt x="116" y="21"/>
                  </a:lnTo>
                  <a:lnTo>
                    <a:pt x="114" y="17"/>
                  </a:lnTo>
                  <a:lnTo>
                    <a:pt x="112" y="13"/>
                  </a:lnTo>
                  <a:lnTo>
                    <a:pt x="106" y="9"/>
                  </a:lnTo>
                  <a:lnTo>
                    <a:pt x="99" y="6"/>
                  </a:lnTo>
                  <a:lnTo>
                    <a:pt x="91" y="3"/>
                  </a:lnTo>
                  <a:lnTo>
                    <a:pt x="81" y="2"/>
                  </a:lnTo>
                  <a:lnTo>
                    <a:pt x="70" y="0"/>
                  </a:lnTo>
                  <a:lnTo>
                    <a:pt x="58" y="0"/>
                  </a:lnTo>
                  <a:lnTo>
                    <a:pt x="58" y="0"/>
                  </a:lnTo>
                  <a:lnTo>
                    <a:pt x="46" y="0"/>
                  </a:lnTo>
                  <a:lnTo>
                    <a:pt x="35" y="2"/>
                  </a:lnTo>
                  <a:lnTo>
                    <a:pt x="25" y="3"/>
                  </a:lnTo>
                  <a:lnTo>
                    <a:pt x="16" y="6"/>
                  </a:lnTo>
                  <a:lnTo>
                    <a:pt x="9" y="9"/>
                  </a:lnTo>
                  <a:lnTo>
                    <a:pt x="4" y="13"/>
                  </a:lnTo>
                  <a:lnTo>
                    <a:pt x="1" y="17"/>
                  </a:lnTo>
                  <a:lnTo>
                    <a:pt x="0" y="21"/>
                  </a:lnTo>
                  <a:lnTo>
                    <a:pt x="0" y="21"/>
                  </a:lnTo>
                  <a:close/>
                  <a:moveTo>
                    <a:pt x="63" y="3"/>
                  </a:moveTo>
                  <a:lnTo>
                    <a:pt x="63" y="6"/>
                  </a:lnTo>
                  <a:lnTo>
                    <a:pt x="63" y="6"/>
                  </a:lnTo>
                  <a:lnTo>
                    <a:pt x="68" y="6"/>
                  </a:lnTo>
                  <a:lnTo>
                    <a:pt x="68" y="6"/>
                  </a:lnTo>
                  <a:lnTo>
                    <a:pt x="75" y="7"/>
                  </a:lnTo>
                  <a:lnTo>
                    <a:pt x="81" y="10"/>
                  </a:lnTo>
                  <a:lnTo>
                    <a:pt x="81" y="10"/>
                  </a:lnTo>
                  <a:lnTo>
                    <a:pt x="82" y="12"/>
                  </a:lnTo>
                  <a:lnTo>
                    <a:pt x="79" y="13"/>
                  </a:lnTo>
                  <a:lnTo>
                    <a:pt x="77" y="13"/>
                  </a:lnTo>
                  <a:lnTo>
                    <a:pt x="74" y="13"/>
                  </a:lnTo>
                  <a:lnTo>
                    <a:pt x="74" y="13"/>
                  </a:lnTo>
                  <a:lnTo>
                    <a:pt x="74" y="12"/>
                  </a:lnTo>
                  <a:lnTo>
                    <a:pt x="74" y="12"/>
                  </a:lnTo>
                  <a:lnTo>
                    <a:pt x="74" y="12"/>
                  </a:lnTo>
                  <a:lnTo>
                    <a:pt x="74" y="12"/>
                  </a:lnTo>
                  <a:lnTo>
                    <a:pt x="74" y="12"/>
                  </a:lnTo>
                  <a:lnTo>
                    <a:pt x="74" y="12"/>
                  </a:lnTo>
                  <a:lnTo>
                    <a:pt x="72" y="12"/>
                  </a:lnTo>
                  <a:lnTo>
                    <a:pt x="72" y="12"/>
                  </a:lnTo>
                  <a:lnTo>
                    <a:pt x="65" y="10"/>
                  </a:lnTo>
                  <a:lnTo>
                    <a:pt x="65" y="10"/>
                  </a:lnTo>
                  <a:lnTo>
                    <a:pt x="63" y="9"/>
                  </a:lnTo>
                  <a:lnTo>
                    <a:pt x="63" y="20"/>
                  </a:lnTo>
                  <a:lnTo>
                    <a:pt x="63" y="20"/>
                  </a:lnTo>
                  <a:lnTo>
                    <a:pt x="74" y="21"/>
                  </a:lnTo>
                  <a:lnTo>
                    <a:pt x="78" y="24"/>
                  </a:lnTo>
                  <a:lnTo>
                    <a:pt x="81" y="26"/>
                  </a:lnTo>
                  <a:lnTo>
                    <a:pt x="81" y="26"/>
                  </a:lnTo>
                  <a:lnTo>
                    <a:pt x="82" y="28"/>
                  </a:lnTo>
                  <a:lnTo>
                    <a:pt x="81" y="30"/>
                  </a:lnTo>
                  <a:lnTo>
                    <a:pt x="79" y="33"/>
                  </a:lnTo>
                  <a:lnTo>
                    <a:pt x="75" y="34"/>
                  </a:lnTo>
                  <a:lnTo>
                    <a:pt x="75" y="34"/>
                  </a:lnTo>
                  <a:lnTo>
                    <a:pt x="70" y="35"/>
                  </a:lnTo>
                  <a:lnTo>
                    <a:pt x="63" y="37"/>
                  </a:lnTo>
                  <a:lnTo>
                    <a:pt x="63" y="38"/>
                  </a:lnTo>
                  <a:lnTo>
                    <a:pt x="63" y="38"/>
                  </a:lnTo>
                  <a:lnTo>
                    <a:pt x="61" y="40"/>
                  </a:lnTo>
                  <a:lnTo>
                    <a:pt x="56" y="40"/>
                  </a:lnTo>
                  <a:lnTo>
                    <a:pt x="56" y="40"/>
                  </a:lnTo>
                  <a:lnTo>
                    <a:pt x="54" y="38"/>
                  </a:lnTo>
                  <a:lnTo>
                    <a:pt x="54" y="37"/>
                  </a:lnTo>
                  <a:lnTo>
                    <a:pt x="54" y="37"/>
                  </a:lnTo>
                  <a:lnTo>
                    <a:pt x="42" y="35"/>
                  </a:lnTo>
                  <a:lnTo>
                    <a:pt x="35" y="33"/>
                  </a:lnTo>
                  <a:lnTo>
                    <a:pt x="35" y="33"/>
                  </a:lnTo>
                  <a:lnTo>
                    <a:pt x="35" y="31"/>
                  </a:lnTo>
                  <a:lnTo>
                    <a:pt x="36" y="30"/>
                  </a:lnTo>
                  <a:lnTo>
                    <a:pt x="39" y="28"/>
                  </a:lnTo>
                  <a:lnTo>
                    <a:pt x="42" y="30"/>
                  </a:lnTo>
                  <a:lnTo>
                    <a:pt x="42" y="30"/>
                  </a:lnTo>
                  <a:lnTo>
                    <a:pt x="42" y="30"/>
                  </a:lnTo>
                  <a:lnTo>
                    <a:pt x="42" y="30"/>
                  </a:lnTo>
                  <a:lnTo>
                    <a:pt x="42" y="30"/>
                  </a:lnTo>
                  <a:lnTo>
                    <a:pt x="42" y="30"/>
                  </a:lnTo>
                  <a:lnTo>
                    <a:pt x="43" y="30"/>
                  </a:lnTo>
                  <a:lnTo>
                    <a:pt x="43" y="30"/>
                  </a:lnTo>
                  <a:lnTo>
                    <a:pt x="43" y="30"/>
                  </a:lnTo>
                  <a:lnTo>
                    <a:pt x="43" y="30"/>
                  </a:lnTo>
                  <a:lnTo>
                    <a:pt x="50" y="33"/>
                  </a:lnTo>
                  <a:lnTo>
                    <a:pt x="50" y="33"/>
                  </a:lnTo>
                  <a:lnTo>
                    <a:pt x="54" y="33"/>
                  </a:lnTo>
                  <a:lnTo>
                    <a:pt x="54" y="23"/>
                  </a:lnTo>
                  <a:lnTo>
                    <a:pt x="54" y="23"/>
                  </a:lnTo>
                  <a:lnTo>
                    <a:pt x="43" y="20"/>
                  </a:lnTo>
                  <a:lnTo>
                    <a:pt x="43" y="20"/>
                  </a:lnTo>
                  <a:lnTo>
                    <a:pt x="39" y="19"/>
                  </a:lnTo>
                  <a:lnTo>
                    <a:pt x="36" y="17"/>
                  </a:lnTo>
                  <a:lnTo>
                    <a:pt x="36" y="17"/>
                  </a:lnTo>
                  <a:lnTo>
                    <a:pt x="35" y="14"/>
                  </a:lnTo>
                  <a:lnTo>
                    <a:pt x="35" y="13"/>
                  </a:lnTo>
                  <a:lnTo>
                    <a:pt x="37" y="10"/>
                  </a:lnTo>
                  <a:lnTo>
                    <a:pt x="40" y="9"/>
                  </a:lnTo>
                  <a:lnTo>
                    <a:pt x="40" y="9"/>
                  </a:lnTo>
                  <a:lnTo>
                    <a:pt x="46" y="6"/>
                  </a:lnTo>
                  <a:lnTo>
                    <a:pt x="54" y="6"/>
                  </a:lnTo>
                  <a:lnTo>
                    <a:pt x="54" y="3"/>
                  </a:lnTo>
                  <a:lnTo>
                    <a:pt x="54" y="3"/>
                  </a:lnTo>
                  <a:lnTo>
                    <a:pt x="56" y="3"/>
                  </a:lnTo>
                  <a:lnTo>
                    <a:pt x="61" y="3"/>
                  </a:lnTo>
                  <a:lnTo>
                    <a:pt x="61" y="3"/>
                  </a:lnTo>
                  <a:lnTo>
                    <a:pt x="63" y="3"/>
                  </a:lnTo>
                  <a:lnTo>
                    <a:pt x="63"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09" name="Freeform 75">
              <a:extLst>
                <a:ext uri="{FF2B5EF4-FFF2-40B4-BE49-F238E27FC236}">
                  <a16:creationId xmlns:a16="http://schemas.microsoft.com/office/drawing/2014/main" id="{2DE270A1-2714-4ABA-8EDD-0CA5F313ABC4}"/>
                </a:ext>
              </a:extLst>
            </p:cNvPr>
            <p:cNvSpPr>
              <a:spLocks noEditPoints="1"/>
            </p:cNvSpPr>
            <p:nvPr/>
          </p:nvSpPr>
          <p:spPr bwMode="auto">
            <a:xfrm>
              <a:off x="4852988" y="3359150"/>
              <a:ext cx="215900" cy="71438"/>
            </a:xfrm>
            <a:custGeom>
              <a:avLst/>
              <a:gdLst/>
              <a:ahLst/>
              <a:cxnLst>
                <a:cxn ang="0">
                  <a:pos x="2" y="0"/>
                </a:cxn>
                <a:cxn ang="0">
                  <a:pos x="0" y="3"/>
                </a:cxn>
                <a:cxn ang="0">
                  <a:pos x="0" y="19"/>
                </a:cxn>
                <a:cxn ang="0">
                  <a:pos x="0" y="19"/>
                </a:cxn>
                <a:cxn ang="0">
                  <a:pos x="6" y="29"/>
                </a:cxn>
                <a:cxn ang="0">
                  <a:pos x="21" y="38"/>
                </a:cxn>
                <a:cxn ang="0">
                  <a:pos x="42" y="43"/>
                </a:cxn>
                <a:cxn ang="0">
                  <a:pos x="69" y="45"/>
                </a:cxn>
                <a:cxn ang="0">
                  <a:pos x="82" y="45"/>
                </a:cxn>
                <a:cxn ang="0">
                  <a:pos x="105" y="40"/>
                </a:cxn>
                <a:cxn ang="0">
                  <a:pos x="124" y="33"/>
                </a:cxn>
                <a:cxn ang="0">
                  <a:pos x="133" y="25"/>
                </a:cxn>
                <a:cxn ang="0">
                  <a:pos x="135" y="21"/>
                </a:cxn>
                <a:cxn ang="0">
                  <a:pos x="136" y="19"/>
                </a:cxn>
                <a:cxn ang="0">
                  <a:pos x="136" y="7"/>
                </a:cxn>
                <a:cxn ang="0">
                  <a:pos x="124" y="14"/>
                </a:cxn>
                <a:cxn ang="0">
                  <a:pos x="90" y="22"/>
                </a:cxn>
                <a:cxn ang="0">
                  <a:pos x="72" y="24"/>
                </a:cxn>
                <a:cxn ang="0">
                  <a:pos x="38" y="19"/>
                </a:cxn>
                <a:cxn ang="0">
                  <a:pos x="19" y="14"/>
                </a:cxn>
                <a:cxn ang="0">
                  <a:pos x="6" y="5"/>
                </a:cxn>
                <a:cxn ang="0">
                  <a:pos x="2" y="0"/>
                </a:cxn>
                <a:cxn ang="0">
                  <a:pos x="17" y="32"/>
                </a:cxn>
                <a:cxn ang="0">
                  <a:pos x="7" y="26"/>
                </a:cxn>
                <a:cxn ang="0">
                  <a:pos x="7" y="12"/>
                </a:cxn>
                <a:cxn ang="0">
                  <a:pos x="17" y="32"/>
                </a:cxn>
                <a:cxn ang="0">
                  <a:pos x="35" y="38"/>
                </a:cxn>
                <a:cxn ang="0">
                  <a:pos x="26" y="22"/>
                </a:cxn>
                <a:cxn ang="0">
                  <a:pos x="35" y="25"/>
                </a:cxn>
                <a:cxn ang="0">
                  <a:pos x="54" y="40"/>
                </a:cxn>
                <a:cxn ang="0">
                  <a:pos x="44" y="39"/>
                </a:cxn>
                <a:cxn ang="0">
                  <a:pos x="44" y="26"/>
                </a:cxn>
                <a:cxn ang="0">
                  <a:pos x="54" y="40"/>
                </a:cxn>
                <a:cxn ang="0">
                  <a:pos x="121" y="21"/>
                </a:cxn>
                <a:cxn ang="0">
                  <a:pos x="128" y="28"/>
                </a:cxn>
                <a:cxn ang="0">
                  <a:pos x="121" y="32"/>
                </a:cxn>
                <a:cxn ang="0">
                  <a:pos x="72" y="40"/>
                </a:cxn>
                <a:cxn ang="0">
                  <a:pos x="69" y="42"/>
                </a:cxn>
                <a:cxn ang="0">
                  <a:pos x="63" y="40"/>
                </a:cxn>
                <a:cxn ang="0">
                  <a:pos x="63" y="28"/>
                </a:cxn>
                <a:cxn ang="0">
                  <a:pos x="68" y="28"/>
                </a:cxn>
                <a:cxn ang="0">
                  <a:pos x="72" y="40"/>
                </a:cxn>
              </a:cxnLst>
              <a:rect l="0" t="0" r="r" b="b"/>
              <a:pathLst>
                <a:path w="136" h="45">
                  <a:moveTo>
                    <a:pt x="2" y="0"/>
                  </a:moveTo>
                  <a:lnTo>
                    <a:pt x="2" y="0"/>
                  </a:lnTo>
                  <a:lnTo>
                    <a:pt x="0" y="3"/>
                  </a:lnTo>
                  <a:lnTo>
                    <a:pt x="0" y="3"/>
                  </a:lnTo>
                  <a:lnTo>
                    <a:pt x="0" y="3"/>
                  </a:lnTo>
                  <a:lnTo>
                    <a:pt x="0" y="19"/>
                  </a:lnTo>
                  <a:lnTo>
                    <a:pt x="0" y="19"/>
                  </a:lnTo>
                  <a:lnTo>
                    <a:pt x="0" y="19"/>
                  </a:lnTo>
                  <a:lnTo>
                    <a:pt x="2" y="25"/>
                  </a:lnTo>
                  <a:lnTo>
                    <a:pt x="6" y="29"/>
                  </a:lnTo>
                  <a:lnTo>
                    <a:pt x="13" y="33"/>
                  </a:lnTo>
                  <a:lnTo>
                    <a:pt x="21" y="38"/>
                  </a:lnTo>
                  <a:lnTo>
                    <a:pt x="31" y="40"/>
                  </a:lnTo>
                  <a:lnTo>
                    <a:pt x="42" y="43"/>
                  </a:lnTo>
                  <a:lnTo>
                    <a:pt x="55" y="45"/>
                  </a:lnTo>
                  <a:lnTo>
                    <a:pt x="69" y="45"/>
                  </a:lnTo>
                  <a:lnTo>
                    <a:pt x="69" y="45"/>
                  </a:lnTo>
                  <a:lnTo>
                    <a:pt x="82" y="45"/>
                  </a:lnTo>
                  <a:lnTo>
                    <a:pt x="94" y="43"/>
                  </a:lnTo>
                  <a:lnTo>
                    <a:pt x="105" y="40"/>
                  </a:lnTo>
                  <a:lnTo>
                    <a:pt x="115" y="38"/>
                  </a:lnTo>
                  <a:lnTo>
                    <a:pt x="124" y="33"/>
                  </a:lnTo>
                  <a:lnTo>
                    <a:pt x="129" y="31"/>
                  </a:lnTo>
                  <a:lnTo>
                    <a:pt x="133" y="25"/>
                  </a:lnTo>
                  <a:lnTo>
                    <a:pt x="135" y="21"/>
                  </a:lnTo>
                  <a:lnTo>
                    <a:pt x="135" y="21"/>
                  </a:lnTo>
                  <a:lnTo>
                    <a:pt x="136" y="19"/>
                  </a:lnTo>
                  <a:lnTo>
                    <a:pt x="136" y="19"/>
                  </a:lnTo>
                  <a:lnTo>
                    <a:pt x="136" y="7"/>
                  </a:lnTo>
                  <a:lnTo>
                    <a:pt x="136" y="7"/>
                  </a:lnTo>
                  <a:lnTo>
                    <a:pt x="131" y="11"/>
                  </a:lnTo>
                  <a:lnTo>
                    <a:pt x="124" y="14"/>
                  </a:lnTo>
                  <a:lnTo>
                    <a:pt x="108" y="19"/>
                  </a:lnTo>
                  <a:lnTo>
                    <a:pt x="90" y="22"/>
                  </a:lnTo>
                  <a:lnTo>
                    <a:pt x="72" y="24"/>
                  </a:lnTo>
                  <a:lnTo>
                    <a:pt x="72" y="24"/>
                  </a:lnTo>
                  <a:lnTo>
                    <a:pt x="49" y="22"/>
                  </a:lnTo>
                  <a:lnTo>
                    <a:pt x="38" y="19"/>
                  </a:lnTo>
                  <a:lnTo>
                    <a:pt x="28" y="17"/>
                  </a:lnTo>
                  <a:lnTo>
                    <a:pt x="19" y="14"/>
                  </a:lnTo>
                  <a:lnTo>
                    <a:pt x="12" y="10"/>
                  </a:lnTo>
                  <a:lnTo>
                    <a:pt x="6" y="5"/>
                  </a:lnTo>
                  <a:lnTo>
                    <a:pt x="2" y="0"/>
                  </a:lnTo>
                  <a:lnTo>
                    <a:pt x="2" y="0"/>
                  </a:lnTo>
                  <a:close/>
                  <a:moveTo>
                    <a:pt x="17" y="32"/>
                  </a:moveTo>
                  <a:lnTo>
                    <a:pt x="17" y="32"/>
                  </a:lnTo>
                  <a:lnTo>
                    <a:pt x="12" y="29"/>
                  </a:lnTo>
                  <a:lnTo>
                    <a:pt x="7" y="26"/>
                  </a:lnTo>
                  <a:lnTo>
                    <a:pt x="7" y="12"/>
                  </a:lnTo>
                  <a:lnTo>
                    <a:pt x="7" y="12"/>
                  </a:lnTo>
                  <a:lnTo>
                    <a:pt x="17" y="18"/>
                  </a:lnTo>
                  <a:lnTo>
                    <a:pt x="17" y="32"/>
                  </a:lnTo>
                  <a:close/>
                  <a:moveTo>
                    <a:pt x="35" y="38"/>
                  </a:moveTo>
                  <a:lnTo>
                    <a:pt x="35" y="38"/>
                  </a:lnTo>
                  <a:lnTo>
                    <a:pt x="26" y="36"/>
                  </a:lnTo>
                  <a:lnTo>
                    <a:pt x="26" y="22"/>
                  </a:lnTo>
                  <a:lnTo>
                    <a:pt x="26" y="22"/>
                  </a:lnTo>
                  <a:lnTo>
                    <a:pt x="35" y="25"/>
                  </a:lnTo>
                  <a:lnTo>
                    <a:pt x="35" y="38"/>
                  </a:lnTo>
                  <a:close/>
                  <a:moveTo>
                    <a:pt x="54" y="40"/>
                  </a:moveTo>
                  <a:lnTo>
                    <a:pt x="54" y="40"/>
                  </a:lnTo>
                  <a:lnTo>
                    <a:pt x="44" y="39"/>
                  </a:lnTo>
                  <a:lnTo>
                    <a:pt x="44" y="26"/>
                  </a:lnTo>
                  <a:lnTo>
                    <a:pt x="44" y="26"/>
                  </a:lnTo>
                  <a:lnTo>
                    <a:pt x="54" y="28"/>
                  </a:lnTo>
                  <a:lnTo>
                    <a:pt x="54" y="40"/>
                  </a:lnTo>
                  <a:close/>
                  <a:moveTo>
                    <a:pt x="121" y="21"/>
                  </a:moveTo>
                  <a:lnTo>
                    <a:pt x="121" y="21"/>
                  </a:lnTo>
                  <a:lnTo>
                    <a:pt x="128" y="17"/>
                  </a:lnTo>
                  <a:lnTo>
                    <a:pt x="128" y="28"/>
                  </a:lnTo>
                  <a:lnTo>
                    <a:pt x="128" y="28"/>
                  </a:lnTo>
                  <a:lnTo>
                    <a:pt x="121" y="32"/>
                  </a:lnTo>
                  <a:lnTo>
                    <a:pt x="121" y="21"/>
                  </a:lnTo>
                  <a:close/>
                  <a:moveTo>
                    <a:pt x="72" y="40"/>
                  </a:moveTo>
                  <a:lnTo>
                    <a:pt x="72" y="40"/>
                  </a:lnTo>
                  <a:lnTo>
                    <a:pt x="69" y="42"/>
                  </a:lnTo>
                  <a:lnTo>
                    <a:pt x="69" y="42"/>
                  </a:lnTo>
                  <a:lnTo>
                    <a:pt x="63" y="40"/>
                  </a:lnTo>
                  <a:lnTo>
                    <a:pt x="63" y="28"/>
                  </a:lnTo>
                  <a:lnTo>
                    <a:pt x="63" y="28"/>
                  </a:lnTo>
                  <a:lnTo>
                    <a:pt x="68" y="28"/>
                  </a:lnTo>
                  <a:lnTo>
                    <a:pt x="68" y="28"/>
                  </a:lnTo>
                  <a:lnTo>
                    <a:pt x="72" y="28"/>
                  </a:lnTo>
                  <a:lnTo>
                    <a:pt x="72" y="4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0" name="Freeform 76">
              <a:extLst>
                <a:ext uri="{FF2B5EF4-FFF2-40B4-BE49-F238E27FC236}">
                  <a16:creationId xmlns:a16="http://schemas.microsoft.com/office/drawing/2014/main" id="{D5177939-62AC-4AD0-9612-D5E85CEEFDB6}"/>
                </a:ext>
              </a:extLst>
            </p:cNvPr>
            <p:cNvSpPr>
              <a:spLocks/>
            </p:cNvSpPr>
            <p:nvPr/>
          </p:nvSpPr>
          <p:spPr bwMode="auto">
            <a:xfrm>
              <a:off x="4860925" y="3321050"/>
              <a:ext cx="212725" cy="66675"/>
            </a:xfrm>
            <a:custGeom>
              <a:avLst/>
              <a:gdLst/>
              <a:ahLst/>
              <a:cxnLst>
                <a:cxn ang="0">
                  <a:pos x="126" y="24"/>
                </a:cxn>
                <a:cxn ang="0">
                  <a:pos x="119" y="29"/>
                </a:cxn>
                <a:cxn ang="0">
                  <a:pos x="119" y="15"/>
                </a:cxn>
                <a:cxn ang="0">
                  <a:pos x="98" y="22"/>
                </a:cxn>
                <a:cxn ang="0">
                  <a:pos x="70" y="25"/>
                </a:cxn>
                <a:cxn ang="0">
                  <a:pos x="70" y="38"/>
                </a:cxn>
                <a:cxn ang="0">
                  <a:pos x="67" y="38"/>
                </a:cxn>
                <a:cxn ang="0">
                  <a:pos x="61" y="25"/>
                </a:cxn>
                <a:cxn ang="0">
                  <a:pos x="51" y="25"/>
                </a:cxn>
                <a:cxn ang="0">
                  <a:pos x="51" y="38"/>
                </a:cxn>
                <a:cxn ang="0">
                  <a:pos x="43" y="24"/>
                </a:cxn>
                <a:cxn ang="0">
                  <a:pos x="33" y="22"/>
                </a:cxn>
                <a:cxn ang="0">
                  <a:pos x="33" y="35"/>
                </a:cxn>
                <a:cxn ang="0">
                  <a:pos x="23" y="20"/>
                </a:cxn>
                <a:cxn ang="0">
                  <a:pos x="15" y="17"/>
                </a:cxn>
                <a:cxn ang="0">
                  <a:pos x="15" y="29"/>
                </a:cxn>
                <a:cxn ang="0">
                  <a:pos x="5" y="24"/>
                </a:cxn>
                <a:cxn ang="0">
                  <a:pos x="5" y="11"/>
                </a:cxn>
                <a:cxn ang="0">
                  <a:pos x="0" y="0"/>
                </a:cxn>
                <a:cxn ang="0">
                  <a:pos x="0" y="17"/>
                </a:cxn>
                <a:cxn ang="0">
                  <a:pos x="1" y="21"/>
                </a:cxn>
                <a:cxn ang="0">
                  <a:pos x="11" y="31"/>
                </a:cxn>
                <a:cxn ang="0">
                  <a:pos x="29" y="38"/>
                </a:cxn>
                <a:cxn ang="0">
                  <a:pos x="53" y="42"/>
                </a:cxn>
                <a:cxn ang="0">
                  <a:pos x="67" y="42"/>
                </a:cxn>
                <a:cxn ang="0">
                  <a:pos x="92" y="41"/>
                </a:cxn>
                <a:cxn ang="0">
                  <a:pos x="113" y="35"/>
                </a:cxn>
                <a:cxn ang="0">
                  <a:pos x="127" y="27"/>
                </a:cxn>
                <a:cxn ang="0">
                  <a:pos x="134" y="18"/>
                </a:cxn>
                <a:cxn ang="0">
                  <a:pos x="134" y="17"/>
                </a:cxn>
                <a:cxn ang="0">
                  <a:pos x="134" y="0"/>
                </a:cxn>
                <a:cxn ang="0">
                  <a:pos x="133" y="3"/>
                </a:cxn>
                <a:cxn ang="0">
                  <a:pos x="126" y="13"/>
                </a:cxn>
              </a:cxnLst>
              <a:rect l="0" t="0" r="r" b="b"/>
              <a:pathLst>
                <a:path w="134" h="42">
                  <a:moveTo>
                    <a:pt x="126" y="13"/>
                  </a:moveTo>
                  <a:lnTo>
                    <a:pt x="126" y="24"/>
                  </a:lnTo>
                  <a:lnTo>
                    <a:pt x="126" y="24"/>
                  </a:lnTo>
                  <a:lnTo>
                    <a:pt x="119" y="29"/>
                  </a:lnTo>
                  <a:lnTo>
                    <a:pt x="119" y="15"/>
                  </a:lnTo>
                  <a:lnTo>
                    <a:pt x="119" y="15"/>
                  </a:lnTo>
                  <a:lnTo>
                    <a:pt x="109" y="20"/>
                  </a:lnTo>
                  <a:lnTo>
                    <a:pt x="98" y="22"/>
                  </a:lnTo>
                  <a:lnTo>
                    <a:pt x="84" y="25"/>
                  </a:lnTo>
                  <a:lnTo>
                    <a:pt x="70" y="25"/>
                  </a:lnTo>
                  <a:lnTo>
                    <a:pt x="70" y="38"/>
                  </a:lnTo>
                  <a:lnTo>
                    <a:pt x="70" y="38"/>
                  </a:lnTo>
                  <a:lnTo>
                    <a:pt x="67" y="38"/>
                  </a:lnTo>
                  <a:lnTo>
                    <a:pt x="67" y="38"/>
                  </a:lnTo>
                  <a:lnTo>
                    <a:pt x="61" y="38"/>
                  </a:lnTo>
                  <a:lnTo>
                    <a:pt x="61" y="25"/>
                  </a:lnTo>
                  <a:lnTo>
                    <a:pt x="61" y="25"/>
                  </a:lnTo>
                  <a:lnTo>
                    <a:pt x="51" y="25"/>
                  </a:lnTo>
                  <a:lnTo>
                    <a:pt x="51" y="38"/>
                  </a:lnTo>
                  <a:lnTo>
                    <a:pt x="51" y="38"/>
                  </a:lnTo>
                  <a:lnTo>
                    <a:pt x="43" y="36"/>
                  </a:lnTo>
                  <a:lnTo>
                    <a:pt x="43" y="24"/>
                  </a:lnTo>
                  <a:lnTo>
                    <a:pt x="43" y="24"/>
                  </a:lnTo>
                  <a:lnTo>
                    <a:pt x="33" y="22"/>
                  </a:lnTo>
                  <a:lnTo>
                    <a:pt x="33" y="35"/>
                  </a:lnTo>
                  <a:lnTo>
                    <a:pt x="33" y="35"/>
                  </a:lnTo>
                  <a:lnTo>
                    <a:pt x="23" y="32"/>
                  </a:lnTo>
                  <a:lnTo>
                    <a:pt x="23" y="20"/>
                  </a:lnTo>
                  <a:lnTo>
                    <a:pt x="23" y="20"/>
                  </a:lnTo>
                  <a:lnTo>
                    <a:pt x="15" y="17"/>
                  </a:lnTo>
                  <a:lnTo>
                    <a:pt x="15" y="29"/>
                  </a:lnTo>
                  <a:lnTo>
                    <a:pt x="15" y="29"/>
                  </a:lnTo>
                  <a:lnTo>
                    <a:pt x="9" y="27"/>
                  </a:lnTo>
                  <a:lnTo>
                    <a:pt x="5" y="24"/>
                  </a:lnTo>
                  <a:lnTo>
                    <a:pt x="5" y="11"/>
                  </a:lnTo>
                  <a:lnTo>
                    <a:pt x="5" y="11"/>
                  </a:lnTo>
                  <a:lnTo>
                    <a:pt x="1" y="6"/>
                  </a:lnTo>
                  <a:lnTo>
                    <a:pt x="0" y="0"/>
                  </a:lnTo>
                  <a:lnTo>
                    <a:pt x="0" y="17"/>
                  </a:lnTo>
                  <a:lnTo>
                    <a:pt x="0" y="17"/>
                  </a:lnTo>
                  <a:lnTo>
                    <a:pt x="0" y="17"/>
                  </a:lnTo>
                  <a:lnTo>
                    <a:pt x="1" y="21"/>
                  </a:lnTo>
                  <a:lnTo>
                    <a:pt x="4" y="27"/>
                  </a:lnTo>
                  <a:lnTo>
                    <a:pt x="11" y="31"/>
                  </a:lnTo>
                  <a:lnTo>
                    <a:pt x="19" y="35"/>
                  </a:lnTo>
                  <a:lnTo>
                    <a:pt x="29" y="38"/>
                  </a:lnTo>
                  <a:lnTo>
                    <a:pt x="40" y="41"/>
                  </a:lnTo>
                  <a:lnTo>
                    <a:pt x="53" y="42"/>
                  </a:lnTo>
                  <a:lnTo>
                    <a:pt x="67" y="42"/>
                  </a:lnTo>
                  <a:lnTo>
                    <a:pt x="67" y="42"/>
                  </a:lnTo>
                  <a:lnTo>
                    <a:pt x="79" y="42"/>
                  </a:lnTo>
                  <a:lnTo>
                    <a:pt x="92" y="41"/>
                  </a:lnTo>
                  <a:lnTo>
                    <a:pt x="103" y="38"/>
                  </a:lnTo>
                  <a:lnTo>
                    <a:pt x="113" y="35"/>
                  </a:lnTo>
                  <a:lnTo>
                    <a:pt x="121" y="31"/>
                  </a:lnTo>
                  <a:lnTo>
                    <a:pt x="127" y="27"/>
                  </a:lnTo>
                  <a:lnTo>
                    <a:pt x="131" y="22"/>
                  </a:lnTo>
                  <a:lnTo>
                    <a:pt x="134" y="18"/>
                  </a:lnTo>
                  <a:lnTo>
                    <a:pt x="134" y="18"/>
                  </a:lnTo>
                  <a:lnTo>
                    <a:pt x="134" y="17"/>
                  </a:lnTo>
                  <a:lnTo>
                    <a:pt x="134" y="17"/>
                  </a:lnTo>
                  <a:lnTo>
                    <a:pt x="134" y="0"/>
                  </a:lnTo>
                  <a:lnTo>
                    <a:pt x="134" y="0"/>
                  </a:lnTo>
                  <a:lnTo>
                    <a:pt x="133" y="3"/>
                  </a:lnTo>
                  <a:lnTo>
                    <a:pt x="131" y="6"/>
                  </a:lnTo>
                  <a:lnTo>
                    <a:pt x="126" y="13"/>
                  </a:lnTo>
                  <a:lnTo>
                    <a:pt x="126" y="1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1" name="Freeform 77">
              <a:extLst>
                <a:ext uri="{FF2B5EF4-FFF2-40B4-BE49-F238E27FC236}">
                  <a16:creationId xmlns:a16="http://schemas.microsoft.com/office/drawing/2014/main" id="{82729E8F-FCD8-47DA-B79A-DF2F75EF2AB1}"/>
                </a:ext>
              </a:extLst>
            </p:cNvPr>
            <p:cNvSpPr>
              <a:spLocks/>
            </p:cNvSpPr>
            <p:nvPr/>
          </p:nvSpPr>
          <p:spPr bwMode="auto">
            <a:xfrm>
              <a:off x="5072063" y="3316288"/>
              <a:ext cx="1587" cy="4763"/>
            </a:xfrm>
            <a:custGeom>
              <a:avLst/>
              <a:gdLst/>
              <a:ahLst/>
              <a:cxnLst>
                <a:cxn ang="0">
                  <a:pos x="1" y="2"/>
                </a:cxn>
                <a:cxn ang="0">
                  <a:pos x="1" y="3"/>
                </a:cxn>
                <a:cxn ang="0">
                  <a:pos x="1" y="3"/>
                </a:cxn>
                <a:cxn ang="0">
                  <a:pos x="1" y="3"/>
                </a:cxn>
                <a:cxn ang="0">
                  <a:pos x="1" y="3"/>
                </a:cxn>
                <a:cxn ang="0">
                  <a:pos x="0" y="0"/>
                </a:cxn>
                <a:cxn ang="0">
                  <a:pos x="0" y="0"/>
                </a:cxn>
                <a:cxn ang="0">
                  <a:pos x="1" y="2"/>
                </a:cxn>
                <a:cxn ang="0">
                  <a:pos x="1" y="2"/>
                </a:cxn>
              </a:cxnLst>
              <a:rect l="0" t="0" r="r" b="b"/>
              <a:pathLst>
                <a:path w="1" h="3">
                  <a:moveTo>
                    <a:pt x="1" y="2"/>
                  </a:moveTo>
                  <a:lnTo>
                    <a:pt x="1" y="3"/>
                  </a:lnTo>
                  <a:lnTo>
                    <a:pt x="1" y="3"/>
                  </a:lnTo>
                  <a:lnTo>
                    <a:pt x="1" y="3"/>
                  </a:lnTo>
                  <a:lnTo>
                    <a:pt x="1" y="3"/>
                  </a:lnTo>
                  <a:lnTo>
                    <a:pt x="0" y="0"/>
                  </a:lnTo>
                  <a:lnTo>
                    <a:pt x="0" y="0"/>
                  </a:lnTo>
                  <a:lnTo>
                    <a:pt x="1" y="2"/>
                  </a:lnTo>
                  <a:lnTo>
                    <a:pt x="1"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2" name="Freeform 78">
              <a:extLst>
                <a:ext uri="{FF2B5EF4-FFF2-40B4-BE49-F238E27FC236}">
                  <a16:creationId xmlns:a16="http://schemas.microsoft.com/office/drawing/2014/main" id="{0FA6CB20-F6B6-4E7B-9E34-2E7B722668B5}"/>
                </a:ext>
              </a:extLst>
            </p:cNvPr>
            <p:cNvSpPr>
              <a:spLocks/>
            </p:cNvSpPr>
            <p:nvPr/>
          </p:nvSpPr>
          <p:spPr bwMode="auto">
            <a:xfrm>
              <a:off x="4860925" y="3316288"/>
              <a:ext cx="1587" cy="4763"/>
            </a:xfrm>
            <a:custGeom>
              <a:avLst/>
              <a:gdLst/>
              <a:ahLst/>
              <a:cxnLst>
                <a:cxn ang="0">
                  <a:pos x="0" y="0"/>
                </a:cxn>
                <a:cxn ang="0">
                  <a:pos x="0" y="0"/>
                </a:cxn>
                <a:cxn ang="0">
                  <a:pos x="0" y="3"/>
                </a:cxn>
                <a:cxn ang="0">
                  <a:pos x="0" y="3"/>
                </a:cxn>
                <a:cxn ang="0">
                  <a:pos x="0" y="3"/>
                </a:cxn>
                <a:cxn ang="0">
                  <a:pos x="0" y="2"/>
                </a:cxn>
                <a:cxn ang="0">
                  <a:pos x="0" y="2"/>
                </a:cxn>
                <a:cxn ang="0">
                  <a:pos x="0" y="0"/>
                </a:cxn>
                <a:cxn ang="0">
                  <a:pos x="0" y="0"/>
                </a:cxn>
              </a:cxnLst>
              <a:rect l="0" t="0" r="r" b="b"/>
              <a:pathLst>
                <a:path h="3">
                  <a:moveTo>
                    <a:pt x="0" y="0"/>
                  </a:moveTo>
                  <a:lnTo>
                    <a:pt x="0" y="0"/>
                  </a:lnTo>
                  <a:lnTo>
                    <a:pt x="0" y="3"/>
                  </a:lnTo>
                  <a:lnTo>
                    <a:pt x="0" y="3"/>
                  </a:lnTo>
                  <a:lnTo>
                    <a:pt x="0" y="3"/>
                  </a:lnTo>
                  <a:lnTo>
                    <a:pt x="0" y="2"/>
                  </a:lnTo>
                  <a:lnTo>
                    <a:pt x="0" y="2"/>
                  </a:lnTo>
                  <a:lnTo>
                    <a:pt x="0" y="0"/>
                  </a:lnTo>
                  <a:lnTo>
                    <a:pt x="0" y="0"/>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3" name="Freeform 79">
              <a:extLst>
                <a:ext uri="{FF2B5EF4-FFF2-40B4-BE49-F238E27FC236}">
                  <a16:creationId xmlns:a16="http://schemas.microsoft.com/office/drawing/2014/main" id="{73A9ECBB-F73E-4C20-A533-040BC5435D90}"/>
                </a:ext>
              </a:extLst>
            </p:cNvPr>
            <p:cNvSpPr>
              <a:spLocks/>
            </p:cNvSpPr>
            <p:nvPr/>
          </p:nvSpPr>
          <p:spPr bwMode="auto">
            <a:xfrm>
              <a:off x="4941888" y="3300413"/>
              <a:ext cx="19050" cy="14288"/>
            </a:xfrm>
            <a:custGeom>
              <a:avLst/>
              <a:gdLst/>
              <a:ahLst/>
              <a:cxnLst>
                <a:cxn ang="0">
                  <a:pos x="2" y="6"/>
                </a:cxn>
                <a:cxn ang="0">
                  <a:pos x="2" y="6"/>
                </a:cxn>
                <a:cxn ang="0">
                  <a:pos x="5" y="7"/>
                </a:cxn>
                <a:cxn ang="0">
                  <a:pos x="9" y="9"/>
                </a:cxn>
                <a:cxn ang="0">
                  <a:pos x="9" y="9"/>
                </a:cxn>
                <a:cxn ang="0">
                  <a:pos x="12" y="9"/>
                </a:cxn>
                <a:cxn ang="0">
                  <a:pos x="12" y="0"/>
                </a:cxn>
                <a:cxn ang="0">
                  <a:pos x="12" y="0"/>
                </a:cxn>
                <a:cxn ang="0">
                  <a:pos x="3" y="2"/>
                </a:cxn>
                <a:cxn ang="0">
                  <a:pos x="3" y="2"/>
                </a:cxn>
                <a:cxn ang="0">
                  <a:pos x="0" y="3"/>
                </a:cxn>
                <a:cxn ang="0">
                  <a:pos x="2" y="5"/>
                </a:cxn>
                <a:cxn ang="0">
                  <a:pos x="2" y="6"/>
                </a:cxn>
                <a:cxn ang="0">
                  <a:pos x="2" y="6"/>
                </a:cxn>
              </a:cxnLst>
              <a:rect l="0" t="0" r="r" b="b"/>
              <a:pathLst>
                <a:path w="12" h="9">
                  <a:moveTo>
                    <a:pt x="2" y="6"/>
                  </a:moveTo>
                  <a:lnTo>
                    <a:pt x="2" y="6"/>
                  </a:lnTo>
                  <a:lnTo>
                    <a:pt x="5" y="7"/>
                  </a:lnTo>
                  <a:lnTo>
                    <a:pt x="9" y="9"/>
                  </a:lnTo>
                  <a:lnTo>
                    <a:pt x="9" y="9"/>
                  </a:lnTo>
                  <a:lnTo>
                    <a:pt x="12" y="9"/>
                  </a:lnTo>
                  <a:lnTo>
                    <a:pt x="12" y="0"/>
                  </a:lnTo>
                  <a:lnTo>
                    <a:pt x="12" y="0"/>
                  </a:lnTo>
                  <a:lnTo>
                    <a:pt x="3" y="2"/>
                  </a:lnTo>
                  <a:lnTo>
                    <a:pt x="3" y="2"/>
                  </a:lnTo>
                  <a:lnTo>
                    <a:pt x="0" y="3"/>
                  </a:lnTo>
                  <a:lnTo>
                    <a:pt x="2" y="5"/>
                  </a:lnTo>
                  <a:lnTo>
                    <a:pt x="2" y="6"/>
                  </a:lnTo>
                  <a:lnTo>
                    <a:pt x="2" y="6"/>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4" name="Freeform 80">
              <a:extLst>
                <a:ext uri="{FF2B5EF4-FFF2-40B4-BE49-F238E27FC236}">
                  <a16:creationId xmlns:a16="http://schemas.microsoft.com/office/drawing/2014/main" id="{7936326A-CEB3-4E12-8FF1-3710FD1D2FFA}"/>
                </a:ext>
              </a:extLst>
            </p:cNvPr>
            <p:cNvSpPr>
              <a:spLocks/>
            </p:cNvSpPr>
            <p:nvPr/>
          </p:nvSpPr>
          <p:spPr bwMode="auto">
            <a:xfrm>
              <a:off x="4973638" y="3322638"/>
              <a:ext cx="15875" cy="15875"/>
            </a:xfrm>
            <a:custGeom>
              <a:avLst/>
              <a:gdLst/>
              <a:ahLst/>
              <a:cxnLst>
                <a:cxn ang="0">
                  <a:pos x="10" y="3"/>
                </a:cxn>
                <a:cxn ang="0">
                  <a:pos x="10" y="3"/>
                </a:cxn>
                <a:cxn ang="0">
                  <a:pos x="4" y="2"/>
                </a:cxn>
                <a:cxn ang="0">
                  <a:pos x="4" y="2"/>
                </a:cxn>
                <a:cxn ang="0">
                  <a:pos x="0" y="0"/>
                </a:cxn>
                <a:cxn ang="0">
                  <a:pos x="0" y="10"/>
                </a:cxn>
                <a:cxn ang="0">
                  <a:pos x="0" y="10"/>
                </a:cxn>
                <a:cxn ang="0">
                  <a:pos x="7" y="9"/>
                </a:cxn>
                <a:cxn ang="0">
                  <a:pos x="7" y="9"/>
                </a:cxn>
                <a:cxn ang="0">
                  <a:pos x="10" y="6"/>
                </a:cxn>
                <a:cxn ang="0">
                  <a:pos x="10" y="5"/>
                </a:cxn>
                <a:cxn ang="0">
                  <a:pos x="10" y="3"/>
                </a:cxn>
                <a:cxn ang="0">
                  <a:pos x="10" y="3"/>
                </a:cxn>
              </a:cxnLst>
              <a:rect l="0" t="0" r="r" b="b"/>
              <a:pathLst>
                <a:path w="10" h="10">
                  <a:moveTo>
                    <a:pt x="10" y="3"/>
                  </a:moveTo>
                  <a:lnTo>
                    <a:pt x="10" y="3"/>
                  </a:lnTo>
                  <a:lnTo>
                    <a:pt x="4" y="2"/>
                  </a:lnTo>
                  <a:lnTo>
                    <a:pt x="4" y="2"/>
                  </a:lnTo>
                  <a:lnTo>
                    <a:pt x="0" y="0"/>
                  </a:lnTo>
                  <a:lnTo>
                    <a:pt x="0" y="10"/>
                  </a:lnTo>
                  <a:lnTo>
                    <a:pt x="0" y="10"/>
                  </a:lnTo>
                  <a:lnTo>
                    <a:pt x="7" y="9"/>
                  </a:lnTo>
                  <a:lnTo>
                    <a:pt x="7" y="9"/>
                  </a:lnTo>
                  <a:lnTo>
                    <a:pt x="10" y="6"/>
                  </a:lnTo>
                  <a:lnTo>
                    <a:pt x="10" y="5"/>
                  </a:lnTo>
                  <a:lnTo>
                    <a:pt x="10" y="3"/>
                  </a:lnTo>
                  <a:lnTo>
                    <a:pt x="10" y="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5" name="Freeform 81">
              <a:extLst>
                <a:ext uri="{FF2B5EF4-FFF2-40B4-BE49-F238E27FC236}">
                  <a16:creationId xmlns:a16="http://schemas.microsoft.com/office/drawing/2014/main" id="{945D2B4D-48B5-49B0-8D26-BDEE9ACA3CA9}"/>
                </a:ext>
              </a:extLst>
            </p:cNvPr>
            <p:cNvSpPr>
              <a:spLocks noEditPoints="1"/>
            </p:cNvSpPr>
            <p:nvPr/>
          </p:nvSpPr>
          <p:spPr bwMode="auto">
            <a:xfrm>
              <a:off x="4873625" y="3286125"/>
              <a:ext cx="184150" cy="66675"/>
            </a:xfrm>
            <a:custGeom>
              <a:avLst/>
              <a:gdLst/>
              <a:ahLst/>
              <a:cxnLst>
                <a:cxn ang="0">
                  <a:pos x="0" y="21"/>
                </a:cxn>
                <a:cxn ang="0">
                  <a:pos x="4" y="29"/>
                </a:cxn>
                <a:cxn ang="0">
                  <a:pos x="17" y="36"/>
                </a:cxn>
                <a:cxn ang="0">
                  <a:pos x="35" y="40"/>
                </a:cxn>
                <a:cxn ang="0">
                  <a:pos x="59" y="42"/>
                </a:cxn>
                <a:cxn ang="0">
                  <a:pos x="70" y="42"/>
                </a:cxn>
                <a:cxn ang="0">
                  <a:pos x="91" y="37"/>
                </a:cxn>
                <a:cxn ang="0">
                  <a:pos x="106" y="32"/>
                </a:cxn>
                <a:cxn ang="0">
                  <a:pos x="115" y="25"/>
                </a:cxn>
                <a:cxn ang="0">
                  <a:pos x="116" y="21"/>
                </a:cxn>
                <a:cxn ang="0">
                  <a:pos x="112" y="12"/>
                </a:cxn>
                <a:cxn ang="0">
                  <a:pos x="99" y="7"/>
                </a:cxn>
                <a:cxn ang="0">
                  <a:pos x="81" y="1"/>
                </a:cxn>
                <a:cxn ang="0">
                  <a:pos x="59" y="0"/>
                </a:cxn>
                <a:cxn ang="0">
                  <a:pos x="46" y="1"/>
                </a:cxn>
                <a:cxn ang="0">
                  <a:pos x="25" y="4"/>
                </a:cxn>
                <a:cxn ang="0">
                  <a:pos x="10" y="9"/>
                </a:cxn>
                <a:cxn ang="0">
                  <a:pos x="1" y="16"/>
                </a:cxn>
                <a:cxn ang="0">
                  <a:pos x="0" y="21"/>
                </a:cxn>
                <a:cxn ang="0">
                  <a:pos x="63" y="5"/>
                </a:cxn>
                <a:cxn ang="0">
                  <a:pos x="69" y="5"/>
                </a:cxn>
                <a:cxn ang="0">
                  <a:pos x="76" y="7"/>
                </a:cxn>
                <a:cxn ang="0">
                  <a:pos x="81" y="9"/>
                </a:cxn>
                <a:cxn ang="0">
                  <a:pos x="80" y="12"/>
                </a:cxn>
                <a:cxn ang="0">
                  <a:pos x="74" y="12"/>
                </a:cxn>
                <a:cxn ang="0">
                  <a:pos x="74" y="12"/>
                </a:cxn>
                <a:cxn ang="0">
                  <a:pos x="74" y="12"/>
                </a:cxn>
                <a:cxn ang="0">
                  <a:pos x="74" y="12"/>
                </a:cxn>
                <a:cxn ang="0">
                  <a:pos x="73" y="11"/>
                </a:cxn>
                <a:cxn ang="0">
                  <a:pos x="66" y="9"/>
                </a:cxn>
                <a:cxn ang="0">
                  <a:pos x="63" y="9"/>
                </a:cxn>
                <a:cxn ang="0">
                  <a:pos x="63" y="19"/>
                </a:cxn>
                <a:cxn ang="0">
                  <a:pos x="78" y="23"/>
                </a:cxn>
                <a:cxn ang="0">
                  <a:pos x="81" y="25"/>
                </a:cxn>
                <a:cxn ang="0">
                  <a:pos x="81" y="30"/>
                </a:cxn>
                <a:cxn ang="0">
                  <a:pos x="76" y="33"/>
                </a:cxn>
                <a:cxn ang="0">
                  <a:pos x="70" y="35"/>
                </a:cxn>
                <a:cxn ang="0">
                  <a:pos x="63" y="39"/>
                </a:cxn>
                <a:cxn ang="0">
                  <a:pos x="62" y="39"/>
                </a:cxn>
                <a:cxn ang="0">
                  <a:pos x="56" y="39"/>
                </a:cxn>
                <a:cxn ang="0">
                  <a:pos x="55" y="36"/>
                </a:cxn>
                <a:cxn ang="0">
                  <a:pos x="42" y="35"/>
                </a:cxn>
                <a:cxn ang="0">
                  <a:pos x="35" y="32"/>
                </a:cxn>
                <a:cxn ang="0">
                  <a:pos x="36" y="29"/>
                </a:cxn>
                <a:cxn ang="0">
                  <a:pos x="42" y="29"/>
                </a:cxn>
                <a:cxn ang="0">
                  <a:pos x="42" y="29"/>
                </a:cxn>
                <a:cxn ang="0">
                  <a:pos x="43" y="30"/>
                </a:cxn>
                <a:cxn ang="0">
                  <a:pos x="43" y="30"/>
                </a:cxn>
                <a:cxn ang="0">
                  <a:pos x="50" y="32"/>
                </a:cxn>
                <a:cxn ang="0">
                  <a:pos x="55" y="32"/>
                </a:cxn>
                <a:cxn ang="0">
                  <a:pos x="55" y="22"/>
                </a:cxn>
                <a:cxn ang="0">
                  <a:pos x="43" y="19"/>
                </a:cxn>
                <a:cxn ang="0">
                  <a:pos x="36" y="16"/>
                </a:cxn>
                <a:cxn ang="0">
                  <a:pos x="35" y="15"/>
                </a:cxn>
                <a:cxn ang="0">
                  <a:pos x="38" y="9"/>
                </a:cxn>
                <a:cxn ang="0">
                  <a:pos x="41" y="8"/>
                </a:cxn>
                <a:cxn ang="0">
                  <a:pos x="55" y="5"/>
                </a:cxn>
                <a:cxn ang="0">
                  <a:pos x="55" y="2"/>
                </a:cxn>
                <a:cxn ang="0">
                  <a:pos x="62" y="2"/>
                </a:cxn>
                <a:cxn ang="0">
                  <a:pos x="63" y="2"/>
                </a:cxn>
              </a:cxnLst>
              <a:rect l="0" t="0" r="r" b="b"/>
              <a:pathLst>
                <a:path w="116" h="42">
                  <a:moveTo>
                    <a:pt x="0" y="21"/>
                  </a:moveTo>
                  <a:lnTo>
                    <a:pt x="0" y="21"/>
                  </a:lnTo>
                  <a:lnTo>
                    <a:pt x="1" y="25"/>
                  </a:lnTo>
                  <a:lnTo>
                    <a:pt x="4" y="29"/>
                  </a:lnTo>
                  <a:lnTo>
                    <a:pt x="10" y="32"/>
                  </a:lnTo>
                  <a:lnTo>
                    <a:pt x="17" y="36"/>
                  </a:lnTo>
                  <a:lnTo>
                    <a:pt x="25" y="37"/>
                  </a:lnTo>
                  <a:lnTo>
                    <a:pt x="35" y="40"/>
                  </a:lnTo>
                  <a:lnTo>
                    <a:pt x="46" y="42"/>
                  </a:lnTo>
                  <a:lnTo>
                    <a:pt x="59" y="42"/>
                  </a:lnTo>
                  <a:lnTo>
                    <a:pt x="59" y="42"/>
                  </a:lnTo>
                  <a:lnTo>
                    <a:pt x="70" y="42"/>
                  </a:lnTo>
                  <a:lnTo>
                    <a:pt x="81" y="40"/>
                  </a:lnTo>
                  <a:lnTo>
                    <a:pt x="91" y="37"/>
                  </a:lnTo>
                  <a:lnTo>
                    <a:pt x="99" y="36"/>
                  </a:lnTo>
                  <a:lnTo>
                    <a:pt x="106" y="32"/>
                  </a:lnTo>
                  <a:lnTo>
                    <a:pt x="112" y="29"/>
                  </a:lnTo>
                  <a:lnTo>
                    <a:pt x="115" y="25"/>
                  </a:lnTo>
                  <a:lnTo>
                    <a:pt x="116" y="21"/>
                  </a:lnTo>
                  <a:lnTo>
                    <a:pt x="116" y="21"/>
                  </a:lnTo>
                  <a:lnTo>
                    <a:pt x="115" y="16"/>
                  </a:lnTo>
                  <a:lnTo>
                    <a:pt x="112" y="12"/>
                  </a:lnTo>
                  <a:lnTo>
                    <a:pt x="106" y="9"/>
                  </a:lnTo>
                  <a:lnTo>
                    <a:pt x="99" y="7"/>
                  </a:lnTo>
                  <a:lnTo>
                    <a:pt x="91" y="4"/>
                  </a:lnTo>
                  <a:lnTo>
                    <a:pt x="81" y="1"/>
                  </a:lnTo>
                  <a:lnTo>
                    <a:pt x="70" y="1"/>
                  </a:lnTo>
                  <a:lnTo>
                    <a:pt x="59" y="0"/>
                  </a:lnTo>
                  <a:lnTo>
                    <a:pt x="59" y="0"/>
                  </a:lnTo>
                  <a:lnTo>
                    <a:pt x="46" y="1"/>
                  </a:lnTo>
                  <a:lnTo>
                    <a:pt x="35" y="1"/>
                  </a:lnTo>
                  <a:lnTo>
                    <a:pt x="25" y="4"/>
                  </a:lnTo>
                  <a:lnTo>
                    <a:pt x="17" y="7"/>
                  </a:lnTo>
                  <a:lnTo>
                    <a:pt x="10" y="9"/>
                  </a:lnTo>
                  <a:lnTo>
                    <a:pt x="4" y="12"/>
                  </a:lnTo>
                  <a:lnTo>
                    <a:pt x="1" y="16"/>
                  </a:lnTo>
                  <a:lnTo>
                    <a:pt x="0" y="21"/>
                  </a:lnTo>
                  <a:lnTo>
                    <a:pt x="0" y="21"/>
                  </a:lnTo>
                  <a:close/>
                  <a:moveTo>
                    <a:pt x="63" y="2"/>
                  </a:moveTo>
                  <a:lnTo>
                    <a:pt x="63" y="5"/>
                  </a:lnTo>
                  <a:lnTo>
                    <a:pt x="63" y="5"/>
                  </a:lnTo>
                  <a:lnTo>
                    <a:pt x="69" y="5"/>
                  </a:lnTo>
                  <a:lnTo>
                    <a:pt x="69" y="5"/>
                  </a:lnTo>
                  <a:lnTo>
                    <a:pt x="76" y="7"/>
                  </a:lnTo>
                  <a:lnTo>
                    <a:pt x="81" y="9"/>
                  </a:lnTo>
                  <a:lnTo>
                    <a:pt x="81" y="9"/>
                  </a:lnTo>
                  <a:lnTo>
                    <a:pt x="83" y="11"/>
                  </a:lnTo>
                  <a:lnTo>
                    <a:pt x="80" y="12"/>
                  </a:lnTo>
                  <a:lnTo>
                    <a:pt x="77" y="12"/>
                  </a:lnTo>
                  <a:lnTo>
                    <a:pt x="74" y="12"/>
                  </a:lnTo>
                  <a:lnTo>
                    <a:pt x="74" y="12"/>
                  </a:lnTo>
                  <a:lnTo>
                    <a:pt x="74" y="12"/>
                  </a:lnTo>
                  <a:lnTo>
                    <a:pt x="74" y="12"/>
                  </a:lnTo>
                  <a:lnTo>
                    <a:pt x="74" y="12"/>
                  </a:lnTo>
                  <a:lnTo>
                    <a:pt x="74" y="12"/>
                  </a:lnTo>
                  <a:lnTo>
                    <a:pt x="74" y="12"/>
                  </a:lnTo>
                  <a:lnTo>
                    <a:pt x="74" y="12"/>
                  </a:lnTo>
                  <a:lnTo>
                    <a:pt x="73" y="11"/>
                  </a:lnTo>
                  <a:lnTo>
                    <a:pt x="73" y="11"/>
                  </a:lnTo>
                  <a:lnTo>
                    <a:pt x="66" y="9"/>
                  </a:lnTo>
                  <a:lnTo>
                    <a:pt x="66" y="9"/>
                  </a:lnTo>
                  <a:lnTo>
                    <a:pt x="63" y="9"/>
                  </a:lnTo>
                  <a:lnTo>
                    <a:pt x="63" y="19"/>
                  </a:lnTo>
                  <a:lnTo>
                    <a:pt x="63" y="19"/>
                  </a:lnTo>
                  <a:lnTo>
                    <a:pt x="74" y="22"/>
                  </a:lnTo>
                  <a:lnTo>
                    <a:pt x="78" y="23"/>
                  </a:lnTo>
                  <a:lnTo>
                    <a:pt x="81" y="25"/>
                  </a:lnTo>
                  <a:lnTo>
                    <a:pt x="81" y="25"/>
                  </a:lnTo>
                  <a:lnTo>
                    <a:pt x="83" y="28"/>
                  </a:lnTo>
                  <a:lnTo>
                    <a:pt x="81" y="30"/>
                  </a:lnTo>
                  <a:lnTo>
                    <a:pt x="80" y="32"/>
                  </a:lnTo>
                  <a:lnTo>
                    <a:pt x="76" y="33"/>
                  </a:lnTo>
                  <a:lnTo>
                    <a:pt x="76" y="33"/>
                  </a:lnTo>
                  <a:lnTo>
                    <a:pt x="70" y="35"/>
                  </a:lnTo>
                  <a:lnTo>
                    <a:pt x="63" y="36"/>
                  </a:lnTo>
                  <a:lnTo>
                    <a:pt x="63" y="39"/>
                  </a:lnTo>
                  <a:lnTo>
                    <a:pt x="63" y="39"/>
                  </a:lnTo>
                  <a:lnTo>
                    <a:pt x="62" y="39"/>
                  </a:lnTo>
                  <a:lnTo>
                    <a:pt x="56" y="39"/>
                  </a:lnTo>
                  <a:lnTo>
                    <a:pt x="56" y="39"/>
                  </a:lnTo>
                  <a:lnTo>
                    <a:pt x="55" y="39"/>
                  </a:lnTo>
                  <a:lnTo>
                    <a:pt x="55" y="36"/>
                  </a:lnTo>
                  <a:lnTo>
                    <a:pt x="55" y="36"/>
                  </a:lnTo>
                  <a:lnTo>
                    <a:pt x="42" y="35"/>
                  </a:lnTo>
                  <a:lnTo>
                    <a:pt x="35" y="32"/>
                  </a:lnTo>
                  <a:lnTo>
                    <a:pt x="35" y="32"/>
                  </a:lnTo>
                  <a:lnTo>
                    <a:pt x="35" y="30"/>
                  </a:lnTo>
                  <a:lnTo>
                    <a:pt x="36" y="29"/>
                  </a:lnTo>
                  <a:lnTo>
                    <a:pt x="39" y="29"/>
                  </a:lnTo>
                  <a:lnTo>
                    <a:pt x="42" y="29"/>
                  </a:lnTo>
                  <a:lnTo>
                    <a:pt x="42" y="29"/>
                  </a:lnTo>
                  <a:lnTo>
                    <a:pt x="42" y="29"/>
                  </a:lnTo>
                  <a:lnTo>
                    <a:pt x="42" y="29"/>
                  </a:lnTo>
                  <a:lnTo>
                    <a:pt x="43" y="30"/>
                  </a:lnTo>
                  <a:lnTo>
                    <a:pt x="43" y="30"/>
                  </a:lnTo>
                  <a:lnTo>
                    <a:pt x="43" y="30"/>
                  </a:lnTo>
                  <a:lnTo>
                    <a:pt x="43" y="30"/>
                  </a:lnTo>
                  <a:lnTo>
                    <a:pt x="50" y="32"/>
                  </a:lnTo>
                  <a:lnTo>
                    <a:pt x="50" y="32"/>
                  </a:lnTo>
                  <a:lnTo>
                    <a:pt x="55" y="32"/>
                  </a:lnTo>
                  <a:lnTo>
                    <a:pt x="55" y="22"/>
                  </a:lnTo>
                  <a:lnTo>
                    <a:pt x="55" y="22"/>
                  </a:lnTo>
                  <a:lnTo>
                    <a:pt x="43" y="19"/>
                  </a:lnTo>
                  <a:lnTo>
                    <a:pt x="43" y="19"/>
                  </a:lnTo>
                  <a:lnTo>
                    <a:pt x="39" y="18"/>
                  </a:lnTo>
                  <a:lnTo>
                    <a:pt x="36" y="16"/>
                  </a:lnTo>
                  <a:lnTo>
                    <a:pt x="36" y="16"/>
                  </a:lnTo>
                  <a:lnTo>
                    <a:pt x="35" y="15"/>
                  </a:lnTo>
                  <a:lnTo>
                    <a:pt x="35" y="12"/>
                  </a:lnTo>
                  <a:lnTo>
                    <a:pt x="38" y="9"/>
                  </a:lnTo>
                  <a:lnTo>
                    <a:pt x="41" y="8"/>
                  </a:lnTo>
                  <a:lnTo>
                    <a:pt x="41" y="8"/>
                  </a:lnTo>
                  <a:lnTo>
                    <a:pt x="46" y="7"/>
                  </a:lnTo>
                  <a:lnTo>
                    <a:pt x="55" y="5"/>
                  </a:lnTo>
                  <a:lnTo>
                    <a:pt x="55" y="2"/>
                  </a:lnTo>
                  <a:lnTo>
                    <a:pt x="55" y="2"/>
                  </a:lnTo>
                  <a:lnTo>
                    <a:pt x="56" y="2"/>
                  </a:lnTo>
                  <a:lnTo>
                    <a:pt x="62" y="2"/>
                  </a:lnTo>
                  <a:lnTo>
                    <a:pt x="62" y="2"/>
                  </a:lnTo>
                  <a:lnTo>
                    <a:pt x="63" y="2"/>
                  </a:lnTo>
                  <a:lnTo>
                    <a:pt x="63" y="2"/>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16" name="Freeform 82">
              <a:extLst>
                <a:ext uri="{FF2B5EF4-FFF2-40B4-BE49-F238E27FC236}">
                  <a16:creationId xmlns:a16="http://schemas.microsoft.com/office/drawing/2014/main" id="{BE4F4892-74F0-42B5-8E90-155F6436F2AF}"/>
                </a:ext>
              </a:extLst>
            </p:cNvPr>
            <p:cNvSpPr>
              <a:spLocks/>
            </p:cNvSpPr>
            <p:nvPr/>
          </p:nvSpPr>
          <p:spPr bwMode="auto">
            <a:xfrm flipV="1">
              <a:off x="4819650" y="2487053"/>
              <a:ext cx="762000" cy="453134"/>
            </a:xfrm>
            <a:custGeom>
              <a:avLst/>
              <a:gdLst/>
              <a:ahLst/>
              <a:cxnLst>
                <a:cxn ang="0">
                  <a:pos x="156" y="218"/>
                </a:cxn>
                <a:cxn ang="0">
                  <a:pos x="234" y="277"/>
                </a:cxn>
                <a:cxn ang="0">
                  <a:pos x="234" y="277"/>
                </a:cxn>
                <a:cxn ang="0">
                  <a:pos x="240" y="280"/>
                </a:cxn>
                <a:cxn ang="0">
                  <a:pos x="248" y="280"/>
                </a:cxn>
                <a:cxn ang="0">
                  <a:pos x="254" y="279"/>
                </a:cxn>
                <a:cxn ang="0">
                  <a:pos x="261" y="273"/>
                </a:cxn>
                <a:cxn ang="0">
                  <a:pos x="418" y="71"/>
                </a:cxn>
                <a:cxn ang="0">
                  <a:pos x="418" y="73"/>
                </a:cxn>
                <a:cxn ang="0">
                  <a:pos x="415" y="126"/>
                </a:cxn>
                <a:cxn ang="0">
                  <a:pos x="415" y="126"/>
                </a:cxn>
                <a:cxn ang="0">
                  <a:pos x="417" y="132"/>
                </a:cxn>
                <a:cxn ang="0">
                  <a:pos x="419" y="137"/>
                </a:cxn>
                <a:cxn ang="0">
                  <a:pos x="424" y="141"/>
                </a:cxn>
                <a:cxn ang="0">
                  <a:pos x="431" y="143"/>
                </a:cxn>
                <a:cxn ang="0">
                  <a:pos x="431" y="143"/>
                </a:cxn>
                <a:cxn ang="0">
                  <a:pos x="436" y="143"/>
                </a:cxn>
                <a:cxn ang="0">
                  <a:pos x="442" y="139"/>
                </a:cxn>
                <a:cxn ang="0">
                  <a:pos x="446" y="134"/>
                </a:cxn>
                <a:cxn ang="0">
                  <a:pos x="447" y="127"/>
                </a:cxn>
                <a:cxn ang="0">
                  <a:pos x="453" y="17"/>
                </a:cxn>
                <a:cxn ang="0">
                  <a:pos x="453" y="17"/>
                </a:cxn>
                <a:cxn ang="0">
                  <a:pos x="453" y="13"/>
                </a:cxn>
                <a:cxn ang="0">
                  <a:pos x="452" y="10"/>
                </a:cxn>
                <a:cxn ang="0">
                  <a:pos x="450" y="6"/>
                </a:cxn>
                <a:cxn ang="0">
                  <a:pos x="447" y="3"/>
                </a:cxn>
                <a:cxn ang="0">
                  <a:pos x="447" y="3"/>
                </a:cxn>
                <a:cxn ang="0">
                  <a:pos x="445" y="1"/>
                </a:cxn>
                <a:cxn ang="0">
                  <a:pos x="440" y="0"/>
                </a:cxn>
                <a:cxn ang="0">
                  <a:pos x="438" y="0"/>
                </a:cxn>
                <a:cxn ang="0">
                  <a:pos x="433" y="0"/>
                </a:cxn>
                <a:cxn ang="0">
                  <a:pos x="328" y="28"/>
                </a:cxn>
                <a:cxn ang="0">
                  <a:pos x="328" y="28"/>
                </a:cxn>
                <a:cxn ang="0">
                  <a:pos x="323" y="31"/>
                </a:cxn>
                <a:cxn ang="0">
                  <a:pos x="318" y="35"/>
                </a:cxn>
                <a:cxn ang="0">
                  <a:pos x="317" y="41"/>
                </a:cxn>
                <a:cxn ang="0">
                  <a:pos x="317" y="48"/>
                </a:cxn>
                <a:cxn ang="0">
                  <a:pos x="317" y="48"/>
                </a:cxn>
                <a:cxn ang="0">
                  <a:pos x="320" y="53"/>
                </a:cxn>
                <a:cxn ang="0">
                  <a:pos x="325" y="57"/>
                </a:cxn>
                <a:cxn ang="0">
                  <a:pos x="331" y="59"/>
                </a:cxn>
                <a:cxn ang="0">
                  <a:pos x="337" y="59"/>
                </a:cxn>
                <a:cxn ang="0">
                  <a:pos x="383" y="48"/>
                </a:cxn>
                <a:cxn ang="0">
                  <a:pos x="386" y="49"/>
                </a:cxn>
                <a:cxn ang="0">
                  <a:pos x="241" y="234"/>
                </a:cxn>
                <a:cxn ang="0">
                  <a:pos x="163" y="175"/>
                </a:cxn>
                <a:cxn ang="0">
                  <a:pos x="163" y="175"/>
                </a:cxn>
                <a:cxn ang="0">
                  <a:pos x="157" y="172"/>
                </a:cxn>
                <a:cxn ang="0">
                  <a:pos x="150" y="172"/>
                </a:cxn>
                <a:cxn ang="0">
                  <a:pos x="143" y="174"/>
                </a:cxn>
                <a:cxn ang="0">
                  <a:pos x="138" y="179"/>
                </a:cxn>
                <a:cxn ang="0">
                  <a:pos x="5" y="325"/>
                </a:cxn>
                <a:cxn ang="0">
                  <a:pos x="5" y="325"/>
                </a:cxn>
                <a:cxn ang="0">
                  <a:pos x="0" y="331"/>
                </a:cxn>
                <a:cxn ang="0">
                  <a:pos x="0" y="339"/>
                </a:cxn>
                <a:cxn ang="0">
                  <a:pos x="2" y="346"/>
                </a:cxn>
                <a:cxn ang="0">
                  <a:pos x="6" y="353"/>
                </a:cxn>
                <a:cxn ang="0">
                  <a:pos x="6" y="353"/>
                </a:cxn>
                <a:cxn ang="0">
                  <a:pos x="13" y="356"/>
                </a:cxn>
                <a:cxn ang="0">
                  <a:pos x="21" y="357"/>
                </a:cxn>
                <a:cxn ang="0">
                  <a:pos x="28" y="356"/>
                </a:cxn>
                <a:cxn ang="0">
                  <a:pos x="34" y="350"/>
                </a:cxn>
                <a:cxn ang="0">
                  <a:pos x="156" y="218"/>
                </a:cxn>
              </a:cxnLst>
              <a:rect l="0" t="0" r="r" b="b"/>
              <a:pathLst>
                <a:path w="453" h="357">
                  <a:moveTo>
                    <a:pt x="156" y="218"/>
                  </a:moveTo>
                  <a:lnTo>
                    <a:pt x="234" y="277"/>
                  </a:lnTo>
                  <a:lnTo>
                    <a:pt x="234" y="277"/>
                  </a:lnTo>
                  <a:lnTo>
                    <a:pt x="240" y="280"/>
                  </a:lnTo>
                  <a:lnTo>
                    <a:pt x="248" y="280"/>
                  </a:lnTo>
                  <a:lnTo>
                    <a:pt x="254" y="279"/>
                  </a:lnTo>
                  <a:lnTo>
                    <a:pt x="261" y="273"/>
                  </a:lnTo>
                  <a:lnTo>
                    <a:pt x="418" y="71"/>
                  </a:lnTo>
                  <a:lnTo>
                    <a:pt x="418" y="73"/>
                  </a:lnTo>
                  <a:lnTo>
                    <a:pt x="415" y="126"/>
                  </a:lnTo>
                  <a:lnTo>
                    <a:pt x="415" y="126"/>
                  </a:lnTo>
                  <a:lnTo>
                    <a:pt x="417" y="132"/>
                  </a:lnTo>
                  <a:lnTo>
                    <a:pt x="419" y="137"/>
                  </a:lnTo>
                  <a:lnTo>
                    <a:pt x="424" y="141"/>
                  </a:lnTo>
                  <a:lnTo>
                    <a:pt x="431" y="143"/>
                  </a:lnTo>
                  <a:lnTo>
                    <a:pt x="431" y="143"/>
                  </a:lnTo>
                  <a:lnTo>
                    <a:pt x="436" y="143"/>
                  </a:lnTo>
                  <a:lnTo>
                    <a:pt x="442" y="139"/>
                  </a:lnTo>
                  <a:lnTo>
                    <a:pt x="446" y="134"/>
                  </a:lnTo>
                  <a:lnTo>
                    <a:pt x="447" y="127"/>
                  </a:lnTo>
                  <a:lnTo>
                    <a:pt x="453" y="17"/>
                  </a:lnTo>
                  <a:lnTo>
                    <a:pt x="453" y="17"/>
                  </a:lnTo>
                  <a:lnTo>
                    <a:pt x="453" y="13"/>
                  </a:lnTo>
                  <a:lnTo>
                    <a:pt x="452" y="10"/>
                  </a:lnTo>
                  <a:lnTo>
                    <a:pt x="450" y="6"/>
                  </a:lnTo>
                  <a:lnTo>
                    <a:pt x="447" y="3"/>
                  </a:lnTo>
                  <a:lnTo>
                    <a:pt x="447" y="3"/>
                  </a:lnTo>
                  <a:lnTo>
                    <a:pt x="445" y="1"/>
                  </a:lnTo>
                  <a:lnTo>
                    <a:pt x="440" y="0"/>
                  </a:lnTo>
                  <a:lnTo>
                    <a:pt x="438" y="0"/>
                  </a:lnTo>
                  <a:lnTo>
                    <a:pt x="433" y="0"/>
                  </a:lnTo>
                  <a:lnTo>
                    <a:pt x="328" y="28"/>
                  </a:lnTo>
                  <a:lnTo>
                    <a:pt x="328" y="28"/>
                  </a:lnTo>
                  <a:lnTo>
                    <a:pt x="323" y="31"/>
                  </a:lnTo>
                  <a:lnTo>
                    <a:pt x="318" y="35"/>
                  </a:lnTo>
                  <a:lnTo>
                    <a:pt x="317" y="41"/>
                  </a:lnTo>
                  <a:lnTo>
                    <a:pt x="317" y="48"/>
                  </a:lnTo>
                  <a:lnTo>
                    <a:pt x="317" y="48"/>
                  </a:lnTo>
                  <a:lnTo>
                    <a:pt x="320" y="53"/>
                  </a:lnTo>
                  <a:lnTo>
                    <a:pt x="325" y="57"/>
                  </a:lnTo>
                  <a:lnTo>
                    <a:pt x="331" y="59"/>
                  </a:lnTo>
                  <a:lnTo>
                    <a:pt x="337" y="59"/>
                  </a:lnTo>
                  <a:lnTo>
                    <a:pt x="383" y="48"/>
                  </a:lnTo>
                  <a:lnTo>
                    <a:pt x="386" y="49"/>
                  </a:lnTo>
                  <a:lnTo>
                    <a:pt x="241" y="234"/>
                  </a:lnTo>
                  <a:lnTo>
                    <a:pt x="163" y="175"/>
                  </a:lnTo>
                  <a:lnTo>
                    <a:pt x="163" y="175"/>
                  </a:lnTo>
                  <a:lnTo>
                    <a:pt x="157" y="172"/>
                  </a:lnTo>
                  <a:lnTo>
                    <a:pt x="150" y="172"/>
                  </a:lnTo>
                  <a:lnTo>
                    <a:pt x="143" y="174"/>
                  </a:lnTo>
                  <a:lnTo>
                    <a:pt x="138" y="179"/>
                  </a:lnTo>
                  <a:lnTo>
                    <a:pt x="5" y="325"/>
                  </a:lnTo>
                  <a:lnTo>
                    <a:pt x="5" y="325"/>
                  </a:lnTo>
                  <a:lnTo>
                    <a:pt x="0" y="331"/>
                  </a:lnTo>
                  <a:lnTo>
                    <a:pt x="0" y="339"/>
                  </a:lnTo>
                  <a:lnTo>
                    <a:pt x="2" y="346"/>
                  </a:lnTo>
                  <a:lnTo>
                    <a:pt x="6" y="353"/>
                  </a:lnTo>
                  <a:lnTo>
                    <a:pt x="6" y="353"/>
                  </a:lnTo>
                  <a:lnTo>
                    <a:pt x="13" y="356"/>
                  </a:lnTo>
                  <a:lnTo>
                    <a:pt x="21" y="357"/>
                  </a:lnTo>
                  <a:lnTo>
                    <a:pt x="28" y="356"/>
                  </a:lnTo>
                  <a:lnTo>
                    <a:pt x="34" y="350"/>
                  </a:lnTo>
                  <a:lnTo>
                    <a:pt x="156" y="218"/>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grpSp>
      <p:sp>
        <p:nvSpPr>
          <p:cNvPr id="217" name="TextBox 216">
            <a:extLst>
              <a:ext uri="{FF2B5EF4-FFF2-40B4-BE49-F238E27FC236}">
                <a16:creationId xmlns:a16="http://schemas.microsoft.com/office/drawing/2014/main" id="{0FD2FD5E-05D1-4118-ACBD-FDD2F113546C}"/>
              </a:ext>
            </a:extLst>
          </p:cNvPr>
          <p:cNvSpPr txBox="1"/>
          <p:nvPr/>
        </p:nvSpPr>
        <p:spPr>
          <a:xfrm>
            <a:off x="6657324" y="5754026"/>
            <a:ext cx="1572961" cy="492443"/>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Rebates/reduction in charges</a:t>
            </a:r>
          </a:p>
        </p:txBody>
      </p:sp>
      <p:sp>
        <p:nvSpPr>
          <p:cNvPr id="218" name="TextBox 217">
            <a:extLst>
              <a:ext uri="{FF2B5EF4-FFF2-40B4-BE49-F238E27FC236}">
                <a16:creationId xmlns:a16="http://schemas.microsoft.com/office/drawing/2014/main" id="{04A367AD-5438-4D79-BF25-9C33885BBC63}"/>
              </a:ext>
            </a:extLst>
          </p:cNvPr>
          <p:cNvSpPr txBox="1"/>
          <p:nvPr/>
        </p:nvSpPr>
        <p:spPr>
          <a:xfrm>
            <a:off x="10436482" y="5781358"/>
            <a:ext cx="1572961" cy="246221"/>
          </a:xfrm>
          <a:prstGeom prst="rect">
            <a:avLst/>
          </a:prstGeom>
          <a:noFill/>
        </p:spPr>
        <p:txBody>
          <a:bodyPr wrap="square" lIns="0" tIns="0" rIns="0" bIns="0" rtlCol="0">
            <a:spAutoFit/>
          </a:bodyPr>
          <a:lstStyle>
            <a:defPPr>
              <a:defRPr lang="de-DE"/>
            </a:defPPr>
            <a:lvl1pPr algn="ctr" defTabSz="801330">
              <a:defRPr sz="1600" kern="0">
                <a:solidFill>
                  <a:srgbClr val="BCBEC0">
                    <a:lumMod val="50000"/>
                  </a:srgbClr>
                </a:solidFill>
                <a:latin typeface="+mj-lt"/>
                <a:ea typeface="Times New Roman"/>
                <a:cs typeface="Times New Roman"/>
              </a:defRPr>
            </a:lvl1pPr>
          </a:lstStyle>
          <a:p>
            <a:pPr defTabSz="1599665">
              <a:defRPr/>
            </a:pPr>
            <a:r>
              <a:rPr lang="en-US" b="1" kern="1200">
                <a:solidFill>
                  <a:srgbClr val="222223"/>
                </a:solidFill>
                <a:ea typeface="+mn-ea"/>
              </a:rPr>
              <a:t>Branding materials</a:t>
            </a:r>
          </a:p>
        </p:txBody>
      </p:sp>
      <p:grpSp>
        <p:nvGrpSpPr>
          <p:cNvPr id="219" name="Groupe 6">
            <a:extLst>
              <a:ext uri="{FF2B5EF4-FFF2-40B4-BE49-F238E27FC236}">
                <a16:creationId xmlns:a16="http://schemas.microsoft.com/office/drawing/2014/main" id="{641AC492-085D-4828-A014-0746F4768F7F}"/>
              </a:ext>
            </a:extLst>
          </p:cNvPr>
          <p:cNvGrpSpPr/>
          <p:nvPr/>
        </p:nvGrpSpPr>
        <p:grpSpPr>
          <a:xfrm>
            <a:off x="10711701" y="4953681"/>
            <a:ext cx="1060199" cy="562769"/>
            <a:chOff x="1122363" y="563563"/>
            <a:chExt cx="433388" cy="446087"/>
          </a:xfrm>
          <a:solidFill>
            <a:srgbClr val="006301"/>
          </a:solidFill>
        </p:grpSpPr>
        <p:sp>
          <p:nvSpPr>
            <p:cNvPr id="220" name="Freeform 5">
              <a:extLst>
                <a:ext uri="{FF2B5EF4-FFF2-40B4-BE49-F238E27FC236}">
                  <a16:creationId xmlns:a16="http://schemas.microsoft.com/office/drawing/2014/main" id="{067D7A2A-1FE3-4E69-9A53-EABA132CBAAA}"/>
                </a:ext>
              </a:extLst>
            </p:cNvPr>
            <p:cNvSpPr>
              <a:spLocks/>
            </p:cNvSpPr>
            <p:nvPr/>
          </p:nvSpPr>
          <p:spPr bwMode="auto">
            <a:xfrm>
              <a:off x="1376363" y="563563"/>
              <a:ext cx="82550" cy="73025"/>
            </a:xfrm>
            <a:custGeom>
              <a:avLst/>
              <a:gdLst/>
              <a:ahLst/>
              <a:cxnLst>
                <a:cxn ang="0">
                  <a:pos x="54" y="93"/>
                </a:cxn>
                <a:cxn ang="0">
                  <a:pos x="54" y="93"/>
                </a:cxn>
                <a:cxn ang="0">
                  <a:pos x="66" y="84"/>
                </a:cxn>
                <a:cxn ang="0">
                  <a:pos x="75" y="76"/>
                </a:cxn>
                <a:cxn ang="0">
                  <a:pos x="75" y="76"/>
                </a:cxn>
                <a:cxn ang="0">
                  <a:pos x="84" y="66"/>
                </a:cxn>
                <a:cxn ang="0">
                  <a:pos x="91" y="56"/>
                </a:cxn>
                <a:cxn ang="0">
                  <a:pos x="96" y="46"/>
                </a:cxn>
                <a:cxn ang="0">
                  <a:pos x="101" y="37"/>
                </a:cxn>
                <a:cxn ang="0">
                  <a:pos x="102" y="27"/>
                </a:cxn>
                <a:cxn ang="0">
                  <a:pos x="103" y="20"/>
                </a:cxn>
                <a:cxn ang="0">
                  <a:pos x="101" y="11"/>
                </a:cxn>
                <a:cxn ang="0">
                  <a:pos x="96" y="6"/>
                </a:cxn>
                <a:cxn ang="0">
                  <a:pos x="96" y="6"/>
                </a:cxn>
                <a:cxn ang="0">
                  <a:pos x="91" y="3"/>
                </a:cxn>
                <a:cxn ang="0">
                  <a:pos x="84" y="0"/>
                </a:cxn>
                <a:cxn ang="0">
                  <a:pos x="75" y="0"/>
                </a:cxn>
                <a:cxn ang="0">
                  <a:pos x="67" y="3"/>
                </a:cxn>
                <a:cxn ang="0">
                  <a:pos x="57" y="7"/>
                </a:cxn>
                <a:cxn ang="0">
                  <a:pos x="47" y="11"/>
                </a:cxn>
                <a:cxn ang="0">
                  <a:pos x="37" y="20"/>
                </a:cxn>
                <a:cxn ang="0">
                  <a:pos x="28" y="28"/>
                </a:cxn>
                <a:cxn ang="0">
                  <a:pos x="28" y="28"/>
                </a:cxn>
                <a:cxn ang="0">
                  <a:pos x="19" y="37"/>
                </a:cxn>
                <a:cxn ang="0">
                  <a:pos x="12" y="45"/>
                </a:cxn>
                <a:cxn ang="0">
                  <a:pos x="8" y="53"/>
                </a:cxn>
                <a:cxn ang="0">
                  <a:pos x="4" y="63"/>
                </a:cxn>
                <a:cxn ang="0">
                  <a:pos x="1" y="72"/>
                </a:cxn>
                <a:cxn ang="0">
                  <a:pos x="0" y="79"/>
                </a:cxn>
                <a:cxn ang="0">
                  <a:pos x="0" y="86"/>
                </a:cxn>
                <a:cxn ang="0">
                  <a:pos x="2" y="93"/>
                </a:cxn>
                <a:cxn ang="0">
                  <a:pos x="54" y="93"/>
                </a:cxn>
              </a:cxnLst>
              <a:rect l="0" t="0" r="r" b="b"/>
              <a:pathLst>
                <a:path w="103" h="93">
                  <a:moveTo>
                    <a:pt x="54" y="93"/>
                  </a:moveTo>
                  <a:lnTo>
                    <a:pt x="54" y="93"/>
                  </a:lnTo>
                  <a:lnTo>
                    <a:pt x="66" y="84"/>
                  </a:lnTo>
                  <a:lnTo>
                    <a:pt x="75" y="76"/>
                  </a:lnTo>
                  <a:lnTo>
                    <a:pt x="75" y="76"/>
                  </a:lnTo>
                  <a:lnTo>
                    <a:pt x="84" y="66"/>
                  </a:lnTo>
                  <a:lnTo>
                    <a:pt x="91" y="56"/>
                  </a:lnTo>
                  <a:lnTo>
                    <a:pt x="96" y="46"/>
                  </a:lnTo>
                  <a:lnTo>
                    <a:pt x="101" y="37"/>
                  </a:lnTo>
                  <a:lnTo>
                    <a:pt x="102" y="27"/>
                  </a:lnTo>
                  <a:lnTo>
                    <a:pt x="103" y="20"/>
                  </a:lnTo>
                  <a:lnTo>
                    <a:pt x="101" y="11"/>
                  </a:lnTo>
                  <a:lnTo>
                    <a:pt x="96" y="6"/>
                  </a:lnTo>
                  <a:lnTo>
                    <a:pt x="96" y="6"/>
                  </a:lnTo>
                  <a:lnTo>
                    <a:pt x="91" y="3"/>
                  </a:lnTo>
                  <a:lnTo>
                    <a:pt x="84" y="0"/>
                  </a:lnTo>
                  <a:lnTo>
                    <a:pt x="75" y="0"/>
                  </a:lnTo>
                  <a:lnTo>
                    <a:pt x="67" y="3"/>
                  </a:lnTo>
                  <a:lnTo>
                    <a:pt x="57" y="7"/>
                  </a:lnTo>
                  <a:lnTo>
                    <a:pt x="47" y="11"/>
                  </a:lnTo>
                  <a:lnTo>
                    <a:pt x="37" y="20"/>
                  </a:lnTo>
                  <a:lnTo>
                    <a:pt x="28" y="28"/>
                  </a:lnTo>
                  <a:lnTo>
                    <a:pt x="28" y="28"/>
                  </a:lnTo>
                  <a:lnTo>
                    <a:pt x="19" y="37"/>
                  </a:lnTo>
                  <a:lnTo>
                    <a:pt x="12" y="45"/>
                  </a:lnTo>
                  <a:lnTo>
                    <a:pt x="8" y="53"/>
                  </a:lnTo>
                  <a:lnTo>
                    <a:pt x="4" y="63"/>
                  </a:lnTo>
                  <a:lnTo>
                    <a:pt x="1" y="72"/>
                  </a:lnTo>
                  <a:lnTo>
                    <a:pt x="0" y="79"/>
                  </a:lnTo>
                  <a:lnTo>
                    <a:pt x="0" y="86"/>
                  </a:lnTo>
                  <a:lnTo>
                    <a:pt x="2" y="93"/>
                  </a:lnTo>
                  <a:lnTo>
                    <a:pt x="54" y="9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1" name="Freeform 6">
              <a:extLst>
                <a:ext uri="{FF2B5EF4-FFF2-40B4-BE49-F238E27FC236}">
                  <a16:creationId xmlns:a16="http://schemas.microsoft.com/office/drawing/2014/main" id="{84B86E7D-61CA-454E-8B65-0ADD471C0227}"/>
                </a:ext>
              </a:extLst>
            </p:cNvPr>
            <p:cNvSpPr>
              <a:spLocks/>
            </p:cNvSpPr>
            <p:nvPr/>
          </p:nvSpPr>
          <p:spPr bwMode="auto">
            <a:xfrm>
              <a:off x="1219201" y="563563"/>
              <a:ext cx="80963" cy="73025"/>
            </a:xfrm>
            <a:custGeom>
              <a:avLst/>
              <a:gdLst/>
              <a:ahLst/>
              <a:cxnLst>
                <a:cxn ang="0">
                  <a:pos x="48" y="93"/>
                </a:cxn>
                <a:cxn ang="0">
                  <a:pos x="101" y="93"/>
                </a:cxn>
                <a:cxn ang="0">
                  <a:pos x="101" y="93"/>
                </a:cxn>
                <a:cxn ang="0">
                  <a:pos x="103" y="86"/>
                </a:cxn>
                <a:cxn ang="0">
                  <a:pos x="103" y="79"/>
                </a:cxn>
                <a:cxn ang="0">
                  <a:pos x="101" y="72"/>
                </a:cxn>
                <a:cxn ang="0">
                  <a:pos x="98" y="63"/>
                </a:cxn>
                <a:cxn ang="0">
                  <a:pos x="94" y="53"/>
                </a:cxn>
                <a:cxn ang="0">
                  <a:pos x="90" y="45"/>
                </a:cxn>
                <a:cxn ang="0">
                  <a:pos x="83" y="37"/>
                </a:cxn>
                <a:cxn ang="0">
                  <a:pos x="75" y="28"/>
                </a:cxn>
                <a:cxn ang="0">
                  <a:pos x="75" y="28"/>
                </a:cxn>
                <a:cxn ang="0">
                  <a:pos x="66" y="20"/>
                </a:cxn>
                <a:cxn ang="0">
                  <a:pos x="55" y="11"/>
                </a:cxn>
                <a:cxn ang="0">
                  <a:pos x="45" y="7"/>
                </a:cxn>
                <a:cxn ang="0">
                  <a:pos x="35" y="3"/>
                </a:cxn>
                <a:cxn ang="0">
                  <a:pos x="27" y="0"/>
                </a:cxn>
                <a:cxn ang="0">
                  <a:pos x="18" y="0"/>
                </a:cxn>
                <a:cxn ang="0">
                  <a:pos x="11" y="3"/>
                </a:cxn>
                <a:cxn ang="0">
                  <a:pos x="6" y="6"/>
                </a:cxn>
                <a:cxn ang="0">
                  <a:pos x="6" y="6"/>
                </a:cxn>
                <a:cxn ang="0">
                  <a:pos x="2" y="11"/>
                </a:cxn>
                <a:cxn ang="0">
                  <a:pos x="0" y="20"/>
                </a:cxn>
                <a:cxn ang="0">
                  <a:pos x="0" y="27"/>
                </a:cxn>
                <a:cxn ang="0">
                  <a:pos x="2" y="37"/>
                </a:cxn>
                <a:cxn ang="0">
                  <a:pos x="6" y="46"/>
                </a:cxn>
                <a:cxn ang="0">
                  <a:pos x="11" y="56"/>
                </a:cxn>
                <a:cxn ang="0">
                  <a:pos x="18" y="66"/>
                </a:cxn>
                <a:cxn ang="0">
                  <a:pos x="27" y="76"/>
                </a:cxn>
                <a:cxn ang="0">
                  <a:pos x="27" y="76"/>
                </a:cxn>
                <a:cxn ang="0">
                  <a:pos x="37" y="84"/>
                </a:cxn>
                <a:cxn ang="0">
                  <a:pos x="48" y="93"/>
                </a:cxn>
                <a:cxn ang="0">
                  <a:pos x="48" y="93"/>
                </a:cxn>
              </a:cxnLst>
              <a:rect l="0" t="0" r="r" b="b"/>
              <a:pathLst>
                <a:path w="103" h="93">
                  <a:moveTo>
                    <a:pt x="48" y="93"/>
                  </a:moveTo>
                  <a:lnTo>
                    <a:pt x="101" y="93"/>
                  </a:lnTo>
                  <a:lnTo>
                    <a:pt x="101" y="93"/>
                  </a:lnTo>
                  <a:lnTo>
                    <a:pt x="103" y="86"/>
                  </a:lnTo>
                  <a:lnTo>
                    <a:pt x="103" y="79"/>
                  </a:lnTo>
                  <a:lnTo>
                    <a:pt x="101" y="72"/>
                  </a:lnTo>
                  <a:lnTo>
                    <a:pt x="98" y="63"/>
                  </a:lnTo>
                  <a:lnTo>
                    <a:pt x="94" y="53"/>
                  </a:lnTo>
                  <a:lnTo>
                    <a:pt x="90" y="45"/>
                  </a:lnTo>
                  <a:lnTo>
                    <a:pt x="83" y="37"/>
                  </a:lnTo>
                  <a:lnTo>
                    <a:pt x="75" y="28"/>
                  </a:lnTo>
                  <a:lnTo>
                    <a:pt x="75" y="28"/>
                  </a:lnTo>
                  <a:lnTo>
                    <a:pt x="66" y="20"/>
                  </a:lnTo>
                  <a:lnTo>
                    <a:pt x="55" y="11"/>
                  </a:lnTo>
                  <a:lnTo>
                    <a:pt x="45" y="7"/>
                  </a:lnTo>
                  <a:lnTo>
                    <a:pt x="35" y="3"/>
                  </a:lnTo>
                  <a:lnTo>
                    <a:pt x="27" y="0"/>
                  </a:lnTo>
                  <a:lnTo>
                    <a:pt x="18" y="0"/>
                  </a:lnTo>
                  <a:lnTo>
                    <a:pt x="11" y="3"/>
                  </a:lnTo>
                  <a:lnTo>
                    <a:pt x="6" y="6"/>
                  </a:lnTo>
                  <a:lnTo>
                    <a:pt x="6" y="6"/>
                  </a:lnTo>
                  <a:lnTo>
                    <a:pt x="2" y="11"/>
                  </a:lnTo>
                  <a:lnTo>
                    <a:pt x="0" y="20"/>
                  </a:lnTo>
                  <a:lnTo>
                    <a:pt x="0" y="27"/>
                  </a:lnTo>
                  <a:lnTo>
                    <a:pt x="2" y="37"/>
                  </a:lnTo>
                  <a:lnTo>
                    <a:pt x="6" y="46"/>
                  </a:lnTo>
                  <a:lnTo>
                    <a:pt x="11" y="56"/>
                  </a:lnTo>
                  <a:lnTo>
                    <a:pt x="18" y="66"/>
                  </a:lnTo>
                  <a:lnTo>
                    <a:pt x="27" y="76"/>
                  </a:lnTo>
                  <a:lnTo>
                    <a:pt x="27" y="76"/>
                  </a:lnTo>
                  <a:lnTo>
                    <a:pt x="37" y="84"/>
                  </a:lnTo>
                  <a:lnTo>
                    <a:pt x="48" y="93"/>
                  </a:lnTo>
                  <a:lnTo>
                    <a:pt x="48" y="93"/>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2" name="Freeform 7">
              <a:extLst>
                <a:ext uri="{FF2B5EF4-FFF2-40B4-BE49-F238E27FC236}">
                  <a16:creationId xmlns:a16="http://schemas.microsoft.com/office/drawing/2014/main" id="{E9DADDF5-F6BF-4039-A36D-8BE8EE290CFB}"/>
                </a:ext>
              </a:extLst>
            </p:cNvPr>
            <p:cNvSpPr>
              <a:spLocks/>
            </p:cNvSpPr>
            <p:nvPr/>
          </p:nvSpPr>
          <p:spPr bwMode="auto">
            <a:xfrm>
              <a:off x="1316038" y="603250"/>
              <a:ext cx="44450" cy="33337"/>
            </a:xfrm>
            <a:custGeom>
              <a:avLst/>
              <a:gdLst/>
              <a:ahLst/>
              <a:cxnLst>
                <a:cxn ang="0">
                  <a:pos x="50" y="44"/>
                </a:cxn>
                <a:cxn ang="0">
                  <a:pos x="50" y="44"/>
                </a:cxn>
                <a:cxn ang="0">
                  <a:pos x="53" y="37"/>
                </a:cxn>
                <a:cxn ang="0">
                  <a:pos x="54" y="28"/>
                </a:cxn>
                <a:cxn ang="0">
                  <a:pos x="54" y="28"/>
                </a:cxn>
                <a:cxn ang="0">
                  <a:pos x="54" y="23"/>
                </a:cxn>
                <a:cxn ang="0">
                  <a:pos x="53" y="17"/>
                </a:cxn>
                <a:cxn ang="0">
                  <a:pos x="50" y="13"/>
                </a:cxn>
                <a:cxn ang="0">
                  <a:pos x="46" y="9"/>
                </a:cxn>
                <a:cxn ang="0">
                  <a:pos x="43" y="6"/>
                </a:cxn>
                <a:cxn ang="0">
                  <a:pos x="38" y="3"/>
                </a:cxn>
                <a:cxn ang="0">
                  <a:pos x="33" y="2"/>
                </a:cxn>
                <a:cxn ang="0">
                  <a:pos x="28" y="0"/>
                </a:cxn>
                <a:cxn ang="0">
                  <a:pos x="28" y="0"/>
                </a:cxn>
                <a:cxn ang="0">
                  <a:pos x="22" y="2"/>
                </a:cxn>
                <a:cxn ang="0">
                  <a:pos x="17" y="3"/>
                </a:cxn>
                <a:cxn ang="0">
                  <a:pos x="12" y="6"/>
                </a:cxn>
                <a:cxn ang="0">
                  <a:pos x="8" y="9"/>
                </a:cxn>
                <a:cxn ang="0">
                  <a:pos x="4" y="13"/>
                </a:cxn>
                <a:cxn ang="0">
                  <a:pos x="3" y="17"/>
                </a:cxn>
                <a:cxn ang="0">
                  <a:pos x="0" y="23"/>
                </a:cxn>
                <a:cxn ang="0">
                  <a:pos x="0" y="28"/>
                </a:cxn>
                <a:cxn ang="0">
                  <a:pos x="0" y="28"/>
                </a:cxn>
                <a:cxn ang="0">
                  <a:pos x="1" y="37"/>
                </a:cxn>
                <a:cxn ang="0">
                  <a:pos x="4" y="44"/>
                </a:cxn>
                <a:cxn ang="0">
                  <a:pos x="50" y="44"/>
                </a:cxn>
              </a:cxnLst>
              <a:rect l="0" t="0" r="r" b="b"/>
              <a:pathLst>
                <a:path w="54" h="44">
                  <a:moveTo>
                    <a:pt x="50" y="44"/>
                  </a:moveTo>
                  <a:lnTo>
                    <a:pt x="50" y="44"/>
                  </a:lnTo>
                  <a:lnTo>
                    <a:pt x="53" y="37"/>
                  </a:lnTo>
                  <a:lnTo>
                    <a:pt x="54" y="28"/>
                  </a:lnTo>
                  <a:lnTo>
                    <a:pt x="54" y="28"/>
                  </a:lnTo>
                  <a:lnTo>
                    <a:pt x="54" y="23"/>
                  </a:lnTo>
                  <a:lnTo>
                    <a:pt x="53" y="17"/>
                  </a:lnTo>
                  <a:lnTo>
                    <a:pt x="50" y="13"/>
                  </a:lnTo>
                  <a:lnTo>
                    <a:pt x="46" y="9"/>
                  </a:lnTo>
                  <a:lnTo>
                    <a:pt x="43" y="6"/>
                  </a:lnTo>
                  <a:lnTo>
                    <a:pt x="38" y="3"/>
                  </a:lnTo>
                  <a:lnTo>
                    <a:pt x="33" y="2"/>
                  </a:lnTo>
                  <a:lnTo>
                    <a:pt x="28" y="0"/>
                  </a:lnTo>
                  <a:lnTo>
                    <a:pt x="28" y="0"/>
                  </a:lnTo>
                  <a:lnTo>
                    <a:pt x="22" y="2"/>
                  </a:lnTo>
                  <a:lnTo>
                    <a:pt x="17" y="3"/>
                  </a:lnTo>
                  <a:lnTo>
                    <a:pt x="12" y="6"/>
                  </a:lnTo>
                  <a:lnTo>
                    <a:pt x="8" y="9"/>
                  </a:lnTo>
                  <a:lnTo>
                    <a:pt x="4" y="13"/>
                  </a:lnTo>
                  <a:lnTo>
                    <a:pt x="3" y="17"/>
                  </a:lnTo>
                  <a:lnTo>
                    <a:pt x="0" y="23"/>
                  </a:lnTo>
                  <a:lnTo>
                    <a:pt x="0" y="28"/>
                  </a:lnTo>
                  <a:lnTo>
                    <a:pt x="0" y="28"/>
                  </a:lnTo>
                  <a:lnTo>
                    <a:pt x="1" y="37"/>
                  </a:lnTo>
                  <a:lnTo>
                    <a:pt x="4" y="44"/>
                  </a:lnTo>
                  <a:lnTo>
                    <a:pt x="50" y="44"/>
                  </a:lnTo>
                  <a:close/>
                </a:path>
              </a:pathLst>
            </a:custGeom>
            <a:grpFill/>
            <a:ln w="9525">
              <a:noFill/>
              <a:round/>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3" name="Rectangle 222">
              <a:extLst>
                <a:ext uri="{FF2B5EF4-FFF2-40B4-BE49-F238E27FC236}">
                  <a16:creationId xmlns:a16="http://schemas.microsoft.com/office/drawing/2014/main" id="{4A111327-8F9A-4F6B-AED7-7571A6A1D1BE}"/>
                </a:ext>
              </a:extLst>
            </p:cNvPr>
            <p:cNvSpPr>
              <a:spLocks noChangeArrowheads="1"/>
            </p:cNvSpPr>
            <p:nvPr/>
          </p:nvSpPr>
          <p:spPr bwMode="auto">
            <a:xfrm>
              <a:off x="1122363" y="669925"/>
              <a:ext cx="104775" cy="49212"/>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4" name="Rectangle 223">
              <a:extLst>
                <a:ext uri="{FF2B5EF4-FFF2-40B4-BE49-F238E27FC236}">
                  <a16:creationId xmlns:a16="http://schemas.microsoft.com/office/drawing/2014/main" id="{B453EBB2-EC50-4931-A961-6556E2085FAD}"/>
                </a:ext>
              </a:extLst>
            </p:cNvPr>
            <p:cNvSpPr>
              <a:spLocks noChangeArrowheads="1"/>
            </p:cNvSpPr>
            <p:nvPr/>
          </p:nvSpPr>
          <p:spPr bwMode="auto">
            <a:xfrm>
              <a:off x="1147763" y="752475"/>
              <a:ext cx="79375" cy="257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5" name="Rectangle 224">
              <a:extLst>
                <a:ext uri="{FF2B5EF4-FFF2-40B4-BE49-F238E27FC236}">
                  <a16:creationId xmlns:a16="http://schemas.microsoft.com/office/drawing/2014/main" id="{3AA25CFC-A52D-49A8-BCD6-DE505BCD4ABB}"/>
                </a:ext>
              </a:extLst>
            </p:cNvPr>
            <p:cNvSpPr>
              <a:spLocks noChangeArrowheads="1"/>
            </p:cNvSpPr>
            <p:nvPr/>
          </p:nvSpPr>
          <p:spPr bwMode="auto">
            <a:xfrm>
              <a:off x="1147763" y="752475"/>
              <a:ext cx="79375" cy="257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6" name="Rectangle 225">
              <a:extLst>
                <a:ext uri="{FF2B5EF4-FFF2-40B4-BE49-F238E27FC236}">
                  <a16:creationId xmlns:a16="http://schemas.microsoft.com/office/drawing/2014/main" id="{1D2475D1-566F-461D-86D9-893BE5296D1D}"/>
                </a:ext>
              </a:extLst>
            </p:cNvPr>
            <p:cNvSpPr>
              <a:spLocks noChangeArrowheads="1"/>
            </p:cNvSpPr>
            <p:nvPr/>
          </p:nvSpPr>
          <p:spPr bwMode="auto">
            <a:xfrm>
              <a:off x="1257301" y="669925"/>
              <a:ext cx="161925" cy="49212"/>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7" name="Rectangle 226">
              <a:extLst>
                <a:ext uri="{FF2B5EF4-FFF2-40B4-BE49-F238E27FC236}">
                  <a16:creationId xmlns:a16="http://schemas.microsoft.com/office/drawing/2014/main" id="{4F2CCCFA-F4B1-4643-B51C-94D1656B9A9C}"/>
                </a:ext>
              </a:extLst>
            </p:cNvPr>
            <p:cNvSpPr>
              <a:spLocks noChangeArrowheads="1"/>
            </p:cNvSpPr>
            <p:nvPr/>
          </p:nvSpPr>
          <p:spPr bwMode="auto">
            <a:xfrm>
              <a:off x="1450976" y="669925"/>
              <a:ext cx="104775" cy="49212"/>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8" name="Rectangle 227">
              <a:extLst>
                <a:ext uri="{FF2B5EF4-FFF2-40B4-BE49-F238E27FC236}">
                  <a16:creationId xmlns:a16="http://schemas.microsoft.com/office/drawing/2014/main" id="{24887E50-1885-4137-8DF1-E9F691F60CFC}"/>
                </a:ext>
              </a:extLst>
            </p:cNvPr>
            <p:cNvSpPr>
              <a:spLocks noChangeArrowheads="1"/>
            </p:cNvSpPr>
            <p:nvPr/>
          </p:nvSpPr>
          <p:spPr bwMode="auto">
            <a:xfrm>
              <a:off x="1450976" y="752475"/>
              <a:ext cx="77788" cy="257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29" name="Rectangle 228">
              <a:extLst>
                <a:ext uri="{FF2B5EF4-FFF2-40B4-BE49-F238E27FC236}">
                  <a16:creationId xmlns:a16="http://schemas.microsoft.com/office/drawing/2014/main" id="{8A672353-33B1-4258-934C-DD4548522CB7}"/>
                </a:ext>
              </a:extLst>
            </p:cNvPr>
            <p:cNvSpPr>
              <a:spLocks noChangeArrowheads="1"/>
            </p:cNvSpPr>
            <p:nvPr/>
          </p:nvSpPr>
          <p:spPr bwMode="auto">
            <a:xfrm>
              <a:off x="1450976" y="752475"/>
              <a:ext cx="77788" cy="257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30" name="Rectangle 229">
              <a:extLst>
                <a:ext uri="{FF2B5EF4-FFF2-40B4-BE49-F238E27FC236}">
                  <a16:creationId xmlns:a16="http://schemas.microsoft.com/office/drawing/2014/main" id="{8795EC87-0A11-472E-ABED-E6E014EB8F26}"/>
                </a:ext>
              </a:extLst>
            </p:cNvPr>
            <p:cNvSpPr>
              <a:spLocks noChangeArrowheads="1"/>
            </p:cNvSpPr>
            <p:nvPr/>
          </p:nvSpPr>
          <p:spPr bwMode="auto">
            <a:xfrm>
              <a:off x="1257301" y="752475"/>
              <a:ext cx="161925" cy="257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sp>
          <p:nvSpPr>
            <p:cNvPr id="231" name="Rectangle 230">
              <a:extLst>
                <a:ext uri="{FF2B5EF4-FFF2-40B4-BE49-F238E27FC236}">
                  <a16:creationId xmlns:a16="http://schemas.microsoft.com/office/drawing/2014/main" id="{30E23AD0-B539-4A70-B0B6-C29AA788D145}"/>
                </a:ext>
              </a:extLst>
            </p:cNvPr>
            <p:cNvSpPr>
              <a:spLocks noChangeArrowheads="1"/>
            </p:cNvSpPr>
            <p:nvPr/>
          </p:nvSpPr>
          <p:spPr bwMode="auto">
            <a:xfrm>
              <a:off x="1257301" y="752475"/>
              <a:ext cx="161925" cy="257175"/>
            </a:xfrm>
            <a:prstGeom prst="rect">
              <a:avLst/>
            </a:prstGeom>
            <a:grpFill/>
            <a:ln w="9525">
              <a:noFill/>
              <a:miter lim="800000"/>
              <a:headEnd/>
              <a:tailEnd/>
            </a:ln>
          </p:spPr>
          <p:txBody>
            <a:bodyPr vert="horz" wrap="square" lIns="121920" tIns="60960" rIns="121920" bIns="60960" numCol="1" anchor="t" anchorCtr="0" compatLnSpc="1">
              <a:prstTxWarp prst="textNoShape">
                <a:avLst/>
              </a:prstTxWarp>
            </a:bodyPr>
            <a:lstStyle/>
            <a:p>
              <a:endParaRPr lang="fr-FR" sz="2400"/>
            </a:p>
          </p:txBody>
        </p:sp>
      </p:grpSp>
      <p:sp>
        <p:nvSpPr>
          <p:cNvPr id="232" name="Rounded Rectangular Callout 5">
            <a:extLst>
              <a:ext uri="{FF2B5EF4-FFF2-40B4-BE49-F238E27FC236}">
                <a16:creationId xmlns:a16="http://schemas.microsoft.com/office/drawing/2014/main" id="{CEEE9F07-0226-46C7-9729-F39ABECA7586}"/>
              </a:ext>
            </a:extLst>
          </p:cNvPr>
          <p:cNvSpPr/>
          <p:nvPr/>
        </p:nvSpPr>
        <p:spPr>
          <a:xfrm>
            <a:off x="9145930" y="3769037"/>
            <a:ext cx="2937653" cy="719328"/>
          </a:xfrm>
          <a:prstGeom prst="wedgeRoundRectCallout">
            <a:avLst>
              <a:gd name="adj1" fmla="val -88744"/>
              <a:gd name="adj2" fmla="val 29135"/>
              <a:gd name="adj3" fmla="val 16667"/>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About  </a:t>
            </a:r>
            <a:r>
              <a:rPr lang="en-US" sz="1467" b="1">
                <a:solidFill>
                  <a:schemeClr val="tx1"/>
                </a:solidFill>
              </a:rPr>
              <a:t>37% </a:t>
            </a:r>
            <a:r>
              <a:rPr lang="en-US" sz="1200">
                <a:solidFill>
                  <a:schemeClr val="tx1"/>
                </a:solidFill>
              </a:rPr>
              <a:t>of the agents mentioned Palliatives such as financial aids &amp; Food items, Improve network for smooth transactions, resolve queries in time)</a:t>
            </a:r>
          </a:p>
        </p:txBody>
      </p:sp>
      <p:sp>
        <p:nvSpPr>
          <p:cNvPr id="233" name="Rounded Rectangular Callout 430">
            <a:extLst>
              <a:ext uri="{FF2B5EF4-FFF2-40B4-BE49-F238E27FC236}">
                <a16:creationId xmlns:a16="http://schemas.microsoft.com/office/drawing/2014/main" id="{1B3A20E9-8460-4C11-B698-564BF5FE3133}"/>
              </a:ext>
            </a:extLst>
          </p:cNvPr>
          <p:cNvSpPr/>
          <p:nvPr/>
        </p:nvSpPr>
        <p:spPr>
          <a:xfrm>
            <a:off x="0" y="1108692"/>
            <a:ext cx="2643809" cy="890024"/>
          </a:xfrm>
          <a:prstGeom prst="wedgeRoundRectCallout">
            <a:avLst>
              <a:gd name="adj1" fmla="val 101168"/>
              <a:gd name="adj2" fmla="val 28738"/>
              <a:gd name="adj3" fmla="val 16667"/>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a:solidFill>
                  <a:schemeClr val="tx1"/>
                </a:solidFill>
              </a:rPr>
              <a:t>Others(received </a:t>
            </a:r>
            <a:r>
              <a:rPr lang="en-US" sz="1200" err="1">
                <a:solidFill>
                  <a:schemeClr val="tx1"/>
                </a:solidFill>
              </a:rPr>
              <a:t>sms</a:t>
            </a:r>
            <a:r>
              <a:rPr lang="en-US" sz="1200">
                <a:solidFill>
                  <a:schemeClr val="tx1"/>
                </a:solidFill>
              </a:rPr>
              <a:t> educating them about the virus, food items, free data/airtime </a:t>
            </a:r>
            <a:r>
              <a:rPr lang="en-US" sz="1200" err="1">
                <a:solidFill>
                  <a:schemeClr val="tx1"/>
                </a:solidFill>
              </a:rPr>
              <a:t>etc</a:t>
            </a:r>
            <a:r>
              <a:rPr lang="en-US" sz="1200">
                <a:solidFill>
                  <a:schemeClr val="tx1"/>
                </a:solidFill>
              </a:rPr>
              <a:t> </a:t>
            </a:r>
            <a:r>
              <a:rPr lang="en-US" sz="1467" b="1">
                <a:solidFill>
                  <a:schemeClr val="tx1"/>
                </a:solidFill>
              </a:rPr>
              <a:t>(39%)</a:t>
            </a:r>
            <a:endParaRPr lang="en-US" sz="1200" b="1">
              <a:solidFill>
                <a:schemeClr val="tx1"/>
              </a:solidFill>
            </a:endParaRPr>
          </a:p>
        </p:txBody>
      </p:sp>
    </p:spTree>
    <p:extLst>
      <p:ext uri="{BB962C8B-B14F-4D97-AF65-F5344CB8AC3E}">
        <p14:creationId xmlns:p14="http://schemas.microsoft.com/office/powerpoint/2010/main" val="2594069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cIMcJ0wR0iUFwEaE0er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2jiO5st5UCzj808FDBG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nX6_IZmIk.fe39l5kuB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ve20dyF70.ksQLOWb19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82INXC4lUyYZYHj3xfA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AvKXycOM0ifzUHvi1ye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8g70Aw.lUCdVSijzv1x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iNvgPU2bESAlefKmCQi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eokikp6Jk.8IRDxDsPk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Y897vgKRU.wAQuA8nOp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TcBGj1Fv0iyjx0H78Z4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D9fjwErD0uyVG32LlQf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IDz9OH7zEu4.RnJJibl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i4SDNs6X0S1yRm1tYmA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3ipl9Y2MEeMKRPLBnUjO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ScbllMlMUmWnBGwxC1W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503EkqJlkW155StbWU7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EfCQLA1z0exmZBty8CA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THntpV7UkiCjknh528t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6m7z9IRAUubd_rNzN0O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tRBr.4W7Eiyg.iA.cmc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ey1eUujEUqpMjuhir_9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IWCcdsrtEa2_g66Bm8D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bLrKGuYQkKJrodDOkzs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MRWLKBWeEq.Zdd.DgT6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OITpmKDB0eSekRkWZb2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QJEVSehhkmqUaITBxEZ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i6K2UkoNEOh2JJejrrq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f_LgvoRUEiY5C4C3r_FM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GrPELeMoUeff4Yf5b3w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C1qX_p2rU2wrLcu6uu0u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41QY5VlUUKqMWdufj8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5Q4wPqzBEeg711SqORO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DDQXno19kWSjl_8kp1o6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Eg3dJ8oAk.55Lbs56nz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fEm_VrzBk63ThtnhJlK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wccU_qPuEqHSuzR_8N.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8cQsCecYEqICOX8B502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0GhSTOj_V0yneW0I9p88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fvgrK3fOk6nKeV2YSMX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Ewk7jIi7U6MqnmPL3dB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91JfZ.48ESjO2f5xvyk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vx2OdEHwE66kUknJc2Lb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lwDEcnUF02trQ8VPgy4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_2VF7TihU.spXfpsBqU8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2g8pFdfOkKmvzczJNl1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RrC0JCEVk.hHGazI34VZ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xRE9wbiU6mbn0JlIii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OwP617SXEGbWXeGQ8CR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k9wVeGJ00OZFIJz6B9yc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JtE.BW3OUmUP9xRtvsf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XqjY8hFqEqUbxcmf15a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dhSf2AFNkaobYqTaryc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sSHZi._0Uue0Lslphrv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o3m9NNET0SlYVxAaccf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iQS7rgxs02ReYZQgkt_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ielsen 05222017">
    <a:dk1>
      <a:srgbClr val="000000"/>
    </a:dk1>
    <a:lt1>
      <a:srgbClr val="FFFFFF"/>
    </a:lt1>
    <a:dk2>
      <a:srgbClr val="000000"/>
    </a:dk2>
    <a:lt2>
      <a:srgbClr val="707276"/>
    </a:lt2>
    <a:accent1>
      <a:srgbClr val="00AEEF"/>
    </a:accent1>
    <a:accent2>
      <a:srgbClr val="B21DAC"/>
    </a:accent2>
    <a:accent3>
      <a:srgbClr val="8DC63F"/>
    </a:accent3>
    <a:accent4>
      <a:srgbClr val="FFB100"/>
    </a:accent4>
    <a:accent5>
      <a:srgbClr val="DC0015"/>
    </a:accent5>
    <a:accent6>
      <a:srgbClr val="8B95A6"/>
    </a:accent6>
    <a:hlink>
      <a:srgbClr val="B21DAC"/>
    </a:hlink>
    <a:folHlink>
      <a:srgbClr val="DC0015"/>
    </a:folHlink>
  </a:clrScheme>
  <a:fontScheme name="Office Classic 2">
    <a:majorFont>
      <a:latin typeface="Arial"/>
      <a:ea typeface=""/>
      <a:cs typeface=""/>
      <a:font script="Jpan" typeface="?? ?????"/>
      <a:font script="Hang" typeface="??"/>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 ?????"/>
      <a:font script="Hang" typeface="??"/>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Nielsen 05222017">
    <a:dk1>
      <a:srgbClr val="000000"/>
    </a:dk1>
    <a:lt1>
      <a:srgbClr val="FFFFFF"/>
    </a:lt1>
    <a:dk2>
      <a:srgbClr val="000000"/>
    </a:dk2>
    <a:lt2>
      <a:srgbClr val="707276"/>
    </a:lt2>
    <a:accent1>
      <a:srgbClr val="00AEEF"/>
    </a:accent1>
    <a:accent2>
      <a:srgbClr val="B21DAC"/>
    </a:accent2>
    <a:accent3>
      <a:srgbClr val="8DC63F"/>
    </a:accent3>
    <a:accent4>
      <a:srgbClr val="FFB100"/>
    </a:accent4>
    <a:accent5>
      <a:srgbClr val="DC0015"/>
    </a:accent5>
    <a:accent6>
      <a:srgbClr val="8B95A6"/>
    </a:accent6>
    <a:hlink>
      <a:srgbClr val="B21DAC"/>
    </a:hlink>
    <a:folHlink>
      <a:srgbClr val="DC0015"/>
    </a:folHlink>
  </a:clrScheme>
  <a:fontScheme name="Office Classic 2">
    <a:majorFont>
      <a:latin typeface="Arial"/>
      <a:ea typeface=""/>
      <a:cs typeface=""/>
      <a:font script="Jpan" typeface="?? ?????"/>
      <a:font script="Hang" typeface="??"/>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 ?????"/>
      <a:font script="Hang" typeface="??"/>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D0BA0C9F71F0B4297E737F1787007D0" ma:contentTypeVersion="3" ma:contentTypeDescription="Create a new document." ma:contentTypeScope="" ma:versionID="da3a6ac708a6ddb9bf61c25f30b5efce">
  <xsd:schema xmlns:xsd="http://www.w3.org/2001/XMLSchema" xmlns:xs="http://www.w3.org/2001/XMLSchema" xmlns:p="http://schemas.microsoft.com/office/2006/metadata/properties" xmlns:ns2="338c4465-8ef3-4b4c-a037-b9ccebc806c0" targetNamespace="http://schemas.microsoft.com/office/2006/metadata/properties" ma:root="true" ma:fieldsID="1f430c4b474c0fb02c69c2571fe078ae" ns2:_="">
    <xsd:import namespace="338c4465-8ef3-4b4c-a037-b9ccebc806c0"/>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8c4465-8ef3-4b4c-a037-b9ccebc806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039EFE-74E8-41E6-8052-1561AB0C2886}">
  <ds:schemaRefs>
    <ds:schemaRef ds:uri="338c4465-8ef3-4b4c-a037-b9ccebc806c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F6D1E81-A925-4E8F-83B9-82BDA8407E0E}">
  <ds:schemaRefs>
    <ds:schemaRef ds:uri="338c4465-8ef3-4b4c-a037-b9ccebc806c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B4241D9-A7F2-4C1F-98AD-A44CF64757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8</Slides>
  <Notes>5</Notes>
  <HiddenSlides>0</HiddenSlide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Office Theme</vt:lpstr>
      <vt:lpstr>PowerPoint Presentation</vt:lpstr>
      <vt:lpstr>About EFIn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uwatomi Eromosele</dc:creator>
  <cp:revision>1</cp:revision>
  <dcterms:created xsi:type="dcterms:W3CDTF">2020-07-03T14:24:06Z</dcterms:created>
  <dcterms:modified xsi:type="dcterms:W3CDTF">2020-07-13T07:0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0BA0C9F71F0B4297E737F1787007D0</vt:lpwstr>
  </property>
</Properties>
</file>